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5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7.xml" ContentType="application/vnd.openxmlformats-officedocument.presentationml.notesSl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8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9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9" r:id="rId1"/>
  </p:sldMasterIdLst>
  <p:notesMasterIdLst>
    <p:notesMasterId r:id="rId40"/>
  </p:notesMasterIdLst>
  <p:handoutMasterIdLst>
    <p:handoutMasterId r:id="rId41"/>
  </p:handoutMasterIdLst>
  <p:sldIdLst>
    <p:sldId id="690" r:id="rId2"/>
    <p:sldId id="643" r:id="rId3"/>
    <p:sldId id="688" r:id="rId4"/>
    <p:sldId id="645" r:id="rId5"/>
    <p:sldId id="684" r:id="rId6"/>
    <p:sldId id="647" r:id="rId7"/>
    <p:sldId id="648" r:id="rId8"/>
    <p:sldId id="691" r:id="rId9"/>
    <p:sldId id="650" r:id="rId10"/>
    <p:sldId id="651" r:id="rId11"/>
    <p:sldId id="685" r:id="rId12"/>
    <p:sldId id="687" r:id="rId13"/>
    <p:sldId id="654" r:id="rId14"/>
    <p:sldId id="656" r:id="rId15"/>
    <p:sldId id="666" r:id="rId16"/>
    <p:sldId id="667" r:id="rId17"/>
    <p:sldId id="657" r:id="rId18"/>
    <p:sldId id="658" r:id="rId19"/>
    <p:sldId id="662" r:id="rId20"/>
    <p:sldId id="659" r:id="rId21"/>
    <p:sldId id="683" r:id="rId22"/>
    <p:sldId id="670" r:id="rId23"/>
    <p:sldId id="671" r:id="rId24"/>
    <p:sldId id="672" r:id="rId25"/>
    <p:sldId id="692" r:id="rId26"/>
    <p:sldId id="669" r:id="rId27"/>
    <p:sldId id="674" r:id="rId28"/>
    <p:sldId id="697" r:id="rId29"/>
    <p:sldId id="694" r:id="rId30"/>
    <p:sldId id="676" r:id="rId31"/>
    <p:sldId id="677" r:id="rId32"/>
    <p:sldId id="678" r:id="rId33"/>
    <p:sldId id="673" r:id="rId34"/>
    <p:sldId id="695" r:id="rId35"/>
    <p:sldId id="696" r:id="rId36"/>
    <p:sldId id="681" r:id="rId37"/>
    <p:sldId id="682" r:id="rId38"/>
    <p:sldId id="642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E80BB"/>
    <a:srgbClr val="2A4C74"/>
    <a:srgbClr val="BD4E4C"/>
    <a:srgbClr val="4AA9C3"/>
    <a:srgbClr val="99B958"/>
    <a:srgbClr val="4E7FBB"/>
    <a:srgbClr val="01BE96"/>
    <a:srgbClr val="1DE0E0"/>
    <a:srgbClr val="1B406D"/>
    <a:srgbClr val="3C6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05" autoAdjust="0"/>
    <p:restoredTop sz="94434" autoAdjust="0"/>
  </p:normalViewPr>
  <p:slideViewPr>
    <p:cSldViewPr snapToGrid="0">
      <p:cViewPr varScale="1">
        <p:scale>
          <a:sx n="113" d="100"/>
          <a:sy n="113" d="100"/>
        </p:scale>
        <p:origin x="552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6" d="100"/>
          <a:sy n="86" d="100"/>
        </p:scale>
        <p:origin x="37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file:///D:\Research\Knowledge\HC%20Omnibus\Report\V2\Quadrant%20chart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chartUserShapes" Target="../drawings/drawing1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Age Group</a:t>
            </a:r>
          </a:p>
        </c:rich>
      </c:tx>
      <c:layout>
        <c:manualLayout>
          <c:xMode val="edge"/>
          <c:yMode val="edge"/>
          <c:x val="0.3043822783694633"/>
          <c:y val="4.40200343148298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ge Group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18-24 Yrs.</c:v>
                </c:pt>
                <c:pt idx="1">
                  <c:v>25-34 Yrs.</c:v>
                </c:pt>
                <c:pt idx="2">
                  <c:v>35-44 Yrs.</c:v>
                </c:pt>
                <c:pt idx="3">
                  <c:v>45- 55 Yrs.</c:v>
                </c:pt>
                <c:pt idx="4">
                  <c:v>55+ Yrs.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8.8093599449415014E-2</c:v>
                </c:pt>
                <c:pt idx="1">
                  <c:v>0.37577426015141085</c:v>
                </c:pt>
                <c:pt idx="2">
                  <c:v>0.25946317962835513</c:v>
                </c:pt>
                <c:pt idx="3">
                  <c:v>0.14418444597384725</c:v>
                </c:pt>
                <c:pt idx="4">
                  <c:v>0.1324845147969718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2174202963856493"/>
          <c:y val="0.31143780397692811"/>
          <c:w val="0.22615063817656805"/>
          <c:h val="0.5309345513154806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528283319962381"/>
          <c:y val="2.6975982825271989E-2"/>
          <c:w val="0.83381573926342578"/>
          <c:h val="0.87506018706097954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US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51</c:v>
                </c:pt>
                <c:pt idx="1">
                  <c:v>0.47</c:v>
                </c:pt>
                <c:pt idx="2">
                  <c:v>0.91</c:v>
                </c:pt>
                <c:pt idx="3">
                  <c:v>0.65</c:v>
                </c:pt>
                <c:pt idx="4">
                  <c:v>0.65</c:v>
                </c:pt>
                <c:pt idx="5">
                  <c:v>0.57999999999999996</c:v>
                </c:pt>
                <c:pt idx="6">
                  <c:v>0.78</c:v>
                </c:pt>
                <c:pt idx="7">
                  <c:v>0.86</c:v>
                </c:pt>
                <c:pt idx="8">
                  <c:v>0.9</c:v>
                </c:pt>
                <c:pt idx="9">
                  <c:v>0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US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</c:strCache>
            </c:strRef>
          </c:cat>
          <c:val>
            <c:numRef>
              <c:f>Sheet1!$C$2:$C$11</c:f>
              <c:numCache>
                <c:formatCode>0%</c:formatCode>
                <c:ptCount val="10"/>
                <c:pt idx="0">
                  <c:v>0.49</c:v>
                </c:pt>
                <c:pt idx="1">
                  <c:v>0.53</c:v>
                </c:pt>
                <c:pt idx="2">
                  <c:v>0.09</c:v>
                </c:pt>
                <c:pt idx="3">
                  <c:v>0.35</c:v>
                </c:pt>
                <c:pt idx="4">
                  <c:v>0.35</c:v>
                </c:pt>
                <c:pt idx="5">
                  <c:v>0.42</c:v>
                </c:pt>
                <c:pt idx="6">
                  <c:v>0.22</c:v>
                </c:pt>
                <c:pt idx="7">
                  <c:v>0.14000000000000001</c:v>
                </c:pt>
                <c:pt idx="8">
                  <c:v>0.1</c:v>
                </c:pt>
                <c:pt idx="9">
                  <c:v>0.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782845312"/>
        <c:axId val="782844224"/>
        <c:axId val="0"/>
      </c:bar3DChart>
      <c:catAx>
        <c:axId val="78284531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44224"/>
        <c:crosses val="autoZero"/>
        <c:auto val="1"/>
        <c:lblAlgn val="ctr"/>
        <c:lblOffset val="100"/>
        <c:noMultiLvlLbl val="0"/>
      </c:catAx>
      <c:valAx>
        <c:axId val="78284422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782845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5036595845690196"/>
          <c:y val="0.89972043972890048"/>
          <c:w val="0.13196784361093833"/>
          <c:h val="5.27559381183636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114300" dist="114300" dir="5400000" rotWithShape="0">
                <a:srgbClr val="000000">
                  <a:alpha val="70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9800000"/>
              </a:lightRig>
            </a:scene3d>
            <a:sp3d prstMaterial="plastic">
              <a:bevelT w="50800" h="508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Millennials</c:v>
                </c:pt>
                <c:pt idx="1">
                  <c:v>Non-millennials</c:v>
                </c:pt>
              </c:strCache>
            </c:strRef>
          </c:cat>
          <c:val>
            <c:numRef>
              <c:f>Sheet1!$B$2:$B$3</c:f>
              <c:numCache>
                <c:formatCode>###0%</c:formatCode>
                <c:ptCount val="2"/>
                <c:pt idx="0">
                  <c:v>0.79565217391304344</c:v>
                </c:pt>
                <c:pt idx="1">
                  <c:v>0.6288659793814432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gradFill rotWithShape="1">
              <a:gsLst>
                <a:gs pos="0">
                  <a:schemeClr val="accent3"/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114300" dist="114300" dir="5400000" rotWithShape="0">
                <a:srgbClr val="000000">
                  <a:alpha val="70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9800000"/>
              </a:lightRig>
            </a:scene3d>
            <a:sp3d prstMaterial="plastic">
              <a:bevelT w="50800" h="508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Millennials</c:v>
                </c:pt>
                <c:pt idx="1">
                  <c:v>Non-millennials</c:v>
                </c:pt>
              </c:strCache>
            </c:strRef>
          </c:cat>
          <c:val>
            <c:numRef>
              <c:f>Sheet1!$C$2:$C$3</c:f>
              <c:numCache>
                <c:formatCode>###0%</c:formatCode>
                <c:ptCount val="2"/>
                <c:pt idx="0">
                  <c:v>0.20434782608695654</c:v>
                </c:pt>
                <c:pt idx="1">
                  <c:v>0.3711340206185567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782839328"/>
        <c:axId val="782845856"/>
        <c:axId val="0"/>
      </c:bar3DChart>
      <c:catAx>
        <c:axId val="782839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45856"/>
        <c:crosses val="autoZero"/>
        <c:auto val="1"/>
        <c:lblAlgn val="ctr"/>
        <c:lblOffset val="100"/>
        <c:noMultiLvlLbl val="0"/>
      </c:catAx>
      <c:valAx>
        <c:axId val="782845856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39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200" b="1" i="0" u="none" strike="noStrike" kern="1200" cap="all" spc="15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solidFill>
                  <a:schemeClr val="tx1"/>
                </a:solidFill>
              </a:rPr>
              <a:t>Satisfaction</a:t>
            </a:r>
            <a:r>
              <a:rPr lang="en-US" baseline="0" dirty="0" smtClean="0">
                <a:solidFill>
                  <a:schemeClr val="tx1"/>
                </a:solidFill>
              </a:rPr>
              <a:t> scores</a:t>
            </a:r>
            <a:endParaRPr lang="en-US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200" b="1" i="0" u="none" strike="noStrike" kern="1200" cap="all" spc="150" baseline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romoter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n-app Chat</c:v>
                </c:pt>
                <c:pt idx="1">
                  <c:v>Social-media</c:v>
                </c:pt>
                <c:pt idx="2">
                  <c:v>Video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4780219780219793</c:v>
                </c:pt>
                <c:pt idx="1">
                  <c:v>0.45786516853932585</c:v>
                </c:pt>
                <c:pt idx="2">
                  <c:v>0.5045871559633028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assive</c:v>
                </c:pt>
              </c:strCache>
            </c:strRef>
          </c:tx>
          <c:spPr>
            <a:pattFill prst="narHorz">
              <a:fgClr>
                <a:schemeClr val="accent3"/>
              </a:fgClr>
              <a:bgClr>
                <a:schemeClr val="accent3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3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n-app Chat</c:v>
                </c:pt>
                <c:pt idx="1">
                  <c:v>Social-media</c:v>
                </c:pt>
                <c:pt idx="2">
                  <c:v>Video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42</c:v>
                </c:pt>
                <c:pt idx="1">
                  <c:v>0.35</c:v>
                </c:pt>
                <c:pt idx="2">
                  <c:v>0.3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etractors</c:v>
                </c:pt>
              </c:strCache>
            </c:strRef>
          </c:tx>
          <c:spPr>
            <a:pattFill prst="narHorz">
              <a:fgClr>
                <a:schemeClr val="accent5"/>
              </a:fgClr>
              <a:bgClr>
                <a:schemeClr val="accent5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n-app Chat</c:v>
                </c:pt>
                <c:pt idx="1">
                  <c:v>Social-media</c:v>
                </c:pt>
                <c:pt idx="2">
                  <c:v>Video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13</c:v>
                </c:pt>
                <c:pt idx="1">
                  <c:v>0.19</c:v>
                </c:pt>
                <c:pt idx="2">
                  <c:v>0.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42019472"/>
        <c:axId val="782837696"/>
      </c:barChart>
      <c:valAx>
        <c:axId val="782837696"/>
        <c:scaling>
          <c:orientation val="minMax"/>
        </c:scaling>
        <c:delete val="0"/>
        <c:axPos val="b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019472"/>
        <c:crosses val="autoZero"/>
        <c:crossBetween val="between"/>
      </c:valAx>
      <c:catAx>
        <c:axId val="742019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376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24593706911378"/>
          <c:y val="1.7096575338396872E-2"/>
          <c:w val="0.86920949471318454"/>
          <c:h val="0.6935790850843999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Will use only online consultation</c:v>
                </c:pt>
              </c:strCache>
            </c:strRef>
          </c:tx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n-millennials</c:v>
                </c:pt>
                <c:pt idx="1">
                  <c:v>Millennials</c:v>
                </c:pt>
                <c:pt idx="2">
                  <c:v>Tota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1039794608472402</c:v>
                </c:pt>
                <c:pt idx="1">
                  <c:v>0.20103857566765584</c:v>
                </c:pt>
                <c:pt idx="2">
                  <c:v>0.1524432209222298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Will use more of online and less of in-person consultation</c:v>
                </c:pt>
              </c:strCache>
            </c:strRef>
          </c:tx>
          <c:spPr>
            <a:pattFill prst="narHorz">
              <a:fgClr>
                <a:schemeClr val="accent3"/>
              </a:fgClr>
              <a:bgClr>
                <a:schemeClr val="accent3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3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n-millennials</c:v>
                </c:pt>
                <c:pt idx="1">
                  <c:v>Millennials</c:v>
                </c:pt>
                <c:pt idx="2">
                  <c:v>Total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23555840821566112</c:v>
                </c:pt>
                <c:pt idx="1">
                  <c:v>0.27818991097922852</c:v>
                </c:pt>
                <c:pt idx="2">
                  <c:v>0.25533379215416385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Will use equal of online and in-person consultation</c:v>
                </c:pt>
              </c:strCache>
            </c:strRef>
          </c:tx>
          <c:spPr>
            <a:pattFill prst="narHorz">
              <a:fgClr>
                <a:schemeClr val="accent5"/>
              </a:fgClr>
              <a:bgClr>
                <a:schemeClr val="accent5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5"/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n-millennials</c:v>
                </c:pt>
                <c:pt idx="1">
                  <c:v>Millennials</c:v>
                </c:pt>
                <c:pt idx="2">
                  <c:v>Total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24839537869062908</c:v>
                </c:pt>
                <c:pt idx="1">
                  <c:v>0.28115727002967367</c:v>
                </c:pt>
                <c:pt idx="2">
                  <c:v>0.26359256710254653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Will use more of in-person and less of online</c:v>
                </c:pt>
              </c:strCache>
            </c:strRef>
          </c:tx>
          <c:spPr>
            <a:pattFill prst="narHorz">
              <a:fgClr>
                <a:schemeClr val="accent1">
                  <a:lumMod val="60000"/>
                </a:schemeClr>
              </a:fgClr>
              <a:bgClr>
                <a:schemeClr val="accent1">
                  <a:lumMod val="60000"/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>
                  <a:lumMod val="60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n-millennials</c:v>
                </c:pt>
                <c:pt idx="1">
                  <c:v>Millennials</c:v>
                </c:pt>
                <c:pt idx="2">
                  <c:v>Total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16367137355584088</c:v>
                </c:pt>
                <c:pt idx="1">
                  <c:v>0.14688427299703266</c:v>
                </c:pt>
                <c:pt idx="2">
                  <c:v>0.15588437715072267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Will use only in-person consultation</c:v>
                </c:pt>
              </c:strCache>
            </c:strRef>
          </c:tx>
          <c:spPr>
            <a:pattFill prst="narHorz">
              <a:fgClr>
                <a:schemeClr val="accent3">
                  <a:lumMod val="60000"/>
                </a:schemeClr>
              </a:fgClr>
              <a:bgClr>
                <a:schemeClr val="accent3">
                  <a:lumMod val="60000"/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3">
                  <a:lumMod val="60000"/>
                </a:schemeClr>
              </a:inn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Non-millennials</c:v>
                </c:pt>
                <c:pt idx="1">
                  <c:v>Millennials</c:v>
                </c:pt>
                <c:pt idx="2">
                  <c:v>Total</c:v>
                </c:pt>
              </c:strCache>
            </c:strRef>
          </c:cat>
          <c:val>
            <c:numRef>
              <c:f>Sheet1!$F$2:$F$4</c:f>
              <c:numCache>
                <c:formatCode>0%</c:formatCode>
                <c:ptCount val="3"/>
                <c:pt idx="0">
                  <c:v>0.24197689345314508</c:v>
                </c:pt>
                <c:pt idx="1">
                  <c:v>9.2729970326409505E-2</c:v>
                </c:pt>
                <c:pt idx="2">
                  <c:v>0.17274604267033725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742020560"/>
        <c:axId val="742026000"/>
      </c:barChart>
      <c:catAx>
        <c:axId val="7420205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026000"/>
        <c:crosses val="autoZero"/>
        <c:auto val="1"/>
        <c:lblAlgn val="ctr"/>
        <c:lblOffset val="100"/>
        <c:noMultiLvlLbl val="0"/>
      </c:catAx>
      <c:valAx>
        <c:axId val="742026000"/>
        <c:scaling>
          <c:orientation val="minMax"/>
        </c:scaling>
        <c:delete val="0"/>
        <c:axPos val="b"/>
        <c:majorGridlines>
          <c:spPr>
            <a:ln>
              <a:solidFill>
                <a:schemeClr val="tx1">
                  <a:lumMod val="15000"/>
                  <a:lumOff val="85000"/>
                </a:schemeClr>
              </a:solidFill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42020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9901556030172328E-2"/>
          <c:y val="0.82620880825724419"/>
          <c:w val="0.8139744226200879"/>
          <c:h val="0.1737911917427557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421698192854735E-2"/>
          <c:y val="3.1210264146745874E-2"/>
          <c:w val="0.90142731405357168"/>
          <c:h val="0.8843849031855886"/>
        </c:manualLayout>
      </c:layout>
      <c:scatterChart>
        <c:scatterStyle val="lineMarker"/>
        <c:varyColors val="0"/>
        <c:ser>
          <c:idx val="0"/>
          <c:order val="0"/>
          <c:tx>
            <c:strRef>
              <c:f>'Sheet1 (2)'!$C$1</c:f>
              <c:strCache>
                <c:ptCount val="1"/>
                <c:pt idx="0">
                  <c:v>Online</c:v>
                </c:pt>
              </c:strCache>
            </c:strRef>
          </c:tx>
          <c:spPr>
            <a:ln w="25400" cap="rnd">
              <a:noFill/>
              <a:round/>
            </a:ln>
            <a:effectLst/>
          </c:spPr>
          <c:marker>
            <c:symbol val="diamond"/>
            <c:size val="6"/>
            <c:spPr>
              <a:solidFill>
                <a:schemeClr val="accent1"/>
              </a:solidFill>
              <a:ln w="9525">
                <a:solidFill>
                  <a:schemeClr val="accent1"/>
                </a:solidFill>
                <a:round/>
              </a:ln>
              <a:effectLst/>
            </c:spPr>
          </c:marker>
          <c:dLbls>
            <c:dLbl>
              <c:idx val="0"/>
              <c:tx>
                <c:rich>
                  <a:bodyPr/>
                  <a:lstStyle/>
                  <a:p>
                    <a:fld id="{6B26F554-178F-4ED2-82DE-34DD32F5D6F9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06478043-B090-46B1-A0EE-CC31B9860E51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C4DDEC85-3365-4972-AE5C-CF5C55EDDCA4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1DD749C2-7077-47EB-96D6-1656F3EF2B7B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4"/>
              <c:layout>
                <c:manualLayout>
                  <c:x val="-1.6040985503019242E-2"/>
                  <c:y val="5.2220049726024093E-2"/>
                </c:manualLayout>
              </c:layout>
              <c:tx>
                <c:rich>
                  <a:bodyPr/>
                  <a:lstStyle/>
                  <a:p>
                    <a:fld id="{9E5F880C-60B7-4D6A-B921-DD438924FDE4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0B57ED9B-E990-4D2F-A546-F0FF90DCCE3E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6"/>
              <c:layout>
                <c:manualLayout>
                  <c:x val="-6.4712321509722099E-3"/>
                  <c:y val="4.9767542906799911E-2"/>
                </c:manualLayout>
              </c:layout>
              <c:tx>
                <c:rich>
                  <a:bodyPr/>
                  <a:lstStyle/>
                  <a:p>
                    <a:fld id="{B1F3BD07-3547-46CF-9C0D-99629958B56C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fld id="{2C50984E-9DA1-4930-BAB4-85A39D6E0565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8"/>
              <c:tx>
                <c:rich>
                  <a:bodyPr/>
                  <a:lstStyle/>
                  <a:p>
                    <a:fld id="{5758D2CB-35AB-4BE3-AADA-B36D10E3D546}" type="CELLRANGE">
                      <a:rPr lang="en-IN"/>
                      <a:pPr/>
                      <a:t>[CELLRANGE]</a:t>
                    </a:fld>
                    <a:endParaRPr lang="en-IN"/>
                  </a:p>
                </c:rich>
              </c:tx>
              <c:dLblPos val="t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</c:extLst>
            </c:dLbl>
            <c:dLbl>
              <c:idx val="9"/>
              <c:layout>
                <c:manualLayout>
                  <c:x val="1.3911976238658828E-3"/>
                  <c:y val="-1.8902648031477145E-2"/>
                </c:manualLayout>
              </c:layout>
              <c:tx>
                <c:rich>
                  <a:bodyPr/>
                  <a:lstStyle/>
                  <a:p>
                    <a:fld id="{BA4F471E-7EFB-43D1-994B-36DC9B08DD6F}" type="CELLRANGE">
                      <a:rPr lang="en-US" dirty="0"/>
                      <a:pPr/>
                      <a:t>[CELLRANGE]</a:t>
                    </a:fld>
                    <a:endParaRPr lang="en-IN"/>
                  </a:p>
                </c:rich>
              </c:tx>
              <c:dLblPos val="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'Sheet1 (2)'!$B$2:$B$11</c:f>
              <c:numCache>
                <c:formatCode>0%</c:formatCode>
                <c:ptCount val="10"/>
                <c:pt idx="0">
                  <c:v>0.87000000000000022</c:v>
                </c:pt>
                <c:pt idx="1">
                  <c:v>0.33779264214046828</c:v>
                </c:pt>
                <c:pt idx="2">
                  <c:v>0.48484848484848497</c:v>
                </c:pt>
                <c:pt idx="3">
                  <c:v>0.40338983050847466</c:v>
                </c:pt>
                <c:pt idx="4">
                  <c:v>0.65656565656565669</c:v>
                </c:pt>
                <c:pt idx="5">
                  <c:v>0.57718120805369133</c:v>
                </c:pt>
                <c:pt idx="6">
                  <c:v>0.69798657718120827</c:v>
                </c:pt>
                <c:pt idx="7">
                  <c:v>0.54421768707483009</c:v>
                </c:pt>
                <c:pt idx="8">
                  <c:v>0.67785234899328861</c:v>
                </c:pt>
                <c:pt idx="9">
                  <c:v>0.69130434782608707</c:v>
                </c:pt>
              </c:numCache>
            </c:numRef>
          </c:xVal>
          <c:yVal>
            <c:numRef>
              <c:f>'Sheet1 (2)'!$C$2:$C$11</c:f>
              <c:numCache>
                <c:formatCode>0%</c:formatCode>
                <c:ptCount val="10"/>
                <c:pt idx="0">
                  <c:v>0.31666666666666676</c:v>
                </c:pt>
                <c:pt idx="1">
                  <c:v>0.8628762541806021</c:v>
                </c:pt>
                <c:pt idx="2">
                  <c:v>0.75757575757575779</c:v>
                </c:pt>
                <c:pt idx="3">
                  <c:v>0.78983050847457648</c:v>
                </c:pt>
                <c:pt idx="4">
                  <c:v>0.64309764309764317</c:v>
                </c:pt>
                <c:pt idx="5">
                  <c:v>0.778523489932886</c:v>
                </c:pt>
                <c:pt idx="6">
                  <c:v>0.54697986577181223</c:v>
                </c:pt>
                <c:pt idx="7">
                  <c:v>0.70068027210884365</c:v>
                </c:pt>
                <c:pt idx="8">
                  <c:v>0.66778523489932895</c:v>
                </c:pt>
                <c:pt idx="9">
                  <c:v>0.64782608695652177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datalabelsRange>
                <c15:f>'Sheet1 (2)'!$A$2:$A$11</c15:f>
                <c15:dlblRangeCache>
                  <c:ptCount val="10"/>
                  <c:pt idx="0">
                    <c:v>Germany</c:v>
                  </c:pt>
                  <c:pt idx="1">
                    <c:v>India</c:v>
                  </c:pt>
                  <c:pt idx="2">
                    <c:v>Indonesia</c:v>
                  </c:pt>
                  <c:pt idx="3">
                    <c:v>KSA</c:v>
                  </c:pt>
                  <c:pt idx="4">
                    <c:v>Mexico</c:v>
                  </c:pt>
                  <c:pt idx="5">
                    <c:v>Nigeria</c:v>
                  </c:pt>
                  <c:pt idx="6">
                    <c:v>RSA</c:v>
                  </c:pt>
                  <c:pt idx="7">
                    <c:v>UAE</c:v>
                  </c:pt>
                  <c:pt idx="8">
                    <c:v>UK</c:v>
                  </c:pt>
                  <c:pt idx="9">
                    <c:v>US</c:v>
                  </c:pt>
                </c15:dlblRangeCache>
              </c15:datalabelsRange>
            </c:ext>
          </c:extLst>
        </c:ser>
        <c:ser>
          <c:idx val="1"/>
          <c:order val="1"/>
          <c:tx>
            <c:strRef>
              <c:f>'Sheet1 (2)'!$A$14</c:f>
              <c:strCache>
                <c:ptCount val="1"/>
                <c:pt idx="0">
                  <c:v>X-axis</c:v>
                </c:pt>
              </c:strCache>
            </c:strRef>
          </c:tx>
          <c:spPr>
            <a:ln w="2222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8.8664455416148577E-3"/>
                  <c:y val="-3.08802690016604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6411859439163951E-2"/>
                  <c:y val="-3.3823343680442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'Sheet1 (2)'!$B$14:$B$15</c:f>
              <c:numCache>
                <c:formatCode>0%</c:formatCode>
                <c:ptCount val="2"/>
                <c:pt idx="0">
                  <c:v>0.3</c:v>
                </c:pt>
                <c:pt idx="1">
                  <c:v>1</c:v>
                </c:pt>
              </c:numCache>
            </c:numRef>
          </c:xVal>
          <c:yVal>
            <c:numRef>
              <c:f>'Sheet1 (2)'!$C$14:$C$15</c:f>
              <c:numCache>
                <c:formatCode>0%</c:formatCode>
                <c:ptCount val="2"/>
                <c:pt idx="0">
                  <c:v>0.65</c:v>
                </c:pt>
                <c:pt idx="1">
                  <c:v>0.65</c:v>
                </c:pt>
              </c:numCache>
            </c:numRef>
          </c:yVal>
          <c:smooth val="0"/>
        </c:ser>
        <c:ser>
          <c:idx val="2"/>
          <c:order val="2"/>
          <c:tx>
            <c:strRef>
              <c:f>'Sheet1 (2)'!$A$17</c:f>
              <c:strCache>
                <c:ptCount val="1"/>
                <c:pt idx="0">
                  <c:v>Y-axis</c:v>
                </c:pt>
              </c:strCache>
            </c:strRef>
          </c:tx>
          <c:spPr>
            <a:ln w="2222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2.6417128405820224E-3"/>
                  <c:y val="-3.970949303800632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5.8193531105834848E-2"/>
                  <c:y val="2.9430746787819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xVal>
            <c:numRef>
              <c:f>'Sheet1 (2)'!$B$17:$B$18</c:f>
              <c:numCache>
                <c:formatCode>0%</c:formatCode>
                <c:ptCount val="2"/>
                <c:pt idx="0">
                  <c:v>0.65</c:v>
                </c:pt>
                <c:pt idx="1">
                  <c:v>0.65</c:v>
                </c:pt>
              </c:numCache>
            </c:numRef>
          </c:xVal>
          <c:yVal>
            <c:numRef>
              <c:f>'Sheet1 (2)'!$C$17:$C$18</c:f>
              <c:numCache>
                <c:formatCode>0%</c:formatCode>
                <c:ptCount val="2"/>
                <c:pt idx="0">
                  <c:v>0.3</c:v>
                </c:pt>
                <c:pt idx="1">
                  <c:v>1</c:v>
                </c:pt>
              </c:numCache>
            </c:numRef>
          </c:yVal>
          <c:smooth val="0"/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axId val="869921120"/>
        <c:axId val="869915680"/>
      </c:scatterChart>
      <c:valAx>
        <c:axId val="869921120"/>
        <c:scaling>
          <c:orientation val="minMax"/>
          <c:max val="1"/>
          <c:min val="0.3000000000000000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9915680"/>
        <c:crosses val="autoZero"/>
        <c:crossBetween val="midCat"/>
        <c:majorUnit val="0.2"/>
      </c:valAx>
      <c:valAx>
        <c:axId val="869915680"/>
        <c:scaling>
          <c:orientation val="minMax"/>
          <c:max val="1"/>
          <c:min val="0.3000000000000000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9921120"/>
        <c:crosses val="autoZero"/>
        <c:crossBetween val="midCat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GB" dirty="0" smtClean="0">
                <a:solidFill>
                  <a:schemeClr val="tx1"/>
                </a:solidFill>
              </a:rPr>
              <a:t>Preference for</a:t>
            </a:r>
            <a:r>
              <a:rPr lang="en-GB" baseline="0" dirty="0" smtClean="0">
                <a:solidFill>
                  <a:schemeClr val="tx1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Consultation</a:t>
            </a:r>
            <a:endParaRPr lang="en-GB" dirty="0">
              <a:solidFill>
                <a:schemeClr val="tx1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Will use only online consultation</c:v>
                </c:pt>
                <c:pt idx="1">
                  <c:v>Will use more of online and less of in-person consultation</c:v>
                </c:pt>
                <c:pt idx="2">
                  <c:v>Will use equal of online and in-person consultation</c:v>
                </c:pt>
                <c:pt idx="3">
                  <c:v>Will use more of in-person and less of online</c:v>
                </c:pt>
                <c:pt idx="4">
                  <c:v>Will use only in-person consultation</c:v>
                </c:pt>
              </c:strCache>
            </c:strRef>
          </c:cat>
          <c:val>
            <c:numRef>
              <c:f>Sheet1!$B$2:$B$6</c:f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ave stoped consultation</c:v>
                </c:pt>
              </c:strCache>
            </c:strRef>
          </c:tx>
          <c:spPr>
            <a:gradFill rotWithShape="1">
              <a:gsLst>
                <a:gs pos="0">
                  <a:schemeClr val="accent3"/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0"/>
                  <c:y val="8.50626086667319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0402241552760173E-17"/>
                  <c:y val="9.972857567823735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2037840881583047E-3"/>
                  <c:y val="8.50626086667319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8.0804483105520345E-17"/>
                  <c:y val="6.45302548506242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1.1018920440791524E-3"/>
                  <c:y val="7.62630284598285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Will use only online consultation</c:v>
                </c:pt>
                <c:pt idx="1">
                  <c:v>Will use more of online and less of in-person consultation</c:v>
                </c:pt>
                <c:pt idx="2">
                  <c:v>Will use equal of online and in-person consultation</c:v>
                </c:pt>
                <c:pt idx="3">
                  <c:v>Will use more of in-person and less of online</c:v>
                </c:pt>
                <c:pt idx="4">
                  <c:v>Will use only in-person consultation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22470817120622572</c:v>
                </c:pt>
                <c:pt idx="1">
                  <c:v>0.24708171206225685</c:v>
                </c:pt>
                <c:pt idx="2">
                  <c:v>0.21692607003891057</c:v>
                </c:pt>
                <c:pt idx="3">
                  <c:v>0.13715953307393</c:v>
                </c:pt>
                <c:pt idx="4">
                  <c:v>0.1741245136186770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re still consulting</c:v>
                </c:pt>
              </c:strCache>
            </c:strRef>
          </c:tx>
          <c:spPr>
            <a:gradFill rotWithShape="1">
              <a:gsLst>
                <a:gs pos="0">
                  <a:schemeClr val="accent5"/>
                </a:gs>
                <a:gs pos="100000">
                  <a:schemeClr val="accent5">
                    <a:shade val="48000"/>
                    <a:satMod val="180000"/>
                    <a:lumMod val="94000"/>
                  </a:schemeClr>
                </a:gs>
                <a:gs pos="100000">
                  <a:schemeClr val="accent5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4.0402241552760173E-17"/>
                  <c:y val="6.45302548506242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0.1026617690805385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8.0804483105520345E-17"/>
                  <c:y val="0.1055949624828396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8.0804483105520345E-17"/>
                  <c:y val="7.626302845982864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"/>
                  <c:y val="7.9196221862129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Will use only online consultation</c:v>
                </c:pt>
                <c:pt idx="1">
                  <c:v>Will use more of online and less of in-person consultation</c:v>
                </c:pt>
                <c:pt idx="2">
                  <c:v>Will use equal of online and in-person consultation</c:v>
                </c:pt>
                <c:pt idx="3">
                  <c:v>Will use more of in-person and less of online</c:v>
                </c:pt>
                <c:pt idx="4">
                  <c:v>Will use only in-person consultation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11288604898828544</c:v>
                </c:pt>
                <c:pt idx="1">
                  <c:v>0.25985090521831744</c:v>
                </c:pt>
                <c:pt idx="2">
                  <c:v>0.28913738019169333</c:v>
                </c:pt>
                <c:pt idx="3">
                  <c:v>0.16613418530351443</c:v>
                </c:pt>
                <c:pt idx="4">
                  <c:v>0.1719914802981895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551010256"/>
        <c:axId val="1071053504"/>
        <c:axId val="0"/>
      </c:bar3DChart>
      <c:catAx>
        <c:axId val="5510102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3504"/>
        <c:crosses val="autoZero"/>
        <c:auto val="1"/>
        <c:lblAlgn val="ctr"/>
        <c:lblOffset val="100"/>
        <c:noMultiLvlLbl val="0"/>
      </c:catAx>
      <c:valAx>
        <c:axId val="107105350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510102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b="1" dirty="0">
                <a:solidFill>
                  <a:schemeClr val="tx1"/>
                </a:solidFill>
              </a:rPr>
              <a:t>Future usage of Online Consult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Glob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Very likely</c:v>
                </c:pt>
                <c:pt idx="1">
                  <c:v>Somewhat likely</c:v>
                </c:pt>
                <c:pt idx="2">
                  <c:v>Somewhat not likely</c:v>
                </c:pt>
                <c:pt idx="3">
                  <c:v>Not at all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1706813489332423</c:v>
                </c:pt>
                <c:pt idx="1">
                  <c:v>0.38128011011699936</c:v>
                </c:pt>
                <c:pt idx="2">
                  <c:v>0.11424638678596009</c:v>
                </c:pt>
                <c:pt idx="3">
                  <c:v>8.740536820371645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6132041072838622E-2"/>
          <c:y val="0.84757356374747295"/>
          <c:w val="0.82836007452968341"/>
          <c:h val="8.895052687146830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1862" b="1" i="0" u="none" strike="noStrike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862" b="1" i="0" u="none" strike="noStrike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urrent usage of Online Consultation</a:t>
            </a:r>
          </a:p>
        </c:rich>
      </c:tx>
      <c:layout>
        <c:manualLayout>
          <c:xMode val="edge"/>
          <c:yMode val="edge"/>
          <c:x val="0.19442095552259234"/>
          <c:y val="9.10921604447888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1862" b="1" i="0" u="none" strike="noStrike" kern="1200" spc="0" baseline="0" dirty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0360639120628755"/>
          <c:y val="6.0824828536559128E-2"/>
          <c:w val="0.88139481679540765"/>
          <c:h val="0.79920579633914279"/>
        </c:manualLayout>
      </c:layout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114300" dist="114300" dir="5400000" rotWithShape="0">
                <a:srgbClr val="000000">
                  <a:alpha val="70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9800000"/>
              </a:lightRig>
            </a:scene3d>
            <a:sp3d prstMaterial="plastic">
              <a:bevelT w="50800" h="508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Using Online Consultation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071050784"/>
        <c:axId val="1071056224"/>
        <c:axId val="0"/>
      </c:bar3DChart>
      <c:catAx>
        <c:axId val="10710507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6224"/>
        <c:crosses val="autoZero"/>
        <c:auto val="1"/>
        <c:lblAlgn val="ctr"/>
        <c:lblOffset val="100"/>
        <c:noMultiLvlLbl val="0"/>
      </c:catAx>
      <c:valAx>
        <c:axId val="107105622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07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ople already using Online Consultatio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2"/>
              <c:layout>
                <c:manualLayout>
                  <c:x val="8.9687350637139868E-2"/>
                  <c:y val="8.2051240552990068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3.405533146812971E-2"/>
                  <c:y val="6.718949998500571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7.8180539418282263E-2"/>
                      <c:h val="7.5491111230642463E-2"/>
                    </c:manualLayout>
                  </c15:layout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Very likely</c:v>
                </c:pt>
                <c:pt idx="1">
                  <c:v>Somewhat likely</c:v>
                </c:pt>
                <c:pt idx="2">
                  <c:v>Somewhat not likely</c:v>
                </c:pt>
                <c:pt idx="3">
                  <c:v>Not at all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51492537313432829</c:v>
                </c:pt>
                <c:pt idx="1">
                  <c:v>0.39303482587064681</c:v>
                </c:pt>
                <c:pt idx="2">
                  <c:v>5.9701492537313439E-2</c:v>
                </c:pt>
                <c:pt idx="3">
                  <c:v>3.233830845771144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eople already using Online Consultatio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###0%</c:formatCode>
                <c:ptCount val="2"/>
                <c:pt idx="0">
                  <c:v>0.43</c:v>
                </c:pt>
                <c:pt idx="1">
                  <c:v>0.5699999999999999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IN" dirty="0">
                <a:solidFill>
                  <a:schemeClr val="tx1"/>
                </a:solidFill>
              </a:rPr>
              <a:t>Gender</a:t>
            </a:r>
          </a:p>
        </c:rich>
      </c:tx>
      <c:layout>
        <c:manualLayout>
          <c:xMode val="edge"/>
          <c:yMode val="edge"/>
          <c:x val="0.4727001998131557"/>
          <c:y val="4.80218556161780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Age Group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Male</c:v>
                </c:pt>
                <c:pt idx="1">
                  <c:v>Femal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2546455609084664</c:v>
                </c:pt>
                <c:pt idx="1">
                  <c:v>0.474535443909153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80298433551199422"/>
          <c:y val="0.46351489102914556"/>
          <c:w val="0.16076708557679392"/>
          <c:h val="0.20276944940295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lang="en-US" sz="2160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2160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Travel in 2020</a:t>
            </a:r>
          </a:p>
        </c:rich>
      </c:tx>
      <c:layout>
        <c:manualLayout>
          <c:xMode val="edge"/>
          <c:yMode val="edge"/>
          <c:x val="0.32132550627765211"/>
          <c:y val="8.826375805537102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lang="en-US" sz="2160" b="1" i="0" u="none" strike="noStrike" kern="1200" cap="all" spc="120" normalizeH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4046799724707514</c:v>
                </c:pt>
                <c:pt idx="1">
                  <c:v>0.55953200275292514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People planning to travel in 2020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US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27826086956521745</c:v>
                </c:pt>
                <c:pt idx="1">
                  <c:v>0.34563758389261751</c:v>
                </c:pt>
                <c:pt idx="2">
                  <c:v>0.52380952380952395</c:v>
                </c:pt>
                <c:pt idx="3">
                  <c:v>0.32885906040268464</c:v>
                </c:pt>
                <c:pt idx="4">
                  <c:v>0.40939597315436249</c:v>
                </c:pt>
                <c:pt idx="5">
                  <c:v>0.43097643097643101</c:v>
                </c:pt>
                <c:pt idx="6">
                  <c:v>0.64067796610169503</c:v>
                </c:pt>
                <c:pt idx="7">
                  <c:v>0.46</c:v>
                </c:pt>
                <c:pt idx="8">
                  <c:v>0.53846153846153855</c:v>
                </c:pt>
                <c:pt idx="9">
                  <c:v>0.416666666666666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1071056768"/>
        <c:axId val="1071060032"/>
        <c:axId val="0"/>
      </c:bar3DChart>
      <c:catAx>
        <c:axId val="107105676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60032"/>
        <c:crosses val="autoZero"/>
        <c:auto val="1"/>
        <c:lblAlgn val="ctr"/>
        <c:lblOffset val="100"/>
        <c:noMultiLvlLbl val="0"/>
      </c:catAx>
      <c:valAx>
        <c:axId val="1071060032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07105676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2.0823465355080524E-17"/>
                  <c:y val="0.121235952119299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4.1646930710161048E-17"/>
                  <c:y val="0.1443285144277373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358385041560571E-3"/>
                  <c:y val="0.1241225224078541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1.1358385041561404E-3"/>
                  <c:y val="0.1039165303879709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Very likely</c:v>
                </c:pt>
                <c:pt idx="1">
                  <c:v>Somewhat likely</c:v>
                </c:pt>
                <c:pt idx="2">
                  <c:v>Somewhat unlikely</c:v>
                </c:pt>
                <c:pt idx="3">
                  <c:v>Very unlikely</c:v>
                </c:pt>
              </c:strCache>
            </c:strRef>
          </c:cat>
          <c:val>
            <c:numRef>
              <c:f>Sheet1!$B$2:$B$5</c:f>
              <c:numCache>
                <c:formatCode>###0%</c:formatCode>
                <c:ptCount val="4"/>
                <c:pt idx="0">
                  <c:v>0.25312499999999999</c:v>
                </c:pt>
                <c:pt idx="1">
                  <c:v>0.30234375000000002</c:v>
                </c:pt>
                <c:pt idx="2">
                  <c:v>0.25312499999999999</c:v>
                </c:pt>
                <c:pt idx="3">
                  <c:v>0.1914062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ople Having travel plans in 2020</c:v>
                </c:pt>
              </c:strCache>
            </c:strRef>
          </c:tx>
          <c:spPr>
            <a:gradFill rotWithShape="1">
              <a:gsLst>
                <a:gs pos="0">
                  <a:schemeClr val="accent3"/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0"/>
                  <c:y val="0.1154628115421899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1358385041561404E-3"/>
                  <c:y val="0.155874795581956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8.3293861420322096E-17"/>
                  <c:y val="0.1298956629849636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0.11834938183074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5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Very likely</c:v>
                </c:pt>
                <c:pt idx="1">
                  <c:v>Somewhat likely</c:v>
                </c:pt>
                <c:pt idx="2">
                  <c:v>Somewhat unlikely</c:v>
                </c:pt>
                <c:pt idx="3">
                  <c:v>Very unlikely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2918100481761877</c:v>
                </c:pt>
                <c:pt idx="1">
                  <c:v>0.30695113558155546</c:v>
                </c:pt>
                <c:pt idx="2">
                  <c:v>0.25086028905712326</c:v>
                </c:pt>
                <c:pt idx="3">
                  <c:v>0.2130075705437026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071054048"/>
        <c:axId val="1071061120"/>
        <c:axId val="0"/>
      </c:bar3DChart>
      <c:catAx>
        <c:axId val="10710540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61120"/>
        <c:crosses val="autoZero"/>
        <c:auto val="1"/>
        <c:lblAlgn val="ctr"/>
        <c:lblOffset val="100"/>
        <c:noMultiLvlLbl val="0"/>
      </c:catAx>
      <c:valAx>
        <c:axId val="1071061120"/>
        <c:scaling>
          <c:orientation val="minMax"/>
          <c:max val="1"/>
        </c:scaling>
        <c:delete val="0"/>
        <c:axPos val="l"/>
        <c:numFmt formatCode="###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40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likel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USA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  <c:pt idx="10">
                  <c:v>Global</c:v>
                </c:pt>
              </c:strCache>
            </c:strRef>
          </c:cat>
          <c:val>
            <c:numRef>
              <c:f>Sheet1!$B$2:$B$12</c:f>
              <c:numCache>
                <c:formatCode>###0%</c:formatCode>
                <c:ptCount val="11"/>
                <c:pt idx="0">
                  <c:v>0.265625</c:v>
                </c:pt>
                <c:pt idx="1">
                  <c:v>0.13592233009708737</c:v>
                </c:pt>
                <c:pt idx="2">
                  <c:v>0.23376623376623379</c:v>
                </c:pt>
                <c:pt idx="3">
                  <c:v>0.33673469387755106</c:v>
                </c:pt>
                <c:pt idx="4">
                  <c:v>0.32786885245901637</c:v>
                </c:pt>
                <c:pt idx="5">
                  <c:v>0.1875</c:v>
                </c:pt>
                <c:pt idx="6">
                  <c:v>0.25396825396825395</c:v>
                </c:pt>
                <c:pt idx="7">
                  <c:v>0.21323529411764708</c:v>
                </c:pt>
                <c:pt idx="8">
                  <c:v>0.40993788819875776</c:v>
                </c:pt>
                <c:pt idx="9">
                  <c:v>0.13600000000000001</c:v>
                </c:pt>
                <c:pt idx="10">
                  <c:v>0.25312499999999999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likel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USA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  <c:pt idx="10">
                  <c:v>Global</c:v>
                </c:pt>
              </c:strCache>
            </c:strRef>
          </c:cat>
          <c:val>
            <c:numRef>
              <c:f>Sheet1!$C$2:$C$12</c:f>
              <c:numCache>
                <c:formatCode>###0%</c:formatCode>
                <c:ptCount val="11"/>
                <c:pt idx="0">
                  <c:v>0.21875</c:v>
                </c:pt>
                <c:pt idx="1">
                  <c:v>0.28155339805825241</c:v>
                </c:pt>
                <c:pt idx="2">
                  <c:v>0.35714285714285715</c:v>
                </c:pt>
                <c:pt idx="3">
                  <c:v>0.28571428571428575</c:v>
                </c:pt>
                <c:pt idx="4">
                  <c:v>0.36065573770491804</c:v>
                </c:pt>
                <c:pt idx="5">
                  <c:v>0.2265625</c:v>
                </c:pt>
                <c:pt idx="6">
                  <c:v>0.23280423280423282</c:v>
                </c:pt>
                <c:pt idx="7">
                  <c:v>0.43382352941176472</c:v>
                </c:pt>
                <c:pt idx="8">
                  <c:v>0.30434782608695654</c:v>
                </c:pt>
                <c:pt idx="9">
                  <c:v>0.28800000000000003</c:v>
                </c:pt>
                <c:pt idx="10">
                  <c:v>0.3023437500000000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mewhat unlikely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USA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  <c:pt idx="10">
                  <c:v>Global</c:v>
                </c:pt>
              </c:strCache>
            </c:strRef>
          </c:cat>
          <c:val>
            <c:numRef>
              <c:f>Sheet1!$D$2:$D$12</c:f>
              <c:numCache>
                <c:formatCode>###0%</c:formatCode>
                <c:ptCount val="11"/>
                <c:pt idx="0">
                  <c:v>0.296875</c:v>
                </c:pt>
                <c:pt idx="1">
                  <c:v>0.27184466019417475</c:v>
                </c:pt>
                <c:pt idx="2">
                  <c:v>0.27272727272727271</c:v>
                </c:pt>
                <c:pt idx="3">
                  <c:v>0.21428571428571427</c:v>
                </c:pt>
                <c:pt idx="4">
                  <c:v>0.14754098360655737</c:v>
                </c:pt>
                <c:pt idx="5">
                  <c:v>0.4140625</c:v>
                </c:pt>
                <c:pt idx="6">
                  <c:v>0.27513227513227512</c:v>
                </c:pt>
                <c:pt idx="7">
                  <c:v>0.19117647058823528</c:v>
                </c:pt>
                <c:pt idx="8">
                  <c:v>0.11801242236024845</c:v>
                </c:pt>
                <c:pt idx="9">
                  <c:v>0.36799999999999999</c:v>
                </c:pt>
                <c:pt idx="10">
                  <c:v>0.25312499999999999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unlikely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USA</c:v>
                </c:pt>
                <c:pt idx="1">
                  <c:v>UK</c:v>
                </c:pt>
                <c:pt idx="2">
                  <c:v>UAE</c:v>
                </c:pt>
                <c:pt idx="3">
                  <c:v>RSA</c:v>
                </c:pt>
                <c:pt idx="4">
                  <c:v>Nigeria</c:v>
                </c:pt>
                <c:pt idx="5">
                  <c:v>Mexico</c:v>
                </c:pt>
                <c:pt idx="6">
                  <c:v>KSA</c:v>
                </c:pt>
                <c:pt idx="7">
                  <c:v>Indonesia</c:v>
                </c:pt>
                <c:pt idx="8">
                  <c:v>India</c:v>
                </c:pt>
                <c:pt idx="9">
                  <c:v>Germany</c:v>
                </c:pt>
                <c:pt idx="10">
                  <c:v>Global</c:v>
                </c:pt>
              </c:strCache>
            </c:strRef>
          </c:cat>
          <c:val>
            <c:numRef>
              <c:f>Sheet1!$E$2:$E$12</c:f>
              <c:numCache>
                <c:formatCode>###0%</c:formatCode>
                <c:ptCount val="11"/>
                <c:pt idx="0">
                  <c:v>0.21875</c:v>
                </c:pt>
                <c:pt idx="1">
                  <c:v>0.31067961165048547</c:v>
                </c:pt>
                <c:pt idx="2">
                  <c:v>0.13636363636363635</c:v>
                </c:pt>
                <c:pt idx="3">
                  <c:v>0.16326530612244899</c:v>
                </c:pt>
                <c:pt idx="4">
                  <c:v>0.16393442622950818</c:v>
                </c:pt>
                <c:pt idx="5">
                  <c:v>0.171875</c:v>
                </c:pt>
                <c:pt idx="6">
                  <c:v>0.23809523809523811</c:v>
                </c:pt>
                <c:pt idx="7">
                  <c:v>0.16176470588235292</c:v>
                </c:pt>
                <c:pt idx="8">
                  <c:v>0.16770186335403725</c:v>
                </c:pt>
                <c:pt idx="9">
                  <c:v>0.20800000000000002</c:v>
                </c:pt>
                <c:pt idx="10">
                  <c:v>0.1914062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1071059488"/>
        <c:axId val="1071051872"/>
        <c:axId val="0"/>
      </c:bar3DChart>
      <c:catAx>
        <c:axId val="107105948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1872"/>
        <c:crosses val="autoZero"/>
        <c:auto val="1"/>
        <c:lblAlgn val="ctr"/>
        <c:lblOffset val="100"/>
        <c:noMultiLvlLbl val="0"/>
      </c:catAx>
      <c:valAx>
        <c:axId val="1071051872"/>
        <c:scaling>
          <c:orientation val="minMax"/>
        </c:scaling>
        <c:delete val="1"/>
        <c:axPos val="b"/>
        <c:numFmt formatCode="###0%" sourceLinked="1"/>
        <c:majorTickMark val="none"/>
        <c:minorTickMark val="none"/>
        <c:tickLblPos val="nextTo"/>
        <c:crossAx val="10710594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Medical Consultation</a:t>
            </a:r>
          </a:p>
        </c:rich>
      </c:tx>
      <c:layout>
        <c:manualLayout>
          <c:xMode val="edge"/>
          <c:yMode val="edge"/>
          <c:x val="0.39406800851522217"/>
          <c:y val="5.863705090763971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0"/>
                  <c:y val="0.1478673457670914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2130115898537331E-3"/>
                  <c:y val="0.1236476943052401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2804290509381671E-2"/>
                      <c:h val="7.2939392455111843E-2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1.1064840137454937E-3"/>
                  <c:y val="6.88347988915770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6228244731532626E-16"/>
                  <c:y val="6.62853618955926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General health checkup</c:v>
                </c:pt>
                <c:pt idx="1">
                  <c:v>Full body checkup</c:v>
                </c:pt>
                <c:pt idx="2">
                  <c:v>Vaccines / anti-flu medications</c:v>
                </c:pt>
                <c:pt idx="3">
                  <c:v>Checkup for specific ailment/sicknes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7343750000000007</c:v>
                </c:pt>
                <c:pt idx="1">
                  <c:v>0.26171875000000006</c:v>
                </c:pt>
                <c:pt idx="2">
                  <c:v>0.13984375000000002</c:v>
                </c:pt>
                <c:pt idx="3">
                  <c:v>0.12500000000000003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illennials</c:v>
                </c:pt>
              </c:strCache>
            </c:strRef>
          </c:tx>
          <c:spPr>
            <a:gradFill rotWithShape="1">
              <a:gsLst>
                <a:gs pos="0">
                  <a:schemeClr val="accent3"/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0"/>
                  <c:y val="0.1249224128032324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0.1274718497992167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6.88347988915769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6228244731532626E-16"/>
                  <c:y val="6.6285361895592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General health checkup</c:v>
                </c:pt>
                <c:pt idx="1">
                  <c:v>Full body checkup</c:v>
                </c:pt>
                <c:pt idx="2">
                  <c:v>Vaccines / anti-flu medications</c:v>
                </c:pt>
                <c:pt idx="3">
                  <c:v>Checkup for specific ailment/sickness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42961876832844587</c:v>
                </c:pt>
                <c:pt idx="1">
                  <c:v>0.34017595307917892</c:v>
                </c:pt>
                <c:pt idx="2">
                  <c:v>0.12316715542521996</c:v>
                </c:pt>
                <c:pt idx="3">
                  <c:v>0.1070381231671554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n-millennials</c:v>
                </c:pt>
              </c:strCache>
            </c:strRef>
          </c:tx>
          <c:spPr>
            <a:gradFill rotWithShape="1">
              <a:gsLst>
                <a:gs pos="0">
                  <a:schemeClr val="accent5"/>
                </a:gs>
                <a:gs pos="100000">
                  <a:schemeClr val="accent5">
                    <a:shade val="48000"/>
                    <a:satMod val="180000"/>
                    <a:lumMod val="94000"/>
                  </a:schemeClr>
                </a:gs>
                <a:gs pos="100000">
                  <a:schemeClr val="accent5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0"/>
                  <c:y val="0.1708122787309504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2.2129680274910685E-3"/>
                  <c:y val="7.39336728835457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7.64831098795300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1.6228244731532626E-16"/>
                  <c:y val="7.13842358875614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General health checkup</c:v>
                </c:pt>
                <c:pt idx="1">
                  <c:v>Full body checkup</c:v>
                </c:pt>
                <c:pt idx="2">
                  <c:v>Vaccines / anti-flu medications</c:v>
                </c:pt>
                <c:pt idx="3">
                  <c:v>Checkup for specific ailment/sickness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52341137123745829</c:v>
                </c:pt>
                <c:pt idx="1">
                  <c:v>0.17224080267558531</c:v>
                </c:pt>
                <c:pt idx="2">
                  <c:v>0.15886287625418063</c:v>
                </c:pt>
                <c:pt idx="3">
                  <c:v>0.1454849498327759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071054592"/>
        <c:axId val="1071057312"/>
        <c:axId val="0"/>
      </c:bar3DChart>
      <c:catAx>
        <c:axId val="1071054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7312"/>
        <c:crosses val="autoZero"/>
        <c:auto val="1"/>
        <c:lblAlgn val="ctr"/>
        <c:lblOffset val="100"/>
        <c:noMultiLvlLbl val="0"/>
      </c:catAx>
      <c:valAx>
        <c:axId val="107105731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4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859430702648716"/>
          <c:y val="0.93253185993272703"/>
          <c:w val="0.26281129882230025"/>
          <c:h val="5.217151809136700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BB5-4B5F-AD54-AFBADE5A7C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BB5-4B5F-AD54-AFBADE5A7C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DBB5-4B5F-AD54-AFBADE5A7C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71055680"/>
        <c:axId val="1071055136"/>
      </c:barChart>
      <c:catAx>
        <c:axId val="1071055680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071055136"/>
        <c:crosses val="autoZero"/>
        <c:auto val="1"/>
        <c:lblAlgn val="ctr"/>
        <c:lblOffset val="100"/>
        <c:noMultiLvlLbl val="0"/>
      </c:catAx>
      <c:valAx>
        <c:axId val="107105513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07105568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B$2</c:f>
              <c:numCache>
                <c:formatCode>General</c:formatCode>
                <c:ptCount val="1"/>
                <c:pt idx="0">
                  <c:v>2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0FC-4CAC-8438-4AA3CDB42D5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C$2</c:f>
              <c:numCache>
                <c:formatCode>General</c:formatCode>
                <c:ptCount val="1"/>
                <c:pt idx="0">
                  <c:v>0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0FC-4CAC-8438-4AA3CDB42D5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invertIfNegative val="0"/>
          <c:cat>
            <c:strRef>
              <c:f>Sheet1!$A$2</c:f>
              <c:strCache>
                <c:ptCount val="1"/>
                <c:pt idx="0">
                  <c:v>Category 1</c:v>
                </c:pt>
              </c:strCache>
            </c:strRef>
          </c:cat>
          <c:val>
            <c:numRef>
              <c:f>Sheet1!$D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E0FC-4CAC-8438-4AA3CDB42D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71049152"/>
        <c:axId val="1071057856"/>
      </c:barChart>
      <c:catAx>
        <c:axId val="1071049152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1071057856"/>
        <c:crosses val="autoZero"/>
        <c:auto val="1"/>
        <c:lblAlgn val="ctr"/>
        <c:lblOffset val="100"/>
        <c:noMultiLvlLbl val="0"/>
      </c:catAx>
      <c:valAx>
        <c:axId val="1071057856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extTo"/>
        <c:crossAx val="10710491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Medication Stock up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shade val="48000"/>
                      <a:satMod val="180000"/>
                      <a:lumMod val="94000"/>
                    </a:schemeClr>
                  </a:gs>
                  <a:gs pos="100000">
                    <a:schemeClr val="accent1">
                      <a:shade val="48000"/>
                      <a:satMod val="180000"/>
                      <a:lumMod val="94000"/>
                    </a:schemeClr>
                  </a:gs>
                </a:gsLst>
                <a:lin ang="4140000" scaled="1"/>
              </a:gradFill>
              <a:ln>
                <a:noFill/>
              </a:ln>
              <a:effectLst>
                <a:outerShdw blurRad="762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>
                <a:bevelT w="38100" h="381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3"/>
                  </a:gs>
                  <a:gs pos="100000">
                    <a:schemeClr val="accent3">
                      <a:shade val="48000"/>
                      <a:satMod val="180000"/>
                      <a:lumMod val="94000"/>
                    </a:schemeClr>
                  </a:gs>
                  <a:gs pos="100000">
                    <a:schemeClr val="accent3">
                      <a:shade val="48000"/>
                      <a:satMod val="180000"/>
                      <a:lumMod val="94000"/>
                    </a:schemeClr>
                  </a:gs>
                </a:gsLst>
                <a:lin ang="4140000" scaled="1"/>
              </a:gradFill>
              <a:ln>
                <a:noFill/>
              </a:ln>
              <a:effectLst>
                <a:outerShdw blurRad="762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>
                <a:bevelT w="38100" h="381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47969717825189273</c:v>
                </c:pt>
                <c:pt idx="1">
                  <c:v>0.52030282174810749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Type of Medic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Over the counter general medicines</c:v>
                </c:pt>
                <c:pt idx="1">
                  <c:v>Prescribed medication</c:v>
                </c:pt>
                <c:pt idx="2">
                  <c:v>General medication for Kids</c:v>
                </c:pt>
                <c:pt idx="3">
                  <c:v>Immunity booster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9827833572453382</c:v>
                </c:pt>
                <c:pt idx="1">
                  <c:v>0.49426111908177922</c:v>
                </c:pt>
                <c:pt idx="2">
                  <c:v>0.40459110473457682</c:v>
                </c:pt>
                <c:pt idx="3">
                  <c:v>0.36370157819225246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071060576"/>
        <c:axId val="1071058400"/>
        <c:axId val="0"/>
      </c:bar3DChart>
      <c:catAx>
        <c:axId val="10710605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58400"/>
        <c:crosses val="autoZero"/>
        <c:auto val="1"/>
        <c:lblAlgn val="ctr"/>
        <c:lblOffset val="100"/>
        <c:noMultiLvlLbl val="0"/>
      </c:catAx>
      <c:valAx>
        <c:axId val="1071058400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605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0094546009609172E-2"/>
          <c:y val="4.4768894951590123E-2"/>
          <c:w val="0.90216006589417241"/>
          <c:h val="0.87576244097377676"/>
        </c:manualLayout>
      </c:layout>
      <c:bar3D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ery likel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Mexico</c:v>
                </c:pt>
                <c:pt idx="5">
                  <c:v>Nigeria</c:v>
                </c:pt>
                <c:pt idx="6">
                  <c:v>KS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A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22092222986923607</c:v>
                </c:pt>
                <c:pt idx="1">
                  <c:v>0.14000000000000004</c:v>
                </c:pt>
                <c:pt idx="2">
                  <c:v>0.31772575250836127</c:v>
                </c:pt>
                <c:pt idx="3">
                  <c:v>0.23232323232323235</c:v>
                </c:pt>
                <c:pt idx="4">
                  <c:v>0.18181818181818185</c:v>
                </c:pt>
                <c:pt idx="5">
                  <c:v>0.4463087248322149</c:v>
                </c:pt>
                <c:pt idx="6">
                  <c:v>0.20000000000000004</c:v>
                </c:pt>
                <c:pt idx="7">
                  <c:v>0.19127516778523493</c:v>
                </c:pt>
                <c:pt idx="8">
                  <c:v>0.19727891156462585</c:v>
                </c:pt>
                <c:pt idx="9">
                  <c:v>6.7114093959731544E-2</c:v>
                </c:pt>
                <c:pt idx="10">
                  <c:v>0.2391304347826087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likely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Mexico</c:v>
                </c:pt>
                <c:pt idx="5">
                  <c:v>Nigeria</c:v>
                </c:pt>
                <c:pt idx="6">
                  <c:v>KS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A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32381280110117</c:v>
                </c:pt>
                <c:pt idx="1">
                  <c:v>0.29000000000000004</c:v>
                </c:pt>
                <c:pt idx="2">
                  <c:v>0.34113712374581945</c:v>
                </c:pt>
                <c:pt idx="3">
                  <c:v>0.32996632996633002</c:v>
                </c:pt>
                <c:pt idx="4">
                  <c:v>0.3097643097643098</c:v>
                </c:pt>
                <c:pt idx="5">
                  <c:v>0.238255033557047</c:v>
                </c:pt>
                <c:pt idx="6">
                  <c:v>0.30508474576271194</c:v>
                </c:pt>
                <c:pt idx="7">
                  <c:v>0.33892617449664436</c:v>
                </c:pt>
                <c:pt idx="8">
                  <c:v>0.38435374149659873</c:v>
                </c:pt>
                <c:pt idx="9">
                  <c:v>0.32885906040268464</c:v>
                </c:pt>
                <c:pt idx="10">
                  <c:v>0.3869565217391304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mewhat unlikel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Mexico</c:v>
                </c:pt>
                <c:pt idx="5">
                  <c:v>Nigeria</c:v>
                </c:pt>
                <c:pt idx="6">
                  <c:v>KS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A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2715072264280799</c:v>
                </c:pt>
                <c:pt idx="1">
                  <c:v>0.39000000000000007</c:v>
                </c:pt>
                <c:pt idx="2">
                  <c:v>0.17391304347826089</c:v>
                </c:pt>
                <c:pt idx="3">
                  <c:v>0.31649831649831656</c:v>
                </c:pt>
                <c:pt idx="4">
                  <c:v>0.31649831649831656</c:v>
                </c:pt>
                <c:pt idx="5">
                  <c:v>0.14429530201342286</c:v>
                </c:pt>
                <c:pt idx="6">
                  <c:v>0.30847457627118652</c:v>
                </c:pt>
                <c:pt idx="7">
                  <c:v>0.28523489932885909</c:v>
                </c:pt>
                <c:pt idx="8">
                  <c:v>0.26870748299319736</c:v>
                </c:pt>
                <c:pt idx="9">
                  <c:v>0.31208053691275173</c:v>
                </c:pt>
                <c:pt idx="10">
                  <c:v>0.1782608695652174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ery unlikel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Mexico</c:v>
                </c:pt>
                <c:pt idx="5">
                  <c:v>Nigeria</c:v>
                </c:pt>
                <c:pt idx="6">
                  <c:v>KS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A</c:v>
                </c:pt>
              </c:strCache>
            </c:strRef>
          </c:cat>
          <c:val>
            <c:numRef>
              <c:f>Sheet1!$E$2:$E$12</c:f>
              <c:numCache>
                <c:formatCode>0%</c:formatCode>
                <c:ptCount val="11"/>
                <c:pt idx="0">
                  <c:v>0.18375774260151417</c:v>
                </c:pt>
                <c:pt idx="1">
                  <c:v>0.18000000000000002</c:v>
                </c:pt>
                <c:pt idx="2">
                  <c:v>0.16722408026755856</c:v>
                </c:pt>
                <c:pt idx="3">
                  <c:v>0.12121212121212124</c:v>
                </c:pt>
                <c:pt idx="4">
                  <c:v>0.19191919191919193</c:v>
                </c:pt>
                <c:pt idx="5">
                  <c:v>0.17114093959731547</c:v>
                </c:pt>
                <c:pt idx="6">
                  <c:v>0.18644067796610173</c:v>
                </c:pt>
                <c:pt idx="7">
                  <c:v>0.18456375838926181</c:v>
                </c:pt>
                <c:pt idx="8">
                  <c:v>0.14965986394557826</c:v>
                </c:pt>
                <c:pt idx="9">
                  <c:v>0.29194630872483229</c:v>
                </c:pt>
                <c:pt idx="10">
                  <c:v>0.19565217391304351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1071062752"/>
        <c:axId val="1071061664"/>
        <c:axId val="0"/>
      </c:bar3DChart>
      <c:catAx>
        <c:axId val="10710627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71061664"/>
        <c:crosses val="autoZero"/>
        <c:auto val="1"/>
        <c:lblAlgn val="ctr"/>
        <c:lblOffset val="100"/>
        <c:noMultiLvlLbl val="0"/>
      </c:catAx>
      <c:valAx>
        <c:axId val="1071061664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10710627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5948086906565176"/>
          <c:y val="0.89466334716280516"/>
          <c:w val="0.4478437414563316"/>
          <c:h val="5.245941082978042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solidFill>
                  <a:schemeClr val="tx1"/>
                </a:solidFill>
              </a:rPr>
              <a:t>Employment </a:t>
            </a:r>
            <a:r>
              <a:rPr lang="en-US" dirty="0">
                <a:solidFill>
                  <a:schemeClr val="tx1"/>
                </a:solidFill>
              </a:rPr>
              <a:t>Statu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5.4036320976040032E-2"/>
          <c:y val="0.25522608947252079"/>
          <c:w val="0.63670382256719915"/>
          <c:h val="0.6934205726054428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mployement Statu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7</c:f>
              <c:strCache>
                <c:ptCount val="6"/>
                <c:pt idx="0">
                  <c:v>Self-employed</c:v>
                </c:pt>
                <c:pt idx="1">
                  <c:v>Salaried</c:v>
                </c:pt>
                <c:pt idx="2">
                  <c:v>Student</c:v>
                </c:pt>
                <c:pt idx="3">
                  <c:v>Housewife</c:v>
                </c:pt>
                <c:pt idx="4">
                  <c:v>Retired</c:v>
                </c:pt>
                <c:pt idx="5">
                  <c:v>Others- please specify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2663454920853407</c:v>
                </c:pt>
                <c:pt idx="1">
                  <c:v>0.47350309704060567</c:v>
                </c:pt>
                <c:pt idx="2">
                  <c:v>5.2649690295939452E-2</c:v>
                </c:pt>
                <c:pt idx="3">
                  <c:v>7.1576049552649706E-2</c:v>
                </c:pt>
                <c:pt idx="4">
                  <c:v>6.9511355815554038E-2</c:v>
                </c:pt>
                <c:pt idx="5">
                  <c:v>6.6414315209910549E-2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179725126346408"/>
          <c:y val="0.24054208996853205"/>
          <c:w val="0.31112317786972771"/>
          <c:h val="0.7227881223278742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>
                <a:solidFill>
                  <a:schemeClr val="tx1"/>
                </a:solidFill>
              </a:rPr>
              <a:t>Kids in HH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Kids in HH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0.14505531693014637"/>
                  <c:y val="-0.17632121400548847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.10223791320741878"/>
                  <c:y val="3.822027212326952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HH with
Children</c:v>
                </c:pt>
                <c:pt idx="1">
                  <c:v>HH without
Children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62</c:v>
                </c:pt>
                <c:pt idx="1">
                  <c:v>0.3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7803806318033699"/>
          <c:y val="0.33564460794444673"/>
          <c:w val="0.32196184790354326"/>
          <c:h val="0.509759380632917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0.18595668109074331"/>
          <c:w val="0.82099397556815801"/>
          <c:h val="0.64362704345666399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</c:dPt>
          <c:dLbls>
            <c:dLbl>
              <c:idx val="0"/>
              <c:layout>
                <c:manualLayout>
                  <c:x val="-0.20253790400714361"/>
                  <c:y val="7.25697359689660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C3B1504-67D4-43E8-8AF4-5C03AA91781E}" type="VALUE">
                      <a:rPr lang="en-US" sz="2800" b="1" baseline="0" smtClean="0">
                        <a:solidFill>
                          <a:schemeClr val="bg1"/>
                        </a:solidFill>
                      </a:rPr>
                      <a:pPr>
                        <a:defRPr sz="28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90972537632623"/>
                      <c:h val="0.1873717126935161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.14696087273559272"/>
                  <c:y val="-0.36189343739817292"/>
                </c:manualLayout>
              </c:layout>
              <c:tx>
                <c:rich>
                  <a:bodyPr/>
                  <a:lstStyle/>
                  <a:p>
                    <a:fld id="{9DF51171-AA8C-49E6-BC80-95D42461B27C}" type="VALUE">
                      <a:rPr lang="en-US" baseline="0" smtClean="0"/>
                      <a:pPr/>
                      <a:t>[VALUE]</a:t>
                    </a:fld>
                    <a:endParaRPr lang="en-IN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76627439691841"/>
                      <c:h val="0.12318331632525195"/>
                    </c:manualLayout>
                  </c15:layout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0.2089146240815444"/>
                  <c:y val="0.12462524646622727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8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049DA806-7075-464E-9136-C34519EF21FB}" type="VALUE">
                      <a:rPr lang="en-US" sz="2800" b="1" baseline="0" smtClean="0">
                        <a:solidFill>
                          <a:schemeClr val="bg1"/>
                        </a:solidFill>
                      </a:rPr>
                      <a:pPr>
                        <a:defRPr sz="28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IN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16906029581512"/>
                      <c:h val="0.30886945436123325"/>
                    </c:manualLayout>
                  </c15:layout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I completely stopped consulting the doctor </c:v>
                </c:pt>
                <c:pt idx="1">
                  <c:v>I reduced the frequency of consulting the doctor </c:v>
                </c:pt>
                <c:pt idx="2">
                  <c:v>I didn’t let Corona impact and continued to consult the doctor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5375086028905717</c:v>
                </c:pt>
                <c:pt idx="1">
                  <c:v>0.34136269786648321</c:v>
                </c:pt>
                <c:pt idx="2">
                  <c:v>0.30488644184445979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65452320118652929"/>
          <c:y val="0.10891696377392417"/>
          <c:w val="0.34547679881347071"/>
          <c:h val="0.8315166978639196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7"/>
    </mc:Choice>
    <mc:Fallback>
      <c:style val="7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6003454238928324E-2"/>
          <c:y val="4.4437749895913613E-2"/>
          <c:w val="0.83014700043177991"/>
          <c:h val="0.95283528325777633"/>
        </c:manualLayout>
      </c:layout>
      <c:bar3D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 completely stopped consulting the doctor </c:v>
                </c:pt>
              </c:strCache>
            </c:strRef>
          </c:tx>
          <c:spPr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KSA</c:v>
                </c:pt>
                <c:pt idx="5">
                  <c:v>Mexico</c:v>
                </c:pt>
                <c:pt idx="6">
                  <c:v>Nigeri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35</c:v>
                </c:pt>
                <c:pt idx="1">
                  <c:v>0.39333333333333337</c:v>
                </c:pt>
                <c:pt idx="2">
                  <c:v>0.3143812709030101</c:v>
                </c:pt>
                <c:pt idx="3">
                  <c:v>0.27609427609427617</c:v>
                </c:pt>
                <c:pt idx="4">
                  <c:v>0.45423728813559328</c:v>
                </c:pt>
                <c:pt idx="5">
                  <c:v>0.35690235690235694</c:v>
                </c:pt>
                <c:pt idx="6">
                  <c:v>0.2449664429530202</c:v>
                </c:pt>
                <c:pt idx="7">
                  <c:v>0.3590604026845638</c:v>
                </c:pt>
                <c:pt idx="8">
                  <c:v>0.39455782312925169</c:v>
                </c:pt>
                <c:pt idx="9">
                  <c:v>0.4328859060402685</c:v>
                </c:pt>
                <c:pt idx="10">
                  <c:v>0.30000000000000004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 reduced the frequency of consulting the doctor </c:v>
                </c:pt>
              </c:strCache>
            </c:strRef>
          </c:tx>
          <c:spPr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KSA</c:v>
                </c:pt>
                <c:pt idx="5">
                  <c:v>Mexico</c:v>
                </c:pt>
                <c:pt idx="6">
                  <c:v>Nigeri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34</c:v>
                </c:pt>
                <c:pt idx="1">
                  <c:v>5.6666666666666671E-2</c:v>
                </c:pt>
                <c:pt idx="2">
                  <c:v>0.43143812709030105</c:v>
                </c:pt>
                <c:pt idx="3">
                  <c:v>0.43771043771043777</c:v>
                </c:pt>
                <c:pt idx="4">
                  <c:v>0.38305084745762719</c:v>
                </c:pt>
                <c:pt idx="5">
                  <c:v>0.39057239057239063</c:v>
                </c:pt>
                <c:pt idx="6">
                  <c:v>0.39932885906040277</c:v>
                </c:pt>
                <c:pt idx="7">
                  <c:v>0.36577181208053694</c:v>
                </c:pt>
                <c:pt idx="8">
                  <c:v>0.42517006802721097</c:v>
                </c:pt>
                <c:pt idx="9">
                  <c:v>0.2416107382550336</c:v>
                </c:pt>
                <c:pt idx="10">
                  <c:v>0.2695652173913044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I didn’t let Corona impact my decision and continued to consult the docto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Global</c:v>
                </c:pt>
                <c:pt idx="1">
                  <c:v>Germany</c:v>
                </c:pt>
                <c:pt idx="2">
                  <c:v>India</c:v>
                </c:pt>
                <c:pt idx="3">
                  <c:v>Indonesia</c:v>
                </c:pt>
                <c:pt idx="4">
                  <c:v>KSA</c:v>
                </c:pt>
                <c:pt idx="5">
                  <c:v>Mexico</c:v>
                </c:pt>
                <c:pt idx="6">
                  <c:v>Nigeria</c:v>
                </c:pt>
                <c:pt idx="7">
                  <c:v>RSA</c:v>
                </c:pt>
                <c:pt idx="8">
                  <c:v>UAE</c:v>
                </c:pt>
                <c:pt idx="9">
                  <c:v>UK</c:v>
                </c:pt>
                <c:pt idx="10">
                  <c:v>US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3</c:v>
                </c:pt>
                <c:pt idx="1">
                  <c:v>0.55000000000000016</c:v>
                </c:pt>
                <c:pt idx="2">
                  <c:v>0.25418060200668902</c:v>
                </c:pt>
                <c:pt idx="3">
                  <c:v>0.28619528619528622</c:v>
                </c:pt>
                <c:pt idx="4">
                  <c:v>0.16271186440677968</c:v>
                </c:pt>
                <c:pt idx="5">
                  <c:v>0.2525252525252526</c:v>
                </c:pt>
                <c:pt idx="6">
                  <c:v>0.35570469798657722</c:v>
                </c:pt>
                <c:pt idx="7">
                  <c:v>0.27516778523489938</c:v>
                </c:pt>
                <c:pt idx="8">
                  <c:v>0.18027210884353745</c:v>
                </c:pt>
                <c:pt idx="9">
                  <c:v>0.32550335570469802</c:v>
                </c:pt>
                <c:pt idx="10">
                  <c:v>0.4304347826086957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9"/>
        <c:shape val="box"/>
        <c:axId val="869920576"/>
        <c:axId val="869914048"/>
        <c:axId val="0"/>
      </c:bar3DChart>
      <c:catAx>
        <c:axId val="869920576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1" i="0" u="none" strike="noStrike" kern="1200" cap="all" spc="120" normalizeH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9914048"/>
        <c:crosses val="autoZero"/>
        <c:auto val="1"/>
        <c:lblAlgn val="ctr"/>
        <c:lblOffset val="100"/>
        <c:noMultiLvlLbl val="0"/>
      </c:catAx>
      <c:valAx>
        <c:axId val="869914048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8699205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91446228218441561"/>
          <c:y val="8.1809005389302428E-2"/>
          <c:w val="8.3723461268912072E-2"/>
          <c:h val="0.846526520611467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219093535453282E-2"/>
          <c:y val="2.8451941473317699E-2"/>
          <c:w val="0.97561812929093439"/>
          <c:h val="0.6678748049402509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Continued to consult in-person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2.0238856937925791E-17"/>
                  <c:y val="0.1425653384890578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0.1151489272411620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0.126115491740320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Total</c:v>
                </c:pt>
                <c:pt idx="1">
                  <c:v>HH with
kids</c:v>
                </c:pt>
                <c:pt idx="2">
                  <c:v>HH without
kids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0.3429179978700746</c:v>
                </c:pt>
                <c:pt idx="1">
                  <c:v>0.29292929292929298</c:v>
                </c:pt>
                <c:pt idx="2">
                  <c:v>0.42898550724637691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Reduced in-person consultation and started Online consultation</c:v>
                </c:pt>
              </c:strCache>
            </c:strRef>
          </c:tx>
          <c:spPr>
            <a:gradFill rotWithShape="1">
              <a:gsLst>
                <a:gs pos="0">
                  <a:schemeClr val="accent3"/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1.1039504039415376E-3"/>
                  <c:y val="0.1041823627420037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1039504039415376E-3"/>
                  <c:y val="0.1178905683659516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8.773251599326635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Total</c:v>
                </c:pt>
                <c:pt idx="1">
                  <c:v>HH with
kids</c:v>
                </c:pt>
                <c:pt idx="2">
                  <c:v>HH without
kids</c:v>
                </c:pt>
              </c:strCache>
            </c:strRef>
          </c:cat>
          <c:val>
            <c:numRef>
              <c:f>Sheet1!$B$3:$D$3</c:f>
              <c:numCache>
                <c:formatCode>0%</c:formatCode>
                <c:ptCount val="3"/>
                <c:pt idx="0">
                  <c:v>0.31150159744408951</c:v>
                </c:pt>
                <c:pt idx="1">
                  <c:v>0.37710437710437722</c:v>
                </c:pt>
                <c:pt idx="2">
                  <c:v>0.1985507246376812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Stopped in-person consultation started Online </c:v>
                </c:pt>
              </c:strCache>
            </c:strRef>
          </c:tx>
          <c:spPr>
            <a:gradFill rotWithShape="1">
              <a:gsLst>
                <a:gs pos="0">
                  <a:schemeClr val="accent5"/>
                </a:gs>
                <a:gs pos="100000">
                  <a:schemeClr val="accent5">
                    <a:shade val="48000"/>
                    <a:satMod val="180000"/>
                    <a:lumMod val="94000"/>
                  </a:schemeClr>
                </a:gs>
                <a:gs pos="100000">
                  <a:schemeClr val="accent5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1.1039504039415376E-3"/>
                  <c:y val="6.03161047453706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6.854102811973934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1.1039504039415376E-3"/>
                  <c:y val="6.031610474537062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Total</c:v>
                </c:pt>
                <c:pt idx="1">
                  <c:v>HH with
kids</c:v>
                </c:pt>
                <c:pt idx="2">
                  <c:v>HH without
kids</c:v>
                </c:pt>
              </c:strCache>
            </c:strRef>
          </c:cat>
          <c:val>
            <c:numRef>
              <c:f>Sheet1!$B$4:$D$4</c:f>
              <c:numCache>
                <c:formatCode>0%</c:formatCode>
                <c:ptCount val="3"/>
                <c:pt idx="0">
                  <c:v>0.11661341853035144</c:v>
                </c:pt>
                <c:pt idx="1">
                  <c:v>0.12794612794612795</c:v>
                </c:pt>
                <c:pt idx="2">
                  <c:v>9.7101449275362336E-2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Started telephonic consultation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lumMod val="60000"/>
                  </a:schemeClr>
                </a:gs>
                <a:gs pos="100000">
                  <a:schemeClr val="accent1">
                    <a:lumMod val="60000"/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lumMod val="60000"/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4.0477713875851583E-17"/>
                  <c:y val="9.32157982428455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2.2079008078829941E-3"/>
                  <c:y val="8.77325159932662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9.869908049242455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B$1:$D$1</c:f>
              <c:strCache>
                <c:ptCount val="3"/>
                <c:pt idx="0">
                  <c:v>Total</c:v>
                </c:pt>
                <c:pt idx="1">
                  <c:v>HH with
kids</c:v>
                </c:pt>
                <c:pt idx="2">
                  <c:v>HH without
kids</c:v>
                </c:pt>
              </c:strCache>
            </c:strRef>
          </c:cat>
          <c:val>
            <c:numRef>
              <c:f>Sheet1!$B$5:$D$5</c:f>
              <c:numCache>
                <c:formatCode>0%</c:formatCode>
                <c:ptCount val="3"/>
                <c:pt idx="0">
                  <c:v>0.22896698615548461</c:v>
                </c:pt>
                <c:pt idx="1">
                  <c:v>0.20202020202020204</c:v>
                </c:pt>
                <c:pt idx="2">
                  <c:v>0.2753623188405797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782833888"/>
        <c:axId val="782846944"/>
        <c:axId val="0"/>
      </c:bar3DChart>
      <c:catAx>
        <c:axId val="782833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46944"/>
        <c:crosses val="autoZero"/>
        <c:auto val="1"/>
        <c:lblAlgn val="ctr"/>
        <c:lblOffset val="100"/>
        <c:noMultiLvlLbl val="0"/>
      </c:catAx>
      <c:valAx>
        <c:axId val="782846944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3388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2079008078830752E-2"/>
          <c:y val="0.85193108679949447"/>
          <c:w val="0.95046261606691174"/>
          <c:h val="0.1179108608278201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5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illennials</c:v>
                </c:pt>
              </c:strCache>
            </c:strRef>
          </c:tx>
          <c:spPr>
            <a:gradFill rotWithShape="1">
              <a:gsLst>
                <a:gs pos="0">
                  <a:schemeClr val="accent1"/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  <a:gs pos="100000">
                  <a:schemeClr val="accent1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1.106484110147618E-3"/>
                  <c:y val="0.16625770196440859"/>
                </c:manualLayout>
              </c:layout>
              <c:tx>
                <c:rich>
                  <a:bodyPr/>
                  <a:lstStyle/>
                  <a:p>
                    <a:fld id="{F55D08AD-D11D-4C71-8BD2-7E9C7EEEFA0E}" type="VALUE">
                      <a:rPr lang="en-US" sz="160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-3.3194523304428541E-3"/>
                  <c:y val="0.18084171090865495"/>
                </c:manualLayout>
              </c:layout>
              <c:tx>
                <c:rich>
                  <a:bodyPr/>
                  <a:lstStyle/>
                  <a:p>
                    <a:fld id="{6754BB5F-E42D-4D80-875A-21A49CFE80DD}" type="VALUE">
                      <a:rPr lang="en-US" sz="160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2.2129682202953172E-3"/>
                  <c:y val="0.1750081073309564"/>
                </c:manualLayout>
              </c:layout>
              <c:tx>
                <c:rich>
                  <a:bodyPr/>
                  <a:lstStyle/>
                  <a:p>
                    <a:fld id="{117610F6-1491-4903-8BA2-17286EADE461}" type="VALUE">
                      <a:rPr lang="en-US" sz="160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n-app chat</c:v>
                </c:pt>
                <c:pt idx="1">
                  <c:v>Social-media</c:v>
                </c:pt>
                <c:pt idx="2">
                  <c:v>Video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7751605995717344</c:v>
                </c:pt>
                <c:pt idx="1">
                  <c:v>0.51820128479657401</c:v>
                </c:pt>
                <c:pt idx="2">
                  <c:v>0.4582441113490364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n-millennials</c:v>
                </c:pt>
              </c:strCache>
            </c:strRef>
          </c:tx>
          <c:spPr>
            <a:gradFill rotWithShape="1">
              <a:gsLst>
                <a:gs pos="0">
                  <a:schemeClr val="accent3"/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  <a:gs pos="100000">
                  <a:schemeClr val="accent3">
                    <a:shade val="48000"/>
                    <a:satMod val="180000"/>
                    <a:lumMod val="94000"/>
                  </a:schemeClr>
                </a:gs>
              </a:gsLst>
              <a:lin ang="4140000" scaled="1"/>
            </a:gradFill>
            <a:ln>
              <a:noFill/>
            </a:ln>
            <a:effectLst>
              <a:outerShdw blurRad="76200" dist="38100" dir="5400000" rotWithShape="0">
                <a:srgbClr val="000000">
                  <a:alpha val="60000"/>
                </a:srgbClr>
              </a:outerShdw>
            </a:effectLst>
            <a:scene3d>
              <a:camera prst="orthographicFront">
                <a:rot lat="0" lon="0" rev="0"/>
              </a:camera>
              <a:lightRig rig="glow" dir="tl">
                <a:rot lat="0" lon="0" rev="19800000"/>
              </a:lightRig>
            </a:scene3d>
            <a:sp3d prstMaterial="metal">
              <a:bevelT w="38100" h="38100"/>
            </a:sp3d>
          </c:spPr>
          <c:invertIfNegative val="0"/>
          <c:dLbls>
            <c:dLbl>
              <c:idx val="0"/>
              <c:layout>
                <c:manualLayout>
                  <c:x val="-4.0570615363535288E-17"/>
                  <c:y val="0.14292328765361428"/>
                </c:manualLayout>
              </c:layout>
              <c:tx>
                <c:rich>
                  <a:bodyPr/>
                  <a:lstStyle/>
                  <a:p>
                    <a:fld id="{A1F600A2-A244-4F1A-A3E7-C9A5E47A9D17}" type="VALUE">
                      <a:rPr lang="en-US" sz="160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1"/>
              <c:layout>
                <c:manualLayout>
                  <c:x val="0"/>
                  <c:y val="0.14875689123131294"/>
                </c:manualLayout>
              </c:layout>
              <c:tx>
                <c:rich>
                  <a:bodyPr/>
                  <a:lstStyle/>
                  <a:p>
                    <a:fld id="{43C7BF6C-2348-47A3-BCBC-FB9ED60E7AAD}" type="VALUE">
                      <a:rPr lang="en-US" sz="160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dLbl>
              <c:idx val="2"/>
              <c:layout>
                <c:manualLayout>
                  <c:x val="-2.2129682202952361E-3"/>
                  <c:y val="0.13708968407591585"/>
                </c:manualLayout>
              </c:layout>
              <c:tx>
                <c:rich>
                  <a:bodyPr/>
                  <a:lstStyle/>
                  <a:p>
                    <a:fld id="{CC61CDBE-20A7-4336-8F73-1A2C67A78AEE}" type="VALUE">
                      <a:rPr lang="en-US" sz="1600"/>
                      <a:pPr/>
                      <a:t>[VALUE]</a:t>
                    </a:fld>
                    <a:endParaRPr lang="en-IN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In-app chat</c:v>
                </c:pt>
                <c:pt idx="1">
                  <c:v>Social-media</c:v>
                </c:pt>
                <c:pt idx="2">
                  <c:v>Video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41839762611275977</c:v>
                </c:pt>
                <c:pt idx="1">
                  <c:v>0.33827893175074192</c:v>
                </c:pt>
                <c:pt idx="2">
                  <c:v>0.33531157270029677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782837152"/>
        <c:axId val="782834432"/>
        <c:axId val="0"/>
      </c:bar3DChart>
      <c:catAx>
        <c:axId val="7828371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34432"/>
        <c:crosses val="autoZero"/>
        <c:auto val="1"/>
        <c:lblAlgn val="ctr"/>
        <c:lblOffset val="100"/>
        <c:noMultiLvlLbl val="0"/>
      </c:catAx>
      <c:valAx>
        <c:axId val="78283443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828371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>
                <a:solidFill>
                  <a:schemeClr val="tx1"/>
                </a:solidFill>
              </a:rPr>
              <a:t>Global Video Consultation Influence</a:t>
            </a:r>
          </a:p>
        </c:rich>
      </c:tx>
      <c:layout>
        <c:manualLayout>
          <c:xMode val="edge"/>
          <c:yMode val="edge"/>
          <c:x val="0.20797703681181576"/>
          <c:y val="2.663766568873851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/>
                  </a:gs>
                  <a:gs pos="100000">
                    <a:schemeClr val="accent1">
                      <a:shade val="48000"/>
                      <a:satMod val="180000"/>
                      <a:lumMod val="94000"/>
                    </a:schemeClr>
                  </a:gs>
                  <a:gs pos="100000">
                    <a:schemeClr val="accent1">
                      <a:shade val="48000"/>
                      <a:satMod val="180000"/>
                      <a:lumMod val="94000"/>
                    </a:schemeClr>
                  </a:gs>
                </a:gsLst>
                <a:lin ang="4140000" scaled="1"/>
              </a:gradFill>
              <a:ln>
                <a:noFill/>
              </a:ln>
              <a:effectLst>
                <a:outerShdw blurRad="762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>
                <a:bevelT w="38100" h="38100"/>
              </a:sp3d>
            </c:spPr>
          </c:dPt>
          <c:dPt>
            <c:idx val="1"/>
            <c:bubble3D val="0"/>
            <c:spPr>
              <a:gradFill rotWithShape="1">
                <a:gsLst>
                  <a:gs pos="0">
                    <a:schemeClr val="accent3"/>
                  </a:gs>
                  <a:gs pos="100000">
                    <a:schemeClr val="accent3">
                      <a:shade val="48000"/>
                      <a:satMod val="180000"/>
                      <a:lumMod val="94000"/>
                    </a:schemeClr>
                  </a:gs>
                  <a:gs pos="100000">
                    <a:schemeClr val="accent3">
                      <a:shade val="48000"/>
                      <a:satMod val="180000"/>
                      <a:lumMod val="94000"/>
                    </a:schemeClr>
                  </a:gs>
                </a:gsLst>
                <a:lin ang="4140000" scaled="1"/>
              </a:gradFill>
              <a:ln>
                <a:noFill/>
              </a:ln>
              <a:effectLst>
                <a:outerShdw blurRad="76200" dist="38100" dir="5400000" rotWithShape="0">
                  <a:srgbClr val="000000">
                    <a:alpha val="60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glow" dir="tl">
                  <a:rot lat="0" lon="0" rev="19800000"/>
                </a:lightRig>
              </a:scene3d>
              <a:sp3d prstMaterial="metal">
                <a:bevelT w="38100" h="3810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5</c:v>
                </c:pt>
                <c:pt idx="1">
                  <c:v>0.25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41214636069108773"/>
          <c:y val="0.89055567207633424"/>
          <c:w val="0.17829006897318808"/>
          <c:h val="6.5991613550965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withinLinearReversed" id="25">
  <a:schemeClr val="accent5"/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29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pattFill prst="ltDnDiag">
        <a:fgClr>
          <a:schemeClr val="phClr"/>
        </a:fgClr>
        <a:bgClr>
          <a:schemeClr val="phClr">
            <a:lumMod val="20000"/>
            <a:lumOff val="80000"/>
          </a:schemeClr>
        </a:bgClr>
      </a:pattFill>
      <a:ln>
        <a:solidFill>
          <a:schemeClr val="phClr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9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>
      <cs:styleClr val="auto"/>
    </cs:lnRef>
    <cs:fillRef idx="0">
      <cs:styleClr val="auto"/>
    </cs:fillRef>
    <cs:effectRef idx="0"/>
    <cs:fontRef idx="minor">
      <a:schemeClr val="tx1"/>
    </cs:fontRef>
    <cs:spPr>
      <a:pattFill prst="ltDnDiag">
        <a:fgClr>
          <a:schemeClr val="phClr"/>
        </a:fgClr>
        <a:bgClr>
          <a:schemeClr val="phClr">
            <a:lumMod val="20000"/>
            <a:lumOff val="80000"/>
          </a:schemeClr>
        </a:bgClr>
      </a:pattFill>
      <a:ln>
        <a:solidFill>
          <a:schemeClr val="phClr"/>
        </a:solidFill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34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27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1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064" b="1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26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8276</cdr:x>
      <cdr:y>0.95513</cdr:y>
    </cdr:from>
    <cdr:to>
      <cdr:x>0.8196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4046829" y="5175520"/>
          <a:ext cx="811369" cy="2431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US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6F91C5-C117-4607-9237-5C58408B65EC}" type="datetimeFigureOut">
              <a:rPr lang="en-IN" smtClean="0"/>
              <a:t>09-06-2020</a:t>
            </a:fld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IN" smtClean="0"/>
              <a:t>© 2020 Borderless Access</a:t>
            </a:r>
            <a:endParaRPr lang="en-IN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B74385A-AE0F-4E83-8BB8-0F2F24C70B84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50572142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IN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7B8EF1-8072-4224-8502-873D7A7202F6}" type="datetimeFigureOut">
              <a:rPr lang="en-IN" smtClean="0"/>
              <a:t>09-06-2020</a:t>
            </a:fld>
            <a:endParaRPr lang="en-IN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IN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IN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6037D-8742-43B9-A1AE-9D61F2AF698F}" type="slidenum">
              <a:rPr lang="en-IN" smtClean="0"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02347744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7461697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8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64931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9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47812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13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66483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dirty="0" smtClean="0"/>
              <a:t>Change chart to make it a pair</a:t>
            </a:r>
            <a:r>
              <a:rPr lang="en-IN" baseline="0" dirty="0" smtClean="0"/>
              <a:t> of green and blue bars. SO there will be 5 pairs of green and blue bars.</a:t>
            </a:r>
            <a:endParaRPr lang="en-IN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22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340275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26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1831216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IN" smtClean="0"/>
              <a:t>© 2020 Borderless Access</a:t>
            </a:r>
            <a:endParaRPr lang="en-IN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FD6037D-8742-43B9-A1AE-9D61F2AF698F}" type="slidenum">
              <a:rPr lang="en-IN" smtClean="0"/>
              <a:t>30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8830140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BA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1062"/>
            <a:ext cx="12192000" cy="6859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127193" y="1425475"/>
            <a:ext cx="4705106" cy="488275"/>
          </a:xfr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add subtitle</a:t>
            </a:r>
            <a:endParaRPr lang="en-IN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3667" y="563170"/>
            <a:ext cx="6624736" cy="57451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3733">
                <a:solidFill>
                  <a:srgbClr val="FFC000"/>
                </a:solidFill>
                <a:latin typeface="+mj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add titl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3339" y="6524570"/>
            <a:ext cx="823944" cy="205121"/>
          </a:xfrm>
        </p:spPr>
        <p:txBody>
          <a:bodyPr wrap="none" lIns="0" tIns="0" rIns="0" bIns="0">
            <a:spAutoFit/>
          </a:bodyPr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08243" y="6545057"/>
            <a:ext cx="162437" cy="164148"/>
          </a:xfr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5" hasCustomPrompt="1"/>
          </p:nvPr>
        </p:nvSpPr>
        <p:spPr>
          <a:xfrm>
            <a:off x="5214841" y="5384801"/>
            <a:ext cx="6638400" cy="164148"/>
          </a:xfrm>
        </p:spPr>
        <p:txBody>
          <a:bodyPr/>
          <a:lstStyle>
            <a:lvl1pPr marL="0" indent="0">
              <a:buNone/>
              <a:defRPr sz="1067" i="1">
                <a:solidFill>
                  <a:schemeClr val="bg1"/>
                </a:solidFill>
              </a:defRPr>
            </a:lvl1pPr>
            <a:lvl2pPr marL="243410" indent="0">
              <a:buNone/>
              <a:defRPr sz="1067">
                <a:solidFill>
                  <a:schemeClr val="bg1"/>
                </a:solidFill>
              </a:defRPr>
            </a:lvl2pPr>
            <a:lvl3pPr marL="478355" indent="0">
              <a:buNone/>
              <a:defRPr sz="1067">
                <a:solidFill>
                  <a:schemeClr val="bg1"/>
                </a:solidFill>
              </a:defRPr>
            </a:lvl3pPr>
            <a:lvl4pPr marL="721766" indent="0">
              <a:buNone/>
              <a:defRPr sz="1067">
                <a:solidFill>
                  <a:schemeClr val="bg1"/>
                </a:solidFill>
              </a:defRPr>
            </a:lvl4pPr>
            <a:lvl5pPr marL="954592" indent="0"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isclaimer: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6891" y="129487"/>
            <a:ext cx="2653789" cy="1021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6260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34435" y="279050"/>
            <a:ext cx="10310820" cy="418576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Click to add title</a:t>
            </a:r>
            <a:endParaRPr lang="en-IN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2232" y="6524735"/>
            <a:ext cx="162437" cy="164148"/>
          </a:xfr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6296706"/>
            <a:ext cx="11617565" cy="153888"/>
          </a:xfrm>
        </p:spPr>
        <p:txBody>
          <a:bodyPr anchor="b"/>
          <a:lstStyle>
            <a:lvl1pPr marL="0" indent="0">
              <a:buFont typeface="Arial" pitchFamily="34" charset="0"/>
              <a:buNone/>
              <a:defRPr sz="1000" i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  <a:lvl2pPr marL="243410" indent="0">
              <a:buNone/>
              <a:defRPr/>
            </a:lvl2pPr>
            <a:lvl3pPr marL="478355" indent="0">
              <a:buNone/>
              <a:defRPr/>
            </a:lvl3pPr>
            <a:lvl4pPr marL="721766" indent="0">
              <a:buNone/>
              <a:defRPr/>
            </a:lvl4pPr>
            <a:lvl5pPr marL="954592" indent="0">
              <a:buNone/>
              <a:defRPr/>
            </a:lvl5pPr>
          </a:lstStyle>
          <a:p>
            <a:pPr lvl="0"/>
            <a:r>
              <a:rPr lang="en-US" dirty="0" smtClean="0"/>
              <a:t>Source:</a:t>
            </a:r>
            <a:endParaRPr lang="en-IN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4433479" y="6524735"/>
            <a:ext cx="341947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900" dirty="0" smtClean="0"/>
              <a:t>© 2020 Borderless Access</a:t>
            </a:r>
          </a:p>
        </p:txBody>
      </p:sp>
    </p:spTree>
    <p:extLst>
      <p:ext uri="{BB962C8B-B14F-4D97-AF65-F5344CB8AC3E}">
        <p14:creationId xmlns:p14="http://schemas.microsoft.com/office/powerpoint/2010/main" val="1998170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504248"/>
            <a:ext cx="823944" cy="205121"/>
          </a:xfrm>
        </p:spPr>
        <p:txBody>
          <a:bodyPr wrap="none" lIns="0" tIns="0" rIns="0" bIns="0">
            <a:spAutoFit/>
          </a:bodyPr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2232" y="6524735"/>
            <a:ext cx="162437" cy="164148"/>
          </a:xfr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704135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504248"/>
            <a:ext cx="823944" cy="205121"/>
          </a:xfrm>
        </p:spPr>
        <p:txBody>
          <a:bodyPr wrap="none" lIns="0" tIns="0" rIns="0" bIns="0">
            <a:spAutoFit/>
          </a:bodyPr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2232" y="6524735"/>
            <a:ext cx="162437" cy="164148"/>
          </a:xfr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6296706"/>
            <a:ext cx="1161756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1000" i="1" dirty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marL="0" lvl="0" indent="0">
              <a:buFont typeface="Arial" pitchFamily="34" charset="0"/>
              <a:buNone/>
            </a:pPr>
            <a:r>
              <a:rPr lang="en-US" dirty="0" smtClean="0"/>
              <a:t>Source: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9275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C:\Users\prasannakumar.s.CROSS-TABGROUPS\Desktop\WORK\borderless\29april\with text\title p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799597"/>
            <a:ext cx="5239553" cy="306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504248"/>
            <a:ext cx="823944" cy="205121"/>
          </a:xfrm>
        </p:spPr>
        <p:txBody>
          <a:bodyPr wrap="none" lIns="0" tIns="0" rIns="0" bIns="0">
            <a:spAutoFit/>
          </a:bodyPr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78655" y="6524703"/>
            <a:ext cx="1434687" cy="164212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en-IN" smtClean="0">
                <a:solidFill>
                  <a:prstClr val="black">
                    <a:tint val="75000"/>
                  </a:prstClr>
                </a:solidFill>
              </a:rPr>
              <a:t>© 2020 Borderless Access</a:t>
            </a:r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2232" y="6524703"/>
            <a:ext cx="161904" cy="164212"/>
          </a:xfrm>
        </p:spPr>
        <p:txBody>
          <a:bodyPr wrap="none" lIns="0" tIns="0" rIns="0" bIns="0">
            <a:spAutoFit/>
          </a:bodyPr>
          <a:lstStyle/>
          <a:p>
            <a:fld id="{2A6A1010-39FC-44B1-A15A-8ABADF253C31}" type="slidenum">
              <a:rPr/>
              <a:pPr/>
              <a:t>‹#›</a:t>
            </a:fld>
            <a:endParaRPr dirty="0"/>
          </a:p>
        </p:txBody>
      </p:sp>
      <p:pic>
        <p:nvPicPr>
          <p:cNvPr id="7" name="Picture 2" descr="C:\Users\prasannakumar.s.CROSS-TABGROUPS\Desktop\WORK\borderless\29april\with text\title pg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793597"/>
            <a:ext cx="5239553" cy="30644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6097814"/>
            <a:ext cx="11342400" cy="184665"/>
          </a:xfrm>
        </p:spPr>
        <p:txBody>
          <a:bodyPr anchor="b"/>
          <a:lstStyle>
            <a:lvl1pPr marL="0" indent="0">
              <a:buFont typeface="Arial" pitchFamily="34" charset="0"/>
              <a:buNone/>
              <a:defRPr sz="1200" i="1">
                <a:solidFill>
                  <a:schemeClr val="bg1">
                    <a:lumMod val="50000"/>
                  </a:schemeClr>
                </a:solidFill>
              </a:defRPr>
            </a:lvl1pPr>
            <a:lvl2pPr marL="243410" indent="0">
              <a:buNone/>
              <a:defRPr/>
            </a:lvl2pPr>
            <a:lvl3pPr marL="478355" indent="0">
              <a:buNone/>
              <a:defRPr/>
            </a:lvl3pPr>
            <a:lvl4pPr marL="721766" indent="0">
              <a:buNone/>
              <a:defRPr/>
            </a:lvl4pPr>
            <a:lvl5pPr marL="954592" indent="0">
              <a:buNone/>
              <a:defRPr/>
            </a:lvl5pPr>
          </a:lstStyle>
          <a:p>
            <a:pPr lvl="0"/>
            <a:r>
              <a:rPr lang="en-US" dirty="0" smtClean="0"/>
              <a:t>Source:</a:t>
            </a:r>
            <a:endParaRPr lang="en-IN" dirty="0"/>
          </a:p>
        </p:txBody>
      </p:sp>
      <p:pic>
        <p:nvPicPr>
          <p:cNvPr id="8" name="Picture 2" descr="D:\Arvind\Devesh\BA presentation\bg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6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10613876" y="223325"/>
            <a:ext cx="1294245" cy="384748"/>
            <a:chOff x="10613876" y="223325"/>
            <a:chExt cx="1294245" cy="384748"/>
          </a:xfrm>
        </p:grpSpPr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10613876" y="233397"/>
              <a:ext cx="365612" cy="374676"/>
            </a:xfrm>
            <a:custGeom>
              <a:avLst/>
              <a:gdLst>
                <a:gd name="T0" fmla="*/ 181 w 193"/>
                <a:gd name="T1" fmla="*/ 1 h 196"/>
                <a:gd name="T2" fmla="*/ 12 w 193"/>
                <a:gd name="T3" fmla="*/ 1 h 196"/>
                <a:gd name="T4" fmla="*/ 0 w 193"/>
                <a:gd name="T5" fmla="*/ 12 h 196"/>
                <a:gd name="T6" fmla="*/ 52 w 193"/>
                <a:gd name="T7" fmla="*/ 184 h 196"/>
                <a:gd name="T8" fmla="*/ 63 w 193"/>
                <a:gd name="T9" fmla="*/ 196 h 196"/>
                <a:gd name="T10" fmla="*/ 181 w 193"/>
                <a:gd name="T11" fmla="*/ 196 h 196"/>
                <a:gd name="T12" fmla="*/ 193 w 193"/>
                <a:gd name="T13" fmla="*/ 184 h 196"/>
                <a:gd name="T14" fmla="*/ 193 w 193"/>
                <a:gd name="T15" fmla="*/ 12 h 196"/>
                <a:gd name="T16" fmla="*/ 181 w 193"/>
                <a:gd name="T17" fmla="*/ 1 h 1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3" h="196">
                  <a:moveTo>
                    <a:pt x="181" y="1"/>
                  </a:moveTo>
                  <a:cubicBezTo>
                    <a:pt x="12" y="1"/>
                    <a:pt x="12" y="1"/>
                    <a:pt x="12" y="1"/>
                  </a:cubicBezTo>
                  <a:cubicBezTo>
                    <a:pt x="5" y="0"/>
                    <a:pt x="0" y="6"/>
                    <a:pt x="0" y="12"/>
                  </a:cubicBezTo>
                  <a:cubicBezTo>
                    <a:pt x="52" y="184"/>
                    <a:pt x="52" y="184"/>
                    <a:pt x="52" y="184"/>
                  </a:cubicBezTo>
                  <a:cubicBezTo>
                    <a:pt x="51" y="190"/>
                    <a:pt x="57" y="196"/>
                    <a:pt x="63" y="196"/>
                  </a:cubicBezTo>
                  <a:cubicBezTo>
                    <a:pt x="181" y="196"/>
                    <a:pt x="181" y="196"/>
                    <a:pt x="181" y="196"/>
                  </a:cubicBezTo>
                  <a:cubicBezTo>
                    <a:pt x="187" y="196"/>
                    <a:pt x="193" y="190"/>
                    <a:pt x="193" y="184"/>
                  </a:cubicBezTo>
                  <a:cubicBezTo>
                    <a:pt x="193" y="12"/>
                    <a:pt x="193" y="12"/>
                    <a:pt x="193" y="12"/>
                  </a:cubicBezTo>
                  <a:cubicBezTo>
                    <a:pt x="193" y="6"/>
                    <a:pt x="187" y="0"/>
                    <a:pt x="181" y="1"/>
                  </a:cubicBezTo>
                </a:path>
              </a:pathLst>
            </a:custGeom>
            <a:solidFill>
              <a:srgbClr val="036DA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" name="Freeform 12"/>
            <p:cNvSpPr>
              <a:spLocks noEditPoints="1"/>
            </p:cNvSpPr>
            <p:nvPr/>
          </p:nvSpPr>
          <p:spPr bwMode="auto">
            <a:xfrm>
              <a:off x="10619919" y="223325"/>
              <a:ext cx="359569" cy="368633"/>
            </a:xfrm>
            <a:custGeom>
              <a:avLst/>
              <a:gdLst>
                <a:gd name="T0" fmla="*/ 103 w 190"/>
                <a:gd name="T1" fmla="*/ 84 h 193"/>
                <a:gd name="T2" fmla="*/ 100 w 190"/>
                <a:gd name="T3" fmla="*/ 79 h 193"/>
                <a:gd name="T4" fmla="*/ 104 w 190"/>
                <a:gd name="T5" fmla="*/ 91 h 193"/>
                <a:gd name="T6" fmla="*/ 103 w 190"/>
                <a:gd name="T7" fmla="*/ 92 h 193"/>
                <a:gd name="T8" fmla="*/ 100 w 190"/>
                <a:gd name="T9" fmla="*/ 105 h 193"/>
                <a:gd name="T10" fmla="*/ 21 w 190"/>
                <a:gd name="T11" fmla="*/ 93 h 193"/>
                <a:gd name="T12" fmla="*/ 22 w 190"/>
                <a:gd name="T13" fmla="*/ 85 h 193"/>
                <a:gd name="T14" fmla="*/ 33 w 190"/>
                <a:gd name="T15" fmla="*/ 56 h 193"/>
                <a:gd name="T16" fmla="*/ 92 w 190"/>
                <a:gd name="T17" fmla="*/ 86 h 193"/>
                <a:gd name="T18" fmla="*/ 60 w 190"/>
                <a:gd name="T19" fmla="*/ 125 h 193"/>
                <a:gd name="T20" fmla="*/ 57 w 190"/>
                <a:gd name="T21" fmla="*/ 126 h 193"/>
                <a:gd name="T22" fmla="*/ 22 w 190"/>
                <a:gd name="T23" fmla="*/ 83 h 193"/>
                <a:gd name="T24" fmla="*/ 111 w 190"/>
                <a:gd name="T25" fmla="*/ 71 h 193"/>
                <a:gd name="T26" fmla="*/ 106 w 190"/>
                <a:gd name="T27" fmla="*/ 73 h 193"/>
                <a:gd name="T28" fmla="*/ 112 w 190"/>
                <a:gd name="T29" fmla="*/ 78 h 193"/>
                <a:gd name="T30" fmla="*/ 112 w 190"/>
                <a:gd name="T31" fmla="*/ 87 h 193"/>
                <a:gd name="T32" fmla="*/ 111 w 190"/>
                <a:gd name="T33" fmla="*/ 97 h 193"/>
                <a:gd name="T34" fmla="*/ 114 w 190"/>
                <a:gd name="T35" fmla="*/ 67 h 193"/>
                <a:gd name="T36" fmla="*/ 118 w 190"/>
                <a:gd name="T37" fmla="*/ 68 h 193"/>
                <a:gd name="T38" fmla="*/ 118 w 190"/>
                <a:gd name="T39" fmla="*/ 70 h 193"/>
                <a:gd name="T40" fmla="*/ 119 w 190"/>
                <a:gd name="T41" fmla="*/ 71 h 193"/>
                <a:gd name="T42" fmla="*/ 119 w 190"/>
                <a:gd name="T43" fmla="*/ 72 h 193"/>
                <a:gd name="T44" fmla="*/ 116 w 190"/>
                <a:gd name="T45" fmla="*/ 75 h 193"/>
                <a:gd name="T46" fmla="*/ 119 w 190"/>
                <a:gd name="T47" fmla="*/ 82 h 193"/>
                <a:gd name="T48" fmla="*/ 119 w 190"/>
                <a:gd name="T49" fmla="*/ 82 h 193"/>
                <a:gd name="T50" fmla="*/ 120 w 190"/>
                <a:gd name="T51" fmla="*/ 66 h 193"/>
                <a:gd name="T52" fmla="*/ 124 w 190"/>
                <a:gd name="T53" fmla="*/ 69 h 193"/>
                <a:gd name="T54" fmla="*/ 121 w 190"/>
                <a:gd name="T55" fmla="*/ 71 h 193"/>
                <a:gd name="T56" fmla="*/ 124 w 190"/>
                <a:gd name="T57" fmla="*/ 73 h 193"/>
                <a:gd name="T58" fmla="*/ 121 w 190"/>
                <a:gd name="T59" fmla="*/ 75 h 193"/>
                <a:gd name="T60" fmla="*/ 121 w 190"/>
                <a:gd name="T61" fmla="*/ 84 h 193"/>
                <a:gd name="T62" fmla="*/ 115 w 190"/>
                <a:gd name="T63" fmla="*/ 89 h 193"/>
                <a:gd name="T64" fmla="*/ 103 w 190"/>
                <a:gd name="T65" fmla="*/ 112 h 193"/>
                <a:gd name="T66" fmla="*/ 111 w 190"/>
                <a:gd name="T67" fmla="*/ 101 h 193"/>
                <a:gd name="T68" fmla="*/ 118 w 190"/>
                <a:gd name="T69" fmla="*/ 95 h 193"/>
                <a:gd name="T70" fmla="*/ 121 w 190"/>
                <a:gd name="T71" fmla="*/ 94 h 193"/>
                <a:gd name="T72" fmla="*/ 190 w 190"/>
                <a:gd name="T73" fmla="*/ 101 h 193"/>
                <a:gd name="T74" fmla="*/ 163 w 190"/>
                <a:gd name="T75" fmla="*/ 80 h 193"/>
                <a:gd name="T76" fmla="*/ 127 w 190"/>
                <a:gd name="T77" fmla="*/ 85 h 193"/>
                <a:gd name="T78" fmla="*/ 127 w 190"/>
                <a:gd name="T79" fmla="*/ 71 h 193"/>
                <a:gd name="T80" fmla="*/ 126 w 190"/>
                <a:gd name="T81" fmla="*/ 65 h 193"/>
                <a:gd name="T82" fmla="*/ 124 w 190"/>
                <a:gd name="T83" fmla="*/ 59 h 193"/>
                <a:gd name="T84" fmla="*/ 121 w 190"/>
                <a:gd name="T85" fmla="*/ 51 h 193"/>
                <a:gd name="T86" fmla="*/ 122 w 190"/>
                <a:gd name="T87" fmla="*/ 58 h 193"/>
                <a:gd name="T88" fmla="*/ 116 w 190"/>
                <a:gd name="T89" fmla="*/ 62 h 193"/>
                <a:gd name="T90" fmla="*/ 109 w 190"/>
                <a:gd name="T91" fmla="*/ 65 h 193"/>
                <a:gd name="T92" fmla="*/ 7 w 190"/>
                <a:gd name="T93" fmla="*/ 50 h 193"/>
                <a:gd name="T94" fmla="*/ 97 w 190"/>
                <a:gd name="T95" fmla="*/ 80 h 193"/>
                <a:gd name="T96" fmla="*/ 73 w 190"/>
                <a:gd name="T97" fmla="*/ 49 h 193"/>
                <a:gd name="T98" fmla="*/ 25 w 190"/>
                <a:gd name="T99" fmla="*/ 112 h 193"/>
                <a:gd name="T100" fmla="*/ 31 w 190"/>
                <a:gd name="T101" fmla="*/ 130 h 193"/>
                <a:gd name="T102" fmla="*/ 79 w 190"/>
                <a:gd name="T103" fmla="*/ 135 h 193"/>
                <a:gd name="T104" fmla="*/ 85 w 190"/>
                <a:gd name="T105" fmla="*/ 132 h 193"/>
                <a:gd name="T106" fmla="*/ 82 w 190"/>
                <a:gd name="T107" fmla="*/ 145 h 193"/>
                <a:gd name="T108" fmla="*/ 190 w 190"/>
                <a:gd name="T109" fmla="*/ 105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90" h="193">
                  <a:moveTo>
                    <a:pt x="103" y="84"/>
                  </a:moveTo>
                  <a:cubicBezTo>
                    <a:pt x="103" y="84"/>
                    <a:pt x="103" y="84"/>
                    <a:pt x="103" y="84"/>
                  </a:cubicBezTo>
                  <a:cubicBezTo>
                    <a:pt x="103" y="85"/>
                    <a:pt x="103" y="87"/>
                    <a:pt x="103" y="88"/>
                  </a:cubicBezTo>
                  <a:cubicBezTo>
                    <a:pt x="102" y="89"/>
                    <a:pt x="101" y="91"/>
                    <a:pt x="99" y="92"/>
                  </a:cubicBezTo>
                  <a:cubicBezTo>
                    <a:pt x="99" y="91"/>
                    <a:pt x="99" y="90"/>
                    <a:pt x="99" y="89"/>
                  </a:cubicBezTo>
                  <a:cubicBezTo>
                    <a:pt x="100" y="87"/>
                    <a:pt x="102" y="86"/>
                    <a:pt x="103" y="84"/>
                  </a:cubicBezTo>
                  <a:moveTo>
                    <a:pt x="98" y="82"/>
                  </a:move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2"/>
                  </a:cubicBezTo>
                  <a:cubicBezTo>
                    <a:pt x="98" y="82"/>
                    <a:pt x="98" y="82"/>
                    <a:pt x="98" y="81"/>
                  </a:cubicBezTo>
                  <a:cubicBezTo>
                    <a:pt x="98" y="81"/>
                    <a:pt x="98" y="81"/>
                    <a:pt x="98" y="81"/>
                  </a:cubicBezTo>
                  <a:cubicBezTo>
                    <a:pt x="99" y="81"/>
                    <a:pt x="100" y="80"/>
                    <a:pt x="100" y="79"/>
                  </a:cubicBezTo>
                  <a:cubicBezTo>
                    <a:pt x="101" y="79"/>
                    <a:pt x="101" y="78"/>
                    <a:pt x="102" y="78"/>
                  </a:cubicBezTo>
                  <a:cubicBezTo>
                    <a:pt x="102" y="78"/>
                    <a:pt x="102" y="79"/>
                    <a:pt x="102" y="80"/>
                  </a:cubicBezTo>
                  <a:cubicBezTo>
                    <a:pt x="102" y="80"/>
                    <a:pt x="102" y="81"/>
                    <a:pt x="103" y="81"/>
                  </a:cubicBezTo>
                  <a:cubicBezTo>
                    <a:pt x="101" y="83"/>
                    <a:pt x="100" y="84"/>
                    <a:pt x="99" y="86"/>
                  </a:cubicBezTo>
                  <a:cubicBezTo>
                    <a:pt x="98" y="85"/>
                    <a:pt x="98" y="83"/>
                    <a:pt x="98" y="82"/>
                  </a:cubicBezTo>
                  <a:close/>
                  <a:moveTo>
                    <a:pt x="104" y="91"/>
                  </a:moveTo>
                  <a:cubicBezTo>
                    <a:pt x="104" y="91"/>
                    <a:pt x="104" y="91"/>
                    <a:pt x="104" y="91"/>
                  </a:cubicBezTo>
                  <a:cubicBezTo>
                    <a:pt x="104" y="93"/>
                    <a:pt x="103" y="94"/>
                    <a:pt x="103" y="96"/>
                  </a:cubicBezTo>
                  <a:cubicBezTo>
                    <a:pt x="103" y="97"/>
                    <a:pt x="102" y="97"/>
                    <a:pt x="101" y="98"/>
                  </a:cubicBezTo>
                  <a:cubicBezTo>
                    <a:pt x="101" y="99"/>
                    <a:pt x="100" y="99"/>
                    <a:pt x="100" y="100"/>
                  </a:cubicBezTo>
                  <a:cubicBezTo>
                    <a:pt x="100" y="99"/>
                    <a:pt x="100" y="97"/>
                    <a:pt x="100" y="96"/>
                  </a:cubicBezTo>
                  <a:cubicBezTo>
                    <a:pt x="101" y="94"/>
                    <a:pt x="102" y="93"/>
                    <a:pt x="103" y="92"/>
                  </a:cubicBezTo>
                  <a:cubicBezTo>
                    <a:pt x="103" y="92"/>
                    <a:pt x="104" y="91"/>
                    <a:pt x="104" y="91"/>
                  </a:cubicBezTo>
                  <a:close/>
                  <a:moveTo>
                    <a:pt x="103" y="105"/>
                  </a:moveTo>
                  <a:cubicBezTo>
                    <a:pt x="103" y="105"/>
                    <a:pt x="103" y="105"/>
                    <a:pt x="103" y="105"/>
                  </a:cubicBezTo>
                  <a:cubicBezTo>
                    <a:pt x="102" y="106"/>
                    <a:pt x="101" y="107"/>
                    <a:pt x="100" y="108"/>
                  </a:cubicBezTo>
                  <a:cubicBezTo>
                    <a:pt x="100" y="107"/>
                    <a:pt x="100" y="106"/>
                    <a:pt x="100" y="105"/>
                  </a:cubicBezTo>
                  <a:cubicBezTo>
                    <a:pt x="100" y="105"/>
                    <a:pt x="100" y="105"/>
                    <a:pt x="100" y="105"/>
                  </a:cubicBezTo>
                  <a:cubicBezTo>
                    <a:pt x="101" y="104"/>
                    <a:pt x="102" y="102"/>
                    <a:pt x="103" y="101"/>
                  </a:cubicBezTo>
                  <a:cubicBezTo>
                    <a:pt x="103" y="102"/>
                    <a:pt x="103" y="104"/>
                    <a:pt x="103" y="105"/>
                  </a:cubicBezTo>
                  <a:close/>
                  <a:moveTo>
                    <a:pt x="56" y="147"/>
                  </a:moveTo>
                  <a:cubicBezTo>
                    <a:pt x="56" y="147"/>
                    <a:pt x="56" y="147"/>
                    <a:pt x="56" y="147"/>
                  </a:cubicBezTo>
                  <a:cubicBezTo>
                    <a:pt x="49" y="151"/>
                    <a:pt x="38" y="133"/>
                    <a:pt x="22" y="99"/>
                  </a:cubicBezTo>
                  <a:cubicBezTo>
                    <a:pt x="22" y="97"/>
                    <a:pt x="21" y="96"/>
                    <a:pt x="21" y="93"/>
                  </a:cubicBezTo>
                  <a:cubicBezTo>
                    <a:pt x="34" y="118"/>
                    <a:pt x="44" y="137"/>
                    <a:pt x="51" y="139"/>
                  </a:cubicBezTo>
                  <a:cubicBezTo>
                    <a:pt x="62" y="144"/>
                    <a:pt x="84" y="109"/>
                    <a:pt x="94" y="94"/>
                  </a:cubicBezTo>
                  <a:cubicBezTo>
                    <a:pt x="94" y="96"/>
                    <a:pt x="95" y="97"/>
                    <a:pt x="95" y="98"/>
                  </a:cubicBezTo>
                  <a:cubicBezTo>
                    <a:pt x="86" y="109"/>
                    <a:pt x="72" y="134"/>
                    <a:pt x="56" y="147"/>
                  </a:cubicBezTo>
                  <a:close/>
                  <a:moveTo>
                    <a:pt x="22" y="85"/>
                  </a:moveTo>
                  <a:cubicBezTo>
                    <a:pt x="22" y="85"/>
                    <a:pt x="22" y="85"/>
                    <a:pt x="22" y="85"/>
                  </a:cubicBezTo>
                  <a:cubicBezTo>
                    <a:pt x="51" y="142"/>
                    <a:pt x="54" y="145"/>
                    <a:pt x="93" y="88"/>
                  </a:cubicBezTo>
                  <a:cubicBezTo>
                    <a:pt x="94" y="89"/>
                    <a:pt x="93" y="90"/>
                    <a:pt x="94" y="92"/>
                  </a:cubicBezTo>
                  <a:cubicBezTo>
                    <a:pt x="49" y="155"/>
                    <a:pt x="52" y="143"/>
                    <a:pt x="22" y="90"/>
                  </a:cubicBezTo>
                  <a:cubicBezTo>
                    <a:pt x="22" y="89"/>
                    <a:pt x="22" y="87"/>
                    <a:pt x="22" y="85"/>
                  </a:cubicBezTo>
                  <a:close/>
                  <a:moveTo>
                    <a:pt x="33" y="56"/>
                  </a:moveTo>
                  <a:cubicBezTo>
                    <a:pt x="33" y="56"/>
                    <a:pt x="33" y="56"/>
                    <a:pt x="33" y="56"/>
                  </a:cubicBezTo>
                  <a:cubicBezTo>
                    <a:pt x="44" y="46"/>
                    <a:pt x="60" y="52"/>
                    <a:pt x="68" y="56"/>
                  </a:cubicBezTo>
                  <a:cubicBezTo>
                    <a:pt x="68" y="56"/>
                    <a:pt x="69" y="57"/>
                    <a:pt x="69" y="57"/>
                  </a:cubicBezTo>
                  <a:cubicBezTo>
                    <a:pt x="76" y="61"/>
                    <a:pt x="81" y="66"/>
                    <a:pt x="86" y="72"/>
                  </a:cubicBezTo>
                  <a:cubicBezTo>
                    <a:pt x="86" y="73"/>
                    <a:pt x="86" y="73"/>
                    <a:pt x="86" y="73"/>
                  </a:cubicBezTo>
                  <a:cubicBezTo>
                    <a:pt x="89" y="77"/>
                    <a:pt x="91" y="81"/>
                    <a:pt x="92" y="85"/>
                  </a:cubicBezTo>
                  <a:cubicBezTo>
                    <a:pt x="92" y="85"/>
                    <a:pt x="92" y="85"/>
                    <a:pt x="92" y="86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92" y="86"/>
                    <a:pt x="92" y="86"/>
                    <a:pt x="92" y="86"/>
                  </a:cubicBezTo>
                  <a:cubicBezTo>
                    <a:pt x="91" y="87"/>
                    <a:pt x="90" y="88"/>
                    <a:pt x="90" y="89"/>
                  </a:cubicBezTo>
                  <a:cubicBezTo>
                    <a:pt x="88" y="91"/>
                    <a:pt x="86" y="94"/>
                    <a:pt x="84" y="97"/>
                  </a:cubicBezTo>
                  <a:cubicBezTo>
                    <a:pt x="77" y="107"/>
                    <a:pt x="67" y="120"/>
                    <a:pt x="60" y="125"/>
                  </a:cubicBezTo>
                  <a:cubicBezTo>
                    <a:pt x="60" y="125"/>
                    <a:pt x="60" y="125"/>
                    <a:pt x="59" y="125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9" y="125"/>
                    <a:pt x="58" y="125"/>
                    <a:pt x="58" y="126"/>
                  </a:cubicBezTo>
                  <a:cubicBezTo>
                    <a:pt x="58" y="126"/>
                    <a:pt x="58" y="126"/>
                    <a:pt x="58" y="126"/>
                  </a:cubicBezTo>
                  <a:cubicBezTo>
                    <a:pt x="58" y="126"/>
                    <a:pt x="57" y="126"/>
                    <a:pt x="57" y="126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7" y="126"/>
                    <a:pt x="57" y="126"/>
                    <a:pt x="57" y="126"/>
                  </a:cubicBezTo>
                  <a:cubicBezTo>
                    <a:pt x="57" y="126"/>
                    <a:pt x="56" y="126"/>
                    <a:pt x="56" y="126"/>
                  </a:cubicBezTo>
                  <a:cubicBezTo>
                    <a:pt x="56" y="126"/>
                    <a:pt x="56" y="126"/>
                    <a:pt x="56" y="126"/>
                  </a:cubicBezTo>
                  <a:cubicBezTo>
                    <a:pt x="56" y="127"/>
                    <a:pt x="56" y="127"/>
                    <a:pt x="55" y="127"/>
                  </a:cubicBezTo>
                  <a:cubicBezTo>
                    <a:pt x="47" y="127"/>
                    <a:pt x="37" y="110"/>
                    <a:pt x="22" y="83"/>
                  </a:cubicBezTo>
                  <a:cubicBezTo>
                    <a:pt x="24" y="73"/>
                    <a:pt x="27" y="62"/>
                    <a:pt x="33" y="56"/>
                  </a:cubicBezTo>
                  <a:close/>
                  <a:moveTo>
                    <a:pt x="110" y="69"/>
                  </a:moveTo>
                  <a:cubicBezTo>
                    <a:pt x="110" y="69"/>
                    <a:pt x="110" y="69"/>
                    <a:pt x="110" y="69"/>
                  </a:cubicBezTo>
                  <a:cubicBezTo>
                    <a:pt x="110" y="69"/>
                    <a:pt x="110" y="70"/>
                    <a:pt x="110" y="70"/>
                  </a:cubicBezTo>
                  <a:cubicBezTo>
                    <a:pt x="110" y="70"/>
                    <a:pt x="110" y="70"/>
                    <a:pt x="110" y="70"/>
                  </a:cubicBezTo>
                  <a:cubicBezTo>
                    <a:pt x="111" y="70"/>
                    <a:pt x="111" y="71"/>
                    <a:pt x="111" y="71"/>
                  </a:cubicBezTo>
                  <a:cubicBezTo>
                    <a:pt x="111" y="72"/>
                    <a:pt x="111" y="72"/>
                    <a:pt x="111" y="73"/>
                  </a:cubicBezTo>
                  <a:cubicBezTo>
                    <a:pt x="110" y="74"/>
                    <a:pt x="109" y="76"/>
                    <a:pt x="107" y="77"/>
                  </a:cubicBezTo>
                  <a:cubicBezTo>
                    <a:pt x="107" y="77"/>
                    <a:pt x="107" y="77"/>
                    <a:pt x="107" y="77"/>
                  </a:cubicBezTo>
                  <a:cubicBezTo>
                    <a:pt x="107" y="76"/>
                    <a:pt x="107" y="76"/>
                    <a:pt x="107" y="75"/>
                  </a:cubicBezTo>
                  <a:cubicBezTo>
                    <a:pt x="107" y="74"/>
                    <a:pt x="106" y="74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6" y="73"/>
                    <a:pt x="106" y="73"/>
                    <a:pt x="106" y="73"/>
                  </a:cubicBezTo>
                  <a:cubicBezTo>
                    <a:pt x="108" y="72"/>
                    <a:pt x="109" y="70"/>
                    <a:pt x="110" y="69"/>
                  </a:cubicBezTo>
                  <a:close/>
                  <a:moveTo>
                    <a:pt x="112" y="75"/>
                  </a:moveTo>
                  <a:cubicBezTo>
                    <a:pt x="112" y="75"/>
                    <a:pt x="112" y="75"/>
                    <a:pt x="112" y="75"/>
                  </a:cubicBezTo>
                  <a:cubicBezTo>
                    <a:pt x="112" y="76"/>
                    <a:pt x="112" y="76"/>
                    <a:pt x="112" y="77"/>
                  </a:cubicBezTo>
                  <a:cubicBezTo>
                    <a:pt x="112" y="77"/>
                    <a:pt x="112" y="78"/>
                    <a:pt x="112" y="78"/>
                  </a:cubicBezTo>
                  <a:cubicBezTo>
                    <a:pt x="111" y="79"/>
                    <a:pt x="110" y="80"/>
                    <a:pt x="109" y="81"/>
                  </a:cubicBezTo>
                  <a:cubicBezTo>
                    <a:pt x="109" y="81"/>
                    <a:pt x="108" y="82"/>
                    <a:pt x="108" y="82"/>
                  </a:cubicBezTo>
                  <a:cubicBezTo>
                    <a:pt x="108" y="81"/>
                    <a:pt x="108" y="80"/>
                    <a:pt x="108" y="79"/>
                  </a:cubicBezTo>
                  <a:cubicBezTo>
                    <a:pt x="109" y="78"/>
                    <a:pt x="110" y="76"/>
                    <a:pt x="112" y="75"/>
                  </a:cubicBezTo>
                  <a:cubicBezTo>
                    <a:pt x="112" y="75"/>
                    <a:pt x="112" y="75"/>
                    <a:pt x="112" y="75"/>
                  </a:cubicBezTo>
                  <a:close/>
                  <a:moveTo>
                    <a:pt x="112" y="87"/>
                  </a:moveTo>
                  <a:cubicBezTo>
                    <a:pt x="112" y="87"/>
                    <a:pt x="112" y="87"/>
                    <a:pt x="112" y="87"/>
                  </a:cubicBezTo>
                  <a:cubicBezTo>
                    <a:pt x="111" y="88"/>
                    <a:pt x="110" y="89"/>
                    <a:pt x="108" y="91"/>
                  </a:cubicBezTo>
                  <a:cubicBezTo>
                    <a:pt x="108" y="89"/>
                    <a:pt x="108" y="88"/>
                    <a:pt x="108" y="86"/>
                  </a:cubicBezTo>
                  <a:cubicBezTo>
                    <a:pt x="110" y="85"/>
                    <a:pt x="111" y="83"/>
                    <a:pt x="112" y="82"/>
                  </a:cubicBezTo>
                  <a:cubicBezTo>
                    <a:pt x="112" y="84"/>
                    <a:pt x="112" y="85"/>
                    <a:pt x="112" y="87"/>
                  </a:cubicBezTo>
                  <a:close/>
                  <a:moveTo>
                    <a:pt x="111" y="97"/>
                  </a:moveTo>
                  <a:cubicBezTo>
                    <a:pt x="111" y="97"/>
                    <a:pt x="111" y="97"/>
                    <a:pt x="111" y="97"/>
                  </a:cubicBezTo>
                  <a:cubicBezTo>
                    <a:pt x="110" y="98"/>
                    <a:pt x="109" y="99"/>
                    <a:pt x="108" y="100"/>
                  </a:cubicBezTo>
                  <a:cubicBezTo>
                    <a:pt x="108" y="99"/>
                    <a:pt x="108" y="97"/>
                    <a:pt x="108" y="96"/>
                  </a:cubicBezTo>
                  <a:cubicBezTo>
                    <a:pt x="109" y="95"/>
                    <a:pt x="110" y="93"/>
                    <a:pt x="112" y="92"/>
                  </a:cubicBezTo>
                  <a:cubicBezTo>
                    <a:pt x="112" y="94"/>
                    <a:pt x="111" y="95"/>
                    <a:pt x="111" y="97"/>
                  </a:cubicBezTo>
                  <a:close/>
                  <a:moveTo>
                    <a:pt x="114" y="67"/>
                  </a:moveTo>
                  <a:cubicBezTo>
                    <a:pt x="114" y="67"/>
                    <a:pt x="114" y="67"/>
                    <a:pt x="114" y="67"/>
                  </a:cubicBezTo>
                  <a:cubicBezTo>
                    <a:pt x="115" y="66"/>
                    <a:pt x="116" y="65"/>
                    <a:pt x="117" y="64"/>
                  </a:cubicBezTo>
                  <a:cubicBezTo>
                    <a:pt x="117" y="64"/>
                    <a:pt x="117" y="65"/>
                    <a:pt x="117" y="65"/>
                  </a:cubicBezTo>
                  <a:cubicBezTo>
                    <a:pt x="117" y="66"/>
                    <a:pt x="118" y="67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8" y="68"/>
                    <a:pt x="118" y="68"/>
                    <a:pt x="118" y="68"/>
                  </a:cubicBezTo>
                  <a:cubicBezTo>
                    <a:pt x="117" y="69"/>
                    <a:pt x="116" y="69"/>
                    <a:pt x="115" y="70"/>
                  </a:cubicBezTo>
                  <a:cubicBezTo>
                    <a:pt x="114" y="70"/>
                    <a:pt x="114" y="69"/>
                    <a:pt x="114" y="68"/>
                  </a:cubicBezTo>
                  <a:cubicBezTo>
                    <a:pt x="114" y="68"/>
                    <a:pt x="114" y="68"/>
                    <a:pt x="114" y="68"/>
                  </a:cubicBezTo>
                  <a:cubicBezTo>
                    <a:pt x="114" y="68"/>
                    <a:pt x="114" y="67"/>
                    <a:pt x="114" y="67"/>
                  </a:cubicBezTo>
                  <a:close/>
                  <a:moveTo>
                    <a:pt x="118" y="70"/>
                  </a:moveTo>
                  <a:cubicBezTo>
                    <a:pt x="118" y="70"/>
                    <a:pt x="118" y="70"/>
                    <a:pt x="118" y="7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18" y="70"/>
                    <a:pt x="118" y="70"/>
                    <a:pt x="119" y="70"/>
                  </a:cubicBezTo>
                  <a:cubicBezTo>
                    <a:pt x="119" y="70"/>
                    <a:pt x="119" y="70"/>
                    <a:pt x="119" y="70"/>
                  </a:cubicBezTo>
                  <a:cubicBezTo>
                    <a:pt x="119" y="70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1"/>
                    <a:pt x="119" y="71"/>
                  </a:cubicBezTo>
                  <a:cubicBezTo>
                    <a:pt x="119" y="71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2"/>
                  </a:cubicBezTo>
                  <a:cubicBezTo>
                    <a:pt x="119" y="72"/>
                    <a:pt x="119" y="72"/>
                    <a:pt x="119" y="73"/>
                  </a:cubicBezTo>
                  <a:cubicBezTo>
                    <a:pt x="118" y="73"/>
                    <a:pt x="117" y="74"/>
                    <a:pt x="116" y="75"/>
                  </a:cubicBezTo>
                  <a:cubicBezTo>
                    <a:pt x="116" y="75"/>
                    <a:pt x="115" y="75"/>
                    <a:pt x="115" y="75"/>
                  </a:cubicBezTo>
                  <a:cubicBezTo>
                    <a:pt x="115" y="75"/>
                    <a:pt x="115" y="74"/>
                    <a:pt x="115" y="74"/>
                  </a:cubicBezTo>
                  <a:cubicBezTo>
                    <a:pt x="115" y="73"/>
                    <a:pt x="115" y="73"/>
                    <a:pt x="115" y="73"/>
                  </a:cubicBezTo>
                  <a:cubicBezTo>
                    <a:pt x="115" y="73"/>
                    <a:pt x="115" y="73"/>
                    <a:pt x="115" y="73"/>
                  </a:cubicBezTo>
                  <a:cubicBezTo>
                    <a:pt x="116" y="72"/>
                    <a:pt x="117" y="71"/>
                    <a:pt x="118" y="70"/>
                  </a:cubicBezTo>
                  <a:close/>
                  <a:moveTo>
                    <a:pt x="119" y="82"/>
                  </a:moveTo>
                  <a:cubicBezTo>
                    <a:pt x="119" y="82"/>
                    <a:pt x="119" y="82"/>
                    <a:pt x="119" y="82"/>
                  </a:cubicBezTo>
                  <a:cubicBezTo>
                    <a:pt x="118" y="82"/>
                    <a:pt x="117" y="83"/>
                    <a:pt x="116" y="84"/>
                  </a:cubicBezTo>
                  <a:cubicBezTo>
                    <a:pt x="116" y="83"/>
                    <a:pt x="116" y="83"/>
                    <a:pt x="116" y="82"/>
                  </a:cubicBezTo>
                  <a:cubicBezTo>
                    <a:pt x="116" y="81"/>
                    <a:pt x="116" y="80"/>
                    <a:pt x="116" y="79"/>
                  </a:cubicBezTo>
                  <a:cubicBezTo>
                    <a:pt x="117" y="78"/>
                    <a:pt x="118" y="77"/>
                    <a:pt x="119" y="76"/>
                  </a:cubicBezTo>
                  <a:cubicBezTo>
                    <a:pt x="119" y="78"/>
                    <a:pt x="119" y="80"/>
                    <a:pt x="119" y="82"/>
                  </a:cubicBezTo>
                  <a:close/>
                  <a:moveTo>
                    <a:pt x="122" y="60"/>
                  </a:moveTo>
                  <a:cubicBezTo>
                    <a:pt x="122" y="60"/>
                    <a:pt x="122" y="60"/>
                    <a:pt x="122" y="60"/>
                  </a:cubicBezTo>
                  <a:cubicBezTo>
                    <a:pt x="123" y="62"/>
                    <a:pt x="123" y="63"/>
                    <a:pt x="123" y="64"/>
                  </a:cubicBezTo>
                  <a:cubicBezTo>
                    <a:pt x="123" y="64"/>
                    <a:pt x="123" y="64"/>
                    <a:pt x="123" y="64"/>
                  </a:cubicBezTo>
                  <a:cubicBezTo>
                    <a:pt x="122" y="65"/>
                    <a:pt x="121" y="65"/>
                    <a:pt x="120" y="66"/>
                  </a:cubicBezTo>
                  <a:cubicBezTo>
                    <a:pt x="120" y="66"/>
                    <a:pt x="120" y="66"/>
                    <a:pt x="120" y="66"/>
                  </a:cubicBezTo>
                  <a:cubicBezTo>
                    <a:pt x="120" y="65"/>
                    <a:pt x="120" y="63"/>
                    <a:pt x="119" y="63"/>
                  </a:cubicBezTo>
                  <a:cubicBezTo>
                    <a:pt x="120" y="62"/>
                    <a:pt x="121" y="61"/>
                    <a:pt x="122" y="60"/>
                  </a:cubicBezTo>
                  <a:close/>
                  <a:moveTo>
                    <a:pt x="124" y="66"/>
                  </a:moveTo>
                  <a:cubicBezTo>
                    <a:pt x="124" y="66"/>
                    <a:pt x="124" y="66"/>
                    <a:pt x="124" y="66"/>
                  </a:cubicBezTo>
                  <a:cubicBezTo>
                    <a:pt x="124" y="67"/>
                    <a:pt x="124" y="68"/>
                    <a:pt x="124" y="69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9"/>
                    <a:pt x="124" y="69"/>
                    <a:pt x="124" y="69"/>
                  </a:cubicBezTo>
                  <a:cubicBezTo>
                    <a:pt x="124" y="69"/>
                    <a:pt x="123" y="70"/>
                    <a:pt x="123" y="70"/>
                  </a:cubicBezTo>
                  <a:cubicBezTo>
                    <a:pt x="122" y="70"/>
                    <a:pt x="122" y="71"/>
                    <a:pt x="121" y="71"/>
                  </a:cubicBezTo>
                  <a:cubicBezTo>
                    <a:pt x="121" y="71"/>
                    <a:pt x="121" y="71"/>
                    <a:pt x="121" y="71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1" y="69"/>
                    <a:pt x="121" y="69"/>
                    <a:pt x="121" y="68"/>
                  </a:cubicBezTo>
                  <a:cubicBezTo>
                    <a:pt x="124" y="66"/>
                    <a:pt x="124" y="66"/>
                    <a:pt x="124" y="66"/>
                  </a:cubicBezTo>
                  <a:cubicBezTo>
                    <a:pt x="124" y="66"/>
                    <a:pt x="124" y="66"/>
                    <a:pt x="124" y="66"/>
                  </a:cubicBezTo>
                  <a:close/>
                  <a:moveTo>
                    <a:pt x="124" y="73"/>
                  </a:moveTo>
                  <a:cubicBezTo>
                    <a:pt x="124" y="73"/>
                    <a:pt x="124" y="73"/>
                    <a:pt x="124" y="73"/>
                  </a:cubicBezTo>
                  <a:cubicBezTo>
                    <a:pt x="124" y="73"/>
                    <a:pt x="124" y="75"/>
                    <a:pt x="124" y="78"/>
                  </a:cubicBezTo>
                  <a:cubicBezTo>
                    <a:pt x="123" y="79"/>
                    <a:pt x="122" y="79"/>
                    <a:pt x="121" y="80"/>
                  </a:cubicBezTo>
                  <a:cubicBezTo>
                    <a:pt x="121" y="78"/>
                    <a:pt x="121" y="77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1" y="75"/>
                    <a:pt x="121" y="75"/>
                    <a:pt x="121" y="75"/>
                  </a:cubicBezTo>
                  <a:cubicBezTo>
                    <a:pt x="122" y="74"/>
                    <a:pt x="123" y="73"/>
                    <a:pt x="124" y="73"/>
                  </a:cubicBezTo>
                  <a:cubicBezTo>
                    <a:pt x="124" y="73"/>
                    <a:pt x="124" y="73"/>
                    <a:pt x="124" y="73"/>
                  </a:cubicBezTo>
                  <a:close/>
                  <a:moveTo>
                    <a:pt x="124" y="86"/>
                  </a:moveTo>
                  <a:cubicBezTo>
                    <a:pt x="124" y="86"/>
                    <a:pt x="124" y="86"/>
                    <a:pt x="124" y="86"/>
                  </a:cubicBezTo>
                  <a:cubicBezTo>
                    <a:pt x="123" y="87"/>
                    <a:pt x="122" y="88"/>
                    <a:pt x="121" y="89"/>
                  </a:cubicBezTo>
                  <a:cubicBezTo>
                    <a:pt x="121" y="87"/>
                    <a:pt x="121" y="86"/>
                    <a:pt x="121" y="84"/>
                  </a:cubicBezTo>
                  <a:cubicBezTo>
                    <a:pt x="122" y="84"/>
                    <a:pt x="123" y="83"/>
                    <a:pt x="124" y="82"/>
                  </a:cubicBezTo>
                  <a:cubicBezTo>
                    <a:pt x="124" y="84"/>
                    <a:pt x="124" y="85"/>
                    <a:pt x="124" y="86"/>
                  </a:cubicBezTo>
                  <a:close/>
                  <a:moveTo>
                    <a:pt x="119" y="90"/>
                  </a:moveTo>
                  <a:cubicBezTo>
                    <a:pt x="119" y="90"/>
                    <a:pt x="119" y="90"/>
                    <a:pt x="119" y="90"/>
                  </a:cubicBezTo>
                  <a:cubicBezTo>
                    <a:pt x="117" y="91"/>
                    <a:pt x="116" y="92"/>
                    <a:pt x="115" y="93"/>
                  </a:cubicBezTo>
                  <a:cubicBezTo>
                    <a:pt x="115" y="92"/>
                    <a:pt x="115" y="90"/>
                    <a:pt x="115" y="89"/>
                  </a:cubicBezTo>
                  <a:cubicBezTo>
                    <a:pt x="116" y="88"/>
                    <a:pt x="118" y="87"/>
                    <a:pt x="119" y="86"/>
                  </a:cubicBezTo>
                  <a:cubicBezTo>
                    <a:pt x="119" y="87"/>
                    <a:pt x="119" y="89"/>
                    <a:pt x="119" y="90"/>
                  </a:cubicBezTo>
                  <a:close/>
                  <a:moveTo>
                    <a:pt x="100" y="113"/>
                  </a:moveTo>
                  <a:cubicBezTo>
                    <a:pt x="101" y="112"/>
                    <a:pt x="102" y="111"/>
                    <a:pt x="102" y="110"/>
                  </a:cubicBezTo>
                  <a:cubicBezTo>
                    <a:pt x="103" y="109"/>
                    <a:pt x="103" y="109"/>
                    <a:pt x="103" y="109"/>
                  </a:cubicBezTo>
                  <a:cubicBezTo>
                    <a:pt x="103" y="110"/>
                    <a:pt x="103" y="111"/>
                    <a:pt x="103" y="112"/>
                  </a:cubicBezTo>
                  <a:cubicBezTo>
                    <a:pt x="102" y="141"/>
                    <a:pt x="164" y="115"/>
                    <a:pt x="190" y="104"/>
                  </a:cubicBezTo>
                  <a:cubicBezTo>
                    <a:pt x="190" y="104"/>
                    <a:pt x="190" y="104"/>
                    <a:pt x="190" y="104"/>
                  </a:cubicBezTo>
                  <a:cubicBezTo>
                    <a:pt x="183" y="106"/>
                    <a:pt x="175" y="109"/>
                    <a:pt x="168" y="111"/>
                  </a:cubicBezTo>
                  <a:cubicBezTo>
                    <a:pt x="140" y="121"/>
                    <a:pt x="105" y="130"/>
                    <a:pt x="108" y="105"/>
                  </a:cubicBezTo>
                  <a:cubicBezTo>
                    <a:pt x="108" y="105"/>
                    <a:pt x="108" y="105"/>
                    <a:pt x="108" y="104"/>
                  </a:cubicBezTo>
                  <a:cubicBezTo>
                    <a:pt x="109" y="103"/>
                    <a:pt x="110" y="102"/>
                    <a:pt x="111" y="101"/>
                  </a:cubicBezTo>
                  <a:cubicBezTo>
                    <a:pt x="109" y="122"/>
                    <a:pt x="134" y="120"/>
                    <a:pt x="160" y="113"/>
                  </a:cubicBezTo>
                  <a:cubicBezTo>
                    <a:pt x="168" y="110"/>
                    <a:pt x="175" y="108"/>
                    <a:pt x="182" y="106"/>
                  </a:cubicBezTo>
                  <a:cubicBezTo>
                    <a:pt x="184" y="105"/>
                    <a:pt x="187" y="104"/>
                    <a:pt x="190" y="103"/>
                  </a:cubicBezTo>
                  <a:cubicBezTo>
                    <a:pt x="190" y="103"/>
                    <a:pt x="190" y="103"/>
                    <a:pt x="190" y="103"/>
                  </a:cubicBezTo>
                  <a:cubicBezTo>
                    <a:pt x="168" y="109"/>
                    <a:pt x="111" y="128"/>
                    <a:pt x="115" y="98"/>
                  </a:cubicBezTo>
                  <a:cubicBezTo>
                    <a:pt x="116" y="97"/>
                    <a:pt x="117" y="96"/>
                    <a:pt x="118" y="95"/>
                  </a:cubicBezTo>
                  <a:cubicBezTo>
                    <a:pt x="115" y="112"/>
                    <a:pt x="133" y="112"/>
                    <a:pt x="143" y="112"/>
                  </a:cubicBezTo>
                  <a:cubicBezTo>
                    <a:pt x="161" y="111"/>
                    <a:pt x="179" y="105"/>
                    <a:pt x="190" y="102"/>
                  </a:cubicBezTo>
                  <a:cubicBezTo>
                    <a:pt x="190" y="102"/>
                    <a:pt x="190" y="102"/>
                    <a:pt x="190" y="102"/>
                  </a:cubicBezTo>
                  <a:cubicBezTo>
                    <a:pt x="174" y="106"/>
                    <a:pt x="156" y="109"/>
                    <a:pt x="143" y="110"/>
                  </a:cubicBezTo>
                  <a:cubicBezTo>
                    <a:pt x="141" y="110"/>
                    <a:pt x="138" y="110"/>
                    <a:pt x="136" y="110"/>
                  </a:cubicBezTo>
                  <a:cubicBezTo>
                    <a:pt x="126" y="109"/>
                    <a:pt x="119" y="105"/>
                    <a:pt x="121" y="94"/>
                  </a:cubicBezTo>
                  <a:cubicBezTo>
                    <a:pt x="121" y="94"/>
                    <a:pt x="121" y="94"/>
                    <a:pt x="121" y="94"/>
                  </a:cubicBezTo>
                  <a:cubicBezTo>
                    <a:pt x="121" y="94"/>
                    <a:pt x="121" y="94"/>
                    <a:pt x="121" y="93"/>
                  </a:cubicBezTo>
                  <a:cubicBezTo>
                    <a:pt x="122" y="93"/>
                    <a:pt x="122" y="92"/>
                    <a:pt x="123" y="92"/>
                  </a:cubicBezTo>
                  <a:cubicBezTo>
                    <a:pt x="122" y="105"/>
                    <a:pt x="135" y="108"/>
                    <a:pt x="143" y="108"/>
                  </a:cubicBezTo>
                  <a:cubicBezTo>
                    <a:pt x="148" y="108"/>
                    <a:pt x="179" y="104"/>
                    <a:pt x="190" y="101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190" y="101"/>
                    <a:pt x="190" y="101"/>
                    <a:pt x="190" y="101"/>
                  </a:cubicBezTo>
                  <a:cubicBezTo>
                    <a:pt x="184" y="102"/>
                    <a:pt x="160" y="105"/>
                    <a:pt x="149" y="106"/>
                  </a:cubicBezTo>
                  <a:cubicBezTo>
                    <a:pt x="143" y="106"/>
                    <a:pt x="139" y="106"/>
                    <a:pt x="136" y="105"/>
                  </a:cubicBezTo>
                  <a:cubicBezTo>
                    <a:pt x="124" y="101"/>
                    <a:pt x="126" y="90"/>
                    <a:pt x="126" y="90"/>
                  </a:cubicBezTo>
                  <a:cubicBezTo>
                    <a:pt x="132" y="87"/>
                    <a:pt x="137" y="85"/>
                    <a:pt x="142" y="83"/>
                  </a:cubicBezTo>
                  <a:cubicBezTo>
                    <a:pt x="149" y="81"/>
                    <a:pt x="157" y="80"/>
                    <a:pt x="163" y="80"/>
                  </a:cubicBezTo>
                  <a:cubicBezTo>
                    <a:pt x="171" y="80"/>
                    <a:pt x="177" y="82"/>
                    <a:pt x="183" y="84"/>
                  </a:cubicBezTo>
                  <a:cubicBezTo>
                    <a:pt x="185" y="85"/>
                    <a:pt x="188" y="86"/>
                    <a:pt x="190" y="88"/>
                  </a:cubicBezTo>
                  <a:cubicBezTo>
                    <a:pt x="190" y="80"/>
                    <a:pt x="190" y="80"/>
                    <a:pt x="190" y="80"/>
                  </a:cubicBezTo>
                  <a:cubicBezTo>
                    <a:pt x="184" y="77"/>
                    <a:pt x="176" y="75"/>
                    <a:pt x="166" y="75"/>
                  </a:cubicBezTo>
                  <a:cubicBezTo>
                    <a:pt x="155" y="74"/>
                    <a:pt x="143" y="77"/>
                    <a:pt x="130" y="83"/>
                  </a:cubicBezTo>
                  <a:cubicBezTo>
                    <a:pt x="129" y="83"/>
                    <a:pt x="128" y="84"/>
                    <a:pt x="127" y="85"/>
                  </a:cubicBezTo>
                  <a:cubicBezTo>
                    <a:pt x="127" y="83"/>
                    <a:pt x="127" y="82"/>
                    <a:pt x="127" y="81"/>
                  </a:cubicBezTo>
                  <a:cubicBezTo>
                    <a:pt x="151" y="68"/>
                    <a:pt x="175" y="69"/>
                    <a:pt x="190" y="75"/>
                  </a:cubicBezTo>
                  <a:cubicBezTo>
                    <a:pt x="190" y="70"/>
                    <a:pt x="190" y="70"/>
                    <a:pt x="190" y="70"/>
                  </a:cubicBezTo>
                  <a:cubicBezTo>
                    <a:pt x="174" y="64"/>
                    <a:pt x="150" y="65"/>
                    <a:pt x="127" y="76"/>
                  </a:cubicBezTo>
                  <a:cubicBezTo>
                    <a:pt x="127" y="76"/>
                    <a:pt x="127" y="74"/>
                    <a:pt x="127" y="73"/>
                  </a:cubicBezTo>
                  <a:cubicBezTo>
                    <a:pt x="127" y="73"/>
                    <a:pt x="127" y="72"/>
                    <a:pt x="127" y="71"/>
                  </a:cubicBezTo>
                  <a:cubicBezTo>
                    <a:pt x="151" y="60"/>
                    <a:pt x="174" y="61"/>
                    <a:pt x="190" y="66"/>
                  </a:cubicBezTo>
                  <a:cubicBezTo>
                    <a:pt x="190" y="62"/>
                    <a:pt x="190" y="62"/>
                    <a:pt x="190" y="62"/>
                  </a:cubicBezTo>
                  <a:cubicBezTo>
                    <a:pt x="188" y="61"/>
                    <a:pt x="186" y="61"/>
                    <a:pt x="184" y="60"/>
                  </a:cubicBezTo>
                  <a:cubicBezTo>
                    <a:pt x="167" y="56"/>
                    <a:pt x="147" y="58"/>
                    <a:pt x="126" y="68"/>
                  </a:cubicBezTo>
                  <a:cubicBezTo>
                    <a:pt x="126" y="67"/>
                    <a:pt x="126" y="67"/>
                    <a:pt x="126" y="66"/>
                  </a:cubicBezTo>
                  <a:cubicBezTo>
                    <a:pt x="126" y="66"/>
                    <a:pt x="126" y="65"/>
                    <a:pt x="126" y="65"/>
                  </a:cubicBezTo>
                  <a:cubicBezTo>
                    <a:pt x="129" y="63"/>
                    <a:pt x="132" y="61"/>
                    <a:pt x="136" y="60"/>
                  </a:cubicBezTo>
                  <a:cubicBezTo>
                    <a:pt x="155" y="53"/>
                    <a:pt x="174" y="53"/>
                    <a:pt x="190" y="58"/>
                  </a:cubicBezTo>
                  <a:cubicBezTo>
                    <a:pt x="190" y="55"/>
                    <a:pt x="190" y="55"/>
                    <a:pt x="190" y="55"/>
                  </a:cubicBezTo>
                  <a:cubicBezTo>
                    <a:pt x="175" y="51"/>
                    <a:pt x="158" y="50"/>
                    <a:pt x="139" y="57"/>
                  </a:cubicBezTo>
                  <a:cubicBezTo>
                    <a:pt x="138" y="57"/>
                    <a:pt x="132" y="59"/>
                    <a:pt x="125" y="63"/>
                  </a:cubicBezTo>
                  <a:cubicBezTo>
                    <a:pt x="125" y="62"/>
                    <a:pt x="125" y="60"/>
                    <a:pt x="124" y="59"/>
                  </a:cubicBezTo>
                  <a:cubicBezTo>
                    <a:pt x="126" y="58"/>
                    <a:pt x="146" y="47"/>
                    <a:pt x="169" y="47"/>
                  </a:cubicBezTo>
                  <a:cubicBezTo>
                    <a:pt x="177" y="48"/>
                    <a:pt x="184" y="49"/>
                    <a:pt x="190" y="50"/>
                  </a:cubicBezTo>
                  <a:cubicBezTo>
                    <a:pt x="190" y="47"/>
                    <a:pt x="190" y="47"/>
                    <a:pt x="190" y="47"/>
                  </a:cubicBezTo>
                  <a:cubicBezTo>
                    <a:pt x="186" y="46"/>
                    <a:pt x="181" y="46"/>
                    <a:pt x="177" y="45"/>
                  </a:cubicBezTo>
                  <a:cubicBezTo>
                    <a:pt x="161" y="44"/>
                    <a:pt x="139" y="47"/>
                    <a:pt x="124" y="56"/>
                  </a:cubicBezTo>
                  <a:cubicBezTo>
                    <a:pt x="123" y="55"/>
                    <a:pt x="122" y="53"/>
                    <a:pt x="121" y="51"/>
                  </a:cubicBezTo>
                  <a:cubicBezTo>
                    <a:pt x="116" y="39"/>
                    <a:pt x="104" y="23"/>
                    <a:pt x="81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74" y="5"/>
                    <a:pt x="74" y="5"/>
                    <a:pt x="74" y="5"/>
                  </a:cubicBezTo>
                  <a:cubicBezTo>
                    <a:pt x="80" y="9"/>
                    <a:pt x="91" y="17"/>
                    <a:pt x="102" y="29"/>
                  </a:cubicBezTo>
                  <a:cubicBezTo>
                    <a:pt x="109" y="36"/>
                    <a:pt x="114" y="44"/>
                    <a:pt x="118" y="49"/>
                  </a:cubicBezTo>
                  <a:cubicBezTo>
                    <a:pt x="119" y="52"/>
                    <a:pt x="120" y="55"/>
                    <a:pt x="122" y="58"/>
                  </a:cubicBezTo>
                  <a:cubicBezTo>
                    <a:pt x="120" y="59"/>
                    <a:pt x="120" y="59"/>
                    <a:pt x="118" y="60"/>
                  </a:cubicBezTo>
                  <a:cubicBezTo>
                    <a:pt x="118" y="60"/>
                    <a:pt x="118" y="60"/>
                    <a:pt x="118" y="60"/>
                  </a:cubicBezTo>
                  <a:cubicBezTo>
                    <a:pt x="113" y="46"/>
                    <a:pt x="100" y="32"/>
                    <a:pt x="88" y="20"/>
                  </a:cubicBezTo>
                  <a:cubicBezTo>
                    <a:pt x="81" y="14"/>
                    <a:pt x="73" y="9"/>
                    <a:pt x="66" y="5"/>
                  </a:cubicBezTo>
                  <a:cubicBezTo>
                    <a:pt x="57" y="5"/>
                    <a:pt x="57" y="5"/>
                    <a:pt x="57" y="5"/>
                  </a:cubicBezTo>
                  <a:cubicBezTo>
                    <a:pt x="83" y="16"/>
                    <a:pt x="105" y="37"/>
                    <a:pt x="116" y="62"/>
                  </a:cubicBezTo>
                  <a:cubicBezTo>
                    <a:pt x="115" y="63"/>
                    <a:pt x="114" y="64"/>
                    <a:pt x="113" y="65"/>
                  </a:cubicBezTo>
                  <a:cubicBezTo>
                    <a:pt x="106" y="46"/>
                    <a:pt x="91" y="30"/>
                    <a:pt x="72" y="19"/>
                  </a:cubicBezTo>
                  <a:cubicBezTo>
                    <a:pt x="41" y="0"/>
                    <a:pt x="13" y="4"/>
                    <a:pt x="0" y="27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9" y="18"/>
                    <a:pt x="24" y="12"/>
                    <a:pt x="41" y="13"/>
                  </a:cubicBezTo>
                  <a:cubicBezTo>
                    <a:pt x="87" y="19"/>
                    <a:pt x="107" y="61"/>
                    <a:pt x="109" y="65"/>
                  </a:cubicBezTo>
                  <a:cubicBezTo>
                    <a:pt x="109" y="66"/>
                    <a:pt x="109" y="66"/>
                    <a:pt x="110" y="67"/>
                  </a:cubicBezTo>
                  <a:cubicBezTo>
                    <a:pt x="108" y="68"/>
                    <a:pt x="107" y="70"/>
                    <a:pt x="106" y="71"/>
                  </a:cubicBezTo>
                  <a:cubicBezTo>
                    <a:pt x="95" y="44"/>
                    <a:pt x="69" y="22"/>
                    <a:pt x="42" y="19"/>
                  </a:cubicBezTo>
                  <a:cubicBezTo>
                    <a:pt x="37" y="18"/>
                    <a:pt x="30" y="21"/>
                    <a:pt x="29" y="21"/>
                  </a:cubicBezTo>
                  <a:cubicBezTo>
                    <a:pt x="28" y="21"/>
                    <a:pt x="12" y="27"/>
                    <a:pt x="5" y="45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2"/>
                    <a:pt x="12" y="60"/>
                    <a:pt x="12" y="58"/>
                  </a:cubicBezTo>
                  <a:cubicBezTo>
                    <a:pt x="29" y="17"/>
                    <a:pt x="78" y="25"/>
                    <a:pt x="101" y="76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1" y="76"/>
                    <a:pt x="101" y="76"/>
                    <a:pt x="101" y="76"/>
                  </a:cubicBezTo>
                  <a:cubicBezTo>
                    <a:pt x="100" y="77"/>
                    <a:pt x="98" y="78"/>
                    <a:pt x="97" y="80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80"/>
                    <a:pt x="97" y="80"/>
                    <a:pt x="97" y="80"/>
                  </a:cubicBezTo>
                  <a:cubicBezTo>
                    <a:pt x="97" y="79"/>
                    <a:pt x="95" y="74"/>
                    <a:pt x="91" y="68"/>
                  </a:cubicBezTo>
                  <a:cubicBezTo>
                    <a:pt x="87" y="62"/>
                    <a:pt x="81" y="55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49"/>
                    <a:pt x="73" y="49"/>
                    <a:pt x="73" y="49"/>
                  </a:cubicBezTo>
                  <a:cubicBezTo>
                    <a:pt x="46" y="30"/>
                    <a:pt x="23" y="39"/>
                    <a:pt x="15" y="70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5" y="72"/>
                    <a:pt x="14" y="73"/>
                    <a:pt x="14" y="74"/>
                  </a:cubicBezTo>
                  <a:cubicBezTo>
                    <a:pt x="14" y="75"/>
                    <a:pt x="14" y="75"/>
                    <a:pt x="14" y="75"/>
                  </a:cubicBezTo>
                  <a:cubicBezTo>
                    <a:pt x="22" y="102"/>
                    <a:pt x="22" y="102"/>
                    <a:pt x="22" y="102"/>
                  </a:cubicBezTo>
                  <a:cubicBezTo>
                    <a:pt x="25" y="112"/>
                    <a:pt x="25" y="112"/>
                    <a:pt x="25" y="112"/>
                  </a:cubicBezTo>
                  <a:cubicBezTo>
                    <a:pt x="37" y="138"/>
                    <a:pt x="45" y="151"/>
                    <a:pt x="50" y="154"/>
                  </a:cubicBezTo>
                  <a:cubicBezTo>
                    <a:pt x="59" y="157"/>
                    <a:pt x="74" y="133"/>
                    <a:pt x="95" y="101"/>
                  </a:cubicBezTo>
                  <a:cubicBezTo>
                    <a:pt x="95" y="102"/>
                    <a:pt x="95" y="104"/>
                    <a:pt x="95" y="106"/>
                  </a:cubicBezTo>
                  <a:cubicBezTo>
                    <a:pt x="79" y="131"/>
                    <a:pt x="60" y="157"/>
                    <a:pt x="59" y="158"/>
                  </a:cubicBezTo>
                  <a:cubicBezTo>
                    <a:pt x="58" y="160"/>
                    <a:pt x="56" y="162"/>
                    <a:pt x="52" y="161"/>
                  </a:cubicBezTo>
                  <a:cubicBezTo>
                    <a:pt x="44" y="159"/>
                    <a:pt x="36" y="144"/>
                    <a:pt x="31" y="130"/>
                  </a:cubicBezTo>
                  <a:cubicBezTo>
                    <a:pt x="39" y="159"/>
                    <a:pt x="39" y="159"/>
                    <a:pt x="39" y="159"/>
                  </a:cubicBezTo>
                  <a:cubicBezTo>
                    <a:pt x="40" y="160"/>
                    <a:pt x="41" y="162"/>
                    <a:pt x="43" y="164"/>
                  </a:cubicBezTo>
                  <a:cubicBezTo>
                    <a:pt x="48" y="170"/>
                    <a:pt x="53" y="182"/>
                    <a:pt x="79" y="135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80" y="133"/>
                    <a:pt x="81" y="131"/>
                    <a:pt x="83" y="129"/>
                  </a:cubicBezTo>
                  <a:cubicBezTo>
                    <a:pt x="82" y="131"/>
                    <a:pt x="80" y="133"/>
                    <a:pt x="79" y="135"/>
                  </a:cubicBezTo>
                  <a:cubicBezTo>
                    <a:pt x="79" y="135"/>
                    <a:pt x="79" y="135"/>
                    <a:pt x="79" y="135"/>
                  </a:cubicBezTo>
                  <a:cubicBezTo>
                    <a:pt x="81" y="133"/>
                    <a:pt x="91" y="116"/>
                    <a:pt x="95" y="111"/>
                  </a:cubicBezTo>
                  <a:cubicBezTo>
                    <a:pt x="95" y="113"/>
                    <a:pt x="95" y="115"/>
                    <a:pt x="95" y="115"/>
                  </a:cubicBezTo>
                  <a:cubicBezTo>
                    <a:pt x="95" y="115"/>
                    <a:pt x="95" y="116"/>
                    <a:pt x="95" y="116"/>
                  </a:cubicBezTo>
                  <a:cubicBezTo>
                    <a:pt x="91" y="120"/>
                    <a:pt x="88" y="127"/>
                    <a:pt x="85" y="132"/>
                  </a:cubicBezTo>
                  <a:cubicBezTo>
                    <a:pt x="85" y="132"/>
                    <a:pt x="85" y="132"/>
                    <a:pt x="85" y="132"/>
                  </a:cubicBezTo>
                  <a:cubicBezTo>
                    <a:pt x="73" y="153"/>
                    <a:pt x="71" y="158"/>
                    <a:pt x="58" y="173"/>
                  </a:cubicBezTo>
                  <a:cubicBezTo>
                    <a:pt x="54" y="180"/>
                    <a:pt x="48" y="178"/>
                    <a:pt x="40" y="160"/>
                  </a:cubicBezTo>
                  <a:cubicBezTo>
                    <a:pt x="48" y="189"/>
                    <a:pt x="48" y="189"/>
                    <a:pt x="48" y="189"/>
                  </a:cubicBezTo>
                  <a:cubicBezTo>
                    <a:pt x="48" y="189"/>
                    <a:pt x="48" y="190"/>
                    <a:pt x="48" y="191"/>
                  </a:cubicBezTo>
                  <a:cubicBezTo>
                    <a:pt x="49" y="191"/>
                    <a:pt x="49" y="191"/>
                    <a:pt x="49" y="191"/>
                  </a:cubicBezTo>
                  <a:cubicBezTo>
                    <a:pt x="56" y="193"/>
                    <a:pt x="66" y="175"/>
                    <a:pt x="82" y="145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2" y="145"/>
                    <a:pt x="82" y="144"/>
                    <a:pt x="83" y="142"/>
                  </a:cubicBezTo>
                  <a:cubicBezTo>
                    <a:pt x="85" y="138"/>
                    <a:pt x="88" y="133"/>
                    <a:pt x="90" y="129"/>
                  </a:cubicBezTo>
                  <a:cubicBezTo>
                    <a:pt x="91" y="126"/>
                    <a:pt x="93" y="123"/>
                    <a:pt x="95" y="121"/>
                  </a:cubicBezTo>
                  <a:cubicBezTo>
                    <a:pt x="94" y="153"/>
                    <a:pt x="142" y="126"/>
                    <a:pt x="190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03" y="143"/>
                    <a:pt x="98" y="133"/>
                    <a:pt x="100" y="11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11023804" y="275699"/>
              <a:ext cx="69496" cy="117842"/>
            </a:xfrm>
            <a:custGeom>
              <a:avLst/>
              <a:gdLst>
                <a:gd name="T0" fmla="*/ 16 w 37"/>
                <a:gd name="T1" fmla="*/ 57 h 62"/>
                <a:gd name="T2" fmla="*/ 16 w 37"/>
                <a:gd name="T3" fmla="*/ 57 h 62"/>
                <a:gd name="T4" fmla="*/ 16 w 37"/>
                <a:gd name="T5" fmla="*/ 57 h 62"/>
                <a:gd name="T6" fmla="*/ 17 w 37"/>
                <a:gd name="T7" fmla="*/ 57 h 62"/>
                <a:gd name="T8" fmla="*/ 17 w 37"/>
                <a:gd name="T9" fmla="*/ 57 h 62"/>
                <a:gd name="T10" fmla="*/ 17 w 37"/>
                <a:gd name="T11" fmla="*/ 57 h 62"/>
                <a:gd name="T12" fmla="*/ 17 w 37"/>
                <a:gd name="T13" fmla="*/ 57 h 62"/>
                <a:gd name="T14" fmla="*/ 27 w 37"/>
                <a:gd name="T15" fmla="*/ 53 h 62"/>
                <a:gd name="T16" fmla="*/ 30 w 37"/>
                <a:gd name="T17" fmla="*/ 45 h 62"/>
                <a:gd name="T18" fmla="*/ 30 w 37"/>
                <a:gd name="T19" fmla="*/ 44 h 62"/>
                <a:gd name="T20" fmla="*/ 30 w 37"/>
                <a:gd name="T21" fmla="*/ 44 h 62"/>
                <a:gd name="T22" fmla="*/ 26 w 37"/>
                <a:gd name="T23" fmla="*/ 35 h 62"/>
                <a:gd name="T24" fmla="*/ 17 w 37"/>
                <a:gd name="T25" fmla="*/ 32 h 62"/>
                <a:gd name="T26" fmla="*/ 7 w 37"/>
                <a:gd name="T27" fmla="*/ 32 h 62"/>
                <a:gd name="T28" fmla="*/ 7 w 37"/>
                <a:gd name="T29" fmla="*/ 57 h 62"/>
                <a:gd name="T30" fmla="*/ 7 w 37"/>
                <a:gd name="T31" fmla="*/ 26 h 62"/>
                <a:gd name="T32" fmla="*/ 7 w 37"/>
                <a:gd name="T33" fmla="*/ 26 h 62"/>
                <a:gd name="T34" fmla="*/ 15 w 37"/>
                <a:gd name="T35" fmla="*/ 26 h 62"/>
                <a:gd name="T36" fmla="*/ 15 w 37"/>
                <a:gd name="T37" fmla="*/ 27 h 62"/>
                <a:gd name="T38" fmla="*/ 16 w 37"/>
                <a:gd name="T39" fmla="*/ 27 h 62"/>
                <a:gd name="T40" fmla="*/ 16 w 37"/>
                <a:gd name="T41" fmla="*/ 27 h 62"/>
                <a:gd name="T42" fmla="*/ 25 w 37"/>
                <a:gd name="T43" fmla="*/ 23 h 62"/>
                <a:gd name="T44" fmla="*/ 28 w 37"/>
                <a:gd name="T45" fmla="*/ 16 h 62"/>
                <a:gd name="T46" fmla="*/ 28 w 37"/>
                <a:gd name="T47" fmla="*/ 15 h 62"/>
                <a:gd name="T48" fmla="*/ 28 w 37"/>
                <a:gd name="T49" fmla="*/ 15 h 62"/>
                <a:gd name="T50" fmla="*/ 25 w 37"/>
                <a:gd name="T51" fmla="*/ 8 h 62"/>
                <a:gd name="T52" fmla="*/ 16 w 37"/>
                <a:gd name="T53" fmla="*/ 5 h 62"/>
                <a:gd name="T54" fmla="*/ 7 w 37"/>
                <a:gd name="T55" fmla="*/ 5 h 62"/>
                <a:gd name="T56" fmla="*/ 7 w 37"/>
                <a:gd name="T57" fmla="*/ 26 h 62"/>
                <a:gd name="T58" fmla="*/ 19 w 37"/>
                <a:gd name="T59" fmla="*/ 0 h 62"/>
                <a:gd name="T60" fmla="*/ 30 w 37"/>
                <a:gd name="T61" fmla="*/ 5 h 62"/>
                <a:gd name="T62" fmla="*/ 34 w 37"/>
                <a:gd name="T63" fmla="*/ 15 h 62"/>
                <a:gd name="T64" fmla="*/ 34 w 37"/>
                <a:gd name="T65" fmla="*/ 15 h 62"/>
                <a:gd name="T66" fmla="*/ 34 w 37"/>
                <a:gd name="T67" fmla="*/ 16 h 62"/>
                <a:gd name="T68" fmla="*/ 32 w 37"/>
                <a:gd name="T69" fmla="*/ 23 h 62"/>
                <a:gd name="T70" fmla="*/ 25 w 37"/>
                <a:gd name="T71" fmla="*/ 28 h 62"/>
                <a:gd name="T72" fmla="*/ 33 w 37"/>
                <a:gd name="T73" fmla="*/ 34 h 62"/>
                <a:gd name="T74" fmla="*/ 37 w 37"/>
                <a:gd name="T75" fmla="*/ 44 h 62"/>
                <a:gd name="T76" fmla="*/ 37 w 37"/>
                <a:gd name="T77" fmla="*/ 44 h 62"/>
                <a:gd name="T78" fmla="*/ 37 w 37"/>
                <a:gd name="T79" fmla="*/ 45 h 62"/>
                <a:gd name="T80" fmla="*/ 37 w 37"/>
                <a:gd name="T81" fmla="*/ 45 h 62"/>
                <a:gd name="T82" fmla="*/ 37 w 37"/>
                <a:gd name="T83" fmla="*/ 46 h 62"/>
                <a:gd name="T84" fmla="*/ 31 w 37"/>
                <a:gd name="T85" fmla="*/ 57 h 62"/>
                <a:gd name="T86" fmla="*/ 14 w 37"/>
                <a:gd name="T87" fmla="*/ 62 h 62"/>
                <a:gd name="T88" fmla="*/ 0 w 37"/>
                <a:gd name="T89" fmla="*/ 62 h 62"/>
                <a:gd name="T90" fmla="*/ 0 w 37"/>
                <a:gd name="T91" fmla="*/ 0 h 62"/>
                <a:gd name="T92" fmla="*/ 19 w 37"/>
                <a:gd name="T9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7" h="62">
                  <a:moveTo>
                    <a:pt x="16" y="57"/>
                  </a:move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6" y="57"/>
                  </a:cubicBezTo>
                  <a:cubicBezTo>
                    <a:pt x="16" y="57"/>
                    <a:pt x="16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21" y="57"/>
                    <a:pt x="25" y="56"/>
                    <a:pt x="27" y="53"/>
                  </a:cubicBezTo>
                  <a:cubicBezTo>
                    <a:pt x="29" y="51"/>
                    <a:pt x="30" y="48"/>
                    <a:pt x="30" y="45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1"/>
                    <a:pt x="29" y="38"/>
                    <a:pt x="26" y="35"/>
                  </a:cubicBezTo>
                  <a:cubicBezTo>
                    <a:pt x="24" y="33"/>
                    <a:pt x="21" y="32"/>
                    <a:pt x="1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7" y="57"/>
                    <a:pt x="7" y="57"/>
                    <a:pt x="7" y="57"/>
                  </a:cubicBezTo>
                  <a:moveTo>
                    <a:pt x="7" y="26"/>
                  </a:moveTo>
                  <a:cubicBezTo>
                    <a:pt x="7" y="26"/>
                    <a:pt x="7" y="26"/>
                    <a:pt x="7" y="26"/>
                  </a:cubicBezTo>
                  <a:cubicBezTo>
                    <a:pt x="15" y="26"/>
                    <a:pt x="15" y="26"/>
                    <a:pt x="15" y="26"/>
                  </a:cubicBezTo>
                  <a:cubicBezTo>
                    <a:pt x="15" y="26"/>
                    <a:pt x="15" y="26"/>
                    <a:pt x="15" y="27"/>
                  </a:cubicBezTo>
                  <a:cubicBezTo>
                    <a:pt x="15" y="27"/>
                    <a:pt x="15" y="27"/>
                    <a:pt x="16" y="27"/>
                  </a:cubicBezTo>
                  <a:cubicBezTo>
                    <a:pt x="16" y="27"/>
                    <a:pt x="16" y="27"/>
                    <a:pt x="16" y="27"/>
                  </a:cubicBezTo>
                  <a:cubicBezTo>
                    <a:pt x="20" y="27"/>
                    <a:pt x="23" y="26"/>
                    <a:pt x="25" y="23"/>
                  </a:cubicBezTo>
                  <a:cubicBezTo>
                    <a:pt x="27" y="21"/>
                    <a:pt x="28" y="18"/>
                    <a:pt x="28" y="16"/>
                  </a:cubicBezTo>
                  <a:cubicBezTo>
                    <a:pt x="28" y="16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2"/>
                    <a:pt x="27" y="10"/>
                    <a:pt x="25" y="8"/>
                  </a:cubicBezTo>
                  <a:cubicBezTo>
                    <a:pt x="23" y="6"/>
                    <a:pt x="20" y="5"/>
                    <a:pt x="16" y="5"/>
                  </a:cubicBezTo>
                  <a:cubicBezTo>
                    <a:pt x="7" y="5"/>
                    <a:pt x="7" y="5"/>
                    <a:pt x="7" y="5"/>
                  </a:cubicBezTo>
                  <a:lnTo>
                    <a:pt x="7" y="26"/>
                  </a:lnTo>
                  <a:close/>
                  <a:moveTo>
                    <a:pt x="19" y="0"/>
                  </a:moveTo>
                  <a:cubicBezTo>
                    <a:pt x="23" y="0"/>
                    <a:pt x="27" y="2"/>
                    <a:pt x="30" y="5"/>
                  </a:cubicBezTo>
                  <a:cubicBezTo>
                    <a:pt x="32" y="8"/>
                    <a:pt x="34" y="11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6"/>
                    <a:pt x="34" y="16"/>
                  </a:cubicBezTo>
                  <a:cubicBezTo>
                    <a:pt x="34" y="19"/>
                    <a:pt x="33" y="21"/>
                    <a:pt x="32" y="23"/>
                  </a:cubicBezTo>
                  <a:cubicBezTo>
                    <a:pt x="30" y="26"/>
                    <a:pt x="28" y="27"/>
                    <a:pt x="25" y="28"/>
                  </a:cubicBezTo>
                  <a:cubicBezTo>
                    <a:pt x="28" y="29"/>
                    <a:pt x="31" y="31"/>
                    <a:pt x="33" y="34"/>
                  </a:cubicBezTo>
                  <a:cubicBezTo>
                    <a:pt x="35" y="37"/>
                    <a:pt x="36" y="40"/>
                    <a:pt x="37" y="44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7" y="45"/>
                    <a:pt x="37" y="45"/>
                    <a:pt x="37" y="45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6" y="50"/>
                    <a:pt x="34" y="54"/>
                    <a:pt x="31" y="57"/>
                  </a:cubicBezTo>
                  <a:cubicBezTo>
                    <a:pt x="28" y="60"/>
                    <a:pt x="22" y="62"/>
                    <a:pt x="14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9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" name="Freeform 14"/>
            <p:cNvSpPr>
              <a:spLocks noEditPoints="1"/>
            </p:cNvSpPr>
            <p:nvPr/>
          </p:nvSpPr>
          <p:spPr bwMode="auto">
            <a:xfrm>
              <a:off x="11106394" y="275699"/>
              <a:ext cx="76547" cy="121870"/>
            </a:xfrm>
            <a:custGeom>
              <a:avLst/>
              <a:gdLst>
                <a:gd name="T0" fmla="*/ 9 w 40"/>
                <a:gd name="T1" fmla="*/ 12 h 64"/>
                <a:gd name="T2" fmla="*/ 9 w 40"/>
                <a:gd name="T3" fmla="*/ 12 h 64"/>
                <a:gd name="T4" fmla="*/ 6 w 40"/>
                <a:gd name="T5" fmla="*/ 31 h 64"/>
                <a:gd name="T6" fmla="*/ 6 w 40"/>
                <a:gd name="T7" fmla="*/ 36 h 64"/>
                <a:gd name="T8" fmla="*/ 7 w 40"/>
                <a:gd name="T9" fmla="*/ 42 h 64"/>
                <a:gd name="T10" fmla="*/ 10 w 40"/>
                <a:gd name="T11" fmla="*/ 54 h 64"/>
                <a:gd name="T12" fmla="*/ 20 w 40"/>
                <a:gd name="T13" fmla="*/ 59 h 64"/>
                <a:gd name="T14" fmla="*/ 20 w 40"/>
                <a:gd name="T15" fmla="*/ 59 h 64"/>
                <a:gd name="T16" fmla="*/ 20 w 40"/>
                <a:gd name="T17" fmla="*/ 59 h 64"/>
                <a:gd name="T18" fmla="*/ 30 w 40"/>
                <a:gd name="T19" fmla="*/ 54 h 64"/>
                <a:gd name="T20" fmla="*/ 34 w 40"/>
                <a:gd name="T21" fmla="*/ 43 h 64"/>
                <a:gd name="T22" fmla="*/ 35 w 40"/>
                <a:gd name="T23" fmla="*/ 38 h 64"/>
                <a:gd name="T24" fmla="*/ 35 w 40"/>
                <a:gd name="T25" fmla="*/ 34 h 64"/>
                <a:gd name="T26" fmla="*/ 35 w 40"/>
                <a:gd name="T27" fmla="*/ 29 h 64"/>
                <a:gd name="T28" fmla="*/ 35 w 40"/>
                <a:gd name="T29" fmla="*/ 24 h 64"/>
                <a:gd name="T30" fmla="*/ 34 w 40"/>
                <a:gd name="T31" fmla="*/ 19 h 64"/>
                <a:gd name="T32" fmla="*/ 30 w 40"/>
                <a:gd name="T33" fmla="*/ 9 h 64"/>
                <a:gd name="T34" fmla="*/ 20 w 40"/>
                <a:gd name="T35" fmla="*/ 4 h 64"/>
                <a:gd name="T36" fmla="*/ 9 w 40"/>
                <a:gd name="T37" fmla="*/ 12 h 64"/>
                <a:gd name="T38" fmla="*/ 37 w 40"/>
                <a:gd name="T39" fmla="*/ 9 h 64"/>
                <a:gd name="T40" fmla="*/ 40 w 40"/>
                <a:gd name="T41" fmla="*/ 31 h 64"/>
                <a:gd name="T42" fmla="*/ 40 w 40"/>
                <a:gd name="T43" fmla="*/ 37 h 64"/>
                <a:gd name="T44" fmla="*/ 40 w 40"/>
                <a:gd name="T45" fmla="*/ 43 h 64"/>
                <a:gd name="T46" fmla="*/ 35 w 40"/>
                <a:gd name="T47" fmla="*/ 57 h 64"/>
                <a:gd name="T48" fmla="*/ 20 w 40"/>
                <a:gd name="T49" fmla="*/ 64 h 64"/>
                <a:gd name="T50" fmla="*/ 6 w 40"/>
                <a:gd name="T51" fmla="*/ 57 h 64"/>
                <a:gd name="T52" fmla="*/ 1 w 40"/>
                <a:gd name="T53" fmla="*/ 42 h 64"/>
                <a:gd name="T54" fmla="*/ 0 w 40"/>
                <a:gd name="T55" fmla="*/ 36 h 64"/>
                <a:gd name="T56" fmla="*/ 0 w 40"/>
                <a:gd name="T57" fmla="*/ 30 h 64"/>
                <a:gd name="T58" fmla="*/ 0 w 40"/>
                <a:gd name="T59" fmla="*/ 29 h 64"/>
                <a:gd name="T60" fmla="*/ 0 w 40"/>
                <a:gd name="T61" fmla="*/ 28 h 64"/>
                <a:gd name="T62" fmla="*/ 0 w 40"/>
                <a:gd name="T63" fmla="*/ 27 h 64"/>
                <a:gd name="T64" fmla="*/ 0 w 40"/>
                <a:gd name="T65" fmla="*/ 26 h 64"/>
                <a:gd name="T66" fmla="*/ 0 w 40"/>
                <a:gd name="T67" fmla="*/ 21 h 64"/>
                <a:gd name="T68" fmla="*/ 1 w 40"/>
                <a:gd name="T69" fmla="*/ 16 h 64"/>
                <a:gd name="T70" fmla="*/ 6 w 40"/>
                <a:gd name="T71" fmla="*/ 5 h 64"/>
                <a:gd name="T72" fmla="*/ 20 w 40"/>
                <a:gd name="T73" fmla="*/ 0 h 64"/>
                <a:gd name="T74" fmla="*/ 37 w 40"/>
                <a:gd name="T75" fmla="*/ 9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0" h="64">
                  <a:moveTo>
                    <a:pt x="9" y="12"/>
                  </a:moveTo>
                  <a:cubicBezTo>
                    <a:pt x="9" y="12"/>
                    <a:pt x="9" y="12"/>
                    <a:pt x="9" y="12"/>
                  </a:cubicBezTo>
                  <a:cubicBezTo>
                    <a:pt x="7" y="17"/>
                    <a:pt x="6" y="24"/>
                    <a:pt x="6" y="31"/>
                  </a:cubicBezTo>
                  <a:cubicBezTo>
                    <a:pt x="6" y="33"/>
                    <a:pt x="6" y="34"/>
                    <a:pt x="6" y="36"/>
                  </a:cubicBezTo>
                  <a:cubicBezTo>
                    <a:pt x="6" y="38"/>
                    <a:pt x="6" y="40"/>
                    <a:pt x="7" y="42"/>
                  </a:cubicBezTo>
                  <a:cubicBezTo>
                    <a:pt x="7" y="46"/>
                    <a:pt x="8" y="50"/>
                    <a:pt x="10" y="54"/>
                  </a:cubicBezTo>
                  <a:cubicBezTo>
                    <a:pt x="12" y="57"/>
                    <a:pt x="15" y="59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5" y="59"/>
                    <a:pt x="29" y="58"/>
                    <a:pt x="30" y="54"/>
                  </a:cubicBezTo>
                  <a:cubicBezTo>
                    <a:pt x="32" y="51"/>
                    <a:pt x="34" y="47"/>
                    <a:pt x="34" y="43"/>
                  </a:cubicBezTo>
                  <a:cubicBezTo>
                    <a:pt x="34" y="41"/>
                    <a:pt x="35" y="40"/>
                    <a:pt x="35" y="38"/>
                  </a:cubicBezTo>
                  <a:cubicBezTo>
                    <a:pt x="35" y="37"/>
                    <a:pt x="35" y="35"/>
                    <a:pt x="35" y="34"/>
                  </a:cubicBezTo>
                  <a:cubicBezTo>
                    <a:pt x="35" y="29"/>
                    <a:pt x="35" y="29"/>
                    <a:pt x="35" y="29"/>
                  </a:cubicBezTo>
                  <a:cubicBezTo>
                    <a:pt x="35" y="28"/>
                    <a:pt x="35" y="26"/>
                    <a:pt x="35" y="24"/>
                  </a:cubicBezTo>
                  <a:cubicBezTo>
                    <a:pt x="34" y="23"/>
                    <a:pt x="34" y="21"/>
                    <a:pt x="34" y="19"/>
                  </a:cubicBezTo>
                  <a:cubicBezTo>
                    <a:pt x="33" y="15"/>
                    <a:pt x="32" y="12"/>
                    <a:pt x="30" y="9"/>
                  </a:cubicBezTo>
                  <a:cubicBezTo>
                    <a:pt x="28" y="6"/>
                    <a:pt x="25" y="5"/>
                    <a:pt x="20" y="4"/>
                  </a:cubicBezTo>
                  <a:cubicBezTo>
                    <a:pt x="14" y="4"/>
                    <a:pt x="10" y="7"/>
                    <a:pt x="9" y="12"/>
                  </a:cubicBezTo>
                  <a:moveTo>
                    <a:pt x="37" y="9"/>
                  </a:moveTo>
                  <a:cubicBezTo>
                    <a:pt x="39" y="14"/>
                    <a:pt x="40" y="22"/>
                    <a:pt x="40" y="31"/>
                  </a:cubicBezTo>
                  <a:cubicBezTo>
                    <a:pt x="40" y="33"/>
                    <a:pt x="40" y="35"/>
                    <a:pt x="40" y="37"/>
                  </a:cubicBezTo>
                  <a:cubicBezTo>
                    <a:pt x="40" y="39"/>
                    <a:pt x="40" y="41"/>
                    <a:pt x="40" y="43"/>
                  </a:cubicBezTo>
                  <a:cubicBezTo>
                    <a:pt x="39" y="48"/>
                    <a:pt x="37" y="53"/>
                    <a:pt x="35" y="57"/>
                  </a:cubicBezTo>
                  <a:cubicBezTo>
                    <a:pt x="32" y="61"/>
                    <a:pt x="27" y="64"/>
                    <a:pt x="20" y="64"/>
                  </a:cubicBezTo>
                  <a:cubicBezTo>
                    <a:pt x="13" y="64"/>
                    <a:pt x="8" y="61"/>
                    <a:pt x="6" y="57"/>
                  </a:cubicBezTo>
                  <a:cubicBezTo>
                    <a:pt x="3" y="53"/>
                    <a:pt x="1" y="48"/>
                    <a:pt x="1" y="42"/>
                  </a:cubicBezTo>
                  <a:cubicBezTo>
                    <a:pt x="1" y="40"/>
                    <a:pt x="1" y="38"/>
                    <a:pt x="0" y="36"/>
                  </a:cubicBezTo>
                  <a:cubicBezTo>
                    <a:pt x="0" y="34"/>
                    <a:pt x="0" y="32"/>
                    <a:pt x="0" y="30"/>
                  </a:cubicBezTo>
                  <a:cubicBezTo>
                    <a:pt x="0" y="30"/>
                    <a:pt x="0" y="30"/>
                    <a:pt x="0" y="29"/>
                  </a:cubicBezTo>
                  <a:cubicBezTo>
                    <a:pt x="0" y="29"/>
                    <a:pt x="0" y="29"/>
                    <a:pt x="0" y="28"/>
                  </a:cubicBezTo>
                  <a:cubicBezTo>
                    <a:pt x="0" y="28"/>
                    <a:pt x="0" y="28"/>
                    <a:pt x="0" y="27"/>
                  </a:cubicBezTo>
                  <a:cubicBezTo>
                    <a:pt x="0" y="27"/>
                    <a:pt x="0" y="26"/>
                    <a:pt x="0" y="26"/>
                  </a:cubicBezTo>
                  <a:cubicBezTo>
                    <a:pt x="0" y="24"/>
                    <a:pt x="0" y="23"/>
                    <a:pt x="0" y="21"/>
                  </a:cubicBezTo>
                  <a:cubicBezTo>
                    <a:pt x="0" y="20"/>
                    <a:pt x="1" y="18"/>
                    <a:pt x="1" y="16"/>
                  </a:cubicBezTo>
                  <a:cubicBezTo>
                    <a:pt x="2" y="12"/>
                    <a:pt x="4" y="8"/>
                    <a:pt x="6" y="5"/>
                  </a:cubicBezTo>
                  <a:cubicBezTo>
                    <a:pt x="9" y="2"/>
                    <a:pt x="14" y="0"/>
                    <a:pt x="20" y="0"/>
                  </a:cubicBezTo>
                  <a:cubicBezTo>
                    <a:pt x="29" y="0"/>
                    <a:pt x="34" y="3"/>
                    <a:pt x="37" y="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11205099" y="275699"/>
              <a:ext cx="68489" cy="117842"/>
            </a:xfrm>
            <a:custGeom>
              <a:avLst/>
              <a:gdLst>
                <a:gd name="T0" fmla="*/ 6 w 36"/>
                <a:gd name="T1" fmla="*/ 28 h 62"/>
                <a:gd name="T2" fmla="*/ 6 w 36"/>
                <a:gd name="T3" fmla="*/ 28 h 62"/>
                <a:gd name="T4" fmla="*/ 16 w 36"/>
                <a:gd name="T5" fmla="*/ 28 h 62"/>
                <a:gd name="T6" fmla="*/ 17 w 36"/>
                <a:gd name="T7" fmla="*/ 28 h 62"/>
                <a:gd name="T8" fmla="*/ 17 w 36"/>
                <a:gd name="T9" fmla="*/ 28 h 62"/>
                <a:gd name="T10" fmla="*/ 17 w 36"/>
                <a:gd name="T11" fmla="*/ 28 h 62"/>
                <a:gd name="T12" fmla="*/ 17 w 36"/>
                <a:gd name="T13" fmla="*/ 28 h 62"/>
                <a:gd name="T14" fmla="*/ 25 w 36"/>
                <a:gd name="T15" fmla="*/ 24 h 62"/>
                <a:gd name="T16" fmla="*/ 28 w 36"/>
                <a:gd name="T17" fmla="*/ 17 h 62"/>
                <a:gd name="T18" fmla="*/ 28 w 36"/>
                <a:gd name="T19" fmla="*/ 16 h 62"/>
                <a:gd name="T20" fmla="*/ 28 w 36"/>
                <a:gd name="T21" fmla="*/ 16 h 62"/>
                <a:gd name="T22" fmla="*/ 24 w 36"/>
                <a:gd name="T23" fmla="*/ 8 h 62"/>
                <a:gd name="T24" fmla="*/ 16 w 36"/>
                <a:gd name="T25" fmla="*/ 5 h 62"/>
                <a:gd name="T26" fmla="*/ 6 w 36"/>
                <a:gd name="T27" fmla="*/ 5 h 62"/>
                <a:gd name="T28" fmla="*/ 16 w 36"/>
                <a:gd name="T29" fmla="*/ 0 h 62"/>
                <a:gd name="T30" fmla="*/ 30 w 36"/>
                <a:gd name="T31" fmla="*/ 5 h 62"/>
                <a:gd name="T32" fmla="*/ 36 w 36"/>
                <a:gd name="T33" fmla="*/ 14 h 62"/>
                <a:gd name="T34" fmla="*/ 36 w 36"/>
                <a:gd name="T35" fmla="*/ 15 h 62"/>
                <a:gd name="T36" fmla="*/ 36 w 36"/>
                <a:gd name="T37" fmla="*/ 16 h 62"/>
                <a:gd name="T38" fmla="*/ 36 w 36"/>
                <a:gd name="T39" fmla="*/ 16 h 62"/>
                <a:gd name="T40" fmla="*/ 36 w 36"/>
                <a:gd name="T41" fmla="*/ 17 h 62"/>
                <a:gd name="T42" fmla="*/ 33 w 36"/>
                <a:gd name="T43" fmla="*/ 26 h 62"/>
                <a:gd name="T44" fmla="*/ 24 w 36"/>
                <a:gd name="T45" fmla="*/ 30 h 62"/>
                <a:gd name="T46" fmla="*/ 24 w 36"/>
                <a:gd name="T47" fmla="*/ 31 h 62"/>
                <a:gd name="T48" fmla="*/ 25 w 36"/>
                <a:gd name="T49" fmla="*/ 31 h 62"/>
                <a:gd name="T50" fmla="*/ 32 w 36"/>
                <a:gd name="T51" fmla="*/ 36 h 62"/>
                <a:gd name="T52" fmla="*/ 34 w 36"/>
                <a:gd name="T53" fmla="*/ 52 h 62"/>
                <a:gd name="T54" fmla="*/ 34 w 36"/>
                <a:gd name="T55" fmla="*/ 54 h 62"/>
                <a:gd name="T56" fmla="*/ 34 w 36"/>
                <a:gd name="T57" fmla="*/ 55 h 62"/>
                <a:gd name="T58" fmla="*/ 34 w 36"/>
                <a:gd name="T59" fmla="*/ 59 h 62"/>
                <a:gd name="T60" fmla="*/ 36 w 36"/>
                <a:gd name="T61" fmla="*/ 61 h 62"/>
                <a:gd name="T62" fmla="*/ 36 w 36"/>
                <a:gd name="T63" fmla="*/ 62 h 62"/>
                <a:gd name="T64" fmla="*/ 30 w 36"/>
                <a:gd name="T65" fmla="*/ 62 h 62"/>
                <a:gd name="T66" fmla="*/ 29 w 36"/>
                <a:gd name="T67" fmla="*/ 60 h 62"/>
                <a:gd name="T68" fmla="*/ 28 w 36"/>
                <a:gd name="T69" fmla="*/ 56 h 62"/>
                <a:gd name="T70" fmla="*/ 28 w 36"/>
                <a:gd name="T71" fmla="*/ 55 h 62"/>
                <a:gd name="T72" fmla="*/ 28 w 36"/>
                <a:gd name="T73" fmla="*/ 53 h 62"/>
                <a:gd name="T74" fmla="*/ 28 w 36"/>
                <a:gd name="T75" fmla="*/ 51 h 62"/>
                <a:gd name="T76" fmla="*/ 28 w 36"/>
                <a:gd name="T77" fmla="*/ 50 h 62"/>
                <a:gd name="T78" fmla="*/ 28 w 36"/>
                <a:gd name="T79" fmla="*/ 47 h 62"/>
                <a:gd name="T80" fmla="*/ 27 w 36"/>
                <a:gd name="T81" fmla="*/ 43 h 62"/>
                <a:gd name="T82" fmla="*/ 24 w 36"/>
                <a:gd name="T83" fmla="*/ 36 h 62"/>
                <a:gd name="T84" fmla="*/ 16 w 36"/>
                <a:gd name="T85" fmla="*/ 33 h 62"/>
                <a:gd name="T86" fmla="*/ 6 w 36"/>
                <a:gd name="T87" fmla="*/ 33 h 62"/>
                <a:gd name="T88" fmla="*/ 6 w 36"/>
                <a:gd name="T89" fmla="*/ 62 h 62"/>
                <a:gd name="T90" fmla="*/ 0 w 36"/>
                <a:gd name="T91" fmla="*/ 62 h 62"/>
                <a:gd name="T92" fmla="*/ 0 w 36"/>
                <a:gd name="T93" fmla="*/ 0 h 62"/>
                <a:gd name="T94" fmla="*/ 16 w 36"/>
                <a:gd name="T9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6" h="62">
                  <a:moveTo>
                    <a:pt x="6" y="28"/>
                  </a:moveTo>
                  <a:cubicBezTo>
                    <a:pt x="6" y="28"/>
                    <a:pt x="6" y="28"/>
                    <a:pt x="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21" y="28"/>
                    <a:pt x="23" y="27"/>
                    <a:pt x="25" y="24"/>
                  </a:cubicBezTo>
                  <a:cubicBezTo>
                    <a:pt x="27" y="22"/>
                    <a:pt x="28" y="20"/>
                    <a:pt x="28" y="17"/>
                  </a:cubicBezTo>
                  <a:cubicBezTo>
                    <a:pt x="28" y="17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3"/>
                    <a:pt x="26" y="11"/>
                    <a:pt x="24" y="8"/>
                  </a:cubicBezTo>
                  <a:cubicBezTo>
                    <a:pt x="23" y="6"/>
                    <a:pt x="20" y="5"/>
                    <a:pt x="16" y="5"/>
                  </a:cubicBezTo>
                  <a:cubicBezTo>
                    <a:pt x="6" y="5"/>
                    <a:pt x="6" y="5"/>
                    <a:pt x="6" y="5"/>
                  </a:cubicBezTo>
                  <a:moveTo>
                    <a:pt x="16" y="0"/>
                  </a:moveTo>
                  <a:cubicBezTo>
                    <a:pt x="23" y="0"/>
                    <a:pt x="27" y="2"/>
                    <a:pt x="30" y="5"/>
                  </a:cubicBezTo>
                  <a:cubicBezTo>
                    <a:pt x="33" y="8"/>
                    <a:pt x="35" y="11"/>
                    <a:pt x="36" y="14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20"/>
                    <a:pt x="35" y="23"/>
                    <a:pt x="33" y="26"/>
                  </a:cubicBezTo>
                  <a:cubicBezTo>
                    <a:pt x="30" y="28"/>
                    <a:pt x="28" y="30"/>
                    <a:pt x="24" y="30"/>
                  </a:cubicBezTo>
                  <a:cubicBezTo>
                    <a:pt x="24" y="30"/>
                    <a:pt x="24" y="30"/>
                    <a:pt x="24" y="31"/>
                  </a:cubicBezTo>
                  <a:cubicBezTo>
                    <a:pt x="24" y="31"/>
                    <a:pt x="25" y="31"/>
                    <a:pt x="25" y="31"/>
                  </a:cubicBezTo>
                  <a:cubicBezTo>
                    <a:pt x="28" y="32"/>
                    <a:pt x="31" y="34"/>
                    <a:pt x="32" y="36"/>
                  </a:cubicBezTo>
                  <a:cubicBezTo>
                    <a:pt x="33" y="39"/>
                    <a:pt x="34" y="44"/>
                    <a:pt x="34" y="52"/>
                  </a:cubicBezTo>
                  <a:cubicBezTo>
                    <a:pt x="34" y="52"/>
                    <a:pt x="34" y="53"/>
                    <a:pt x="34" y="54"/>
                  </a:cubicBezTo>
                  <a:cubicBezTo>
                    <a:pt x="34" y="54"/>
                    <a:pt x="34" y="55"/>
                    <a:pt x="34" y="55"/>
                  </a:cubicBezTo>
                  <a:cubicBezTo>
                    <a:pt x="34" y="57"/>
                    <a:pt x="34" y="58"/>
                    <a:pt x="34" y="59"/>
                  </a:cubicBezTo>
                  <a:cubicBezTo>
                    <a:pt x="35" y="60"/>
                    <a:pt x="35" y="61"/>
                    <a:pt x="36" y="61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29" y="61"/>
                    <a:pt x="29" y="60"/>
                    <a:pt x="29" y="60"/>
                  </a:cubicBezTo>
                  <a:cubicBezTo>
                    <a:pt x="29" y="59"/>
                    <a:pt x="28" y="58"/>
                    <a:pt x="28" y="56"/>
                  </a:cubicBezTo>
                  <a:cubicBezTo>
                    <a:pt x="28" y="56"/>
                    <a:pt x="28" y="55"/>
                    <a:pt x="28" y="55"/>
                  </a:cubicBezTo>
                  <a:cubicBezTo>
                    <a:pt x="28" y="54"/>
                    <a:pt x="28" y="53"/>
                    <a:pt x="28" y="53"/>
                  </a:cubicBezTo>
                  <a:cubicBezTo>
                    <a:pt x="28" y="52"/>
                    <a:pt x="28" y="52"/>
                    <a:pt x="28" y="51"/>
                  </a:cubicBezTo>
                  <a:cubicBezTo>
                    <a:pt x="28" y="51"/>
                    <a:pt x="28" y="50"/>
                    <a:pt x="28" y="50"/>
                  </a:cubicBezTo>
                  <a:cubicBezTo>
                    <a:pt x="28" y="49"/>
                    <a:pt x="28" y="48"/>
                    <a:pt x="28" y="47"/>
                  </a:cubicBezTo>
                  <a:cubicBezTo>
                    <a:pt x="28" y="46"/>
                    <a:pt x="27" y="45"/>
                    <a:pt x="27" y="43"/>
                  </a:cubicBezTo>
                  <a:cubicBezTo>
                    <a:pt x="27" y="41"/>
                    <a:pt x="26" y="38"/>
                    <a:pt x="24" y="36"/>
                  </a:cubicBezTo>
                  <a:cubicBezTo>
                    <a:pt x="23" y="34"/>
                    <a:pt x="20" y="33"/>
                    <a:pt x="1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6" y="62"/>
                    <a:pt x="6" y="62"/>
                    <a:pt x="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11292725" y="275699"/>
              <a:ext cx="73525" cy="117842"/>
            </a:xfrm>
            <a:custGeom>
              <a:avLst/>
              <a:gdLst>
                <a:gd name="T0" fmla="*/ 6 w 39"/>
                <a:gd name="T1" fmla="*/ 56 h 62"/>
                <a:gd name="T2" fmla="*/ 6 w 39"/>
                <a:gd name="T3" fmla="*/ 56 h 62"/>
                <a:gd name="T4" fmla="*/ 16 w 39"/>
                <a:gd name="T5" fmla="*/ 56 h 62"/>
                <a:gd name="T6" fmla="*/ 28 w 39"/>
                <a:gd name="T7" fmla="*/ 50 h 62"/>
                <a:gd name="T8" fmla="*/ 32 w 39"/>
                <a:gd name="T9" fmla="*/ 33 h 62"/>
                <a:gd name="T10" fmla="*/ 32 w 39"/>
                <a:gd name="T11" fmla="*/ 32 h 62"/>
                <a:gd name="T12" fmla="*/ 32 w 39"/>
                <a:gd name="T13" fmla="*/ 31 h 62"/>
                <a:gd name="T14" fmla="*/ 32 w 39"/>
                <a:gd name="T15" fmla="*/ 31 h 62"/>
                <a:gd name="T16" fmla="*/ 32 w 39"/>
                <a:gd name="T17" fmla="*/ 31 h 62"/>
                <a:gd name="T18" fmla="*/ 32 w 39"/>
                <a:gd name="T19" fmla="*/ 29 h 62"/>
                <a:gd name="T20" fmla="*/ 32 w 39"/>
                <a:gd name="T21" fmla="*/ 28 h 62"/>
                <a:gd name="T22" fmla="*/ 29 w 39"/>
                <a:gd name="T23" fmla="*/ 12 h 62"/>
                <a:gd name="T24" fmla="*/ 14 w 39"/>
                <a:gd name="T25" fmla="*/ 6 h 62"/>
                <a:gd name="T26" fmla="*/ 6 w 39"/>
                <a:gd name="T27" fmla="*/ 6 h 62"/>
                <a:gd name="T28" fmla="*/ 15 w 39"/>
                <a:gd name="T29" fmla="*/ 0 h 62"/>
                <a:gd name="T30" fmla="*/ 34 w 39"/>
                <a:gd name="T31" fmla="*/ 8 h 62"/>
                <a:gd name="T32" fmla="*/ 39 w 39"/>
                <a:gd name="T33" fmla="*/ 30 h 62"/>
                <a:gd name="T34" fmla="*/ 34 w 39"/>
                <a:gd name="T35" fmla="*/ 54 h 62"/>
                <a:gd name="T36" fmla="*/ 16 w 39"/>
                <a:gd name="T37" fmla="*/ 62 h 62"/>
                <a:gd name="T38" fmla="*/ 0 w 39"/>
                <a:gd name="T39" fmla="*/ 62 h 62"/>
                <a:gd name="T40" fmla="*/ 0 w 39"/>
                <a:gd name="T41" fmla="*/ 0 h 62"/>
                <a:gd name="T42" fmla="*/ 15 w 39"/>
                <a:gd name="T4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9" h="62">
                  <a:moveTo>
                    <a:pt x="6" y="56"/>
                  </a:moveTo>
                  <a:cubicBezTo>
                    <a:pt x="6" y="56"/>
                    <a:pt x="6" y="56"/>
                    <a:pt x="6" y="56"/>
                  </a:cubicBezTo>
                  <a:cubicBezTo>
                    <a:pt x="16" y="56"/>
                    <a:pt x="16" y="56"/>
                    <a:pt x="16" y="56"/>
                  </a:cubicBezTo>
                  <a:cubicBezTo>
                    <a:pt x="22" y="56"/>
                    <a:pt x="25" y="54"/>
                    <a:pt x="28" y="50"/>
                  </a:cubicBezTo>
                  <a:cubicBezTo>
                    <a:pt x="31" y="45"/>
                    <a:pt x="32" y="40"/>
                    <a:pt x="32" y="33"/>
                  </a:cubicBezTo>
                  <a:cubicBezTo>
                    <a:pt x="32" y="33"/>
                    <a:pt x="32" y="33"/>
                    <a:pt x="32" y="32"/>
                  </a:cubicBezTo>
                  <a:cubicBezTo>
                    <a:pt x="32" y="32"/>
                    <a:pt x="32" y="31"/>
                    <a:pt x="32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1"/>
                    <a:pt x="32" y="31"/>
                    <a:pt x="32" y="31"/>
                  </a:cubicBezTo>
                  <a:cubicBezTo>
                    <a:pt x="32" y="30"/>
                    <a:pt x="32" y="30"/>
                    <a:pt x="32" y="29"/>
                  </a:cubicBezTo>
                  <a:cubicBezTo>
                    <a:pt x="32" y="29"/>
                    <a:pt x="32" y="29"/>
                    <a:pt x="32" y="28"/>
                  </a:cubicBezTo>
                  <a:cubicBezTo>
                    <a:pt x="32" y="22"/>
                    <a:pt x="30" y="17"/>
                    <a:pt x="29" y="12"/>
                  </a:cubicBezTo>
                  <a:cubicBezTo>
                    <a:pt x="27" y="8"/>
                    <a:pt x="22" y="6"/>
                    <a:pt x="14" y="6"/>
                  </a:cubicBezTo>
                  <a:cubicBezTo>
                    <a:pt x="6" y="6"/>
                    <a:pt x="6" y="6"/>
                    <a:pt x="6" y="6"/>
                  </a:cubicBezTo>
                  <a:moveTo>
                    <a:pt x="15" y="0"/>
                  </a:moveTo>
                  <a:cubicBezTo>
                    <a:pt x="24" y="0"/>
                    <a:pt x="30" y="3"/>
                    <a:pt x="34" y="8"/>
                  </a:cubicBezTo>
                  <a:cubicBezTo>
                    <a:pt x="37" y="12"/>
                    <a:pt x="39" y="20"/>
                    <a:pt x="39" y="30"/>
                  </a:cubicBezTo>
                  <a:cubicBezTo>
                    <a:pt x="39" y="40"/>
                    <a:pt x="37" y="48"/>
                    <a:pt x="34" y="54"/>
                  </a:cubicBezTo>
                  <a:cubicBezTo>
                    <a:pt x="30" y="59"/>
                    <a:pt x="24" y="62"/>
                    <a:pt x="16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5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11387402" y="275699"/>
              <a:ext cx="58417" cy="117842"/>
            </a:xfrm>
            <a:custGeom>
              <a:avLst/>
              <a:gdLst>
                <a:gd name="T0" fmla="*/ 58 w 58"/>
                <a:gd name="T1" fmla="*/ 0 h 117"/>
                <a:gd name="T2" fmla="*/ 58 w 58"/>
                <a:gd name="T3" fmla="*/ 11 h 117"/>
                <a:gd name="T4" fmla="*/ 13 w 58"/>
                <a:gd name="T5" fmla="*/ 11 h 117"/>
                <a:gd name="T6" fmla="*/ 13 w 58"/>
                <a:gd name="T7" fmla="*/ 49 h 117"/>
                <a:gd name="T8" fmla="*/ 53 w 58"/>
                <a:gd name="T9" fmla="*/ 49 h 117"/>
                <a:gd name="T10" fmla="*/ 53 w 58"/>
                <a:gd name="T11" fmla="*/ 60 h 117"/>
                <a:gd name="T12" fmla="*/ 13 w 58"/>
                <a:gd name="T13" fmla="*/ 60 h 117"/>
                <a:gd name="T14" fmla="*/ 13 w 58"/>
                <a:gd name="T15" fmla="*/ 106 h 117"/>
                <a:gd name="T16" fmla="*/ 58 w 58"/>
                <a:gd name="T17" fmla="*/ 106 h 117"/>
                <a:gd name="T18" fmla="*/ 58 w 58"/>
                <a:gd name="T19" fmla="*/ 117 h 117"/>
                <a:gd name="T20" fmla="*/ 0 w 58"/>
                <a:gd name="T21" fmla="*/ 117 h 117"/>
                <a:gd name="T22" fmla="*/ 0 w 58"/>
                <a:gd name="T23" fmla="*/ 0 h 117"/>
                <a:gd name="T24" fmla="*/ 58 w 58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8" h="117">
                  <a:moveTo>
                    <a:pt x="58" y="0"/>
                  </a:moveTo>
                  <a:lnTo>
                    <a:pt x="58" y="11"/>
                  </a:lnTo>
                  <a:lnTo>
                    <a:pt x="13" y="11"/>
                  </a:lnTo>
                  <a:lnTo>
                    <a:pt x="13" y="49"/>
                  </a:lnTo>
                  <a:lnTo>
                    <a:pt x="53" y="49"/>
                  </a:lnTo>
                  <a:lnTo>
                    <a:pt x="53" y="60"/>
                  </a:lnTo>
                  <a:lnTo>
                    <a:pt x="13" y="60"/>
                  </a:lnTo>
                  <a:lnTo>
                    <a:pt x="13" y="106"/>
                  </a:lnTo>
                  <a:lnTo>
                    <a:pt x="58" y="106"/>
                  </a:lnTo>
                  <a:lnTo>
                    <a:pt x="58" y="117"/>
                  </a:lnTo>
                  <a:lnTo>
                    <a:pt x="0" y="117"/>
                  </a:lnTo>
                  <a:lnTo>
                    <a:pt x="0" y="0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11387402" y="275699"/>
              <a:ext cx="58417" cy="117842"/>
            </a:xfrm>
            <a:custGeom>
              <a:avLst/>
              <a:gdLst>
                <a:gd name="T0" fmla="*/ 58 w 58"/>
                <a:gd name="T1" fmla="*/ 0 h 117"/>
                <a:gd name="T2" fmla="*/ 58 w 58"/>
                <a:gd name="T3" fmla="*/ 11 h 117"/>
                <a:gd name="T4" fmla="*/ 13 w 58"/>
                <a:gd name="T5" fmla="*/ 11 h 117"/>
                <a:gd name="T6" fmla="*/ 13 w 58"/>
                <a:gd name="T7" fmla="*/ 49 h 117"/>
                <a:gd name="T8" fmla="*/ 53 w 58"/>
                <a:gd name="T9" fmla="*/ 49 h 117"/>
                <a:gd name="T10" fmla="*/ 53 w 58"/>
                <a:gd name="T11" fmla="*/ 60 h 117"/>
                <a:gd name="T12" fmla="*/ 13 w 58"/>
                <a:gd name="T13" fmla="*/ 60 h 117"/>
                <a:gd name="T14" fmla="*/ 13 w 58"/>
                <a:gd name="T15" fmla="*/ 106 h 117"/>
                <a:gd name="T16" fmla="*/ 58 w 58"/>
                <a:gd name="T17" fmla="*/ 106 h 117"/>
                <a:gd name="T18" fmla="*/ 58 w 58"/>
                <a:gd name="T19" fmla="*/ 117 h 117"/>
                <a:gd name="T20" fmla="*/ 0 w 58"/>
                <a:gd name="T21" fmla="*/ 117 h 117"/>
                <a:gd name="T22" fmla="*/ 0 w 58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8" h="117">
                  <a:moveTo>
                    <a:pt x="58" y="0"/>
                  </a:moveTo>
                  <a:lnTo>
                    <a:pt x="58" y="11"/>
                  </a:lnTo>
                  <a:lnTo>
                    <a:pt x="13" y="11"/>
                  </a:lnTo>
                  <a:lnTo>
                    <a:pt x="13" y="49"/>
                  </a:lnTo>
                  <a:lnTo>
                    <a:pt x="53" y="49"/>
                  </a:lnTo>
                  <a:lnTo>
                    <a:pt x="53" y="60"/>
                  </a:lnTo>
                  <a:lnTo>
                    <a:pt x="13" y="60"/>
                  </a:lnTo>
                  <a:lnTo>
                    <a:pt x="13" y="106"/>
                  </a:lnTo>
                  <a:lnTo>
                    <a:pt x="58" y="106"/>
                  </a:lnTo>
                  <a:lnTo>
                    <a:pt x="58" y="117"/>
                  </a:lnTo>
                  <a:lnTo>
                    <a:pt x="0" y="117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11462941" y="275699"/>
              <a:ext cx="70504" cy="117842"/>
            </a:xfrm>
            <a:custGeom>
              <a:avLst/>
              <a:gdLst>
                <a:gd name="T0" fmla="*/ 7 w 37"/>
                <a:gd name="T1" fmla="*/ 28 h 62"/>
                <a:gd name="T2" fmla="*/ 7 w 37"/>
                <a:gd name="T3" fmla="*/ 28 h 62"/>
                <a:gd name="T4" fmla="*/ 17 w 37"/>
                <a:gd name="T5" fmla="*/ 28 h 62"/>
                <a:gd name="T6" fmla="*/ 17 w 37"/>
                <a:gd name="T7" fmla="*/ 28 h 62"/>
                <a:gd name="T8" fmla="*/ 17 w 37"/>
                <a:gd name="T9" fmla="*/ 28 h 62"/>
                <a:gd name="T10" fmla="*/ 17 w 37"/>
                <a:gd name="T11" fmla="*/ 28 h 62"/>
                <a:gd name="T12" fmla="*/ 18 w 37"/>
                <a:gd name="T13" fmla="*/ 28 h 62"/>
                <a:gd name="T14" fmla="*/ 25 w 37"/>
                <a:gd name="T15" fmla="*/ 24 h 62"/>
                <a:gd name="T16" fmla="*/ 28 w 37"/>
                <a:gd name="T17" fmla="*/ 17 h 62"/>
                <a:gd name="T18" fmla="*/ 28 w 37"/>
                <a:gd name="T19" fmla="*/ 16 h 62"/>
                <a:gd name="T20" fmla="*/ 28 w 37"/>
                <a:gd name="T21" fmla="*/ 16 h 62"/>
                <a:gd name="T22" fmla="*/ 25 w 37"/>
                <a:gd name="T23" fmla="*/ 8 h 62"/>
                <a:gd name="T24" fmla="*/ 16 w 37"/>
                <a:gd name="T25" fmla="*/ 5 h 62"/>
                <a:gd name="T26" fmla="*/ 7 w 37"/>
                <a:gd name="T27" fmla="*/ 5 h 62"/>
                <a:gd name="T28" fmla="*/ 17 w 37"/>
                <a:gd name="T29" fmla="*/ 0 h 62"/>
                <a:gd name="T30" fmla="*/ 31 w 37"/>
                <a:gd name="T31" fmla="*/ 5 h 62"/>
                <a:gd name="T32" fmla="*/ 36 w 37"/>
                <a:gd name="T33" fmla="*/ 14 h 62"/>
                <a:gd name="T34" fmla="*/ 36 w 37"/>
                <a:gd name="T35" fmla="*/ 15 h 62"/>
                <a:gd name="T36" fmla="*/ 36 w 37"/>
                <a:gd name="T37" fmla="*/ 16 h 62"/>
                <a:gd name="T38" fmla="*/ 36 w 37"/>
                <a:gd name="T39" fmla="*/ 16 h 62"/>
                <a:gd name="T40" fmla="*/ 36 w 37"/>
                <a:gd name="T41" fmla="*/ 17 h 62"/>
                <a:gd name="T42" fmla="*/ 33 w 37"/>
                <a:gd name="T43" fmla="*/ 26 h 62"/>
                <a:gd name="T44" fmla="*/ 24 w 37"/>
                <a:gd name="T45" fmla="*/ 30 h 62"/>
                <a:gd name="T46" fmla="*/ 24 w 37"/>
                <a:gd name="T47" fmla="*/ 31 h 62"/>
                <a:gd name="T48" fmla="*/ 25 w 37"/>
                <a:gd name="T49" fmla="*/ 31 h 62"/>
                <a:gd name="T50" fmla="*/ 32 w 37"/>
                <a:gd name="T51" fmla="*/ 36 h 62"/>
                <a:gd name="T52" fmla="*/ 34 w 37"/>
                <a:gd name="T53" fmla="*/ 52 h 62"/>
                <a:gd name="T54" fmla="*/ 34 w 37"/>
                <a:gd name="T55" fmla="*/ 54 h 62"/>
                <a:gd name="T56" fmla="*/ 34 w 37"/>
                <a:gd name="T57" fmla="*/ 55 h 62"/>
                <a:gd name="T58" fmla="*/ 35 w 37"/>
                <a:gd name="T59" fmla="*/ 59 h 62"/>
                <a:gd name="T60" fmla="*/ 37 w 37"/>
                <a:gd name="T61" fmla="*/ 61 h 62"/>
                <a:gd name="T62" fmla="*/ 37 w 37"/>
                <a:gd name="T63" fmla="*/ 62 h 62"/>
                <a:gd name="T64" fmla="*/ 30 w 37"/>
                <a:gd name="T65" fmla="*/ 62 h 62"/>
                <a:gd name="T66" fmla="*/ 29 w 37"/>
                <a:gd name="T67" fmla="*/ 60 h 62"/>
                <a:gd name="T68" fmla="*/ 29 w 37"/>
                <a:gd name="T69" fmla="*/ 56 h 62"/>
                <a:gd name="T70" fmla="*/ 28 w 37"/>
                <a:gd name="T71" fmla="*/ 55 h 62"/>
                <a:gd name="T72" fmla="*/ 28 w 37"/>
                <a:gd name="T73" fmla="*/ 53 h 62"/>
                <a:gd name="T74" fmla="*/ 28 w 37"/>
                <a:gd name="T75" fmla="*/ 51 h 62"/>
                <a:gd name="T76" fmla="*/ 28 w 37"/>
                <a:gd name="T77" fmla="*/ 50 h 62"/>
                <a:gd name="T78" fmla="*/ 28 w 37"/>
                <a:gd name="T79" fmla="*/ 47 h 62"/>
                <a:gd name="T80" fmla="*/ 27 w 37"/>
                <a:gd name="T81" fmla="*/ 43 h 62"/>
                <a:gd name="T82" fmla="*/ 25 w 37"/>
                <a:gd name="T83" fmla="*/ 36 h 62"/>
                <a:gd name="T84" fmla="*/ 17 w 37"/>
                <a:gd name="T85" fmla="*/ 33 h 62"/>
                <a:gd name="T86" fmla="*/ 7 w 37"/>
                <a:gd name="T87" fmla="*/ 33 h 62"/>
                <a:gd name="T88" fmla="*/ 7 w 37"/>
                <a:gd name="T89" fmla="*/ 62 h 62"/>
                <a:gd name="T90" fmla="*/ 0 w 37"/>
                <a:gd name="T91" fmla="*/ 62 h 62"/>
                <a:gd name="T92" fmla="*/ 0 w 37"/>
                <a:gd name="T93" fmla="*/ 0 h 62"/>
                <a:gd name="T94" fmla="*/ 17 w 37"/>
                <a:gd name="T95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7" h="62">
                  <a:moveTo>
                    <a:pt x="7" y="28"/>
                  </a:moveTo>
                  <a:cubicBezTo>
                    <a:pt x="7" y="28"/>
                    <a:pt x="7" y="28"/>
                    <a:pt x="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7" y="28"/>
                    <a:pt x="17" y="28"/>
                    <a:pt x="17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21" y="28"/>
                    <a:pt x="23" y="27"/>
                    <a:pt x="25" y="24"/>
                  </a:cubicBezTo>
                  <a:cubicBezTo>
                    <a:pt x="27" y="22"/>
                    <a:pt x="28" y="20"/>
                    <a:pt x="28" y="17"/>
                  </a:cubicBezTo>
                  <a:cubicBezTo>
                    <a:pt x="28" y="17"/>
                    <a:pt x="28" y="16"/>
                    <a:pt x="28" y="16"/>
                  </a:cubicBezTo>
                  <a:cubicBezTo>
                    <a:pt x="28" y="16"/>
                    <a:pt x="28" y="16"/>
                    <a:pt x="28" y="16"/>
                  </a:cubicBezTo>
                  <a:cubicBezTo>
                    <a:pt x="28" y="13"/>
                    <a:pt x="27" y="11"/>
                    <a:pt x="25" y="8"/>
                  </a:cubicBezTo>
                  <a:cubicBezTo>
                    <a:pt x="23" y="6"/>
                    <a:pt x="20" y="5"/>
                    <a:pt x="16" y="5"/>
                  </a:cubicBezTo>
                  <a:cubicBezTo>
                    <a:pt x="7" y="5"/>
                    <a:pt x="7" y="5"/>
                    <a:pt x="7" y="5"/>
                  </a:cubicBezTo>
                  <a:moveTo>
                    <a:pt x="17" y="0"/>
                  </a:moveTo>
                  <a:cubicBezTo>
                    <a:pt x="23" y="0"/>
                    <a:pt x="27" y="2"/>
                    <a:pt x="31" y="5"/>
                  </a:cubicBezTo>
                  <a:cubicBezTo>
                    <a:pt x="34" y="8"/>
                    <a:pt x="35" y="11"/>
                    <a:pt x="36" y="14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20"/>
                    <a:pt x="35" y="23"/>
                    <a:pt x="33" y="26"/>
                  </a:cubicBezTo>
                  <a:cubicBezTo>
                    <a:pt x="31" y="28"/>
                    <a:pt x="28" y="30"/>
                    <a:pt x="24" y="30"/>
                  </a:cubicBezTo>
                  <a:cubicBezTo>
                    <a:pt x="24" y="30"/>
                    <a:pt x="24" y="30"/>
                    <a:pt x="24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8" y="32"/>
                    <a:pt x="31" y="34"/>
                    <a:pt x="32" y="36"/>
                  </a:cubicBezTo>
                  <a:cubicBezTo>
                    <a:pt x="33" y="39"/>
                    <a:pt x="34" y="44"/>
                    <a:pt x="34" y="52"/>
                  </a:cubicBezTo>
                  <a:cubicBezTo>
                    <a:pt x="34" y="52"/>
                    <a:pt x="34" y="53"/>
                    <a:pt x="34" y="54"/>
                  </a:cubicBezTo>
                  <a:cubicBezTo>
                    <a:pt x="34" y="54"/>
                    <a:pt x="34" y="55"/>
                    <a:pt x="34" y="55"/>
                  </a:cubicBezTo>
                  <a:cubicBezTo>
                    <a:pt x="34" y="57"/>
                    <a:pt x="34" y="58"/>
                    <a:pt x="35" y="59"/>
                  </a:cubicBezTo>
                  <a:cubicBezTo>
                    <a:pt x="35" y="60"/>
                    <a:pt x="36" y="61"/>
                    <a:pt x="37" y="61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0" y="62"/>
                    <a:pt x="30" y="62"/>
                    <a:pt x="30" y="62"/>
                  </a:cubicBezTo>
                  <a:cubicBezTo>
                    <a:pt x="30" y="61"/>
                    <a:pt x="29" y="60"/>
                    <a:pt x="29" y="60"/>
                  </a:cubicBezTo>
                  <a:cubicBezTo>
                    <a:pt x="29" y="59"/>
                    <a:pt x="29" y="58"/>
                    <a:pt x="29" y="56"/>
                  </a:cubicBezTo>
                  <a:cubicBezTo>
                    <a:pt x="29" y="56"/>
                    <a:pt x="28" y="55"/>
                    <a:pt x="28" y="55"/>
                  </a:cubicBezTo>
                  <a:cubicBezTo>
                    <a:pt x="28" y="54"/>
                    <a:pt x="28" y="53"/>
                    <a:pt x="28" y="53"/>
                  </a:cubicBezTo>
                  <a:cubicBezTo>
                    <a:pt x="28" y="52"/>
                    <a:pt x="28" y="52"/>
                    <a:pt x="28" y="51"/>
                  </a:cubicBezTo>
                  <a:cubicBezTo>
                    <a:pt x="28" y="51"/>
                    <a:pt x="28" y="50"/>
                    <a:pt x="28" y="50"/>
                  </a:cubicBezTo>
                  <a:cubicBezTo>
                    <a:pt x="28" y="49"/>
                    <a:pt x="28" y="48"/>
                    <a:pt x="28" y="47"/>
                  </a:cubicBezTo>
                  <a:cubicBezTo>
                    <a:pt x="28" y="46"/>
                    <a:pt x="28" y="45"/>
                    <a:pt x="27" y="43"/>
                  </a:cubicBezTo>
                  <a:cubicBezTo>
                    <a:pt x="27" y="41"/>
                    <a:pt x="26" y="38"/>
                    <a:pt x="25" y="36"/>
                  </a:cubicBezTo>
                  <a:cubicBezTo>
                    <a:pt x="23" y="34"/>
                    <a:pt x="20" y="33"/>
                    <a:pt x="17" y="33"/>
                  </a:cubicBezTo>
                  <a:cubicBezTo>
                    <a:pt x="7" y="33"/>
                    <a:pt x="7" y="33"/>
                    <a:pt x="7" y="33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11550567" y="275699"/>
              <a:ext cx="58417" cy="117842"/>
            </a:xfrm>
            <a:custGeom>
              <a:avLst/>
              <a:gdLst>
                <a:gd name="T0" fmla="*/ 0 w 58"/>
                <a:gd name="T1" fmla="*/ 0 h 117"/>
                <a:gd name="T2" fmla="*/ 11 w 58"/>
                <a:gd name="T3" fmla="*/ 0 h 117"/>
                <a:gd name="T4" fmla="*/ 11 w 58"/>
                <a:gd name="T5" fmla="*/ 108 h 117"/>
                <a:gd name="T6" fmla="*/ 58 w 58"/>
                <a:gd name="T7" fmla="*/ 108 h 117"/>
                <a:gd name="T8" fmla="*/ 58 w 58"/>
                <a:gd name="T9" fmla="*/ 117 h 117"/>
                <a:gd name="T10" fmla="*/ 0 w 58"/>
                <a:gd name="T11" fmla="*/ 117 h 117"/>
                <a:gd name="T12" fmla="*/ 0 w 58"/>
                <a:gd name="T1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" h="117">
                  <a:moveTo>
                    <a:pt x="0" y="0"/>
                  </a:moveTo>
                  <a:lnTo>
                    <a:pt x="11" y="0"/>
                  </a:lnTo>
                  <a:lnTo>
                    <a:pt x="11" y="108"/>
                  </a:lnTo>
                  <a:lnTo>
                    <a:pt x="58" y="108"/>
                  </a:lnTo>
                  <a:lnTo>
                    <a:pt x="58" y="117"/>
                  </a:lnTo>
                  <a:lnTo>
                    <a:pt x="0" y="1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11550567" y="275699"/>
              <a:ext cx="58417" cy="117842"/>
            </a:xfrm>
            <a:custGeom>
              <a:avLst/>
              <a:gdLst>
                <a:gd name="T0" fmla="*/ 0 w 58"/>
                <a:gd name="T1" fmla="*/ 0 h 117"/>
                <a:gd name="T2" fmla="*/ 11 w 58"/>
                <a:gd name="T3" fmla="*/ 0 h 117"/>
                <a:gd name="T4" fmla="*/ 11 w 58"/>
                <a:gd name="T5" fmla="*/ 108 h 117"/>
                <a:gd name="T6" fmla="*/ 58 w 58"/>
                <a:gd name="T7" fmla="*/ 108 h 117"/>
                <a:gd name="T8" fmla="*/ 58 w 58"/>
                <a:gd name="T9" fmla="*/ 117 h 117"/>
                <a:gd name="T10" fmla="*/ 0 w 58"/>
                <a:gd name="T11" fmla="*/ 11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8" h="117">
                  <a:moveTo>
                    <a:pt x="0" y="0"/>
                  </a:moveTo>
                  <a:lnTo>
                    <a:pt x="11" y="0"/>
                  </a:lnTo>
                  <a:lnTo>
                    <a:pt x="11" y="108"/>
                  </a:lnTo>
                  <a:lnTo>
                    <a:pt x="58" y="108"/>
                  </a:lnTo>
                  <a:lnTo>
                    <a:pt x="58" y="117"/>
                  </a:lnTo>
                  <a:lnTo>
                    <a:pt x="0" y="117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11624092" y="275699"/>
              <a:ext cx="60432" cy="117842"/>
            </a:xfrm>
            <a:custGeom>
              <a:avLst/>
              <a:gdLst>
                <a:gd name="T0" fmla="*/ 60 w 60"/>
                <a:gd name="T1" fmla="*/ 0 h 117"/>
                <a:gd name="T2" fmla="*/ 60 w 60"/>
                <a:gd name="T3" fmla="*/ 11 h 117"/>
                <a:gd name="T4" fmla="*/ 13 w 60"/>
                <a:gd name="T5" fmla="*/ 11 h 117"/>
                <a:gd name="T6" fmla="*/ 13 w 60"/>
                <a:gd name="T7" fmla="*/ 49 h 117"/>
                <a:gd name="T8" fmla="*/ 55 w 60"/>
                <a:gd name="T9" fmla="*/ 49 h 117"/>
                <a:gd name="T10" fmla="*/ 55 w 60"/>
                <a:gd name="T11" fmla="*/ 60 h 117"/>
                <a:gd name="T12" fmla="*/ 13 w 60"/>
                <a:gd name="T13" fmla="*/ 60 h 117"/>
                <a:gd name="T14" fmla="*/ 13 w 60"/>
                <a:gd name="T15" fmla="*/ 106 h 117"/>
                <a:gd name="T16" fmla="*/ 60 w 60"/>
                <a:gd name="T17" fmla="*/ 106 h 117"/>
                <a:gd name="T18" fmla="*/ 60 w 60"/>
                <a:gd name="T19" fmla="*/ 117 h 117"/>
                <a:gd name="T20" fmla="*/ 0 w 60"/>
                <a:gd name="T21" fmla="*/ 117 h 117"/>
                <a:gd name="T22" fmla="*/ 0 w 60"/>
                <a:gd name="T23" fmla="*/ 0 h 117"/>
                <a:gd name="T24" fmla="*/ 60 w 60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117">
                  <a:moveTo>
                    <a:pt x="60" y="0"/>
                  </a:moveTo>
                  <a:lnTo>
                    <a:pt x="60" y="11"/>
                  </a:lnTo>
                  <a:lnTo>
                    <a:pt x="13" y="11"/>
                  </a:lnTo>
                  <a:lnTo>
                    <a:pt x="13" y="49"/>
                  </a:lnTo>
                  <a:lnTo>
                    <a:pt x="55" y="49"/>
                  </a:lnTo>
                  <a:lnTo>
                    <a:pt x="55" y="60"/>
                  </a:lnTo>
                  <a:lnTo>
                    <a:pt x="13" y="60"/>
                  </a:lnTo>
                  <a:lnTo>
                    <a:pt x="13" y="106"/>
                  </a:lnTo>
                  <a:lnTo>
                    <a:pt x="60" y="106"/>
                  </a:lnTo>
                  <a:lnTo>
                    <a:pt x="60" y="117"/>
                  </a:lnTo>
                  <a:lnTo>
                    <a:pt x="0" y="117"/>
                  </a:lnTo>
                  <a:lnTo>
                    <a:pt x="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11624092" y="275699"/>
              <a:ext cx="60432" cy="117842"/>
            </a:xfrm>
            <a:custGeom>
              <a:avLst/>
              <a:gdLst>
                <a:gd name="T0" fmla="*/ 60 w 60"/>
                <a:gd name="T1" fmla="*/ 0 h 117"/>
                <a:gd name="T2" fmla="*/ 60 w 60"/>
                <a:gd name="T3" fmla="*/ 11 h 117"/>
                <a:gd name="T4" fmla="*/ 13 w 60"/>
                <a:gd name="T5" fmla="*/ 11 h 117"/>
                <a:gd name="T6" fmla="*/ 13 w 60"/>
                <a:gd name="T7" fmla="*/ 49 h 117"/>
                <a:gd name="T8" fmla="*/ 55 w 60"/>
                <a:gd name="T9" fmla="*/ 49 h 117"/>
                <a:gd name="T10" fmla="*/ 55 w 60"/>
                <a:gd name="T11" fmla="*/ 60 h 117"/>
                <a:gd name="T12" fmla="*/ 13 w 60"/>
                <a:gd name="T13" fmla="*/ 60 h 117"/>
                <a:gd name="T14" fmla="*/ 13 w 60"/>
                <a:gd name="T15" fmla="*/ 106 h 117"/>
                <a:gd name="T16" fmla="*/ 60 w 60"/>
                <a:gd name="T17" fmla="*/ 106 h 117"/>
                <a:gd name="T18" fmla="*/ 60 w 60"/>
                <a:gd name="T19" fmla="*/ 117 h 117"/>
                <a:gd name="T20" fmla="*/ 0 w 60"/>
                <a:gd name="T21" fmla="*/ 117 h 117"/>
                <a:gd name="T22" fmla="*/ 0 w 60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17">
                  <a:moveTo>
                    <a:pt x="60" y="0"/>
                  </a:moveTo>
                  <a:lnTo>
                    <a:pt x="60" y="11"/>
                  </a:lnTo>
                  <a:lnTo>
                    <a:pt x="13" y="11"/>
                  </a:lnTo>
                  <a:lnTo>
                    <a:pt x="13" y="49"/>
                  </a:lnTo>
                  <a:lnTo>
                    <a:pt x="55" y="49"/>
                  </a:lnTo>
                  <a:lnTo>
                    <a:pt x="55" y="60"/>
                  </a:lnTo>
                  <a:lnTo>
                    <a:pt x="13" y="60"/>
                  </a:lnTo>
                  <a:lnTo>
                    <a:pt x="13" y="106"/>
                  </a:lnTo>
                  <a:lnTo>
                    <a:pt x="60" y="106"/>
                  </a:lnTo>
                  <a:lnTo>
                    <a:pt x="60" y="117"/>
                  </a:lnTo>
                  <a:lnTo>
                    <a:pt x="0" y="117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5" name="Freeform 24"/>
            <p:cNvSpPr>
              <a:spLocks/>
            </p:cNvSpPr>
            <p:nvPr/>
          </p:nvSpPr>
          <p:spPr bwMode="auto">
            <a:xfrm>
              <a:off x="11696610" y="275699"/>
              <a:ext cx="73525" cy="121870"/>
            </a:xfrm>
            <a:custGeom>
              <a:avLst/>
              <a:gdLst>
                <a:gd name="T0" fmla="*/ 6 w 39"/>
                <a:gd name="T1" fmla="*/ 44 h 64"/>
                <a:gd name="T2" fmla="*/ 10 w 39"/>
                <a:gd name="T3" fmla="*/ 55 h 64"/>
                <a:gd name="T4" fmla="*/ 19 w 39"/>
                <a:gd name="T5" fmla="*/ 58 h 64"/>
                <a:gd name="T6" fmla="*/ 20 w 39"/>
                <a:gd name="T7" fmla="*/ 58 h 64"/>
                <a:gd name="T8" fmla="*/ 21 w 39"/>
                <a:gd name="T9" fmla="*/ 58 h 64"/>
                <a:gd name="T10" fmla="*/ 29 w 39"/>
                <a:gd name="T11" fmla="*/ 55 h 64"/>
                <a:gd name="T12" fmla="*/ 32 w 39"/>
                <a:gd name="T13" fmla="*/ 46 h 64"/>
                <a:gd name="T14" fmla="*/ 32 w 39"/>
                <a:gd name="T15" fmla="*/ 43 h 64"/>
                <a:gd name="T16" fmla="*/ 28 w 39"/>
                <a:gd name="T17" fmla="*/ 38 h 64"/>
                <a:gd name="T18" fmla="*/ 21 w 39"/>
                <a:gd name="T19" fmla="*/ 34 h 64"/>
                <a:gd name="T20" fmla="*/ 19 w 39"/>
                <a:gd name="T21" fmla="*/ 33 h 64"/>
                <a:gd name="T22" fmla="*/ 17 w 39"/>
                <a:gd name="T23" fmla="*/ 33 h 64"/>
                <a:gd name="T24" fmla="*/ 6 w 39"/>
                <a:gd name="T25" fmla="*/ 27 h 64"/>
                <a:gd name="T26" fmla="*/ 2 w 39"/>
                <a:gd name="T27" fmla="*/ 15 h 64"/>
                <a:gd name="T28" fmla="*/ 2 w 39"/>
                <a:gd name="T29" fmla="*/ 15 h 64"/>
                <a:gd name="T30" fmla="*/ 2 w 39"/>
                <a:gd name="T31" fmla="*/ 14 h 64"/>
                <a:gd name="T32" fmla="*/ 2 w 39"/>
                <a:gd name="T33" fmla="*/ 14 h 64"/>
                <a:gd name="T34" fmla="*/ 2 w 39"/>
                <a:gd name="T35" fmla="*/ 13 h 64"/>
                <a:gd name="T36" fmla="*/ 2 w 39"/>
                <a:gd name="T37" fmla="*/ 13 h 64"/>
                <a:gd name="T38" fmla="*/ 2 w 39"/>
                <a:gd name="T39" fmla="*/ 12 h 64"/>
                <a:gd name="T40" fmla="*/ 8 w 39"/>
                <a:gd name="T41" fmla="*/ 3 h 64"/>
                <a:gd name="T42" fmla="*/ 18 w 39"/>
                <a:gd name="T43" fmla="*/ 0 h 64"/>
                <a:gd name="T44" fmla="*/ 18 w 39"/>
                <a:gd name="T45" fmla="*/ 0 h 64"/>
                <a:gd name="T46" fmla="*/ 19 w 39"/>
                <a:gd name="T47" fmla="*/ 0 h 64"/>
                <a:gd name="T48" fmla="*/ 19 w 39"/>
                <a:gd name="T49" fmla="*/ 0 h 64"/>
                <a:gd name="T50" fmla="*/ 20 w 39"/>
                <a:gd name="T51" fmla="*/ 0 h 64"/>
                <a:gd name="T52" fmla="*/ 32 w 39"/>
                <a:gd name="T53" fmla="*/ 4 h 64"/>
                <a:gd name="T54" fmla="*/ 37 w 39"/>
                <a:gd name="T55" fmla="*/ 15 h 64"/>
                <a:gd name="T56" fmla="*/ 31 w 39"/>
                <a:gd name="T57" fmla="*/ 15 h 64"/>
                <a:gd name="T58" fmla="*/ 27 w 39"/>
                <a:gd name="T59" fmla="*/ 7 h 64"/>
                <a:gd name="T60" fmla="*/ 20 w 39"/>
                <a:gd name="T61" fmla="*/ 4 h 64"/>
                <a:gd name="T62" fmla="*/ 19 w 39"/>
                <a:gd name="T63" fmla="*/ 4 h 64"/>
                <a:gd name="T64" fmla="*/ 18 w 39"/>
                <a:gd name="T65" fmla="*/ 4 h 64"/>
                <a:gd name="T66" fmla="*/ 11 w 39"/>
                <a:gd name="T67" fmla="*/ 6 h 64"/>
                <a:gd name="T68" fmla="*/ 8 w 39"/>
                <a:gd name="T69" fmla="*/ 14 h 64"/>
                <a:gd name="T70" fmla="*/ 8 w 39"/>
                <a:gd name="T71" fmla="*/ 14 h 64"/>
                <a:gd name="T72" fmla="*/ 8 w 39"/>
                <a:gd name="T73" fmla="*/ 15 h 64"/>
                <a:gd name="T74" fmla="*/ 8 w 39"/>
                <a:gd name="T75" fmla="*/ 15 h 64"/>
                <a:gd name="T76" fmla="*/ 8 w 39"/>
                <a:gd name="T77" fmla="*/ 16 h 64"/>
                <a:gd name="T78" fmla="*/ 12 w 39"/>
                <a:gd name="T79" fmla="*/ 24 h 64"/>
                <a:gd name="T80" fmla="*/ 22 w 39"/>
                <a:gd name="T81" fmla="*/ 29 h 64"/>
                <a:gd name="T82" fmla="*/ 22 w 39"/>
                <a:gd name="T83" fmla="*/ 29 h 64"/>
                <a:gd name="T84" fmla="*/ 23 w 39"/>
                <a:gd name="T85" fmla="*/ 30 h 64"/>
                <a:gd name="T86" fmla="*/ 33 w 39"/>
                <a:gd name="T87" fmla="*/ 35 h 64"/>
                <a:gd name="T88" fmla="*/ 39 w 39"/>
                <a:gd name="T89" fmla="*/ 45 h 64"/>
                <a:gd name="T90" fmla="*/ 39 w 39"/>
                <a:gd name="T91" fmla="*/ 45 h 64"/>
                <a:gd name="T92" fmla="*/ 33 w 39"/>
                <a:gd name="T93" fmla="*/ 59 h 64"/>
                <a:gd name="T94" fmla="*/ 20 w 39"/>
                <a:gd name="T95" fmla="*/ 64 h 64"/>
                <a:gd name="T96" fmla="*/ 19 w 39"/>
                <a:gd name="T97" fmla="*/ 64 h 64"/>
                <a:gd name="T98" fmla="*/ 19 w 39"/>
                <a:gd name="T99" fmla="*/ 64 h 64"/>
                <a:gd name="T100" fmla="*/ 19 w 39"/>
                <a:gd name="T101" fmla="*/ 64 h 64"/>
                <a:gd name="T102" fmla="*/ 18 w 39"/>
                <a:gd name="T103" fmla="*/ 64 h 64"/>
                <a:gd name="T104" fmla="*/ 6 w 39"/>
                <a:gd name="T105" fmla="*/ 59 h 64"/>
                <a:gd name="T106" fmla="*/ 0 w 39"/>
                <a:gd name="T107" fmla="*/ 45 h 64"/>
                <a:gd name="T108" fmla="*/ 0 w 39"/>
                <a:gd name="T109" fmla="*/ 45 h 64"/>
                <a:gd name="T110" fmla="*/ 0 w 39"/>
                <a:gd name="T111" fmla="*/ 45 h 64"/>
                <a:gd name="T112" fmla="*/ 0 w 39"/>
                <a:gd name="T113" fmla="*/ 44 h 64"/>
                <a:gd name="T114" fmla="*/ 0 w 39"/>
                <a:gd name="T115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" h="64">
                  <a:moveTo>
                    <a:pt x="6" y="44"/>
                  </a:moveTo>
                  <a:cubicBezTo>
                    <a:pt x="6" y="49"/>
                    <a:pt x="8" y="53"/>
                    <a:pt x="10" y="55"/>
                  </a:cubicBezTo>
                  <a:cubicBezTo>
                    <a:pt x="12" y="57"/>
                    <a:pt x="15" y="58"/>
                    <a:pt x="19" y="58"/>
                  </a:cubicBezTo>
                  <a:cubicBezTo>
                    <a:pt x="19" y="58"/>
                    <a:pt x="20" y="58"/>
                    <a:pt x="20" y="58"/>
                  </a:cubicBezTo>
                  <a:cubicBezTo>
                    <a:pt x="21" y="58"/>
                    <a:pt x="21" y="58"/>
                    <a:pt x="21" y="58"/>
                  </a:cubicBezTo>
                  <a:cubicBezTo>
                    <a:pt x="24" y="58"/>
                    <a:pt x="26" y="57"/>
                    <a:pt x="29" y="55"/>
                  </a:cubicBezTo>
                  <a:cubicBezTo>
                    <a:pt x="31" y="53"/>
                    <a:pt x="32" y="50"/>
                    <a:pt x="32" y="46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1"/>
                    <a:pt x="31" y="39"/>
                    <a:pt x="28" y="38"/>
                  </a:cubicBezTo>
                  <a:cubicBezTo>
                    <a:pt x="26" y="36"/>
                    <a:pt x="24" y="35"/>
                    <a:pt x="21" y="34"/>
                  </a:cubicBezTo>
                  <a:cubicBezTo>
                    <a:pt x="20" y="34"/>
                    <a:pt x="19" y="34"/>
                    <a:pt x="19" y="33"/>
                  </a:cubicBezTo>
                  <a:cubicBezTo>
                    <a:pt x="18" y="33"/>
                    <a:pt x="18" y="33"/>
                    <a:pt x="17" y="33"/>
                  </a:cubicBezTo>
                  <a:cubicBezTo>
                    <a:pt x="13" y="31"/>
                    <a:pt x="10" y="29"/>
                    <a:pt x="6" y="27"/>
                  </a:cubicBezTo>
                  <a:cubicBezTo>
                    <a:pt x="3" y="24"/>
                    <a:pt x="2" y="21"/>
                    <a:pt x="2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8"/>
                    <a:pt x="4" y="5"/>
                    <a:pt x="8" y="3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5" y="0"/>
                    <a:pt x="28" y="2"/>
                    <a:pt x="32" y="4"/>
                  </a:cubicBezTo>
                  <a:cubicBezTo>
                    <a:pt x="35" y="7"/>
                    <a:pt x="37" y="10"/>
                    <a:pt x="37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2"/>
                    <a:pt x="29" y="9"/>
                    <a:pt x="27" y="7"/>
                  </a:cubicBezTo>
                  <a:cubicBezTo>
                    <a:pt x="25" y="5"/>
                    <a:pt x="22" y="4"/>
                    <a:pt x="20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5" y="4"/>
                    <a:pt x="13" y="5"/>
                    <a:pt x="11" y="6"/>
                  </a:cubicBezTo>
                  <a:cubicBezTo>
                    <a:pt x="9" y="8"/>
                    <a:pt x="8" y="10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20"/>
                    <a:pt x="9" y="23"/>
                    <a:pt x="12" y="24"/>
                  </a:cubicBezTo>
                  <a:cubicBezTo>
                    <a:pt x="15" y="26"/>
                    <a:pt x="18" y="28"/>
                    <a:pt x="22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3" y="29"/>
                    <a:pt x="23" y="29"/>
                    <a:pt x="23" y="30"/>
                  </a:cubicBezTo>
                  <a:cubicBezTo>
                    <a:pt x="27" y="31"/>
                    <a:pt x="30" y="33"/>
                    <a:pt x="33" y="35"/>
                  </a:cubicBezTo>
                  <a:cubicBezTo>
                    <a:pt x="37" y="37"/>
                    <a:pt x="38" y="40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51"/>
                    <a:pt x="37" y="56"/>
                    <a:pt x="33" y="59"/>
                  </a:cubicBezTo>
                  <a:cubicBezTo>
                    <a:pt x="29" y="62"/>
                    <a:pt x="25" y="63"/>
                    <a:pt x="20" y="64"/>
                  </a:cubicBezTo>
                  <a:cubicBezTo>
                    <a:pt x="20" y="64"/>
                    <a:pt x="20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8" y="64"/>
                    <a:pt x="18" y="64"/>
                  </a:cubicBezTo>
                  <a:cubicBezTo>
                    <a:pt x="14" y="64"/>
                    <a:pt x="10" y="62"/>
                    <a:pt x="6" y="59"/>
                  </a:cubicBezTo>
                  <a:cubicBezTo>
                    <a:pt x="2" y="56"/>
                    <a:pt x="0" y="51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11781215" y="275699"/>
              <a:ext cx="72518" cy="121870"/>
            </a:xfrm>
            <a:custGeom>
              <a:avLst/>
              <a:gdLst>
                <a:gd name="T0" fmla="*/ 5 w 38"/>
                <a:gd name="T1" fmla="*/ 44 h 64"/>
                <a:gd name="T2" fmla="*/ 10 w 38"/>
                <a:gd name="T3" fmla="*/ 55 h 64"/>
                <a:gd name="T4" fmla="*/ 19 w 38"/>
                <a:gd name="T5" fmla="*/ 58 h 64"/>
                <a:gd name="T6" fmla="*/ 20 w 38"/>
                <a:gd name="T7" fmla="*/ 58 h 64"/>
                <a:gd name="T8" fmla="*/ 21 w 38"/>
                <a:gd name="T9" fmla="*/ 58 h 64"/>
                <a:gd name="T10" fmla="*/ 28 w 38"/>
                <a:gd name="T11" fmla="*/ 55 h 64"/>
                <a:gd name="T12" fmla="*/ 32 w 38"/>
                <a:gd name="T13" fmla="*/ 46 h 64"/>
                <a:gd name="T14" fmla="*/ 32 w 38"/>
                <a:gd name="T15" fmla="*/ 43 h 64"/>
                <a:gd name="T16" fmla="*/ 28 w 38"/>
                <a:gd name="T17" fmla="*/ 38 h 64"/>
                <a:gd name="T18" fmla="*/ 20 w 38"/>
                <a:gd name="T19" fmla="*/ 34 h 64"/>
                <a:gd name="T20" fmla="*/ 19 w 38"/>
                <a:gd name="T21" fmla="*/ 33 h 64"/>
                <a:gd name="T22" fmla="*/ 17 w 38"/>
                <a:gd name="T23" fmla="*/ 33 h 64"/>
                <a:gd name="T24" fmla="*/ 6 w 38"/>
                <a:gd name="T25" fmla="*/ 27 h 64"/>
                <a:gd name="T26" fmla="*/ 1 w 38"/>
                <a:gd name="T27" fmla="*/ 15 h 64"/>
                <a:gd name="T28" fmla="*/ 1 w 38"/>
                <a:gd name="T29" fmla="*/ 15 h 64"/>
                <a:gd name="T30" fmla="*/ 2 w 38"/>
                <a:gd name="T31" fmla="*/ 14 h 64"/>
                <a:gd name="T32" fmla="*/ 2 w 38"/>
                <a:gd name="T33" fmla="*/ 14 h 64"/>
                <a:gd name="T34" fmla="*/ 2 w 38"/>
                <a:gd name="T35" fmla="*/ 13 h 64"/>
                <a:gd name="T36" fmla="*/ 2 w 38"/>
                <a:gd name="T37" fmla="*/ 13 h 64"/>
                <a:gd name="T38" fmla="*/ 2 w 38"/>
                <a:gd name="T39" fmla="*/ 12 h 64"/>
                <a:gd name="T40" fmla="*/ 7 w 38"/>
                <a:gd name="T41" fmla="*/ 3 h 64"/>
                <a:gd name="T42" fmla="*/ 18 w 38"/>
                <a:gd name="T43" fmla="*/ 0 h 64"/>
                <a:gd name="T44" fmla="*/ 18 w 38"/>
                <a:gd name="T45" fmla="*/ 0 h 64"/>
                <a:gd name="T46" fmla="*/ 18 w 38"/>
                <a:gd name="T47" fmla="*/ 0 h 64"/>
                <a:gd name="T48" fmla="*/ 19 w 38"/>
                <a:gd name="T49" fmla="*/ 0 h 64"/>
                <a:gd name="T50" fmla="*/ 20 w 38"/>
                <a:gd name="T51" fmla="*/ 0 h 64"/>
                <a:gd name="T52" fmla="*/ 31 w 38"/>
                <a:gd name="T53" fmla="*/ 4 h 64"/>
                <a:gd name="T54" fmla="*/ 37 w 38"/>
                <a:gd name="T55" fmla="*/ 15 h 64"/>
                <a:gd name="T56" fmla="*/ 30 w 38"/>
                <a:gd name="T57" fmla="*/ 15 h 64"/>
                <a:gd name="T58" fmla="*/ 27 w 38"/>
                <a:gd name="T59" fmla="*/ 7 h 64"/>
                <a:gd name="T60" fmla="*/ 19 w 38"/>
                <a:gd name="T61" fmla="*/ 4 h 64"/>
                <a:gd name="T62" fmla="*/ 19 w 38"/>
                <a:gd name="T63" fmla="*/ 4 h 64"/>
                <a:gd name="T64" fmla="*/ 18 w 38"/>
                <a:gd name="T65" fmla="*/ 4 h 64"/>
                <a:gd name="T66" fmla="*/ 11 w 38"/>
                <a:gd name="T67" fmla="*/ 6 h 64"/>
                <a:gd name="T68" fmla="*/ 7 w 38"/>
                <a:gd name="T69" fmla="*/ 14 h 64"/>
                <a:gd name="T70" fmla="*/ 7 w 38"/>
                <a:gd name="T71" fmla="*/ 14 h 64"/>
                <a:gd name="T72" fmla="*/ 7 w 38"/>
                <a:gd name="T73" fmla="*/ 15 h 64"/>
                <a:gd name="T74" fmla="*/ 7 w 38"/>
                <a:gd name="T75" fmla="*/ 15 h 64"/>
                <a:gd name="T76" fmla="*/ 7 w 38"/>
                <a:gd name="T77" fmla="*/ 16 h 64"/>
                <a:gd name="T78" fmla="*/ 12 w 38"/>
                <a:gd name="T79" fmla="*/ 24 h 64"/>
                <a:gd name="T80" fmla="*/ 21 w 38"/>
                <a:gd name="T81" fmla="*/ 29 h 64"/>
                <a:gd name="T82" fmla="*/ 22 w 38"/>
                <a:gd name="T83" fmla="*/ 29 h 64"/>
                <a:gd name="T84" fmla="*/ 23 w 38"/>
                <a:gd name="T85" fmla="*/ 30 h 64"/>
                <a:gd name="T86" fmla="*/ 33 w 38"/>
                <a:gd name="T87" fmla="*/ 35 h 64"/>
                <a:gd name="T88" fmla="*/ 38 w 38"/>
                <a:gd name="T89" fmla="*/ 45 h 64"/>
                <a:gd name="T90" fmla="*/ 38 w 38"/>
                <a:gd name="T91" fmla="*/ 45 h 64"/>
                <a:gd name="T92" fmla="*/ 33 w 38"/>
                <a:gd name="T93" fmla="*/ 59 h 64"/>
                <a:gd name="T94" fmla="*/ 20 w 38"/>
                <a:gd name="T95" fmla="*/ 64 h 64"/>
                <a:gd name="T96" fmla="*/ 19 w 38"/>
                <a:gd name="T97" fmla="*/ 64 h 64"/>
                <a:gd name="T98" fmla="*/ 18 w 38"/>
                <a:gd name="T99" fmla="*/ 64 h 64"/>
                <a:gd name="T100" fmla="*/ 18 w 38"/>
                <a:gd name="T101" fmla="*/ 64 h 64"/>
                <a:gd name="T102" fmla="*/ 18 w 38"/>
                <a:gd name="T103" fmla="*/ 64 h 64"/>
                <a:gd name="T104" fmla="*/ 5 w 38"/>
                <a:gd name="T105" fmla="*/ 59 h 64"/>
                <a:gd name="T106" fmla="*/ 0 w 38"/>
                <a:gd name="T107" fmla="*/ 45 h 64"/>
                <a:gd name="T108" fmla="*/ 0 w 38"/>
                <a:gd name="T109" fmla="*/ 45 h 64"/>
                <a:gd name="T110" fmla="*/ 0 w 38"/>
                <a:gd name="T111" fmla="*/ 45 h 64"/>
                <a:gd name="T112" fmla="*/ 0 w 38"/>
                <a:gd name="T113" fmla="*/ 44 h 64"/>
                <a:gd name="T114" fmla="*/ 0 w 38"/>
                <a:gd name="T115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8" h="64">
                  <a:moveTo>
                    <a:pt x="5" y="44"/>
                  </a:moveTo>
                  <a:cubicBezTo>
                    <a:pt x="6" y="49"/>
                    <a:pt x="8" y="53"/>
                    <a:pt x="10" y="55"/>
                  </a:cubicBezTo>
                  <a:cubicBezTo>
                    <a:pt x="12" y="57"/>
                    <a:pt x="15" y="58"/>
                    <a:pt x="19" y="58"/>
                  </a:cubicBezTo>
                  <a:cubicBezTo>
                    <a:pt x="19" y="58"/>
                    <a:pt x="20" y="58"/>
                    <a:pt x="20" y="58"/>
                  </a:cubicBezTo>
                  <a:cubicBezTo>
                    <a:pt x="20" y="58"/>
                    <a:pt x="21" y="58"/>
                    <a:pt x="21" y="58"/>
                  </a:cubicBezTo>
                  <a:cubicBezTo>
                    <a:pt x="24" y="58"/>
                    <a:pt x="26" y="57"/>
                    <a:pt x="28" y="55"/>
                  </a:cubicBezTo>
                  <a:cubicBezTo>
                    <a:pt x="31" y="53"/>
                    <a:pt x="32" y="50"/>
                    <a:pt x="32" y="46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1"/>
                    <a:pt x="30" y="39"/>
                    <a:pt x="28" y="38"/>
                  </a:cubicBezTo>
                  <a:cubicBezTo>
                    <a:pt x="26" y="36"/>
                    <a:pt x="23" y="35"/>
                    <a:pt x="20" y="34"/>
                  </a:cubicBezTo>
                  <a:cubicBezTo>
                    <a:pt x="20" y="34"/>
                    <a:pt x="19" y="34"/>
                    <a:pt x="19" y="33"/>
                  </a:cubicBezTo>
                  <a:cubicBezTo>
                    <a:pt x="18" y="33"/>
                    <a:pt x="17" y="33"/>
                    <a:pt x="17" y="33"/>
                  </a:cubicBezTo>
                  <a:cubicBezTo>
                    <a:pt x="13" y="31"/>
                    <a:pt x="9" y="29"/>
                    <a:pt x="6" y="27"/>
                  </a:cubicBezTo>
                  <a:cubicBezTo>
                    <a:pt x="3" y="24"/>
                    <a:pt x="1" y="21"/>
                    <a:pt x="1" y="15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2" y="12"/>
                  </a:cubicBezTo>
                  <a:cubicBezTo>
                    <a:pt x="2" y="8"/>
                    <a:pt x="4" y="5"/>
                    <a:pt x="7" y="3"/>
                  </a:cubicBezTo>
                  <a:cubicBezTo>
                    <a:pt x="11" y="1"/>
                    <a:pt x="14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4" y="0"/>
                    <a:pt x="28" y="2"/>
                    <a:pt x="31" y="4"/>
                  </a:cubicBezTo>
                  <a:cubicBezTo>
                    <a:pt x="35" y="7"/>
                    <a:pt x="37" y="10"/>
                    <a:pt x="37" y="15"/>
                  </a:cubicBezTo>
                  <a:cubicBezTo>
                    <a:pt x="30" y="15"/>
                    <a:pt x="30" y="15"/>
                    <a:pt x="30" y="15"/>
                  </a:cubicBezTo>
                  <a:cubicBezTo>
                    <a:pt x="30" y="12"/>
                    <a:pt x="29" y="9"/>
                    <a:pt x="27" y="7"/>
                  </a:cubicBezTo>
                  <a:cubicBezTo>
                    <a:pt x="25" y="5"/>
                    <a:pt x="22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5" y="4"/>
                    <a:pt x="13" y="5"/>
                    <a:pt x="11" y="6"/>
                  </a:cubicBezTo>
                  <a:cubicBezTo>
                    <a:pt x="9" y="8"/>
                    <a:pt x="8" y="10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7" y="20"/>
                    <a:pt x="9" y="23"/>
                    <a:pt x="12" y="24"/>
                  </a:cubicBezTo>
                  <a:cubicBezTo>
                    <a:pt x="15" y="26"/>
                    <a:pt x="18" y="28"/>
                    <a:pt x="21" y="29"/>
                  </a:cubicBezTo>
                  <a:cubicBezTo>
                    <a:pt x="22" y="29"/>
                    <a:pt x="22" y="29"/>
                    <a:pt x="22" y="29"/>
                  </a:cubicBezTo>
                  <a:cubicBezTo>
                    <a:pt x="22" y="29"/>
                    <a:pt x="23" y="29"/>
                    <a:pt x="23" y="30"/>
                  </a:cubicBezTo>
                  <a:cubicBezTo>
                    <a:pt x="27" y="31"/>
                    <a:pt x="30" y="33"/>
                    <a:pt x="33" y="35"/>
                  </a:cubicBezTo>
                  <a:cubicBezTo>
                    <a:pt x="36" y="37"/>
                    <a:pt x="38" y="40"/>
                    <a:pt x="38" y="45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8" y="51"/>
                    <a:pt x="36" y="56"/>
                    <a:pt x="33" y="59"/>
                  </a:cubicBezTo>
                  <a:cubicBezTo>
                    <a:pt x="29" y="62"/>
                    <a:pt x="24" y="63"/>
                    <a:pt x="20" y="64"/>
                  </a:cubicBezTo>
                  <a:cubicBezTo>
                    <a:pt x="20" y="64"/>
                    <a:pt x="19" y="64"/>
                    <a:pt x="19" y="64"/>
                  </a:cubicBezTo>
                  <a:cubicBezTo>
                    <a:pt x="19" y="64"/>
                    <a:pt x="19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ubicBezTo>
                    <a:pt x="14" y="64"/>
                    <a:pt x="9" y="62"/>
                    <a:pt x="5" y="59"/>
                  </a:cubicBezTo>
                  <a:cubicBezTo>
                    <a:pt x="1" y="56"/>
                    <a:pt x="0" y="51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11013732" y="437857"/>
              <a:ext cx="83597" cy="117842"/>
            </a:xfrm>
            <a:custGeom>
              <a:avLst/>
              <a:gdLst>
                <a:gd name="T0" fmla="*/ 27 w 83"/>
                <a:gd name="T1" fmla="*/ 72 h 117"/>
                <a:gd name="T2" fmla="*/ 27 w 83"/>
                <a:gd name="T3" fmla="*/ 72 h 117"/>
                <a:gd name="T4" fmla="*/ 59 w 83"/>
                <a:gd name="T5" fmla="*/ 72 h 117"/>
                <a:gd name="T6" fmla="*/ 42 w 83"/>
                <a:gd name="T7" fmla="*/ 11 h 117"/>
                <a:gd name="T8" fmla="*/ 27 w 83"/>
                <a:gd name="T9" fmla="*/ 72 h 117"/>
                <a:gd name="T10" fmla="*/ 47 w 83"/>
                <a:gd name="T11" fmla="*/ 0 h 117"/>
                <a:gd name="T12" fmla="*/ 83 w 83"/>
                <a:gd name="T13" fmla="*/ 117 h 117"/>
                <a:gd name="T14" fmla="*/ 70 w 83"/>
                <a:gd name="T15" fmla="*/ 117 h 117"/>
                <a:gd name="T16" fmla="*/ 60 w 83"/>
                <a:gd name="T17" fmla="*/ 81 h 117"/>
                <a:gd name="T18" fmla="*/ 23 w 83"/>
                <a:gd name="T19" fmla="*/ 81 h 117"/>
                <a:gd name="T20" fmla="*/ 13 w 83"/>
                <a:gd name="T21" fmla="*/ 117 h 117"/>
                <a:gd name="T22" fmla="*/ 0 w 83"/>
                <a:gd name="T23" fmla="*/ 117 h 117"/>
                <a:gd name="T24" fmla="*/ 36 w 83"/>
                <a:gd name="T25" fmla="*/ 0 h 117"/>
                <a:gd name="T26" fmla="*/ 47 w 83"/>
                <a:gd name="T2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83" h="117">
                  <a:moveTo>
                    <a:pt x="27" y="72"/>
                  </a:moveTo>
                  <a:lnTo>
                    <a:pt x="27" y="72"/>
                  </a:lnTo>
                  <a:lnTo>
                    <a:pt x="59" y="72"/>
                  </a:lnTo>
                  <a:lnTo>
                    <a:pt x="42" y="11"/>
                  </a:lnTo>
                  <a:lnTo>
                    <a:pt x="27" y="72"/>
                  </a:lnTo>
                  <a:close/>
                  <a:moveTo>
                    <a:pt x="47" y="0"/>
                  </a:moveTo>
                  <a:lnTo>
                    <a:pt x="83" y="117"/>
                  </a:lnTo>
                  <a:lnTo>
                    <a:pt x="70" y="117"/>
                  </a:lnTo>
                  <a:lnTo>
                    <a:pt x="60" y="81"/>
                  </a:lnTo>
                  <a:lnTo>
                    <a:pt x="23" y="81"/>
                  </a:lnTo>
                  <a:lnTo>
                    <a:pt x="13" y="117"/>
                  </a:lnTo>
                  <a:lnTo>
                    <a:pt x="0" y="117"/>
                  </a:lnTo>
                  <a:lnTo>
                    <a:pt x="36" y="0"/>
                  </a:lnTo>
                  <a:lnTo>
                    <a:pt x="47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11013732" y="437857"/>
              <a:ext cx="83597" cy="117842"/>
            </a:xfrm>
            <a:custGeom>
              <a:avLst/>
              <a:gdLst>
                <a:gd name="T0" fmla="*/ 27 w 83"/>
                <a:gd name="T1" fmla="*/ 72 h 117"/>
                <a:gd name="T2" fmla="*/ 27 w 83"/>
                <a:gd name="T3" fmla="*/ 72 h 117"/>
                <a:gd name="T4" fmla="*/ 59 w 83"/>
                <a:gd name="T5" fmla="*/ 72 h 117"/>
                <a:gd name="T6" fmla="*/ 42 w 83"/>
                <a:gd name="T7" fmla="*/ 11 h 117"/>
                <a:gd name="T8" fmla="*/ 47 w 83"/>
                <a:gd name="T9" fmla="*/ 0 h 117"/>
                <a:gd name="T10" fmla="*/ 83 w 83"/>
                <a:gd name="T11" fmla="*/ 117 h 117"/>
                <a:gd name="T12" fmla="*/ 70 w 83"/>
                <a:gd name="T13" fmla="*/ 117 h 117"/>
                <a:gd name="T14" fmla="*/ 60 w 83"/>
                <a:gd name="T15" fmla="*/ 81 h 117"/>
                <a:gd name="T16" fmla="*/ 23 w 83"/>
                <a:gd name="T17" fmla="*/ 81 h 117"/>
                <a:gd name="T18" fmla="*/ 13 w 83"/>
                <a:gd name="T19" fmla="*/ 117 h 117"/>
                <a:gd name="T20" fmla="*/ 0 w 83"/>
                <a:gd name="T21" fmla="*/ 117 h 117"/>
                <a:gd name="T22" fmla="*/ 36 w 83"/>
                <a:gd name="T23" fmla="*/ 0 h 117"/>
                <a:gd name="T24" fmla="*/ 47 w 83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3" h="117">
                  <a:moveTo>
                    <a:pt x="27" y="72"/>
                  </a:moveTo>
                  <a:lnTo>
                    <a:pt x="27" y="72"/>
                  </a:lnTo>
                  <a:lnTo>
                    <a:pt x="59" y="72"/>
                  </a:lnTo>
                  <a:lnTo>
                    <a:pt x="42" y="11"/>
                  </a:lnTo>
                  <a:moveTo>
                    <a:pt x="47" y="0"/>
                  </a:moveTo>
                  <a:lnTo>
                    <a:pt x="83" y="117"/>
                  </a:lnTo>
                  <a:lnTo>
                    <a:pt x="70" y="117"/>
                  </a:lnTo>
                  <a:lnTo>
                    <a:pt x="60" y="81"/>
                  </a:lnTo>
                  <a:lnTo>
                    <a:pt x="23" y="81"/>
                  </a:lnTo>
                  <a:lnTo>
                    <a:pt x="13" y="117"/>
                  </a:lnTo>
                  <a:lnTo>
                    <a:pt x="0" y="117"/>
                  </a:lnTo>
                  <a:lnTo>
                    <a:pt x="36" y="0"/>
                  </a:lnTo>
                  <a:lnTo>
                    <a:pt x="47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11108408" y="435843"/>
              <a:ext cx="76547" cy="123885"/>
            </a:xfrm>
            <a:custGeom>
              <a:avLst/>
              <a:gdLst>
                <a:gd name="T0" fmla="*/ 33 w 40"/>
                <a:gd name="T1" fmla="*/ 59 h 65"/>
                <a:gd name="T2" fmla="*/ 21 w 40"/>
                <a:gd name="T3" fmla="*/ 65 h 65"/>
                <a:gd name="T4" fmla="*/ 20 w 40"/>
                <a:gd name="T5" fmla="*/ 65 h 65"/>
                <a:gd name="T6" fmla="*/ 19 w 40"/>
                <a:gd name="T7" fmla="*/ 65 h 65"/>
                <a:gd name="T8" fmla="*/ 7 w 40"/>
                <a:gd name="T9" fmla="*/ 59 h 65"/>
                <a:gd name="T10" fmla="*/ 1 w 40"/>
                <a:gd name="T11" fmla="*/ 47 h 65"/>
                <a:gd name="T12" fmla="*/ 0 w 40"/>
                <a:gd name="T13" fmla="*/ 39 h 65"/>
                <a:gd name="T14" fmla="*/ 0 w 40"/>
                <a:gd name="T15" fmla="*/ 32 h 65"/>
                <a:gd name="T16" fmla="*/ 0 w 40"/>
                <a:gd name="T17" fmla="*/ 31 h 65"/>
                <a:gd name="T18" fmla="*/ 0 w 40"/>
                <a:gd name="T19" fmla="*/ 30 h 65"/>
                <a:gd name="T20" fmla="*/ 1 w 40"/>
                <a:gd name="T21" fmla="*/ 24 h 65"/>
                <a:gd name="T22" fmla="*/ 1 w 40"/>
                <a:gd name="T23" fmla="*/ 19 h 65"/>
                <a:gd name="T24" fmla="*/ 6 w 40"/>
                <a:gd name="T25" fmla="*/ 6 h 65"/>
                <a:gd name="T26" fmla="*/ 20 w 40"/>
                <a:gd name="T27" fmla="*/ 0 h 65"/>
                <a:gd name="T28" fmla="*/ 33 w 40"/>
                <a:gd name="T29" fmla="*/ 5 h 65"/>
                <a:gd name="T30" fmla="*/ 39 w 40"/>
                <a:gd name="T31" fmla="*/ 19 h 65"/>
                <a:gd name="T32" fmla="*/ 32 w 40"/>
                <a:gd name="T33" fmla="*/ 19 h 65"/>
                <a:gd name="T34" fmla="*/ 29 w 40"/>
                <a:gd name="T35" fmla="*/ 9 h 65"/>
                <a:gd name="T36" fmla="*/ 20 w 40"/>
                <a:gd name="T37" fmla="*/ 5 h 65"/>
                <a:gd name="T38" fmla="*/ 9 w 40"/>
                <a:gd name="T39" fmla="*/ 14 h 65"/>
                <a:gd name="T40" fmla="*/ 7 w 40"/>
                <a:gd name="T41" fmla="*/ 35 h 65"/>
                <a:gd name="T42" fmla="*/ 7 w 40"/>
                <a:gd name="T43" fmla="*/ 39 h 65"/>
                <a:gd name="T44" fmla="*/ 7 w 40"/>
                <a:gd name="T45" fmla="*/ 45 h 65"/>
                <a:gd name="T46" fmla="*/ 11 w 40"/>
                <a:gd name="T47" fmla="*/ 55 h 65"/>
                <a:gd name="T48" fmla="*/ 21 w 40"/>
                <a:gd name="T49" fmla="*/ 60 h 65"/>
                <a:gd name="T50" fmla="*/ 29 w 40"/>
                <a:gd name="T51" fmla="*/ 56 h 65"/>
                <a:gd name="T52" fmla="*/ 33 w 40"/>
                <a:gd name="T53" fmla="*/ 46 h 65"/>
                <a:gd name="T54" fmla="*/ 33 w 40"/>
                <a:gd name="T55" fmla="*/ 44 h 65"/>
                <a:gd name="T56" fmla="*/ 33 w 40"/>
                <a:gd name="T57" fmla="*/ 42 h 65"/>
                <a:gd name="T58" fmla="*/ 40 w 40"/>
                <a:gd name="T59" fmla="*/ 42 h 65"/>
                <a:gd name="T60" fmla="*/ 33 w 40"/>
                <a:gd name="T61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" h="65">
                  <a:moveTo>
                    <a:pt x="33" y="59"/>
                  </a:moveTo>
                  <a:cubicBezTo>
                    <a:pt x="29" y="63"/>
                    <a:pt x="25" y="65"/>
                    <a:pt x="21" y="65"/>
                  </a:cubicBezTo>
                  <a:cubicBezTo>
                    <a:pt x="21" y="65"/>
                    <a:pt x="20" y="65"/>
                    <a:pt x="20" y="65"/>
                  </a:cubicBezTo>
                  <a:cubicBezTo>
                    <a:pt x="20" y="65"/>
                    <a:pt x="19" y="65"/>
                    <a:pt x="19" y="65"/>
                  </a:cubicBezTo>
                  <a:cubicBezTo>
                    <a:pt x="13" y="65"/>
                    <a:pt x="9" y="63"/>
                    <a:pt x="7" y="59"/>
                  </a:cubicBezTo>
                  <a:cubicBezTo>
                    <a:pt x="4" y="55"/>
                    <a:pt x="2" y="51"/>
                    <a:pt x="1" y="47"/>
                  </a:cubicBezTo>
                  <a:cubicBezTo>
                    <a:pt x="1" y="44"/>
                    <a:pt x="1" y="41"/>
                    <a:pt x="0" y="39"/>
                  </a:cubicBezTo>
                  <a:cubicBezTo>
                    <a:pt x="0" y="36"/>
                    <a:pt x="0" y="34"/>
                    <a:pt x="0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31"/>
                    <a:pt x="0" y="30"/>
                    <a:pt x="0" y="30"/>
                  </a:cubicBezTo>
                  <a:cubicBezTo>
                    <a:pt x="0" y="28"/>
                    <a:pt x="1" y="26"/>
                    <a:pt x="1" y="24"/>
                  </a:cubicBezTo>
                  <a:cubicBezTo>
                    <a:pt x="1" y="23"/>
                    <a:pt x="1" y="21"/>
                    <a:pt x="1" y="19"/>
                  </a:cubicBezTo>
                  <a:cubicBezTo>
                    <a:pt x="2" y="14"/>
                    <a:pt x="4" y="10"/>
                    <a:pt x="6" y="6"/>
                  </a:cubicBezTo>
                  <a:cubicBezTo>
                    <a:pt x="9" y="2"/>
                    <a:pt x="13" y="0"/>
                    <a:pt x="20" y="0"/>
                  </a:cubicBezTo>
                  <a:cubicBezTo>
                    <a:pt x="26" y="0"/>
                    <a:pt x="30" y="2"/>
                    <a:pt x="33" y="5"/>
                  </a:cubicBezTo>
                  <a:cubicBezTo>
                    <a:pt x="37" y="8"/>
                    <a:pt x="38" y="12"/>
                    <a:pt x="39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5"/>
                    <a:pt x="31" y="11"/>
                    <a:pt x="29" y="9"/>
                  </a:cubicBezTo>
                  <a:cubicBezTo>
                    <a:pt x="27" y="6"/>
                    <a:pt x="24" y="5"/>
                    <a:pt x="20" y="5"/>
                  </a:cubicBezTo>
                  <a:cubicBezTo>
                    <a:pt x="14" y="5"/>
                    <a:pt x="11" y="8"/>
                    <a:pt x="9" y="14"/>
                  </a:cubicBezTo>
                  <a:cubicBezTo>
                    <a:pt x="7" y="19"/>
                    <a:pt x="7" y="26"/>
                    <a:pt x="7" y="35"/>
                  </a:cubicBezTo>
                  <a:cubicBezTo>
                    <a:pt x="7" y="36"/>
                    <a:pt x="7" y="38"/>
                    <a:pt x="7" y="39"/>
                  </a:cubicBezTo>
                  <a:cubicBezTo>
                    <a:pt x="7" y="41"/>
                    <a:pt x="7" y="43"/>
                    <a:pt x="7" y="45"/>
                  </a:cubicBezTo>
                  <a:cubicBezTo>
                    <a:pt x="8" y="49"/>
                    <a:pt x="9" y="52"/>
                    <a:pt x="11" y="55"/>
                  </a:cubicBezTo>
                  <a:cubicBezTo>
                    <a:pt x="13" y="58"/>
                    <a:pt x="16" y="60"/>
                    <a:pt x="21" y="60"/>
                  </a:cubicBezTo>
                  <a:cubicBezTo>
                    <a:pt x="25" y="60"/>
                    <a:pt x="27" y="59"/>
                    <a:pt x="29" y="56"/>
                  </a:cubicBezTo>
                  <a:cubicBezTo>
                    <a:pt x="31" y="53"/>
                    <a:pt x="32" y="50"/>
                    <a:pt x="33" y="46"/>
                  </a:cubicBezTo>
                  <a:cubicBezTo>
                    <a:pt x="33" y="46"/>
                    <a:pt x="33" y="45"/>
                    <a:pt x="33" y="44"/>
                  </a:cubicBezTo>
                  <a:cubicBezTo>
                    <a:pt x="33" y="43"/>
                    <a:pt x="33" y="42"/>
                    <a:pt x="33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50"/>
                    <a:pt x="37" y="56"/>
                    <a:pt x="33" y="5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11205099" y="435843"/>
              <a:ext cx="75540" cy="123885"/>
            </a:xfrm>
            <a:custGeom>
              <a:avLst/>
              <a:gdLst>
                <a:gd name="T0" fmla="*/ 33 w 40"/>
                <a:gd name="T1" fmla="*/ 59 h 65"/>
                <a:gd name="T2" fmla="*/ 21 w 40"/>
                <a:gd name="T3" fmla="*/ 65 h 65"/>
                <a:gd name="T4" fmla="*/ 20 w 40"/>
                <a:gd name="T5" fmla="*/ 65 h 65"/>
                <a:gd name="T6" fmla="*/ 19 w 40"/>
                <a:gd name="T7" fmla="*/ 65 h 65"/>
                <a:gd name="T8" fmla="*/ 7 w 40"/>
                <a:gd name="T9" fmla="*/ 59 h 65"/>
                <a:gd name="T10" fmla="*/ 1 w 40"/>
                <a:gd name="T11" fmla="*/ 47 h 65"/>
                <a:gd name="T12" fmla="*/ 0 w 40"/>
                <a:gd name="T13" fmla="*/ 39 h 65"/>
                <a:gd name="T14" fmla="*/ 0 w 40"/>
                <a:gd name="T15" fmla="*/ 32 h 65"/>
                <a:gd name="T16" fmla="*/ 0 w 40"/>
                <a:gd name="T17" fmla="*/ 31 h 65"/>
                <a:gd name="T18" fmla="*/ 0 w 40"/>
                <a:gd name="T19" fmla="*/ 30 h 65"/>
                <a:gd name="T20" fmla="*/ 1 w 40"/>
                <a:gd name="T21" fmla="*/ 24 h 65"/>
                <a:gd name="T22" fmla="*/ 1 w 40"/>
                <a:gd name="T23" fmla="*/ 19 h 65"/>
                <a:gd name="T24" fmla="*/ 6 w 40"/>
                <a:gd name="T25" fmla="*/ 6 h 65"/>
                <a:gd name="T26" fmla="*/ 20 w 40"/>
                <a:gd name="T27" fmla="*/ 0 h 65"/>
                <a:gd name="T28" fmla="*/ 34 w 40"/>
                <a:gd name="T29" fmla="*/ 5 h 65"/>
                <a:gd name="T30" fmla="*/ 39 w 40"/>
                <a:gd name="T31" fmla="*/ 19 h 65"/>
                <a:gd name="T32" fmla="*/ 32 w 40"/>
                <a:gd name="T33" fmla="*/ 19 h 65"/>
                <a:gd name="T34" fmla="*/ 29 w 40"/>
                <a:gd name="T35" fmla="*/ 9 h 65"/>
                <a:gd name="T36" fmla="*/ 20 w 40"/>
                <a:gd name="T37" fmla="*/ 5 h 65"/>
                <a:gd name="T38" fmla="*/ 9 w 40"/>
                <a:gd name="T39" fmla="*/ 14 h 65"/>
                <a:gd name="T40" fmla="*/ 7 w 40"/>
                <a:gd name="T41" fmla="*/ 35 h 65"/>
                <a:gd name="T42" fmla="*/ 7 w 40"/>
                <a:gd name="T43" fmla="*/ 39 h 65"/>
                <a:gd name="T44" fmla="*/ 7 w 40"/>
                <a:gd name="T45" fmla="*/ 45 h 65"/>
                <a:gd name="T46" fmla="*/ 11 w 40"/>
                <a:gd name="T47" fmla="*/ 55 h 65"/>
                <a:gd name="T48" fmla="*/ 21 w 40"/>
                <a:gd name="T49" fmla="*/ 60 h 65"/>
                <a:gd name="T50" fmla="*/ 29 w 40"/>
                <a:gd name="T51" fmla="*/ 56 h 65"/>
                <a:gd name="T52" fmla="*/ 33 w 40"/>
                <a:gd name="T53" fmla="*/ 46 h 65"/>
                <a:gd name="T54" fmla="*/ 33 w 40"/>
                <a:gd name="T55" fmla="*/ 44 h 65"/>
                <a:gd name="T56" fmla="*/ 33 w 40"/>
                <a:gd name="T57" fmla="*/ 42 h 65"/>
                <a:gd name="T58" fmla="*/ 40 w 40"/>
                <a:gd name="T59" fmla="*/ 42 h 65"/>
                <a:gd name="T60" fmla="*/ 33 w 40"/>
                <a:gd name="T61" fmla="*/ 5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" h="65">
                  <a:moveTo>
                    <a:pt x="33" y="59"/>
                  </a:moveTo>
                  <a:cubicBezTo>
                    <a:pt x="29" y="63"/>
                    <a:pt x="25" y="65"/>
                    <a:pt x="21" y="65"/>
                  </a:cubicBezTo>
                  <a:cubicBezTo>
                    <a:pt x="21" y="65"/>
                    <a:pt x="20" y="65"/>
                    <a:pt x="20" y="65"/>
                  </a:cubicBezTo>
                  <a:cubicBezTo>
                    <a:pt x="20" y="65"/>
                    <a:pt x="19" y="65"/>
                    <a:pt x="19" y="65"/>
                  </a:cubicBezTo>
                  <a:cubicBezTo>
                    <a:pt x="13" y="65"/>
                    <a:pt x="9" y="63"/>
                    <a:pt x="7" y="59"/>
                  </a:cubicBezTo>
                  <a:cubicBezTo>
                    <a:pt x="4" y="55"/>
                    <a:pt x="2" y="51"/>
                    <a:pt x="1" y="47"/>
                  </a:cubicBezTo>
                  <a:cubicBezTo>
                    <a:pt x="1" y="44"/>
                    <a:pt x="1" y="41"/>
                    <a:pt x="0" y="39"/>
                  </a:cubicBezTo>
                  <a:cubicBezTo>
                    <a:pt x="0" y="36"/>
                    <a:pt x="0" y="34"/>
                    <a:pt x="0" y="32"/>
                  </a:cubicBezTo>
                  <a:cubicBezTo>
                    <a:pt x="0" y="32"/>
                    <a:pt x="0" y="31"/>
                    <a:pt x="0" y="31"/>
                  </a:cubicBezTo>
                  <a:cubicBezTo>
                    <a:pt x="0" y="31"/>
                    <a:pt x="0" y="30"/>
                    <a:pt x="0" y="30"/>
                  </a:cubicBezTo>
                  <a:cubicBezTo>
                    <a:pt x="0" y="28"/>
                    <a:pt x="1" y="26"/>
                    <a:pt x="1" y="24"/>
                  </a:cubicBezTo>
                  <a:cubicBezTo>
                    <a:pt x="1" y="23"/>
                    <a:pt x="1" y="21"/>
                    <a:pt x="1" y="19"/>
                  </a:cubicBezTo>
                  <a:cubicBezTo>
                    <a:pt x="2" y="14"/>
                    <a:pt x="4" y="10"/>
                    <a:pt x="6" y="6"/>
                  </a:cubicBezTo>
                  <a:cubicBezTo>
                    <a:pt x="9" y="2"/>
                    <a:pt x="13" y="0"/>
                    <a:pt x="20" y="0"/>
                  </a:cubicBezTo>
                  <a:cubicBezTo>
                    <a:pt x="26" y="0"/>
                    <a:pt x="30" y="2"/>
                    <a:pt x="34" y="5"/>
                  </a:cubicBezTo>
                  <a:cubicBezTo>
                    <a:pt x="37" y="8"/>
                    <a:pt x="39" y="12"/>
                    <a:pt x="39" y="19"/>
                  </a:cubicBezTo>
                  <a:cubicBezTo>
                    <a:pt x="32" y="19"/>
                    <a:pt x="32" y="19"/>
                    <a:pt x="32" y="19"/>
                  </a:cubicBezTo>
                  <a:cubicBezTo>
                    <a:pt x="32" y="15"/>
                    <a:pt x="31" y="11"/>
                    <a:pt x="29" y="9"/>
                  </a:cubicBezTo>
                  <a:cubicBezTo>
                    <a:pt x="27" y="6"/>
                    <a:pt x="24" y="5"/>
                    <a:pt x="20" y="5"/>
                  </a:cubicBezTo>
                  <a:cubicBezTo>
                    <a:pt x="14" y="5"/>
                    <a:pt x="11" y="8"/>
                    <a:pt x="9" y="14"/>
                  </a:cubicBezTo>
                  <a:cubicBezTo>
                    <a:pt x="7" y="19"/>
                    <a:pt x="7" y="26"/>
                    <a:pt x="7" y="35"/>
                  </a:cubicBezTo>
                  <a:cubicBezTo>
                    <a:pt x="7" y="36"/>
                    <a:pt x="7" y="38"/>
                    <a:pt x="7" y="39"/>
                  </a:cubicBezTo>
                  <a:cubicBezTo>
                    <a:pt x="7" y="41"/>
                    <a:pt x="7" y="43"/>
                    <a:pt x="7" y="45"/>
                  </a:cubicBezTo>
                  <a:cubicBezTo>
                    <a:pt x="8" y="49"/>
                    <a:pt x="9" y="52"/>
                    <a:pt x="11" y="55"/>
                  </a:cubicBezTo>
                  <a:cubicBezTo>
                    <a:pt x="13" y="58"/>
                    <a:pt x="16" y="60"/>
                    <a:pt x="21" y="60"/>
                  </a:cubicBezTo>
                  <a:cubicBezTo>
                    <a:pt x="25" y="60"/>
                    <a:pt x="28" y="59"/>
                    <a:pt x="29" y="56"/>
                  </a:cubicBezTo>
                  <a:cubicBezTo>
                    <a:pt x="31" y="53"/>
                    <a:pt x="32" y="50"/>
                    <a:pt x="33" y="46"/>
                  </a:cubicBezTo>
                  <a:cubicBezTo>
                    <a:pt x="33" y="46"/>
                    <a:pt x="33" y="45"/>
                    <a:pt x="33" y="44"/>
                  </a:cubicBezTo>
                  <a:cubicBezTo>
                    <a:pt x="33" y="43"/>
                    <a:pt x="33" y="42"/>
                    <a:pt x="33" y="42"/>
                  </a:cubicBezTo>
                  <a:cubicBezTo>
                    <a:pt x="40" y="42"/>
                    <a:pt x="40" y="42"/>
                    <a:pt x="40" y="42"/>
                  </a:cubicBezTo>
                  <a:cubicBezTo>
                    <a:pt x="39" y="50"/>
                    <a:pt x="37" y="56"/>
                    <a:pt x="33" y="59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11301790" y="437857"/>
              <a:ext cx="60432" cy="117842"/>
            </a:xfrm>
            <a:custGeom>
              <a:avLst/>
              <a:gdLst>
                <a:gd name="T0" fmla="*/ 60 w 60"/>
                <a:gd name="T1" fmla="*/ 0 h 117"/>
                <a:gd name="T2" fmla="*/ 60 w 60"/>
                <a:gd name="T3" fmla="*/ 11 h 117"/>
                <a:gd name="T4" fmla="*/ 13 w 60"/>
                <a:gd name="T5" fmla="*/ 11 h 117"/>
                <a:gd name="T6" fmla="*/ 13 w 60"/>
                <a:gd name="T7" fmla="*/ 49 h 117"/>
                <a:gd name="T8" fmla="*/ 55 w 60"/>
                <a:gd name="T9" fmla="*/ 49 h 117"/>
                <a:gd name="T10" fmla="*/ 55 w 60"/>
                <a:gd name="T11" fmla="*/ 60 h 117"/>
                <a:gd name="T12" fmla="*/ 13 w 60"/>
                <a:gd name="T13" fmla="*/ 60 h 117"/>
                <a:gd name="T14" fmla="*/ 13 w 60"/>
                <a:gd name="T15" fmla="*/ 106 h 117"/>
                <a:gd name="T16" fmla="*/ 60 w 60"/>
                <a:gd name="T17" fmla="*/ 106 h 117"/>
                <a:gd name="T18" fmla="*/ 60 w 60"/>
                <a:gd name="T19" fmla="*/ 117 h 117"/>
                <a:gd name="T20" fmla="*/ 0 w 60"/>
                <a:gd name="T21" fmla="*/ 117 h 117"/>
                <a:gd name="T22" fmla="*/ 0 w 60"/>
                <a:gd name="T23" fmla="*/ 0 h 117"/>
                <a:gd name="T24" fmla="*/ 60 w 60"/>
                <a:gd name="T2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117">
                  <a:moveTo>
                    <a:pt x="60" y="0"/>
                  </a:moveTo>
                  <a:lnTo>
                    <a:pt x="60" y="11"/>
                  </a:lnTo>
                  <a:lnTo>
                    <a:pt x="13" y="11"/>
                  </a:lnTo>
                  <a:lnTo>
                    <a:pt x="13" y="49"/>
                  </a:lnTo>
                  <a:lnTo>
                    <a:pt x="55" y="49"/>
                  </a:lnTo>
                  <a:lnTo>
                    <a:pt x="55" y="60"/>
                  </a:lnTo>
                  <a:lnTo>
                    <a:pt x="13" y="60"/>
                  </a:lnTo>
                  <a:lnTo>
                    <a:pt x="13" y="106"/>
                  </a:lnTo>
                  <a:lnTo>
                    <a:pt x="60" y="106"/>
                  </a:lnTo>
                  <a:lnTo>
                    <a:pt x="60" y="117"/>
                  </a:lnTo>
                  <a:lnTo>
                    <a:pt x="0" y="117"/>
                  </a:lnTo>
                  <a:lnTo>
                    <a:pt x="0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11301790" y="437857"/>
              <a:ext cx="60432" cy="117842"/>
            </a:xfrm>
            <a:custGeom>
              <a:avLst/>
              <a:gdLst>
                <a:gd name="T0" fmla="*/ 60 w 60"/>
                <a:gd name="T1" fmla="*/ 0 h 117"/>
                <a:gd name="T2" fmla="*/ 60 w 60"/>
                <a:gd name="T3" fmla="*/ 11 h 117"/>
                <a:gd name="T4" fmla="*/ 13 w 60"/>
                <a:gd name="T5" fmla="*/ 11 h 117"/>
                <a:gd name="T6" fmla="*/ 13 w 60"/>
                <a:gd name="T7" fmla="*/ 49 h 117"/>
                <a:gd name="T8" fmla="*/ 55 w 60"/>
                <a:gd name="T9" fmla="*/ 49 h 117"/>
                <a:gd name="T10" fmla="*/ 55 w 60"/>
                <a:gd name="T11" fmla="*/ 60 h 117"/>
                <a:gd name="T12" fmla="*/ 13 w 60"/>
                <a:gd name="T13" fmla="*/ 60 h 117"/>
                <a:gd name="T14" fmla="*/ 13 w 60"/>
                <a:gd name="T15" fmla="*/ 106 h 117"/>
                <a:gd name="T16" fmla="*/ 60 w 60"/>
                <a:gd name="T17" fmla="*/ 106 h 117"/>
                <a:gd name="T18" fmla="*/ 60 w 60"/>
                <a:gd name="T19" fmla="*/ 117 h 117"/>
                <a:gd name="T20" fmla="*/ 0 w 60"/>
                <a:gd name="T21" fmla="*/ 117 h 117"/>
                <a:gd name="T22" fmla="*/ 0 w 60"/>
                <a:gd name="T2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0" h="117">
                  <a:moveTo>
                    <a:pt x="60" y="0"/>
                  </a:moveTo>
                  <a:lnTo>
                    <a:pt x="60" y="11"/>
                  </a:lnTo>
                  <a:lnTo>
                    <a:pt x="13" y="11"/>
                  </a:lnTo>
                  <a:lnTo>
                    <a:pt x="13" y="49"/>
                  </a:lnTo>
                  <a:lnTo>
                    <a:pt x="55" y="49"/>
                  </a:lnTo>
                  <a:lnTo>
                    <a:pt x="55" y="60"/>
                  </a:lnTo>
                  <a:lnTo>
                    <a:pt x="13" y="60"/>
                  </a:lnTo>
                  <a:lnTo>
                    <a:pt x="13" y="106"/>
                  </a:lnTo>
                  <a:lnTo>
                    <a:pt x="60" y="106"/>
                  </a:lnTo>
                  <a:lnTo>
                    <a:pt x="60" y="117"/>
                  </a:lnTo>
                  <a:lnTo>
                    <a:pt x="0" y="117"/>
                  </a:lnTo>
                  <a:lnTo>
                    <a:pt x="0" y="0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11372294" y="437857"/>
              <a:ext cx="73525" cy="121870"/>
            </a:xfrm>
            <a:custGeom>
              <a:avLst/>
              <a:gdLst>
                <a:gd name="T0" fmla="*/ 6 w 39"/>
                <a:gd name="T1" fmla="*/ 44 h 64"/>
                <a:gd name="T2" fmla="*/ 11 w 39"/>
                <a:gd name="T3" fmla="*/ 55 h 64"/>
                <a:gd name="T4" fmla="*/ 20 w 39"/>
                <a:gd name="T5" fmla="*/ 58 h 64"/>
                <a:gd name="T6" fmla="*/ 21 w 39"/>
                <a:gd name="T7" fmla="*/ 58 h 64"/>
                <a:gd name="T8" fmla="*/ 22 w 39"/>
                <a:gd name="T9" fmla="*/ 58 h 64"/>
                <a:gd name="T10" fmla="*/ 29 w 39"/>
                <a:gd name="T11" fmla="*/ 55 h 64"/>
                <a:gd name="T12" fmla="*/ 33 w 39"/>
                <a:gd name="T13" fmla="*/ 46 h 64"/>
                <a:gd name="T14" fmla="*/ 33 w 39"/>
                <a:gd name="T15" fmla="*/ 43 h 64"/>
                <a:gd name="T16" fmla="*/ 29 w 39"/>
                <a:gd name="T17" fmla="*/ 38 h 64"/>
                <a:gd name="T18" fmla="*/ 21 w 39"/>
                <a:gd name="T19" fmla="*/ 34 h 64"/>
                <a:gd name="T20" fmla="*/ 20 w 39"/>
                <a:gd name="T21" fmla="*/ 33 h 64"/>
                <a:gd name="T22" fmla="*/ 18 w 39"/>
                <a:gd name="T23" fmla="*/ 33 h 64"/>
                <a:gd name="T24" fmla="*/ 7 w 39"/>
                <a:gd name="T25" fmla="*/ 27 h 64"/>
                <a:gd name="T26" fmla="*/ 2 w 39"/>
                <a:gd name="T27" fmla="*/ 15 h 64"/>
                <a:gd name="T28" fmla="*/ 2 w 39"/>
                <a:gd name="T29" fmla="*/ 14 h 64"/>
                <a:gd name="T30" fmla="*/ 3 w 39"/>
                <a:gd name="T31" fmla="*/ 14 h 64"/>
                <a:gd name="T32" fmla="*/ 3 w 39"/>
                <a:gd name="T33" fmla="*/ 14 h 64"/>
                <a:gd name="T34" fmla="*/ 3 w 39"/>
                <a:gd name="T35" fmla="*/ 13 h 64"/>
                <a:gd name="T36" fmla="*/ 3 w 39"/>
                <a:gd name="T37" fmla="*/ 13 h 64"/>
                <a:gd name="T38" fmla="*/ 3 w 39"/>
                <a:gd name="T39" fmla="*/ 12 h 64"/>
                <a:gd name="T40" fmla="*/ 8 w 39"/>
                <a:gd name="T41" fmla="*/ 3 h 64"/>
                <a:gd name="T42" fmla="*/ 19 w 39"/>
                <a:gd name="T43" fmla="*/ 0 h 64"/>
                <a:gd name="T44" fmla="*/ 19 w 39"/>
                <a:gd name="T45" fmla="*/ 0 h 64"/>
                <a:gd name="T46" fmla="*/ 19 w 39"/>
                <a:gd name="T47" fmla="*/ 0 h 64"/>
                <a:gd name="T48" fmla="*/ 20 w 39"/>
                <a:gd name="T49" fmla="*/ 0 h 64"/>
                <a:gd name="T50" fmla="*/ 21 w 39"/>
                <a:gd name="T51" fmla="*/ 0 h 64"/>
                <a:gd name="T52" fmla="*/ 32 w 39"/>
                <a:gd name="T53" fmla="*/ 4 h 64"/>
                <a:gd name="T54" fmla="*/ 38 w 39"/>
                <a:gd name="T55" fmla="*/ 15 h 64"/>
                <a:gd name="T56" fmla="*/ 31 w 39"/>
                <a:gd name="T57" fmla="*/ 15 h 64"/>
                <a:gd name="T58" fmla="*/ 28 w 39"/>
                <a:gd name="T59" fmla="*/ 7 h 64"/>
                <a:gd name="T60" fmla="*/ 20 w 39"/>
                <a:gd name="T61" fmla="*/ 4 h 64"/>
                <a:gd name="T62" fmla="*/ 19 w 39"/>
                <a:gd name="T63" fmla="*/ 4 h 64"/>
                <a:gd name="T64" fmla="*/ 19 w 39"/>
                <a:gd name="T65" fmla="*/ 4 h 64"/>
                <a:gd name="T66" fmla="*/ 12 w 39"/>
                <a:gd name="T67" fmla="*/ 6 h 64"/>
                <a:gd name="T68" fmla="*/ 8 w 39"/>
                <a:gd name="T69" fmla="*/ 14 h 64"/>
                <a:gd name="T70" fmla="*/ 8 w 39"/>
                <a:gd name="T71" fmla="*/ 14 h 64"/>
                <a:gd name="T72" fmla="*/ 8 w 39"/>
                <a:gd name="T73" fmla="*/ 15 h 64"/>
                <a:gd name="T74" fmla="*/ 8 w 39"/>
                <a:gd name="T75" fmla="*/ 15 h 64"/>
                <a:gd name="T76" fmla="*/ 8 w 39"/>
                <a:gd name="T77" fmla="*/ 16 h 64"/>
                <a:gd name="T78" fmla="*/ 13 w 39"/>
                <a:gd name="T79" fmla="*/ 24 h 64"/>
                <a:gd name="T80" fmla="*/ 22 w 39"/>
                <a:gd name="T81" fmla="*/ 29 h 64"/>
                <a:gd name="T82" fmla="*/ 23 w 39"/>
                <a:gd name="T83" fmla="*/ 29 h 64"/>
                <a:gd name="T84" fmla="*/ 24 w 39"/>
                <a:gd name="T85" fmla="*/ 29 h 64"/>
                <a:gd name="T86" fmla="*/ 34 w 39"/>
                <a:gd name="T87" fmla="*/ 35 h 64"/>
                <a:gd name="T88" fmla="*/ 39 w 39"/>
                <a:gd name="T89" fmla="*/ 45 h 64"/>
                <a:gd name="T90" fmla="*/ 39 w 39"/>
                <a:gd name="T91" fmla="*/ 45 h 64"/>
                <a:gd name="T92" fmla="*/ 33 w 39"/>
                <a:gd name="T93" fmla="*/ 59 h 64"/>
                <a:gd name="T94" fmla="*/ 21 w 39"/>
                <a:gd name="T95" fmla="*/ 64 h 64"/>
                <a:gd name="T96" fmla="*/ 20 w 39"/>
                <a:gd name="T97" fmla="*/ 64 h 64"/>
                <a:gd name="T98" fmla="*/ 19 w 39"/>
                <a:gd name="T99" fmla="*/ 64 h 64"/>
                <a:gd name="T100" fmla="*/ 19 w 39"/>
                <a:gd name="T101" fmla="*/ 64 h 64"/>
                <a:gd name="T102" fmla="*/ 19 w 39"/>
                <a:gd name="T103" fmla="*/ 64 h 64"/>
                <a:gd name="T104" fmla="*/ 6 w 39"/>
                <a:gd name="T105" fmla="*/ 59 h 64"/>
                <a:gd name="T106" fmla="*/ 0 w 39"/>
                <a:gd name="T107" fmla="*/ 45 h 64"/>
                <a:gd name="T108" fmla="*/ 0 w 39"/>
                <a:gd name="T109" fmla="*/ 45 h 64"/>
                <a:gd name="T110" fmla="*/ 1 w 39"/>
                <a:gd name="T111" fmla="*/ 44 h 64"/>
                <a:gd name="T112" fmla="*/ 1 w 39"/>
                <a:gd name="T113" fmla="*/ 44 h 64"/>
                <a:gd name="T114" fmla="*/ 1 w 39"/>
                <a:gd name="T115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" h="64">
                  <a:moveTo>
                    <a:pt x="6" y="44"/>
                  </a:moveTo>
                  <a:cubicBezTo>
                    <a:pt x="7" y="49"/>
                    <a:pt x="9" y="53"/>
                    <a:pt x="11" y="55"/>
                  </a:cubicBezTo>
                  <a:cubicBezTo>
                    <a:pt x="13" y="57"/>
                    <a:pt x="16" y="58"/>
                    <a:pt x="20" y="58"/>
                  </a:cubicBezTo>
                  <a:cubicBezTo>
                    <a:pt x="20" y="58"/>
                    <a:pt x="21" y="58"/>
                    <a:pt x="21" y="58"/>
                  </a:cubicBezTo>
                  <a:cubicBezTo>
                    <a:pt x="21" y="58"/>
                    <a:pt x="22" y="58"/>
                    <a:pt x="22" y="58"/>
                  </a:cubicBezTo>
                  <a:cubicBezTo>
                    <a:pt x="25" y="58"/>
                    <a:pt x="27" y="57"/>
                    <a:pt x="29" y="55"/>
                  </a:cubicBezTo>
                  <a:cubicBezTo>
                    <a:pt x="32" y="53"/>
                    <a:pt x="33" y="50"/>
                    <a:pt x="33" y="46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1"/>
                    <a:pt x="31" y="39"/>
                    <a:pt x="29" y="38"/>
                  </a:cubicBezTo>
                  <a:cubicBezTo>
                    <a:pt x="27" y="36"/>
                    <a:pt x="24" y="35"/>
                    <a:pt x="21" y="34"/>
                  </a:cubicBezTo>
                  <a:cubicBezTo>
                    <a:pt x="21" y="34"/>
                    <a:pt x="20" y="34"/>
                    <a:pt x="20" y="33"/>
                  </a:cubicBezTo>
                  <a:cubicBezTo>
                    <a:pt x="19" y="33"/>
                    <a:pt x="18" y="33"/>
                    <a:pt x="18" y="33"/>
                  </a:cubicBezTo>
                  <a:cubicBezTo>
                    <a:pt x="14" y="31"/>
                    <a:pt x="10" y="29"/>
                    <a:pt x="7" y="27"/>
                  </a:cubicBezTo>
                  <a:cubicBezTo>
                    <a:pt x="4" y="24"/>
                    <a:pt x="2" y="20"/>
                    <a:pt x="2" y="15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2" y="14"/>
                    <a:pt x="2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3" y="12"/>
                    <a:pt x="3" y="12"/>
                  </a:cubicBezTo>
                  <a:cubicBezTo>
                    <a:pt x="3" y="8"/>
                    <a:pt x="5" y="5"/>
                    <a:pt x="8" y="3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5" y="0"/>
                    <a:pt x="29" y="2"/>
                    <a:pt x="32" y="4"/>
                  </a:cubicBezTo>
                  <a:cubicBezTo>
                    <a:pt x="36" y="7"/>
                    <a:pt x="38" y="10"/>
                    <a:pt x="38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2"/>
                    <a:pt x="30" y="9"/>
                    <a:pt x="28" y="7"/>
                  </a:cubicBezTo>
                  <a:cubicBezTo>
                    <a:pt x="26" y="5"/>
                    <a:pt x="23" y="4"/>
                    <a:pt x="20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6" y="4"/>
                    <a:pt x="14" y="5"/>
                    <a:pt x="12" y="6"/>
                  </a:cubicBezTo>
                  <a:cubicBezTo>
                    <a:pt x="10" y="8"/>
                    <a:pt x="9" y="10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20"/>
                    <a:pt x="10" y="23"/>
                    <a:pt x="13" y="24"/>
                  </a:cubicBezTo>
                  <a:cubicBezTo>
                    <a:pt x="16" y="26"/>
                    <a:pt x="19" y="28"/>
                    <a:pt x="22" y="29"/>
                  </a:cubicBezTo>
                  <a:cubicBezTo>
                    <a:pt x="23" y="29"/>
                    <a:pt x="23" y="29"/>
                    <a:pt x="23" y="29"/>
                  </a:cubicBezTo>
                  <a:cubicBezTo>
                    <a:pt x="23" y="29"/>
                    <a:pt x="24" y="29"/>
                    <a:pt x="24" y="29"/>
                  </a:cubicBezTo>
                  <a:cubicBezTo>
                    <a:pt x="28" y="31"/>
                    <a:pt x="31" y="33"/>
                    <a:pt x="34" y="35"/>
                  </a:cubicBezTo>
                  <a:cubicBezTo>
                    <a:pt x="37" y="37"/>
                    <a:pt x="39" y="40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51"/>
                    <a:pt x="37" y="56"/>
                    <a:pt x="33" y="59"/>
                  </a:cubicBezTo>
                  <a:cubicBezTo>
                    <a:pt x="30" y="62"/>
                    <a:pt x="25" y="63"/>
                    <a:pt x="21" y="64"/>
                  </a:cubicBezTo>
                  <a:cubicBezTo>
                    <a:pt x="21" y="64"/>
                    <a:pt x="20" y="64"/>
                    <a:pt x="20" y="64"/>
                  </a:cubicBezTo>
                  <a:cubicBezTo>
                    <a:pt x="20" y="64"/>
                    <a:pt x="20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5" y="64"/>
                    <a:pt x="10" y="62"/>
                    <a:pt x="6" y="59"/>
                  </a:cubicBezTo>
                  <a:cubicBezTo>
                    <a:pt x="2" y="56"/>
                    <a:pt x="0" y="51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1" y="45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  <a:cubicBezTo>
                    <a:pt x="1" y="44"/>
                    <a:pt x="1" y="44"/>
                    <a:pt x="1" y="4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11456898" y="437857"/>
              <a:ext cx="74533" cy="121870"/>
            </a:xfrm>
            <a:custGeom>
              <a:avLst/>
              <a:gdLst>
                <a:gd name="T0" fmla="*/ 6 w 39"/>
                <a:gd name="T1" fmla="*/ 44 h 64"/>
                <a:gd name="T2" fmla="*/ 10 w 39"/>
                <a:gd name="T3" fmla="*/ 55 h 64"/>
                <a:gd name="T4" fmla="*/ 20 w 39"/>
                <a:gd name="T5" fmla="*/ 58 h 64"/>
                <a:gd name="T6" fmla="*/ 21 w 39"/>
                <a:gd name="T7" fmla="*/ 58 h 64"/>
                <a:gd name="T8" fmla="*/ 22 w 39"/>
                <a:gd name="T9" fmla="*/ 58 h 64"/>
                <a:gd name="T10" fmla="*/ 29 w 39"/>
                <a:gd name="T11" fmla="*/ 55 h 64"/>
                <a:gd name="T12" fmla="*/ 33 w 39"/>
                <a:gd name="T13" fmla="*/ 46 h 64"/>
                <a:gd name="T14" fmla="*/ 33 w 39"/>
                <a:gd name="T15" fmla="*/ 43 h 64"/>
                <a:gd name="T16" fmla="*/ 29 w 39"/>
                <a:gd name="T17" fmla="*/ 38 h 64"/>
                <a:gd name="T18" fmla="*/ 21 w 39"/>
                <a:gd name="T19" fmla="*/ 34 h 64"/>
                <a:gd name="T20" fmla="*/ 19 w 39"/>
                <a:gd name="T21" fmla="*/ 33 h 64"/>
                <a:gd name="T22" fmla="*/ 17 w 39"/>
                <a:gd name="T23" fmla="*/ 33 h 64"/>
                <a:gd name="T24" fmla="*/ 7 w 39"/>
                <a:gd name="T25" fmla="*/ 27 h 64"/>
                <a:gd name="T26" fmla="*/ 2 w 39"/>
                <a:gd name="T27" fmla="*/ 15 h 64"/>
                <a:gd name="T28" fmla="*/ 2 w 39"/>
                <a:gd name="T29" fmla="*/ 14 h 64"/>
                <a:gd name="T30" fmla="*/ 2 w 39"/>
                <a:gd name="T31" fmla="*/ 14 h 64"/>
                <a:gd name="T32" fmla="*/ 2 w 39"/>
                <a:gd name="T33" fmla="*/ 14 h 64"/>
                <a:gd name="T34" fmla="*/ 2 w 39"/>
                <a:gd name="T35" fmla="*/ 13 h 64"/>
                <a:gd name="T36" fmla="*/ 2 w 39"/>
                <a:gd name="T37" fmla="*/ 13 h 64"/>
                <a:gd name="T38" fmla="*/ 3 w 39"/>
                <a:gd name="T39" fmla="*/ 12 h 64"/>
                <a:gd name="T40" fmla="*/ 8 w 39"/>
                <a:gd name="T41" fmla="*/ 3 h 64"/>
                <a:gd name="T42" fmla="*/ 19 w 39"/>
                <a:gd name="T43" fmla="*/ 0 h 64"/>
                <a:gd name="T44" fmla="*/ 19 w 39"/>
                <a:gd name="T45" fmla="*/ 0 h 64"/>
                <a:gd name="T46" fmla="*/ 19 w 39"/>
                <a:gd name="T47" fmla="*/ 0 h 64"/>
                <a:gd name="T48" fmla="*/ 20 w 39"/>
                <a:gd name="T49" fmla="*/ 0 h 64"/>
                <a:gd name="T50" fmla="*/ 21 w 39"/>
                <a:gd name="T51" fmla="*/ 0 h 64"/>
                <a:gd name="T52" fmla="*/ 32 w 39"/>
                <a:gd name="T53" fmla="*/ 4 h 64"/>
                <a:gd name="T54" fmla="*/ 38 w 39"/>
                <a:gd name="T55" fmla="*/ 15 h 64"/>
                <a:gd name="T56" fmla="*/ 31 w 39"/>
                <a:gd name="T57" fmla="*/ 15 h 64"/>
                <a:gd name="T58" fmla="*/ 28 w 39"/>
                <a:gd name="T59" fmla="*/ 7 h 64"/>
                <a:gd name="T60" fmla="*/ 20 w 39"/>
                <a:gd name="T61" fmla="*/ 4 h 64"/>
                <a:gd name="T62" fmla="*/ 19 w 39"/>
                <a:gd name="T63" fmla="*/ 4 h 64"/>
                <a:gd name="T64" fmla="*/ 18 w 39"/>
                <a:gd name="T65" fmla="*/ 4 h 64"/>
                <a:gd name="T66" fmla="*/ 12 w 39"/>
                <a:gd name="T67" fmla="*/ 6 h 64"/>
                <a:gd name="T68" fmla="*/ 8 w 39"/>
                <a:gd name="T69" fmla="*/ 14 h 64"/>
                <a:gd name="T70" fmla="*/ 8 w 39"/>
                <a:gd name="T71" fmla="*/ 14 h 64"/>
                <a:gd name="T72" fmla="*/ 8 w 39"/>
                <a:gd name="T73" fmla="*/ 15 h 64"/>
                <a:gd name="T74" fmla="*/ 8 w 39"/>
                <a:gd name="T75" fmla="*/ 15 h 64"/>
                <a:gd name="T76" fmla="*/ 8 w 39"/>
                <a:gd name="T77" fmla="*/ 16 h 64"/>
                <a:gd name="T78" fmla="*/ 12 w 39"/>
                <a:gd name="T79" fmla="*/ 24 h 64"/>
                <a:gd name="T80" fmla="*/ 22 w 39"/>
                <a:gd name="T81" fmla="*/ 29 h 64"/>
                <a:gd name="T82" fmla="*/ 23 w 39"/>
                <a:gd name="T83" fmla="*/ 29 h 64"/>
                <a:gd name="T84" fmla="*/ 24 w 39"/>
                <a:gd name="T85" fmla="*/ 29 h 64"/>
                <a:gd name="T86" fmla="*/ 34 w 39"/>
                <a:gd name="T87" fmla="*/ 35 h 64"/>
                <a:gd name="T88" fmla="*/ 39 w 39"/>
                <a:gd name="T89" fmla="*/ 45 h 64"/>
                <a:gd name="T90" fmla="*/ 39 w 39"/>
                <a:gd name="T91" fmla="*/ 45 h 64"/>
                <a:gd name="T92" fmla="*/ 33 w 39"/>
                <a:gd name="T93" fmla="*/ 59 h 64"/>
                <a:gd name="T94" fmla="*/ 21 w 39"/>
                <a:gd name="T95" fmla="*/ 64 h 64"/>
                <a:gd name="T96" fmla="*/ 20 w 39"/>
                <a:gd name="T97" fmla="*/ 64 h 64"/>
                <a:gd name="T98" fmla="*/ 19 w 39"/>
                <a:gd name="T99" fmla="*/ 64 h 64"/>
                <a:gd name="T100" fmla="*/ 19 w 39"/>
                <a:gd name="T101" fmla="*/ 64 h 64"/>
                <a:gd name="T102" fmla="*/ 19 w 39"/>
                <a:gd name="T103" fmla="*/ 64 h 64"/>
                <a:gd name="T104" fmla="*/ 6 w 39"/>
                <a:gd name="T105" fmla="*/ 59 h 64"/>
                <a:gd name="T106" fmla="*/ 0 w 39"/>
                <a:gd name="T107" fmla="*/ 45 h 64"/>
                <a:gd name="T108" fmla="*/ 0 w 39"/>
                <a:gd name="T109" fmla="*/ 45 h 64"/>
                <a:gd name="T110" fmla="*/ 0 w 39"/>
                <a:gd name="T111" fmla="*/ 44 h 64"/>
                <a:gd name="T112" fmla="*/ 0 w 39"/>
                <a:gd name="T113" fmla="*/ 44 h 64"/>
                <a:gd name="T114" fmla="*/ 0 w 39"/>
                <a:gd name="T115" fmla="*/ 4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9" h="64">
                  <a:moveTo>
                    <a:pt x="6" y="44"/>
                  </a:moveTo>
                  <a:cubicBezTo>
                    <a:pt x="7" y="49"/>
                    <a:pt x="8" y="53"/>
                    <a:pt x="10" y="55"/>
                  </a:cubicBezTo>
                  <a:cubicBezTo>
                    <a:pt x="13" y="57"/>
                    <a:pt x="16" y="58"/>
                    <a:pt x="20" y="58"/>
                  </a:cubicBezTo>
                  <a:cubicBezTo>
                    <a:pt x="20" y="58"/>
                    <a:pt x="20" y="58"/>
                    <a:pt x="21" y="58"/>
                  </a:cubicBezTo>
                  <a:cubicBezTo>
                    <a:pt x="21" y="58"/>
                    <a:pt x="21" y="58"/>
                    <a:pt x="22" y="58"/>
                  </a:cubicBezTo>
                  <a:cubicBezTo>
                    <a:pt x="24" y="58"/>
                    <a:pt x="27" y="57"/>
                    <a:pt x="29" y="55"/>
                  </a:cubicBezTo>
                  <a:cubicBezTo>
                    <a:pt x="31" y="53"/>
                    <a:pt x="33" y="50"/>
                    <a:pt x="33" y="46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1"/>
                    <a:pt x="31" y="39"/>
                    <a:pt x="29" y="38"/>
                  </a:cubicBezTo>
                  <a:cubicBezTo>
                    <a:pt x="27" y="36"/>
                    <a:pt x="24" y="35"/>
                    <a:pt x="21" y="34"/>
                  </a:cubicBezTo>
                  <a:cubicBezTo>
                    <a:pt x="21" y="34"/>
                    <a:pt x="20" y="34"/>
                    <a:pt x="19" y="33"/>
                  </a:cubicBezTo>
                  <a:cubicBezTo>
                    <a:pt x="19" y="33"/>
                    <a:pt x="18" y="33"/>
                    <a:pt x="17" y="33"/>
                  </a:cubicBezTo>
                  <a:cubicBezTo>
                    <a:pt x="14" y="31"/>
                    <a:pt x="10" y="29"/>
                    <a:pt x="7" y="27"/>
                  </a:cubicBezTo>
                  <a:cubicBezTo>
                    <a:pt x="4" y="24"/>
                    <a:pt x="2" y="20"/>
                    <a:pt x="2" y="15"/>
                  </a:cubicBezTo>
                  <a:cubicBezTo>
                    <a:pt x="2" y="15"/>
                    <a:pt x="2" y="15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3" y="12"/>
                    <a:pt x="3" y="12"/>
                  </a:cubicBezTo>
                  <a:cubicBezTo>
                    <a:pt x="3" y="8"/>
                    <a:pt x="5" y="5"/>
                    <a:pt x="8" y="3"/>
                  </a:cubicBezTo>
                  <a:cubicBezTo>
                    <a:pt x="11" y="1"/>
                    <a:pt x="15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0"/>
                    <a:pt x="20" y="0"/>
                    <a:pt x="20" y="0"/>
                  </a:cubicBezTo>
                  <a:cubicBezTo>
                    <a:pt x="20" y="0"/>
                    <a:pt x="21" y="0"/>
                    <a:pt x="21" y="0"/>
                  </a:cubicBezTo>
                  <a:cubicBezTo>
                    <a:pt x="25" y="0"/>
                    <a:pt x="29" y="2"/>
                    <a:pt x="32" y="4"/>
                  </a:cubicBezTo>
                  <a:cubicBezTo>
                    <a:pt x="36" y="7"/>
                    <a:pt x="37" y="10"/>
                    <a:pt x="38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2"/>
                    <a:pt x="30" y="9"/>
                    <a:pt x="28" y="7"/>
                  </a:cubicBezTo>
                  <a:cubicBezTo>
                    <a:pt x="25" y="5"/>
                    <a:pt x="23" y="4"/>
                    <a:pt x="20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9" y="4"/>
                    <a:pt x="18" y="4"/>
                  </a:cubicBezTo>
                  <a:cubicBezTo>
                    <a:pt x="16" y="4"/>
                    <a:pt x="14" y="5"/>
                    <a:pt x="12" y="6"/>
                  </a:cubicBezTo>
                  <a:cubicBezTo>
                    <a:pt x="10" y="8"/>
                    <a:pt x="8" y="10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20"/>
                    <a:pt x="9" y="23"/>
                    <a:pt x="12" y="24"/>
                  </a:cubicBezTo>
                  <a:cubicBezTo>
                    <a:pt x="15" y="26"/>
                    <a:pt x="19" y="28"/>
                    <a:pt x="22" y="29"/>
                  </a:cubicBezTo>
                  <a:cubicBezTo>
                    <a:pt x="22" y="29"/>
                    <a:pt x="23" y="29"/>
                    <a:pt x="23" y="29"/>
                  </a:cubicBezTo>
                  <a:cubicBezTo>
                    <a:pt x="23" y="29"/>
                    <a:pt x="23" y="29"/>
                    <a:pt x="24" y="29"/>
                  </a:cubicBezTo>
                  <a:cubicBezTo>
                    <a:pt x="27" y="31"/>
                    <a:pt x="31" y="33"/>
                    <a:pt x="34" y="35"/>
                  </a:cubicBezTo>
                  <a:cubicBezTo>
                    <a:pt x="37" y="37"/>
                    <a:pt x="39" y="40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51"/>
                    <a:pt x="37" y="56"/>
                    <a:pt x="33" y="59"/>
                  </a:cubicBezTo>
                  <a:cubicBezTo>
                    <a:pt x="29" y="62"/>
                    <a:pt x="25" y="63"/>
                    <a:pt x="21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9" y="64"/>
                    <a:pt x="19" y="64"/>
                    <a:pt x="19" y="64"/>
                  </a:cubicBezTo>
                  <a:cubicBezTo>
                    <a:pt x="14" y="64"/>
                    <a:pt x="10" y="62"/>
                    <a:pt x="6" y="59"/>
                  </a:cubicBezTo>
                  <a:cubicBezTo>
                    <a:pt x="2" y="56"/>
                    <a:pt x="0" y="51"/>
                    <a:pt x="0" y="45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45"/>
                    <a:pt x="0" y="45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11857762" y="231383"/>
              <a:ext cx="20144" cy="32230"/>
            </a:xfrm>
            <a:custGeom>
              <a:avLst/>
              <a:gdLst>
                <a:gd name="T0" fmla="*/ 13 w 20"/>
                <a:gd name="T1" fmla="*/ 32 h 32"/>
                <a:gd name="T2" fmla="*/ 7 w 20"/>
                <a:gd name="T3" fmla="*/ 32 h 32"/>
                <a:gd name="T4" fmla="*/ 7 w 20"/>
                <a:gd name="T5" fmla="*/ 6 h 32"/>
                <a:gd name="T6" fmla="*/ 0 w 20"/>
                <a:gd name="T7" fmla="*/ 6 h 32"/>
                <a:gd name="T8" fmla="*/ 0 w 20"/>
                <a:gd name="T9" fmla="*/ 0 h 32"/>
                <a:gd name="T10" fmla="*/ 20 w 20"/>
                <a:gd name="T11" fmla="*/ 0 h 32"/>
                <a:gd name="T12" fmla="*/ 20 w 20"/>
                <a:gd name="T13" fmla="*/ 6 h 32"/>
                <a:gd name="T14" fmla="*/ 13 w 20"/>
                <a:gd name="T15" fmla="*/ 6 h 32"/>
                <a:gd name="T16" fmla="*/ 13 w 20"/>
                <a:gd name="T17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32">
                  <a:moveTo>
                    <a:pt x="13" y="32"/>
                  </a:moveTo>
                  <a:lnTo>
                    <a:pt x="7" y="32"/>
                  </a:lnTo>
                  <a:lnTo>
                    <a:pt x="7" y="6"/>
                  </a:lnTo>
                  <a:lnTo>
                    <a:pt x="0" y="6"/>
                  </a:lnTo>
                  <a:lnTo>
                    <a:pt x="0" y="0"/>
                  </a:lnTo>
                  <a:lnTo>
                    <a:pt x="20" y="0"/>
                  </a:lnTo>
                  <a:lnTo>
                    <a:pt x="20" y="6"/>
                  </a:lnTo>
                  <a:lnTo>
                    <a:pt x="13" y="6"/>
                  </a:lnTo>
                  <a:lnTo>
                    <a:pt x="13" y="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11881934" y="231383"/>
              <a:ext cx="26187" cy="32230"/>
            </a:xfrm>
            <a:custGeom>
              <a:avLst/>
              <a:gdLst>
                <a:gd name="T0" fmla="*/ 26 w 26"/>
                <a:gd name="T1" fmla="*/ 32 h 32"/>
                <a:gd name="T2" fmla="*/ 21 w 26"/>
                <a:gd name="T3" fmla="*/ 32 h 32"/>
                <a:gd name="T4" fmla="*/ 21 w 26"/>
                <a:gd name="T5" fmla="*/ 6 h 32"/>
                <a:gd name="T6" fmla="*/ 21 w 26"/>
                <a:gd name="T7" fmla="*/ 6 h 32"/>
                <a:gd name="T8" fmla="*/ 15 w 26"/>
                <a:gd name="T9" fmla="*/ 32 h 32"/>
                <a:gd name="T10" fmla="*/ 9 w 26"/>
                <a:gd name="T11" fmla="*/ 32 h 32"/>
                <a:gd name="T12" fmla="*/ 6 w 26"/>
                <a:gd name="T13" fmla="*/ 6 h 32"/>
                <a:gd name="T14" fmla="*/ 4 w 26"/>
                <a:gd name="T15" fmla="*/ 6 h 32"/>
                <a:gd name="T16" fmla="*/ 4 w 26"/>
                <a:gd name="T17" fmla="*/ 32 h 32"/>
                <a:gd name="T18" fmla="*/ 0 w 26"/>
                <a:gd name="T19" fmla="*/ 32 h 32"/>
                <a:gd name="T20" fmla="*/ 0 w 26"/>
                <a:gd name="T21" fmla="*/ 0 h 32"/>
                <a:gd name="T22" fmla="*/ 7 w 26"/>
                <a:gd name="T23" fmla="*/ 0 h 32"/>
                <a:gd name="T24" fmla="*/ 13 w 26"/>
                <a:gd name="T25" fmla="*/ 26 h 32"/>
                <a:gd name="T26" fmla="*/ 13 w 26"/>
                <a:gd name="T27" fmla="*/ 26 h 32"/>
                <a:gd name="T28" fmla="*/ 17 w 26"/>
                <a:gd name="T29" fmla="*/ 0 h 32"/>
                <a:gd name="T30" fmla="*/ 26 w 26"/>
                <a:gd name="T31" fmla="*/ 0 h 32"/>
                <a:gd name="T32" fmla="*/ 26 w 26"/>
                <a:gd name="T3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" h="32">
                  <a:moveTo>
                    <a:pt x="26" y="32"/>
                  </a:moveTo>
                  <a:lnTo>
                    <a:pt x="21" y="32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15" y="32"/>
                  </a:lnTo>
                  <a:lnTo>
                    <a:pt x="9" y="32"/>
                  </a:lnTo>
                  <a:lnTo>
                    <a:pt x="6" y="6"/>
                  </a:lnTo>
                  <a:lnTo>
                    <a:pt x="4" y="6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0"/>
                  </a:lnTo>
                  <a:lnTo>
                    <a:pt x="7" y="0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7" y="0"/>
                  </a:lnTo>
                  <a:lnTo>
                    <a:pt x="26" y="0"/>
                  </a:lnTo>
                  <a:lnTo>
                    <a:pt x="26" y="3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</p:spTree>
    <p:extLst>
      <p:ext uri="{BB962C8B-B14F-4D97-AF65-F5344CB8AC3E}">
        <p14:creationId xmlns:p14="http://schemas.microsoft.com/office/powerpoint/2010/main" val="205146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IN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800">
                <a:latin typeface="+mj-lt"/>
                <a:cs typeface="Arial" panose="020B0604020202020204" pitchFamily="34" charset="0"/>
              </a:defRPr>
            </a:lvl1pPr>
            <a:lvl2pPr marL="357179" indent="-171446">
              <a:defRPr sz="1600">
                <a:latin typeface="+mj-lt"/>
                <a:cs typeface="Arial" panose="020B0604020202020204" pitchFamily="34" charset="0"/>
              </a:defRPr>
            </a:lvl2pPr>
            <a:lvl3pPr marL="542912" indent="-185734">
              <a:defRPr sz="1400">
                <a:latin typeface="+mj-lt"/>
                <a:cs typeface="Arial" panose="020B0604020202020204" pitchFamily="34" charset="0"/>
              </a:defRPr>
            </a:lvl3pPr>
            <a:lvl4pPr marL="715945" indent="-173034">
              <a:defRPr sz="1400">
                <a:latin typeface="+mj-lt"/>
                <a:cs typeface="Arial" panose="020B0604020202020204" pitchFamily="34" charset="0"/>
              </a:defRPr>
            </a:lvl4pPr>
            <a:lvl5pPr marL="901677" indent="-185734">
              <a:defRPr sz="1400">
                <a:latin typeface="+mj-lt"/>
                <a:cs typeface="Arial" panose="020B0604020202020204" pitchFamily="34" charset="0"/>
              </a:defRPr>
            </a:lvl5pPr>
            <a:lvl6pPr marL="715945" indent="0">
              <a:buNone/>
              <a:defRPr/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E1BB878F-3485-4810-A9C9-9653F4D68062}" type="slidenum">
              <a:rPr/>
              <a:pPr algn="ctr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768689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1" y="6504248"/>
            <a:ext cx="823944" cy="205121"/>
          </a:xfrm>
        </p:spPr>
        <p:txBody>
          <a:bodyPr wrap="none" lIns="0" tIns="0" rIns="0" bIns="0">
            <a:spAutoFit/>
          </a:bodyPr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812232" y="6524735"/>
            <a:ext cx="162437" cy="164148"/>
          </a:xfr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5" y="6296706"/>
            <a:ext cx="11617565" cy="153888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IN" sz="1000" i="1" dirty="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marL="0" lvl="0" indent="0">
              <a:buFont typeface="Arial" pitchFamily="34" charset="0"/>
              <a:buNone/>
            </a:pPr>
            <a:r>
              <a:rPr lang="en-US" dirty="0" smtClean="0"/>
              <a:t>Source: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9937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 with BA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43342" y="6524570"/>
            <a:ext cx="823944" cy="205121"/>
          </a:xfrm>
        </p:spPr>
        <p:txBody>
          <a:bodyPr wrap="none" lIns="0" tIns="0" rIns="0" bIns="0">
            <a:spAutoFit/>
          </a:bodyPr>
          <a:lstStyle/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377855" y="6545057"/>
            <a:ext cx="1436291" cy="16414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r>
              <a:rPr lang="en-IN" smtClean="0"/>
              <a:t>© 2020 Borderless Access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908243" y="6545057"/>
            <a:ext cx="162437" cy="164148"/>
          </a:xfrm>
        </p:spPr>
        <p:txBody>
          <a:bodyPr vert="horz" wrap="none" lIns="0" tIns="0" rIns="0" bIns="0" rtlCol="0" anchor="ctr">
            <a:spAutoFit/>
          </a:bodyPr>
          <a:lstStyle>
            <a:lvl1pPr>
              <a:defRPr lang="en-IN" smtClean="0"/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0800" y="-50800"/>
            <a:ext cx="12242800" cy="694690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-34192" y="-41368"/>
            <a:ext cx="12226192" cy="6899367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43000">
                <a:schemeClr val="tx1">
                  <a:alpha val="42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16891" y="129487"/>
            <a:ext cx="2653789" cy="1021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342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=""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113275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34434" y="279050"/>
            <a:ext cx="10377291" cy="41857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endParaRPr lang="en-IN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34433" y="1202640"/>
            <a:ext cx="11343051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IN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1" y="6504248"/>
            <a:ext cx="823944" cy="2051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133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IN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831468" y="6524737"/>
            <a:ext cx="162437" cy="16414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en-IN" sz="1067" smtClean="0"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 algn="ctr"/>
            <a:fld id="{2A6A1010-39FC-44B1-A15A-8ABADF253C31}" type="slidenum">
              <a:rPr/>
              <a:pPr algn="ctr"/>
              <a:t>‹#›</a:t>
            </a:fld>
            <a:endParaRPr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81" t="24074" r="19444" b="37963"/>
          <a:stretch/>
        </p:blipFill>
        <p:spPr>
          <a:xfrm>
            <a:off x="10768263" y="155954"/>
            <a:ext cx="1294245" cy="398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332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9" r:id="rId4"/>
    <p:sldLayoutId id="2147483720" r:id="rId5"/>
    <p:sldLayoutId id="2147483723" r:id="rId6"/>
    <p:sldLayoutId id="2147483727" r:id="rId7"/>
    <p:sldLayoutId id="2147483733" r:id="rId8"/>
    <p:sldLayoutId id="2147483735" r:id="rId9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121917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rgbClr val="0866A8"/>
          </a:solidFill>
          <a:latin typeface="+mj-lt"/>
          <a:ea typeface="+mj-ea"/>
          <a:cs typeface="+mj-cs"/>
        </a:defRPr>
      </a:lvl1pPr>
    </p:titleStyle>
    <p:bodyStyle>
      <a:lvl1pPr marL="243411" indent="-243411" algn="l" defTabSz="1219170" rtl="0" eaLnBrk="1" latinLnBrk="0" hangingPunct="1">
        <a:spcBef>
          <a:spcPct val="20000"/>
        </a:spcBef>
        <a:buClr>
          <a:srgbClr val="E25219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478355" indent="-234945" algn="l" defTabSz="121917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2pPr>
      <a:lvl3pPr marL="721766" indent="-243411" algn="l" defTabSz="1219170" rtl="0" eaLnBrk="1" latinLnBrk="0" hangingPunct="1">
        <a:spcBef>
          <a:spcPct val="20000"/>
        </a:spcBef>
        <a:buClr>
          <a:srgbClr val="E25219"/>
        </a:buClr>
        <a:buFont typeface="Arial" pitchFamily="34" charset="0"/>
        <a:buChar char="•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3pPr>
      <a:lvl4pPr marL="954593" indent="-232828" algn="l" defTabSz="1219170" rtl="0" eaLnBrk="1" latinLnBrk="0" hangingPunct="1">
        <a:spcBef>
          <a:spcPct val="20000"/>
        </a:spcBef>
        <a:buFont typeface="Arial" pitchFamily="34" charset="0"/>
        <a:buChar char="–"/>
        <a:tabLst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4pPr>
      <a:lvl5pPr marL="1198003" indent="-243411" algn="l" defTabSz="1219170" rtl="0" eaLnBrk="1" latinLnBrk="0" hangingPunct="1">
        <a:spcBef>
          <a:spcPct val="20000"/>
        </a:spcBef>
        <a:buClr>
          <a:srgbClr val="E25219"/>
        </a:buClr>
        <a:buFont typeface="Arial" pitchFamily="34" charset="0"/>
        <a:buChar char="»"/>
        <a:defRPr sz="1400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065">
          <p15:clr>
            <a:srgbClr val="F26B43"/>
          </p15:clr>
        </p15:guide>
        <p15:guide id="2" pos="7469">
          <p15:clr>
            <a:srgbClr val="F26B43"/>
          </p15:clr>
        </p15:guide>
        <p15:guide id="3" pos="211">
          <p15:clr>
            <a:srgbClr val="F26B43"/>
          </p15:clr>
        </p15:guide>
        <p15:guide id="4" orient="horz" pos="5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19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20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chart" Target="../charts/chart16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em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emf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lideshare.net/BorderlessAccessPanels/" TargetMode="External"/><Relationship Id="rId13" Type="http://schemas.openxmlformats.org/officeDocument/2006/relationships/hyperlink" Target="http://www.linkedin.com/company/borderlessaccess" TargetMode="External"/><Relationship Id="rId3" Type="http://schemas.openxmlformats.org/officeDocument/2006/relationships/image" Target="../media/image25.emf"/><Relationship Id="rId7" Type="http://schemas.openxmlformats.org/officeDocument/2006/relationships/hyperlink" Target="https://www.xing.com/companies/borderlessaccess/updates" TargetMode="External"/><Relationship Id="rId12" Type="http://schemas.openxmlformats.org/officeDocument/2006/relationships/hyperlink" Target="https://www.facebook.com/BorderlessAccessPvtLtd" TargetMode="External"/><Relationship Id="rId2" Type="http://schemas.openxmlformats.org/officeDocument/2006/relationships/image" Target="../media/image24.jpeg"/><Relationship Id="rId16" Type="http://schemas.openxmlformats.org/officeDocument/2006/relationships/image" Target="../media/image27.emf"/><Relationship Id="rId1" Type="http://schemas.openxmlformats.org/officeDocument/2006/relationships/slideLayout" Target="../slideLayouts/slideLayout3.xml"/><Relationship Id="rId6" Type="http://schemas.openxmlformats.org/officeDocument/2006/relationships/hyperlink" Target="http://www.borderlessaccess.com/" TargetMode="External"/><Relationship Id="rId11" Type="http://schemas.openxmlformats.org/officeDocument/2006/relationships/hyperlink" Target="http://twitter.com/borderlessxs" TargetMode="External"/><Relationship Id="rId5" Type="http://schemas.openxmlformats.org/officeDocument/2006/relationships/hyperlink" Target="mailto:connect@borderlessaccess.com" TargetMode="External"/><Relationship Id="rId15" Type="http://schemas.openxmlformats.org/officeDocument/2006/relationships/hyperlink" Target="https://blog.borderlessaccess.com/" TargetMode="External"/><Relationship Id="rId10" Type="http://schemas.openxmlformats.org/officeDocument/2006/relationships/hyperlink" Target="http://www.youtube.com/user/borderlessaccess?feature=results_main" TargetMode="External"/><Relationship Id="rId4" Type="http://schemas.openxmlformats.org/officeDocument/2006/relationships/image" Target="../media/image26.emf"/><Relationship Id="rId9" Type="http://schemas.openxmlformats.org/officeDocument/2006/relationships/hyperlink" Target="https://visual.ly/users/borderlessaccess/portfolio" TargetMode="External"/><Relationship Id="rId14" Type="http://schemas.openxmlformats.org/officeDocument/2006/relationships/hyperlink" Target="https://www.instagram.com/borderless_access/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image" Target="../media/image16.emf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</a:t>
            </a:fld>
            <a:endParaRPr lang="en-IN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08948" y="0"/>
            <a:ext cx="10883052" cy="685800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257578" y="5108812"/>
            <a:ext cx="4419600" cy="418349"/>
          </a:xfrm>
          <a:prstGeom prst="rect">
            <a:avLst/>
          </a:prstGeom>
          <a:solidFill>
            <a:srgbClr val="01BE9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/>
          </a:p>
        </p:txBody>
      </p:sp>
      <p:sp>
        <p:nvSpPr>
          <p:cNvPr id="7" name="Rectangle 6"/>
          <p:cNvSpPr/>
          <p:nvPr/>
        </p:nvSpPr>
        <p:spPr>
          <a:xfrm>
            <a:off x="187615" y="584497"/>
            <a:ext cx="5955608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dirty="0">
                <a:solidFill>
                  <a:srgbClr val="01BE96"/>
                </a:solidFill>
                <a:latin typeface="Helvetica" pitchFamily="2" charset="0"/>
              </a:rPr>
              <a:t>Healthcare Consultation Disrupted: </a:t>
            </a:r>
            <a:r>
              <a:rPr lang="en-US" sz="4800" b="1" dirty="0" smtClean="0">
                <a:solidFill>
                  <a:srgbClr val="01BE96"/>
                </a:solidFill>
                <a:latin typeface="Helvetica" pitchFamily="2" charset="0"/>
              </a:rPr>
              <a:t>The </a:t>
            </a:r>
            <a:r>
              <a:rPr lang="en-US" sz="4800" b="1" dirty="0">
                <a:solidFill>
                  <a:srgbClr val="01BE96"/>
                </a:solidFill>
                <a:latin typeface="Helvetica" pitchFamily="2" charset="0"/>
              </a:rPr>
              <a:t>Impact of </a:t>
            </a:r>
            <a:r>
              <a:rPr lang="en-US" sz="4800" b="1" dirty="0" smtClean="0">
                <a:solidFill>
                  <a:srgbClr val="01BE96"/>
                </a:solidFill>
                <a:latin typeface="Helvetica" pitchFamily="2" charset="0"/>
              </a:rPr>
              <a:t>Patient </a:t>
            </a:r>
            <a:r>
              <a:rPr lang="en-US" sz="4800" b="1" dirty="0" err="1">
                <a:solidFill>
                  <a:srgbClr val="01BE96"/>
                </a:solidFill>
                <a:latin typeface="Helvetica" pitchFamily="2" charset="0"/>
              </a:rPr>
              <a:t>Behaviour</a:t>
            </a:r>
            <a:r>
              <a:rPr lang="en-US" sz="4800" b="1" dirty="0">
                <a:solidFill>
                  <a:srgbClr val="01BE96"/>
                </a:solidFill>
                <a:latin typeface="Helvetica" pitchFamily="2" charset="0"/>
              </a:rPr>
              <a:t> Post </a:t>
            </a:r>
            <a:r>
              <a:rPr lang="en-US" sz="4800" b="1" dirty="0" smtClean="0">
                <a:solidFill>
                  <a:srgbClr val="01BE96"/>
                </a:solidFill>
                <a:latin typeface="Helvetica" pitchFamily="2" charset="0"/>
              </a:rPr>
              <a:t>COVID-19</a:t>
            </a:r>
            <a:endParaRPr lang="en-US" sz="4800" b="1" dirty="0">
              <a:solidFill>
                <a:srgbClr val="01BE96"/>
              </a:solidFill>
              <a:latin typeface="Helvetica" pitchFamily="2" charset="0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257578" y="5110937"/>
            <a:ext cx="316439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Research Findings June 2020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88" t="22643" r="18750" b="25463"/>
          <a:stretch/>
        </p:blipFill>
        <p:spPr>
          <a:xfrm>
            <a:off x="10043482" y="107581"/>
            <a:ext cx="1849968" cy="762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2063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908050"/>
            <a:ext cx="12192000" cy="893590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hange in Consultation </a:t>
            </a:r>
            <a:r>
              <a:rPr lang="en-IN" dirty="0" err="1"/>
              <a:t>Behavior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0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Q. Did the corona pandemic have an impact on whether and/or how often you go to see the doctor for Non-emergency problems? Which statement is most likely to apply to them?. Base:2906</a:t>
            </a:r>
            <a:endParaRPr lang="en-IN" dirty="0"/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462164489"/>
              </p:ext>
            </p:extLst>
          </p:nvPr>
        </p:nvGraphicFramePr>
        <p:xfrm>
          <a:off x="1057275" y="2173260"/>
          <a:ext cx="10415588" cy="39417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3" name="Rectangle 12"/>
          <p:cNvSpPr/>
          <p:nvPr/>
        </p:nvSpPr>
        <p:spPr>
          <a:xfrm>
            <a:off x="334435" y="955682"/>
            <a:ext cx="1185756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bg1"/>
                </a:solidFill>
              </a:rPr>
              <a:t>Globally there is big drop in doctor consultation frequency</a:t>
            </a:r>
            <a:r>
              <a:rPr lang="en-IN" sz="1600" dirty="0" smtClean="0">
                <a:solidFill>
                  <a:schemeClr val="bg1"/>
                </a:solidFill>
              </a:rPr>
              <a:t>.</a:t>
            </a:r>
            <a:endParaRPr lang="en-IN" sz="1600" dirty="0">
              <a:solidFill>
                <a:schemeClr val="bg1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sz="1600" dirty="0">
                <a:solidFill>
                  <a:schemeClr val="bg1"/>
                </a:solidFill>
              </a:rPr>
              <a:t>Multiple factors are at </a:t>
            </a:r>
            <a:r>
              <a:rPr lang="en-IN" sz="1600" dirty="0" smtClean="0">
                <a:solidFill>
                  <a:schemeClr val="bg1"/>
                </a:solidFill>
              </a:rPr>
              <a:t>play; </a:t>
            </a:r>
            <a:r>
              <a:rPr lang="en-IN" sz="1600" dirty="0">
                <a:solidFill>
                  <a:schemeClr val="bg1"/>
                </a:solidFill>
              </a:rPr>
              <a:t>people trying to avoid consultation for non-emergency illness, limited availability </a:t>
            </a:r>
            <a:r>
              <a:rPr lang="en-IN" sz="1600" dirty="0" smtClean="0">
                <a:solidFill>
                  <a:schemeClr val="bg1"/>
                </a:solidFill>
              </a:rPr>
              <a:t>of doctors, non-availability of in-person consultation.</a:t>
            </a:r>
            <a:endParaRPr lang="en-IN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040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hange in Consultation Behaviour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1</a:t>
            </a:fld>
            <a:endParaRPr lang="en-IN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4176376139"/>
              </p:ext>
            </p:extLst>
          </p:nvPr>
        </p:nvGraphicFramePr>
        <p:xfrm>
          <a:off x="180304" y="1542833"/>
          <a:ext cx="11794366" cy="4657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334434" y="781494"/>
            <a:ext cx="11522603" cy="761339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500" dirty="0" smtClean="0"/>
              <a:t>Strong impact across but more so in ME regi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500" dirty="0" smtClean="0"/>
              <a:t>The impact is relatively low among Americans and Germans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IN" sz="1500" dirty="0" smtClean="0"/>
              <a:t>This will lead to the growth in digital consulting. </a:t>
            </a:r>
            <a:endParaRPr lang="en-IN" sz="1500" dirty="0"/>
          </a:p>
        </p:txBody>
      </p:sp>
      <p:sp>
        <p:nvSpPr>
          <p:cNvPr id="8" name="Rounded Rectangle 7"/>
          <p:cNvSpPr/>
          <p:nvPr/>
        </p:nvSpPr>
        <p:spPr>
          <a:xfrm>
            <a:off x="7878036" y="2246412"/>
            <a:ext cx="658905" cy="396632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ounded Rectangle 8"/>
          <p:cNvSpPr/>
          <p:nvPr/>
        </p:nvSpPr>
        <p:spPr>
          <a:xfrm>
            <a:off x="4118557" y="4221930"/>
            <a:ext cx="3200400" cy="30234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ounded Rectangle 9"/>
          <p:cNvSpPr/>
          <p:nvPr/>
        </p:nvSpPr>
        <p:spPr>
          <a:xfrm>
            <a:off x="1907565" y="5037037"/>
            <a:ext cx="6546715" cy="252000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ounded Rectangle 10"/>
          <p:cNvSpPr/>
          <p:nvPr/>
        </p:nvSpPr>
        <p:spPr>
          <a:xfrm>
            <a:off x="8454280" y="5730879"/>
            <a:ext cx="658905" cy="396632"/>
          </a:xfrm>
          <a:prstGeom prst="round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781181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908050"/>
            <a:ext cx="12192000" cy="43436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42900" indent="-342900">
              <a:buFont typeface="Wingdings" panose="05000000000000000000" pitchFamily="2" charset="2"/>
              <a:buChar char="Ø"/>
            </a:pPr>
            <a:endParaRPr lang="en-IN" sz="15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de Used for The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2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81317"/>
            <a:ext cx="11617565" cy="169277"/>
          </a:xfrm>
        </p:spPr>
        <p:txBody>
          <a:bodyPr/>
          <a:lstStyle/>
          <a:p>
            <a:r>
              <a:rPr lang="en-US" sz="11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How did you consult the doctor? Base: </a:t>
            </a:r>
            <a:r>
              <a:rPr lang="en-US" sz="11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878</a:t>
            </a:r>
            <a:endParaRPr lang="en-US" sz="11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40567"/>
            <a:ext cx="1219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HH with kids have started more of online consultation while without kids continue to consult in person and via telephonic call.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1550830410"/>
              </p:ext>
            </p:extLst>
          </p:nvPr>
        </p:nvGraphicFramePr>
        <p:xfrm>
          <a:off x="352898" y="1506071"/>
          <a:ext cx="11504140" cy="463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5739319" y="3848418"/>
            <a:ext cx="437745" cy="295565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ounded Rectangle 7"/>
          <p:cNvSpPr/>
          <p:nvPr/>
        </p:nvSpPr>
        <p:spPr>
          <a:xfrm>
            <a:off x="8321521" y="3753276"/>
            <a:ext cx="437745" cy="295565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57376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Picture 2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543" y="2408715"/>
            <a:ext cx="5443739" cy="473050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Mode Of Online Consul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3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112040"/>
            <a:ext cx="11617565" cy="338554"/>
          </a:xfrm>
        </p:spPr>
        <p:txBody>
          <a:bodyPr/>
          <a:lstStyle/>
          <a:p>
            <a:r>
              <a:rPr lang="en-US" dirty="0"/>
              <a:t>Q. Which all online consultation methods did you use?</a:t>
            </a:r>
          </a:p>
          <a:p>
            <a:r>
              <a:rPr lang="en-US" dirty="0"/>
              <a:t>Base: </a:t>
            </a:r>
            <a:r>
              <a:rPr lang="en-US" dirty="0" smtClean="0"/>
              <a:t>804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4885" y="488338"/>
            <a:ext cx="6112213" cy="6415130"/>
          </a:xfrm>
          <a:prstGeom prst="rect">
            <a:avLst/>
          </a:prstGeom>
        </p:spPr>
      </p:pic>
      <p:sp>
        <p:nvSpPr>
          <p:cNvPr id="6" name="Video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8050610" y="4319456"/>
            <a:ext cx="542106" cy="542925"/>
          </a:xfrm>
          <a:custGeom>
            <a:avLst/>
            <a:gdLst>
              <a:gd name="T0" fmla="*/ 133 w 667"/>
              <a:gd name="T1" fmla="*/ 533 h 667"/>
              <a:gd name="T2" fmla="*/ 67 w 667"/>
              <a:gd name="T3" fmla="*/ 600 h 667"/>
              <a:gd name="T4" fmla="*/ 67 w 667"/>
              <a:gd name="T5" fmla="*/ 417 h 667"/>
              <a:gd name="T6" fmla="*/ 133 w 667"/>
              <a:gd name="T7" fmla="*/ 483 h 667"/>
              <a:gd name="T8" fmla="*/ 67 w 667"/>
              <a:gd name="T9" fmla="*/ 417 h 667"/>
              <a:gd name="T10" fmla="*/ 133 w 667"/>
              <a:gd name="T11" fmla="*/ 300 h 667"/>
              <a:gd name="T12" fmla="*/ 67 w 667"/>
              <a:gd name="T13" fmla="*/ 367 h 667"/>
              <a:gd name="T14" fmla="*/ 67 w 667"/>
              <a:gd name="T15" fmla="*/ 183 h 667"/>
              <a:gd name="T16" fmla="*/ 133 w 667"/>
              <a:gd name="T17" fmla="*/ 250 h 667"/>
              <a:gd name="T18" fmla="*/ 67 w 667"/>
              <a:gd name="T19" fmla="*/ 183 h 667"/>
              <a:gd name="T20" fmla="*/ 133 w 667"/>
              <a:gd name="T21" fmla="*/ 67 h 667"/>
              <a:gd name="T22" fmla="*/ 67 w 667"/>
              <a:gd name="T23" fmla="*/ 133 h 667"/>
              <a:gd name="T24" fmla="*/ 200 w 667"/>
              <a:gd name="T25" fmla="*/ 367 h 667"/>
              <a:gd name="T26" fmla="*/ 467 w 667"/>
              <a:gd name="T27" fmla="*/ 600 h 667"/>
              <a:gd name="T28" fmla="*/ 200 w 667"/>
              <a:gd name="T29" fmla="*/ 367 h 667"/>
              <a:gd name="T30" fmla="*/ 467 w 667"/>
              <a:gd name="T31" fmla="*/ 67 h 667"/>
              <a:gd name="T32" fmla="*/ 200 w 667"/>
              <a:gd name="T33" fmla="*/ 300 h 667"/>
              <a:gd name="T34" fmla="*/ 533 w 667"/>
              <a:gd name="T35" fmla="*/ 533 h 667"/>
              <a:gd name="T36" fmla="*/ 600 w 667"/>
              <a:gd name="T37" fmla="*/ 600 h 667"/>
              <a:gd name="T38" fmla="*/ 533 w 667"/>
              <a:gd name="T39" fmla="*/ 533 h 667"/>
              <a:gd name="T40" fmla="*/ 600 w 667"/>
              <a:gd name="T41" fmla="*/ 417 h 667"/>
              <a:gd name="T42" fmla="*/ 533 w 667"/>
              <a:gd name="T43" fmla="*/ 483 h 667"/>
              <a:gd name="T44" fmla="*/ 533 w 667"/>
              <a:gd name="T45" fmla="*/ 300 h 667"/>
              <a:gd name="T46" fmla="*/ 600 w 667"/>
              <a:gd name="T47" fmla="*/ 367 h 667"/>
              <a:gd name="T48" fmla="*/ 533 w 667"/>
              <a:gd name="T49" fmla="*/ 300 h 667"/>
              <a:gd name="T50" fmla="*/ 600 w 667"/>
              <a:gd name="T51" fmla="*/ 183 h 667"/>
              <a:gd name="T52" fmla="*/ 533 w 667"/>
              <a:gd name="T53" fmla="*/ 250 h 667"/>
              <a:gd name="T54" fmla="*/ 533 w 667"/>
              <a:gd name="T55" fmla="*/ 67 h 667"/>
              <a:gd name="T56" fmla="*/ 600 w 667"/>
              <a:gd name="T57" fmla="*/ 133 h 667"/>
              <a:gd name="T58" fmla="*/ 533 w 667"/>
              <a:gd name="T59" fmla="*/ 67 h 667"/>
              <a:gd name="T60" fmla="*/ 600 w 667"/>
              <a:gd name="T61" fmla="*/ 667 h 667"/>
              <a:gd name="T62" fmla="*/ 667 w 667"/>
              <a:gd name="T63" fmla="*/ 67 h 667"/>
              <a:gd name="T64" fmla="*/ 67 w 667"/>
              <a:gd name="T65" fmla="*/ 0 h 667"/>
              <a:gd name="T66" fmla="*/ 0 w 667"/>
              <a:gd name="T67" fmla="*/ 60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667" h="667">
                <a:moveTo>
                  <a:pt x="67" y="533"/>
                </a:moveTo>
                <a:lnTo>
                  <a:pt x="133" y="533"/>
                </a:lnTo>
                <a:lnTo>
                  <a:pt x="133" y="600"/>
                </a:lnTo>
                <a:lnTo>
                  <a:pt x="67" y="600"/>
                </a:lnTo>
                <a:lnTo>
                  <a:pt x="67" y="533"/>
                </a:lnTo>
                <a:close/>
                <a:moveTo>
                  <a:pt x="67" y="417"/>
                </a:moveTo>
                <a:lnTo>
                  <a:pt x="133" y="417"/>
                </a:lnTo>
                <a:lnTo>
                  <a:pt x="133" y="483"/>
                </a:lnTo>
                <a:lnTo>
                  <a:pt x="67" y="483"/>
                </a:lnTo>
                <a:lnTo>
                  <a:pt x="67" y="417"/>
                </a:lnTo>
                <a:close/>
                <a:moveTo>
                  <a:pt x="67" y="300"/>
                </a:moveTo>
                <a:lnTo>
                  <a:pt x="133" y="300"/>
                </a:lnTo>
                <a:lnTo>
                  <a:pt x="133" y="367"/>
                </a:lnTo>
                <a:lnTo>
                  <a:pt x="67" y="367"/>
                </a:lnTo>
                <a:lnTo>
                  <a:pt x="67" y="300"/>
                </a:lnTo>
                <a:close/>
                <a:moveTo>
                  <a:pt x="67" y="183"/>
                </a:moveTo>
                <a:lnTo>
                  <a:pt x="133" y="183"/>
                </a:lnTo>
                <a:lnTo>
                  <a:pt x="133" y="250"/>
                </a:lnTo>
                <a:lnTo>
                  <a:pt x="67" y="250"/>
                </a:lnTo>
                <a:lnTo>
                  <a:pt x="67" y="183"/>
                </a:lnTo>
                <a:close/>
                <a:moveTo>
                  <a:pt x="67" y="67"/>
                </a:moveTo>
                <a:lnTo>
                  <a:pt x="133" y="67"/>
                </a:lnTo>
                <a:lnTo>
                  <a:pt x="133" y="133"/>
                </a:lnTo>
                <a:lnTo>
                  <a:pt x="67" y="133"/>
                </a:lnTo>
                <a:lnTo>
                  <a:pt x="67" y="67"/>
                </a:lnTo>
                <a:close/>
                <a:moveTo>
                  <a:pt x="200" y="367"/>
                </a:moveTo>
                <a:lnTo>
                  <a:pt x="467" y="367"/>
                </a:lnTo>
                <a:lnTo>
                  <a:pt x="467" y="600"/>
                </a:lnTo>
                <a:lnTo>
                  <a:pt x="200" y="600"/>
                </a:lnTo>
                <a:lnTo>
                  <a:pt x="200" y="367"/>
                </a:lnTo>
                <a:close/>
                <a:moveTo>
                  <a:pt x="200" y="67"/>
                </a:moveTo>
                <a:lnTo>
                  <a:pt x="467" y="67"/>
                </a:lnTo>
                <a:lnTo>
                  <a:pt x="467" y="300"/>
                </a:lnTo>
                <a:lnTo>
                  <a:pt x="200" y="300"/>
                </a:lnTo>
                <a:lnTo>
                  <a:pt x="200" y="67"/>
                </a:lnTo>
                <a:close/>
                <a:moveTo>
                  <a:pt x="533" y="533"/>
                </a:moveTo>
                <a:lnTo>
                  <a:pt x="600" y="533"/>
                </a:lnTo>
                <a:lnTo>
                  <a:pt x="600" y="600"/>
                </a:lnTo>
                <a:lnTo>
                  <a:pt x="533" y="600"/>
                </a:lnTo>
                <a:lnTo>
                  <a:pt x="533" y="533"/>
                </a:lnTo>
                <a:close/>
                <a:moveTo>
                  <a:pt x="533" y="417"/>
                </a:moveTo>
                <a:lnTo>
                  <a:pt x="600" y="417"/>
                </a:lnTo>
                <a:lnTo>
                  <a:pt x="600" y="483"/>
                </a:lnTo>
                <a:lnTo>
                  <a:pt x="533" y="483"/>
                </a:lnTo>
                <a:lnTo>
                  <a:pt x="533" y="417"/>
                </a:lnTo>
                <a:close/>
                <a:moveTo>
                  <a:pt x="533" y="300"/>
                </a:moveTo>
                <a:lnTo>
                  <a:pt x="600" y="300"/>
                </a:lnTo>
                <a:lnTo>
                  <a:pt x="600" y="367"/>
                </a:lnTo>
                <a:lnTo>
                  <a:pt x="533" y="367"/>
                </a:lnTo>
                <a:lnTo>
                  <a:pt x="533" y="300"/>
                </a:lnTo>
                <a:close/>
                <a:moveTo>
                  <a:pt x="533" y="183"/>
                </a:moveTo>
                <a:lnTo>
                  <a:pt x="600" y="183"/>
                </a:lnTo>
                <a:lnTo>
                  <a:pt x="600" y="250"/>
                </a:lnTo>
                <a:lnTo>
                  <a:pt x="533" y="250"/>
                </a:lnTo>
                <a:lnTo>
                  <a:pt x="533" y="183"/>
                </a:lnTo>
                <a:close/>
                <a:moveTo>
                  <a:pt x="533" y="67"/>
                </a:moveTo>
                <a:lnTo>
                  <a:pt x="600" y="67"/>
                </a:lnTo>
                <a:lnTo>
                  <a:pt x="600" y="133"/>
                </a:lnTo>
                <a:lnTo>
                  <a:pt x="533" y="133"/>
                </a:lnTo>
                <a:lnTo>
                  <a:pt x="533" y="67"/>
                </a:lnTo>
                <a:close/>
                <a:moveTo>
                  <a:pt x="67" y="667"/>
                </a:moveTo>
                <a:lnTo>
                  <a:pt x="600" y="667"/>
                </a:lnTo>
                <a:cubicBezTo>
                  <a:pt x="637" y="667"/>
                  <a:pt x="667" y="637"/>
                  <a:pt x="667" y="600"/>
                </a:cubicBezTo>
                <a:lnTo>
                  <a:pt x="667" y="67"/>
                </a:lnTo>
                <a:cubicBezTo>
                  <a:pt x="667" y="30"/>
                  <a:pt x="637" y="0"/>
                  <a:pt x="600" y="0"/>
                </a:cubicBezTo>
                <a:lnTo>
                  <a:pt x="67" y="0"/>
                </a:lnTo>
                <a:cubicBezTo>
                  <a:pt x="30" y="0"/>
                  <a:pt x="0" y="30"/>
                  <a:pt x="0" y="67"/>
                </a:cubicBezTo>
                <a:lnTo>
                  <a:pt x="0" y="600"/>
                </a:lnTo>
                <a:cubicBezTo>
                  <a:pt x="0" y="637"/>
                  <a:pt x="30" y="667"/>
                  <a:pt x="67" y="667"/>
                </a:cubicBezTo>
                <a:close/>
              </a:path>
            </a:pathLst>
          </a:custGeom>
          <a:solidFill>
            <a:srgbClr val="4B5998"/>
          </a:solidFill>
          <a:ln>
            <a:solidFill>
              <a:schemeClr val="bg1"/>
            </a:solidFill>
          </a:ln>
          <a:scene3d>
            <a:camera prst="isometricOffAxis1Left"/>
            <a:lightRig rig="threePt" dir="t"/>
          </a:scene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" name="Like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9216091" y="4173581"/>
            <a:ext cx="518971" cy="542925"/>
          </a:xfrm>
          <a:custGeom>
            <a:avLst/>
            <a:gdLst>
              <a:gd name="T0" fmla="*/ 0 w 18355"/>
              <a:gd name="T1" fmla="*/ 10698 h 19176"/>
              <a:gd name="T2" fmla="*/ 742 w 18355"/>
              <a:gd name="T3" fmla="*/ 9956 h 19176"/>
              <a:gd name="T4" fmla="*/ 3063 w 18355"/>
              <a:gd name="T5" fmla="*/ 9956 h 19176"/>
              <a:gd name="T6" fmla="*/ 3805 w 18355"/>
              <a:gd name="T7" fmla="*/ 10698 h 19176"/>
              <a:gd name="T8" fmla="*/ 3805 w 18355"/>
              <a:gd name="T9" fmla="*/ 17937 h 19176"/>
              <a:gd name="T10" fmla="*/ 3063 w 18355"/>
              <a:gd name="T11" fmla="*/ 18679 h 19176"/>
              <a:gd name="T12" fmla="*/ 742 w 18355"/>
              <a:gd name="T13" fmla="*/ 18679 h 19176"/>
              <a:gd name="T14" fmla="*/ 0 w 18355"/>
              <a:gd name="T15" fmla="*/ 17937 h 19176"/>
              <a:gd name="T16" fmla="*/ 0 w 18355"/>
              <a:gd name="T17" fmla="*/ 10698 h 19176"/>
              <a:gd name="T18" fmla="*/ 10840 w 18355"/>
              <a:gd name="T19" fmla="*/ 92 h 19176"/>
              <a:gd name="T20" fmla="*/ 13072 w 18355"/>
              <a:gd name="T21" fmla="*/ 2026 h 19176"/>
              <a:gd name="T22" fmla="*/ 12337 w 18355"/>
              <a:gd name="T23" fmla="*/ 5373 h 19176"/>
              <a:gd name="T24" fmla="*/ 11729 w 18355"/>
              <a:gd name="T25" fmla="*/ 7584 h 19176"/>
              <a:gd name="T26" fmla="*/ 13683 w 18355"/>
              <a:gd name="T27" fmla="*/ 7624 h 19176"/>
              <a:gd name="T28" fmla="*/ 16822 w 18355"/>
              <a:gd name="T29" fmla="*/ 7828 h 19176"/>
              <a:gd name="T30" fmla="*/ 18138 w 18355"/>
              <a:gd name="T31" fmla="*/ 9606 h 19176"/>
              <a:gd name="T32" fmla="*/ 17763 w 18355"/>
              <a:gd name="T33" fmla="*/ 11473 h 19176"/>
              <a:gd name="T34" fmla="*/ 17482 w 18355"/>
              <a:gd name="T35" fmla="*/ 13229 h 19176"/>
              <a:gd name="T36" fmla="*/ 17588 w 18355"/>
              <a:gd name="T37" fmla="*/ 15339 h 19176"/>
              <a:gd name="T38" fmla="*/ 16648 w 18355"/>
              <a:gd name="T39" fmla="*/ 17031 h 19176"/>
              <a:gd name="T40" fmla="*/ 15433 w 18355"/>
              <a:gd name="T41" fmla="*/ 18694 h 19176"/>
              <a:gd name="T42" fmla="*/ 12293 w 18355"/>
              <a:gd name="T43" fmla="*/ 19075 h 19176"/>
              <a:gd name="T44" fmla="*/ 7061 w 18355"/>
              <a:gd name="T45" fmla="*/ 18594 h 19176"/>
              <a:gd name="T46" fmla="*/ 4593 w 18355"/>
              <a:gd name="T47" fmla="*/ 18133 h 19176"/>
              <a:gd name="T48" fmla="*/ 4569 w 18355"/>
              <a:gd name="T49" fmla="*/ 10352 h 19176"/>
              <a:gd name="T50" fmla="*/ 6184 w 18355"/>
              <a:gd name="T51" fmla="*/ 9421 h 19176"/>
              <a:gd name="T52" fmla="*/ 8014 w 18355"/>
              <a:gd name="T53" fmla="*/ 5820 h 19176"/>
              <a:gd name="T54" fmla="*/ 9930 w 18355"/>
              <a:gd name="T55" fmla="*/ 3631 h 19176"/>
              <a:gd name="T56" fmla="*/ 10549 w 18355"/>
              <a:gd name="T57" fmla="*/ 314 h 19176"/>
              <a:gd name="T58" fmla="*/ 10839 w 18355"/>
              <a:gd name="T59" fmla="*/ 92 h 19176"/>
              <a:gd name="T60" fmla="*/ 10840 w 18355"/>
              <a:gd name="T61" fmla="*/ 92 h 191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355" h="19176">
                <a:moveTo>
                  <a:pt x="0" y="10698"/>
                </a:moveTo>
                <a:cubicBezTo>
                  <a:pt x="0" y="10288"/>
                  <a:pt x="332" y="9956"/>
                  <a:pt x="742" y="9956"/>
                </a:cubicBezTo>
                <a:lnTo>
                  <a:pt x="3063" y="9956"/>
                </a:lnTo>
                <a:cubicBezTo>
                  <a:pt x="3473" y="9956"/>
                  <a:pt x="3805" y="10288"/>
                  <a:pt x="3805" y="10698"/>
                </a:cubicBezTo>
                <a:lnTo>
                  <a:pt x="3805" y="17937"/>
                </a:lnTo>
                <a:cubicBezTo>
                  <a:pt x="3805" y="18347"/>
                  <a:pt x="3473" y="18679"/>
                  <a:pt x="3063" y="18679"/>
                </a:cubicBezTo>
                <a:lnTo>
                  <a:pt x="742" y="18679"/>
                </a:lnTo>
                <a:cubicBezTo>
                  <a:pt x="332" y="18679"/>
                  <a:pt x="0" y="18347"/>
                  <a:pt x="0" y="17937"/>
                </a:cubicBezTo>
                <a:lnTo>
                  <a:pt x="0" y="10698"/>
                </a:lnTo>
                <a:close/>
                <a:moveTo>
                  <a:pt x="10840" y="92"/>
                </a:moveTo>
                <a:cubicBezTo>
                  <a:pt x="11958" y="0"/>
                  <a:pt x="12945" y="940"/>
                  <a:pt x="13072" y="2026"/>
                </a:cubicBezTo>
                <a:cubicBezTo>
                  <a:pt x="13300" y="3194"/>
                  <a:pt x="12920" y="4369"/>
                  <a:pt x="12337" y="5373"/>
                </a:cubicBezTo>
                <a:cubicBezTo>
                  <a:pt x="12027" y="6063"/>
                  <a:pt x="11561" y="6798"/>
                  <a:pt x="11729" y="7584"/>
                </a:cubicBezTo>
                <a:cubicBezTo>
                  <a:pt x="12314" y="7745"/>
                  <a:pt x="13043" y="7564"/>
                  <a:pt x="13683" y="7624"/>
                </a:cubicBezTo>
                <a:cubicBezTo>
                  <a:pt x="14728" y="7649"/>
                  <a:pt x="15799" y="7579"/>
                  <a:pt x="16822" y="7828"/>
                </a:cubicBezTo>
                <a:cubicBezTo>
                  <a:pt x="17509" y="8150"/>
                  <a:pt x="17959" y="8889"/>
                  <a:pt x="18138" y="9606"/>
                </a:cubicBezTo>
                <a:cubicBezTo>
                  <a:pt x="18095" y="10265"/>
                  <a:pt x="17082" y="10804"/>
                  <a:pt x="17763" y="11473"/>
                </a:cubicBezTo>
                <a:cubicBezTo>
                  <a:pt x="18355" y="12055"/>
                  <a:pt x="18034" y="12765"/>
                  <a:pt x="17482" y="13229"/>
                </a:cubicBezTo>
                <a:cubicBezTo>
                  <a:pt x="16974" y="13913"/>
                  <a:pt x="18112" y="14638"/>
                  <a:pt x="17588" y="15339"/>
                </a:cubicBezTo>
                <a:cubicBezTo>
                  <a:pt x="17208" y="15869"/>
                  <a:pt x="16454" y="16264"/>
                  <a:pt x="16648" y="17031"/>
                </a:cubicBezTo>
                <a:cubicBezTo>
                  <a:pt x="16737" y="17802"/>
                  <a:pt x="15981" y="18300"/>
                  <a:pt x="15433" y="18694"/>
                </a:cubicBezTo>
                <a:cubicBezTo>
                  <a:pt x="14469" y="19176"/>
                  <a:pt x="13339" y="19050"/>
                  <a:pt x="12293" y="19075"/>
                </a:cubicBezTo>
                <a:cubicBezTo>
                  <a:pt x="10541" y="19020"/>
                  <a:pt x="8775" y="18998"/>
                  <a:pt x="7061" y="18594"/>
                </a:cubicBezTo>
                <a:cubicBezTo>
                  <a:pt x="6239" y="18438"/>
                  <a:pt x="5413" y="18300"/>
                  <a:pt x="4593" y="18133"/>
                </a:cubicBezTo>
                <a:lnTo>
                  <a:pt x="4569" y="10352"/>
                </a:lnTo>
                <a:cubicBezTo>
                  <a:pt x="5261" y="10450"/>
                  <a:pt x="5818" y="9955"/>
                  <a:pt x="6184" y="9421"/>
                </a:cubicBezTo>
                <a:cubicBezTo>
                  <a:pt x="6994" y="8330"/>
                  <a:pt x="7434" y="7033"/>
                  <a:pt x="8014" y="5820"/>
                </a:cubicBezTo>
                <a:cubicBezTo>
                  <a:pt x="8556" y="5003"/>
                  <a:pt x="9613" y="4619"/>
                  <a:pt x="9930" y="3631"/>
                </a:cubicBezTo>
                <a:cubicBezTo>
                  <a:pt x="10381" y="2585"/>
                  <a:pt x="10429" y="1430"/>
                  <a:pt x="10549" y="314"/>
                </a:cubicBezTo>
                <a:cubicBezTo>
                  <a:pt x="10498" y="170"/>
                  <a:pt x="10943" y="88"/>
                  <a:pt x="10839" y="92"/>
                </a:cubicBezTo>
                <a:lnTo>
                  <a:pt x="10840" y="92"/>
                </a:lnTo>
                <a:close/>
              </a:path>
            </a:pathLst>
          </a:custGeom>
          <a:solidFill>
            <a:srgbClr val="006FAA"/>
          </a:solidFill>
          <a:ln>
            <a:noFill/>
          </a:ln>
          <a:scene3d>
            <a:camera prst="isometricOffAxis1Left"/>
            <a:lightRig rig="threePt" dir="t"/>
          </a:scene3d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10460413" y="4319456"/>
            <a:ext cx="326344" cy="343854"/>
            <a:chOff x="11175558" y="3225704"/>
            <a:chExt cx="515277" cy="542925"/>
          </a:xfrm>
          <a:scene3d>
            <a:camera prst="isometricLeftDown"/>
            <a:lightRig rig="threePt" dir="t"/>
          </a:scene3d>
        </p:grpSpPr>
        <p:grpSp>
          <p:nvGrpSpPr>
            <p:cNvPr id="8" name="Chat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11175558" y="3225704"/>
              <a:ext cx="515277" cy="542925"/>
              <a:chOff x="4630" y="2156"/>
              <a:chExt cx="205" cy="216"/>
            </a:xfrm>
            <a:solidFill>
              <a:srgbClr val="71A333"/>
            </a:solidFill>
          </p:grpSpPr>
          <p:sp>
            <p:nvSpPr>
              <p:cNvPr id="9" name="Freeform 84"/>
              <p:cNvSpPr>
                <a:spLocks/>
              </p:cNvSpPr>
              <p:nvPr/>
            </p:nvSpPr>
            <p:spPr bwMode="auto">
              <a:xfrm>
                <a:off x="4630" y="2156"/>
                <a:ext cx="205" cy="216"/>
              </a:xfrm>
              <a:custGeom>
                <a:avLst/>
                <a:gdLst>
                  <a:gd name="T0" fmla="*/ 212 w 425"/>
                  <a:gd name="T1" fmla="*/ 397 h 450"/>
                  <a:gd name="T2" fmla="*/ 86 w 425"/>
                  <a:gd name="T3" fmla="*/ 364 h 450"/>
                  <a:gd name="T4" fmla="*/ 0 w 425"/>
                  <a:gd name="T5" fmla="*/ 450 h 450"/>
                  <a:gd name="T6" fmla="*/ 0 w 425"/>
                  <a:gd name="T7" fmla="*/ 199 h 450"/>
                  <a:gd name="T8" fmla="*/ 0 w 425"/>
                  <a:gd name="T9" fmla="*/ 199 h 450"/>
                  <a:gd name="T10" fmla="*/ 0 w 425"/>
                  <a:gd name="T11" fmla="*/ 195 h 450"/>
                  <a:gd name="T12" fmla="*/ 212 w 425"/>
                  <a:gd name="T13" fmla="*/ 0 h 450"/>
                  <a:gd name="T14" fmla="*/ 425 w 425"/>
                  <a:gd name="T15" fmla="*/ 199 h 450"/>
                  <a:gd name="T16" fmla="*/ 212 w 425"/>
                  <a:gd name="T17" fmla="*/ 397 h 4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5" h="450">
                    <a:moveTo>
                      <a:pt x="212" y="397"/>
                    </a:moveTo>
                    <a:cubicBezTo>
                      <a:pt x="168" y="398"/>
                      <a:pt x="124" y="387"/>
                      <a:pt x="86" y="364"/>
                    </a:cubicBezTo>
                    <a:lnTo>
                      <a:pt x="0" y="450"/>
                    </a:lnTo>
                    <a:lnTo>
                      <a:pt x="0" y="199"/>
                    </a:lnTo>
                    <a:lnTo>
                      <a:pt x="0" y="199"/>
                    </a:lnTo>
                    <a:cubicBezTo>
                      <a:pt x="0" y="197"/>
                      <a:pt x="0" y="196"/>
                      <a:pt x="0" y="195"/>
                    </a:cubicBezTo>
                    <a:cubicBezTo>
                      <a:pt x="0" y="80"/>
                      <a:pt x="78" y="0"/>
                      <a:pt x="212" y="0"/>
                    </a:cubicBezTo>
                    <a:cubicBezTo>
                      <a:pt x="346" y="0"/>
                      <a:pt x="425" y="83"/>
                      <a:pt x="425" y="199"/>
                    </a:cubicBezTo>
                    <a:cubicBezTo>
                      <a:pt x="425" y="314"/>
                      <a:pt x="346" y="397"/>
                      <a:pt x="212" y="397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  <p:sp>
            <p:nvSpPr>
              <p:cNvPr id="10" name="Freeform 85"/>
              <p:cNvSpPr>
                <a:spLocks noEditPoints="1"/>
              </p:cNvSpPr>
              <p:nvPr/>
            </p:nvSpPr>
            <p:spPr bwMode="auto">
              <a:xfrm>
                <a:off x="4666" y="2234"/>
                <a:ext cx="138" cy="42"/>
              </a:xfrm>
              <a:custGeom>
                <a:avLst/>
                <a:gdLst>
                  <a:gd name="T0" fmla="*/ 237 w 287"/>
                  <a:gd name="T1" fmla="*/ 0 h 88"/>
                  <a:gd name="T2" fmla="*/ 263 w 287"/>
                  <a:gd name="T3" fmla="*/ 64 h 88"/>
                  <a:gd name="T4" fmla="*/ 199 w 287"/>
                  <a:gd name="T5" fmla="*/ 38 h 88"/>
                  <a:gd name="T6" fmla="*/ 237 w 287"/>
                  <a:gd name="T7" fmla="*/ 0 h 88"/>
                  <a:gd name="T8" fmla="*/ 137 w 287"/>
                  <a:gd name="T9" fmla="*/ 1 h 88"/>
                  <a:gd name="T10" fmla="*/ 164 w 287"/>
                  <a:gd name="T11" fmla="*/ 65 h 88"/>
                  <a:gd name="T12" fmla="*/ 100 w 287"/>
                  <a:gd name="T13" fmla="*/ 38 h 88"/>
                  <a:gd name="T14" fmla="*/ 137 w 287"/>
                  <a:gd name="T15" fmla="*/ 1 h 88"/>
                  <a:gd name="T16" fmla="*/ 37 w 287"/>
                  <a:gd name="T17" fmla="*/ 1 h 88"/>
                  <a:gd name="T18" fmla="*/ 64 w 287"/>
                  <a:gd name="T19" fmla="*/ 65 h 88"/>
                  <a:gd name="T20" fmla="*/ 0 w 287"/>
                  <a:gd name="T21" fmla="*/ 38 h 88"/>
                  <a:gd name="T22" fmla="*/ 37 w 287"/>
                  <a:gd name="T23" fmla="*/ 1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7" h="88">
                    <a:moveTo>
                      <a:pt x="237" y="0"/>
                    </a:moveTo>
                    <a:cubicBezTo>
                      <a:pt x="270" y="0"/>
                      <a:pt x="287" y="41"/>
                      <a:pt x="263" y="64"/>
                    </a:cubicBezTo>
                    <a:cubicBezTo>
                      <a:pt x="240" y="88"/>
                      <a:pt x="199" y="71"/>
                      <a:pt x="199" y="38"/>
                    </a:cubicBezTo>
                    <a:cubicBezTo>
                      <a:pt x="199" y="17"/>
                      <a:pt x="216" y="0"/>
                      <a:pt x="237" y="0"/>
                    </a:cubicBezTo>
                    <a:close/>
                    <a:moveTo>
                      <a:pt x="137" y="1"/>
                    </a:moveTo>
                    <a:cubicBezTo>
                      <a:pt x="170" y="1"/>
                      <a:pt x="187" y="41"/>
                      <a:pt x="164" y="65"/>
                    </a:cubicBezTo>
                    <a:cubicBezTo>
                      <a:pt x="140" y="88"/>
                      <a:pt x="100" y="71"/>
                      <a:pt x="100" y="38"/>
                    </a:cubicBezTo>
                    <a:cubicBezTo>
                      <a:pt x="100" y="17"/>
                      <a:pt x="116" y="1"/>
                      <a:pt x="137" y="1"/>
                    </a:cubicBezTo>
                    <a:close/>
                    <a:moveTo>
                      <a:pt x="37" y="1"/>
                    </a:moveTo>
                    <a:cubicBezTo>
                      <a:pt x="70" y="1"/>
                      <a:pt x="87" y="41"/>
                      <a:pt x="64" y="65"/>
                    </a:cubicBezTo>
                    <a:cubicBezTo>
                      <a:pt x="40" y="88"/>
                      <a:pt x="0" y="71"/>
                      <a:pt x="0" y="38"/>
                    </a:cubicBezTo>
                    <a:cubicBezTo>
                      <a:pt x="0" y="17"/>
                      <a:pt x="16" y="1"/>
                      <a:pt x="37" y="1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dirty="0"/>
              </a:p>
            </p:txBody>
          </p:sp>
        </p:grpSp>
        <p:grpSp>
          <p:nvGrpSpPr>
            <p:cNvPr id="14" name="Group 13"/>
            <p:cNvGrpSpPr/>
            <p:nvPr/>
          </p:nvGrpSpPr>
          <p:grpSpPr>
            <a:xfrm>
              <a:off x="11304335" y="3430338"/>
              <a:ext cx="257722" cy="66828"/>
              <a:chOff x="11266046" y="3421760"/>
              <a:chExt cx="407127" cy="105569"/>
            </a:xfrm>
          </p:grpSpPr>
          <p:sp>
            <p:nvSpPr>
              <p:cNvPr id="11" name="Oval 10"/>
              <p:cNvSpPr/>
              <p:nvPr/>
            </p:nvSpPr>
            <p:spPr>
              <a:xfrm>
                <a:off x="11266046" y="3421760"/>
                <a:ext cx="105569" cy="10556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11421689" y="3421760"/>
                <a:ext cx="105569" cy="10556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11567604" y="3421760"/>
                <a:ext cx="105569" cy="105569"/>
              </a:xfrm>
              <a:prstGeom prst="ellipse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IN"/>
              </a:p>
            </p:txBody>
          </p:sp>
        </p:grpSp>
      </p:grpSp>
      <p:sp>
        <p:nvSpPr>
          <p:cNvPr id="16" name="TextBox 15"/>
          <p:cNvSpPr txBox="1"/>
          <p:nvPr/>
        </p:nvSpPr>
        <p:spPr>
          <a:xfrm>
            <a:off x="7712820" y="3039243"/>
            <a:ext cx="627095" cy="400110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non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41%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853557" y="2408715"/>
            <a:ext cx="627095" cy="400110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non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44%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000483" y="1762619"/>
            <a:ext cx="627095" cy="400110"/>
          </a:xfrm>
          <a:prstGeom prst="rect">
            <a:avLst/>
          </a:prstGeom>
          <a:noFill/>
          <a:scene3d>
            <a:camera prst="isometricRightUp"/>
            <a:lightRig rig="threePt" dir="t"/>
          </a:scene3d>
        </p:spPr>
        <p:txBody>
          <a:bodyPr wrap="none" rtlCol="0">
            <a:spAutoFit/>
          </a:bodyPr>
          <a:lstStyle/>
          <a:p>
            <a:r>
              <a:rPr lang="en-IN" sz="2000" dirty="0" smtClean="0">
                <a:solidFill>
                  <a:schemeClr val="bg1"/>
                </a:solidFill>
              </a:rPr>
              <a:t>45%</a:t>
            </a:r>
            <a:endParaRPr lang="en-IN" sz="20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7712820" y="4904152"/>
            <a:ext cx="739305" cy="369332"/>
          </a:xfrm>
          <a:prstGeom prst="rect">
            <a:avLst/>
          </a:prstGeom>
          <a:scene3d>
            <a:camera prst="isometricTopUp"/>
            <a:lightRig rig="threePt" dir="t"/>
          </a:scene3d>
        </p:spPr>
        <p:txBody>
          <a:bodyPr wrap="none">
            <a:spAutoFit/>
          </a:bodyPr>
          <a:lstStyle/>
          <a:p>
            <a:r>
              <a:rPr lang="en-IN" b="1" dirty="0"/>
              <a:t>Video</a:t>
            </a:r>
          </a:p>
        </p:txBody>
      </p:sp>
      <p:sp>
        <p:nvSpPr>
          <p:cNvPr id="20" name="Rectangle 19"/>
          <p:cNvSpPr/>
          <p:nvPr/>
        </p:nvSpPr>
        <p:spPr>
          <a:xfrm>
            <a:off x="8248744" y="4984559"/>
            <a:ext cx="1406154" cy="369332"/>
          </a:xfrm>
          <a:prstGeom prst="rect">
            <a:avLst/>
          </a:prstGeom>
          <a:scene3d>
            <a:camera prst="isometricTopUp"/>
            <a:lightRig rig="threePt" dir="t"/>
          </a:scene3d>
        </p:spPr>
        <p:txBody>
          <a:bodyPr wrap="none">
            <a:spAutoFit/>
          </a:bodyPr>
          <a:lstStyle/>
          <a:p>
            <a:r>
              <a:rPr lang="en-IN" b="1" dirty="0"/>
              <a:t>Social-media</a:t>
            </a:r>
          </a:p>
        </p:txBody>
      </p:sp>
      <p:sp>
        <p:nvSpPr>
          <p:cNvPr id="21" name="Rectangle 20"/>
          <p:cNvSpPr/>
          <p:nvPr/>
        </p:nvSpPr>
        <p:spPr>
          <a:xfrm>
            <a:off x="9539813" y="4992696"/>
            <a:ext cx="1264577" cy="369332"/>
          </a:xfrm>
          <a:prstGeom prst="rect">
            <a:avLst/>
          </a:prstGeom>
          <a:scene3d>
            <a:camera prst="isometricTopUp"/>
            <a:lightRig rig="threePt" dir="t"/>
          </a:scene3d>
        </p:spPr>
        <p:txBody>
          <a:bodyPr wrap="none">
            <a:spAutoFit/>
          </a:bodyPr>
          <a:lstStyle/>
          <a:p>
            <a:r>
              <a:rPr lang="en-IN" b="1" dirty="0"/>
              <a:t>In-app chat</a:t>
            </a:r>
          </a:p>
        </p:txBody>
      </p:sp>
      <p:grpSp>
        <p:nvGrpSpPr>
          <p:cNvPr id="23" name="IPhone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3839946" y="3581837"/>
            <a:ext cx="436282" cy="770873"/>
            <a:chOff x="144" y="127"/>
            <a:chExt cx="133" cy="235"/>
          </a:xfrm>
          <a:solidFill>
            <a:srgbClr val="32613C">
              <a:alpha val="43000"/>
            </a:srgbClr>
          </a:solidFill>
        </p:grpSpPr>
        <p:sp>
          <p:nvSpPr>
            <p:cNvPr id="24" name="IPhone"/>
            <p:cNvSpPr>
              <a:spLocks noEditPoints="1"/>
            </p:cNvSpPr>
            <p:nvPr>
              <p:custDataLst>
                <p:tags r:id="rId8"/>
              </p:custDataLst>
            </p:nvPr>
          </p:nvSpPr>
          <p:spPr bwMode="auto">
            <a:xfrm>
              <a:off x="144" y="127"/>
              <a:ext cx="133" cy="235"/>
            </a:xfrm>
            <a:custGeom>
              <a:avLst/>
              <a:gdLst>
                <a:gd name="T0" fmla="*/ 178 w 356"/>
                <a:gd name="T1" fmla="*/ 43 h 624"/>
                <a:gd name="T2" fmla="*/ 187 w 356"/>
                <a:gd name="T3" fmla="*/ 34 h 624"/>
                <a:gd name="T4" fmla="*/ 178 w 356"/>
                <a:gd name="T5" fmla="*/ 25 h 624"/>
                <a:gd name="T6" fmla="*/ 169 w 356"/>
                <a:gd name="T7" fmla="*/ 34 h 624"/>
                <a:gd name="T8" fmla="*/ 178 w 356"/>
                <a:gd name="T9" fmla="*/ 43 h 624"/>
                <a:gd name="T10" fmla="*/ 316 w 356"/>
                <a:gd name="T11" fmla="*/ 61 h 624"/>
                <a:gd name="T12" fmla="*/ 40 w 356"/>
                <a:gd name="T13" fmla="*/ 61 h 624"/>
                <a:gd name="T14" fmla="*/ 40 w 356"/>
                <a:gd name="T15" fmla="*/ 502 h 624"/>
                <a:gd name="T16" fmla="*/ 316 w 356"/>
                <a:gd name="T17" fmla="*/ 502 h 624"/>
                <a:gd name="T18" fmla="*/ 316 w 356"/>
                <a:gd name="T19" fmla="*/ 61 h 624"/>
                <a:gd name="T20" fmla="*/ 356 w 356"/>
                <a:gd name="T21" fmla="*/ 25 h 624"/>
                <a:gd name="T22" fmla="*/ 356 w 356"/>
                <a:gd name="T23" fmla="*/ 598 h 624"/>
                <a:gd name="T24" fmla="*/ 334 w 356"/>
                <a:gd name="T25" fmla="*/ 624 h 624"/>
                <a:gd name="T26" fmla="*/ 22 w 356"/>
                <a:gd name="T27" fmla="*/ 624 h 624"/>
                <a:gd name="T28" fmla="*/ 0 w 356"/>
                <a:gd name="T29" fmla="*/ 598 h 624"/>
                <a:gd name="T30" fmla="*/ 0 w 356"/>
                <a:gd name="T31" fmla="*/ 25 h 624"/>
                <a:gd name="T32" fmla="*/ 22 w 356"/>
                <a:gd name="T33" fmla="*/ 0 h 624"/>
                <a:gd name="T34" fmla="*/ 334 w 356"/>
                <a:gd name="T35" fmla="*/ 0 h 624"/>
                <a:gd name="T36" fmla="*/ 356 w 356"/>
                <a:gd name="T37" fmla="*/ 25 h 624"/>
                <a:gd name="T38" fmla="*/ 209 w 356"/>
                <a:gd name="T39" fmla="*/ 559 h 624"/>
                <a:gd name="T40" fmla="*/ 178 w 356"/>
                <a:gd name="T41" fmla="*/ 528 h 624"/>
                <a:gd name="T42" fmla="*/ 147 w 356"/>
                <a:gd name="T43" fmla="*/ 559 h 624"/>
                <a:gd name="T44" fmla="*/ 178 w 356"/>
                <a:gd name="T45" fmla="*/ 590 h 624"/>
                <a:gd name="T46" fmla="*/ 209 w 356"/>
                <a:gd name="T47" fmla="*/ 559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6" h="624">
                  <a:moveTo>
                    <a:pt x="178" y="43"/>
                  </a:moveTo>
                  <a:cubicBezTo>
                    <a:pt x="183" y="43"/>
                    <a:pt x="187" y="39"/>
                    <a:pt x="187" y="34"/>
                  </a:cubicBezTo>
                  <a:cubicBezTo>
                    <a:pt x="187" y="29"/>
                    <a:pt x="183" y="25"/>
                    <a:pt x="178" y="25"/>
                  </a:cubicBezTo>
                  <a:cubicBezTo>
                    <a:pt x="173" y="25"/>
                    <a:pt x="169" y="29"/>
                    <a:pt x="169" y="34"/>
                  </a:cubicBezTo>
                  <a:cubicBezTo>
                    <a:pt x="169" y="39"/>
                    <a:pt x="173" y="43"/>
                    <a:pt x="178" y="43"/>
                  </a:cubicBezTo>
                  <a:close/>
                  <a:moveTo>
                    <a:pt x="316" y="61"/>
                  </a:moveTo>
                  <a:lnTo>
                    <a:pt x="40" y="61"/>
                  </a:lnTo>
                  <a:lnTo>
                    <a:pt x="40" y="502"/>
                  </a:lnTo>
                  <a:lnTo>
                    <a:pt x="316" y="502"/>
                  </a:lnTo>
                  <a:lnTo>
                    <a:pt x="316" y="61"/>
                  </a:lnTo>
                  <a:close/>
                  <a:moveTo>
                    <a:pt x="356" y="25"/>
                  </a:moveTo>
                  <a:lnTo>
                    <a:pt x="356" y="598"/>
                  </a:lnTo>
                  <a:cubicBezTo>
                    <a:pt x="356" y="612"/>
                    <a:pt x="346" y="624"/>
                    <a:pt x="334" y="624"/>
                  </a:cubicBezTo>
                  <a:lnTo>
                    <a:pt x="22" y="624"/>
                  </a:lnTo>
                  <a:cubicBezTo>
                    <a:pt x="10" y="624"/>
                    <a:pt x="0" y="612"/>
                    <a:pt x="0" y="598"/>
                  </a:cubicBezTo>
                  <a:lnTo>
                    <a:pt x="0" y="25"/>
                  </a:lnTo>
                  <a:cubicBezTo>
                    <a:pt x="0" y="11"/>
                    <a:pt x="10" y="0"/>
                    <a:pt x="22" y="0"/>
                  </a:cubicBezTo>
                  <a:lnTo>
                    <a:pt x="334" y="0"/>
                  </a:lnTo>
                  <a:cubicBezTo>
                    <a:pt x="346" y="0"/>
                    <a:pt x="356" y="11"/>
                    <a:pt x="356" y="25"/>
                  </a:cubicBezTo>
                  <a:close/>
                  <a:moveTo>
                    <a:pt x="209" y="559"/>
                  </a:moveTo>
                  <a:cubicBezTo>
                    <a:pt x="209" y="542"/>
                    <a:pt x="195" y="528"/>
                    <a:pt x="178" y="528"/>
                  </a:cubicBezTo>
                  <a:cubicBezTo>
                    <a:pt x="161" y="528"/>
                    <a:pt x="147" y="542"/>
                    <a:pt x="147" y="559"/>
                  </a:cubicBezTo>
                  <a:cubicBezTo>
                    <a:pt x="147" y="576"/>
                    <a:pt x="161" y="590"/>
                    <a:pt x="178" y="590"/>
                  </a:cubicBezTo>
                  <a:cubicBezTo>
                    <a:pt x="195" y="590"/>
                    <a:pt x="209" y="576"/>
                    <a:pt x="209" y="55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IPhone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06" y="333"/>
              <a:ext cx="9" cy="10"/>
            </a:xfrm>
            <a:custGeom>
              <a:avLst/>
              <a:gdLst>
                <a:gd name="T0" fmla="*/ 24 w 24"/>
                <a:gd name="T1" fmla="*/ 2 h 25"/>
                <a:gd name="T2" fmla="*/ 24 w 24"/>
                <a:gd name="T3" fmla="*/ 22 h 25"/>
                <a:gd name="T4" fmla="*/ 22 w 24"/>
                <a:gd name="T5" fmla="*/ 25 h 25"/>
                <a:gd name="T6" fmla="*/ 3 w 24"/>
                <a:gd name="T7" fmla="*/ 25 h 25"/>
                <a:gd name="T8" fmla="*/ 0 w 24"/>
                <a:gd name="T9" fmla="*/ 22 h 25"/>
                <a:gd name="T10" fmla="*/ 0 w 24"/>
                <a:gd name="T11" fmla="*/ 2 h 25"/>
                <a:gd name="T12" fmla="*/ 3 w 24"/>
                <a:gd name="T13" fmla="*/ 0 h 25"/>
                <a:gd name="T14" fmla="*/ 22 w 24"/>
                <a:gd name="T15" fmla="*/ 0 h 25"/>
                <a:gd name="T16" fmla="*/ 24 w 24"/>
                <a:gd name="T17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25">
                  <a:moveTo>
                    <a:pt x="24" y="2"/>
                  </a:moveTo>
                  <a:lnTo>
                    <a:pt x="24" y="22"/>
                  </a:lnTo>
                  <a:cubicBezTo>
                    <a:pt x="24" y="23"/>
                    <a:pt x="23" y="25"/>
                    <a:pt x="22" y="25"/>
                  </a:cubicBezTo>
                  <a:lnTo>
                    <a:pt x="3" y="25"/>
                  </a:lnTo>
                  <a:cubicBezTo>
                    <a:pt x="1" y="25"/>
                    <a:pt x="0" y="23"/>
                    <a:pt x="0" y="22"/>
                  </a:cubicBezTo>
                  <a:lnTo>
                    <a:pt x="0" y="2"/>
                  </a:lnTo>
                  <a:cubicBezTo>
                    <a:pt x="0" y="1"/>
                    <a:pt x="1" y="0"/>
                    <a:pt x="3" y="0"/>
                  </a:cubicBezTo>
                  <a:lnTo>
                    <a:pt x="22" y="0"/>
                  </a:lnTo>
                  <a:cubicBezTo>
                    <a:pt x="23" y="0"/>
                    <a:pt x="24" y="1"/>
                    <a:pt x="24" y="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1" name="TextBox 30"/>
          <p:cNvSpPr txBox="1"/>
          <p:nvPr/>
        </p:nvSpPr>
        <p:spPr>
          <a:xfrm>
            <a:off x="1670456" y="3181752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 smtClean="0">
                <a:solidFill>
                  <a:schemeClr val="bg1"/>
                </a:solidFill>
              </a:rPr>
              <a:t>42%</a:t>
            </a:r>
            <a:endParaRPr lang="en-IN" b="1" dirty="0">
              <a:solidFill>
                <a:schemeClr val="bg1"/>
              </a:solidFill>
            </a:endParaRPr>
          </a:p>
        </p:txBody>
      </p:sp>
      <p:grpSp>
        <p:nvGrpSpPr>
          <p:cNvPr id="26" name="Laptop2"/>
          <p:cNvGrpSpPr>
            <a:grpSpLocks noChangeAspect="1"/>
          </p:cNvGrpSpPr>
          <p:nvPr>
            <p:custDataLst>
              <p:tags r:id="rId4"/>
            </p:custDataLst>
          </p:nvPr>
        </p:nvGrpSpPr>
        <p:grpSpPr bwMode="auto">
          <a:xfrm>
            <a:off x="1417859" y="3819719"/>
            <a:ext cx="1026749" cy="650501"/>
            <a:chOff x="25" y="101"/>
            <a:chExt cx="453" cy="287"/>
          </a:xfrm>
          <a:solidFill>
            <a:srgbClr val="0E5AA8">
              <a:alpha val="52000"/>
            </a:srgbClr>
          </a:solidFill>
        </p:grpSpPr>
        <p:sp>
          <p:nvSpPr>
            <p:cNvPr id="27" name="Laptop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25" y="365"/>
              <a:ext cx="453" cy="23"/>
            </a:xfrm>
            <a:custGeom>
              <a:avLst/>
              <a:gdLst>
                <a:gd name="T0" fmla="*/ 1179 w 1206"/>
                <a:gd name="T1" fmla="*/ 40 h 61"/>
                <a:gd name="T2" fmla="*/ 1158 w 1206"/>
                <a:gd name="T3" fmla="*/ 61 h 61"/>
                <a:gd name="T4" fmla="*/ 38 w 1206"/>
                <a:gd name="T5" fmla="*/ 61 h 61"/>
                <a:gd name="T6" fmla="*/ 18 w 1206"/>
                <a:gd name="T7" fmla="*/ 40 h 61"/>
                <a:gd name="T8" fmla="*/ 0 w 1206"/>
                <a:gd name="T9" fmla="*/ 21 h 61"/>
                <a:gd name="T10" fmla="*/ 21 w 1206"/>
                <a:gd name="T11" fmla="*/ 0 h 61"/>
                <a:gd name="T12" fmla="*/ 1186 w 1206"/>
                <a:gd name="T13" fmla="*/ 4 h 61"/>
                <a:gd name="T14" fmla="*/ 1206 w 1206"/>
                <a:gd name="T15" fmla="*/ 24 h 61"/>
                <a:gd name="T16" fmla="*/ 1179 w 1206"/>
                <a:gd name="T17" fmla="*/ 4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06" h="61">
                  <a:moveTo>
                    <a:pt x="1179" y="40"/>
                  </a:moveTo>
                  <a:cubicBezTo>
                    <a:pt x="1179" y="51"/>
                    <a:pt x="1169" y="61"/>
                    <a:pt x="1158" y="61"/>
                  </a:cubicBezTo>
                  <a:lnTo>
                    <a:pt x="38" y="61"/>
                  </a:lnTo>
                  <a:cubicBezTo>
                    <a:pt x="27" y="61"/>
                    <a:pt x="18" y="51"/>
                    <a:pt x="18" y="40"/>
                  </a:cubicBezTo>
                  <a:lnTo>
                    <a:pt x="0" y="21"/>
                  </a:lnTo>
                  <a:cubicBezTo>
                    <a:pt x="0" y="10"/>
                    <a:pt x="10" y="0"/>
                    <a:pt x="21" y="0"/>
                  </a:cubicBezTo>
                  <a:lnTo>
                    <a:pt x="1186" y="4"/>
                  </a:lnTo>
                  <a:cubicBezTo>
                    <a:pt x="1197" y="4"/>
                    <a:pt x="1206" y="13"/>
                    <a:pt x="1206" y="24"/>
                  </a:cubicBezTo>
                  <a:lnTo>
                    <a:pt x="1179" y="4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Laptop2"/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auto">
            <a:xfrm>
              <a:off x="25" y="308"/>
              <a:ext cx="448" cy="62"/>
            </a:xfrm>
            <a:custGeom>
              <a:avLst/>
              <a:gdLst>
                <a:gd name="T0" fmla="*/ 437 w 1194"/>
                <a:gd name="T1" fmla="*/ 159 h 164"/>
                <a:gd name="T2" fmla="*/ 480 w 1194"/>
                <a:gd name="T3" fmla="*/ 118 h 164"/>
                <a:gd name="T4" fmla="*/ 493 w 1194"/>
                <a:gd name="T5" fmla="*/ 113 h 164"/>
                <a:gd name="T6" fmla="*/ 660 w 1194"/>
                <a:gd name="T7" fmla="*/ 113 h 164"/>
                <a:gd name="T8" fmla="*/ 673 w 1194"/>
                <a:gd name="T9" fmla="*/ 118 h 164"/>
                <a:gd name="T10" fmla="*/ 716 w 1194"/>
                <a:gd name="T11" fmla="*/ 158 h 164"/>
                <a:gd name="T12" fmla="*/ 1194 w 1194"/>
                <a:gd name="T13" fmla="*/ 155 h 164"/>
                <a:gd name="T14" fmla="*/ 1025 w 1194"/>
                <a:gd name="T15" fmla="*/ 0 h 164"/>
                <a:gd name="T16" fmla="*/ 161 w 1194"/>
                <a:gd name="T17" fmla="*/ 0 h 164"/>
                <a:gd name="T18" fmla="*/ 0 w 1194"/>
                <a:gd name="T19" fmla="*/ 164 h 164"/>
                <a:gd name="T20" fmla="*/ 438 w 1194"/>
                <a:gd name="T21" fmla="*/ 160 h 164"/>
                <a:gd name="T22" fmla="*/ 437 w 1194"/>
                <a:gd name="T23" fmla="*/ 159 h 164"/>
                <a:gd name="T24" fmla="*/ 268 w 1194"/>
                <a:gd name="T25" fmla="*/ 22 h 164"/>
                <a:gd name="T26" fmla="*/ 927 w 1194"/>
                <a:gd name="T27" fmla="*/ 22 h 164"/>
                <a:gd name="T28" fmla="*/ 1056 w 1194"/>
                <a:gd name="T29" fmla="*/ 95 h 164"/>
                <a:gd name="T30" fmla="*/ 145 w 1194"/>
                <a:gd name="T31" fmla="*/ 100 h 164"/>
                <a:gd name="T32" fmla="*/ 268 w 1194"/>
                <a:gd name="T33" fmla="*/ 2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94" h="164">
                  <a:moveTo>
                    <a:pt x="437" y="159"/>
                  </a:moveTo>
                  <a:lnTo>
                    <a:pt x="480" y="118"/>
                  </a:lnTo>
                  <a:cubicBezTo>
                    <a:pt x="480" y="115"/>
                    <a:pt x="486" y="113"/>
                    <a:pt x="493" y="113"/>
                  </a:cubicBezTo>
                  <a:lnTo>
                    <a:pt x="660" y="113"/>
                  </a:lnTo>
                  <a:cubicBezTo>
                    <a:pt x="667" y="113"/>
                    <a:pt x="673" y="115"/>
                    <a:pt x="673" y="118"/>
                  </a:cubicBezTo>
                  <a:lnTo>
                    <a:pt x="716" y="158"/>
                  </a:lnTo>
                  <a:lnTo>
                    <a:pt x="1194" y="155"/>
                  </a:lnTo>
                  <a:lnTo>
                    <a:pt x="1025" y="0"/>
                  </a:lnTo>
                  <a:lnTo>
                    <a:pt x="161" y="0"/>
                  </a:lnTo>
                  <a:lnTo>
                    <a:pt x="0" y="164"/>
                  </a:lnTo>
                  <a:lnTo>
                    <a:pt x="438" y="160"/>
                  </a:lnTo>
                  <a:cubicBezTo>
                    <a:pt x="437" y="160"/>
                    <a:pt x="437" y="159"/>
                    <a:pt x="437" y="159"/>
                  </a:cubicBezTo>
                  <a:close/>
                  <a:moveTo>
                    <a:pt x="268" y="22"/>
                  </a:moveTo>
                  <a:lnTo>
                    <a:pt x="927" y="22"/>
                  </a:lnTo>
                  <a:lnTo>
                    <a:pt x="1056" y="95"/>
                  </a:lnTo>
                  <a:lnTo>
                    <a:pt x="145" y="100"/>
                  </a:lnTo>
                  <a:lnTo>
                    <a:pt x="268" y="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Laptop2"/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auto">
            <a:xfrm>
              <a:off x="85" y="101"/>
              <a:ext cx="325" cy="207"/>
            </a:xfrm>
            <a:custGeom>
              <a:avLst/>
              <a:gdLst>
                <a:gd name="T0" fmla="*/ 843 w 864"/>
                <a:gd name="T1" fmla="*/ 0 h 552"/>
                <a:gd name="T2" fmla="*/ 21 w 864"/>
                <a:gd name="T3" fmla="*/ 0 h 552"/>
                <a:gd name="T4" fmla="*/ 0 w 864"/>
                <a:gd name="T5" fmla="*/ 21 h 552"/>
                <a:gd name="T6" fmla="*/ 0 w 864"/>
                <a:gd name="T7" fmla="*/ 552 h 552"/>
                <a:gd name="T8" fmla="*/ 864 w 864"/>
                <a:gd name="T9" fmla="*/ 552 h 552"/>
                <a:gd name="T10" fmla="*/ 864 w 864"/>
                <a:gd name="T11" fmla="*/ 21 h 552"/>
                <a:gd name="T12" fmla="*/ 843 w 864"/>
                <a:gd name="T13" fmla="*/ 0 h 552"/>
                <a:gd name="T14" fmla="*/ 436 w 864"/>
                <a:gd name="T15" fmla="*/ 6 h 552"/>
                <a:gd name="T16" fmla="*/ 445 w 864"/>
                <a:gd name="T17" fmla="*/ 14 h 552"/>
                <a:gd name="T18" fmla="*/ 436 w 864"/>
                <a:gd name="T19" fmla="*/ 23 h 552"/>
                <a:gd name="T20" fmla="*/ 428 w 864"/>
                <a:gd name="T21" fmla="*/ 14 h 552"/>
                <a:gd name="T22" fmla="*/ 436 w 864"/>
                <a:gd name="T23" fmla="*/ 6 h 552"/>
                <a:gd name="T24" fmla="*/ 830 w 864"/>
                <a:gd name="T25" fmla="*/ 518 h 552"/>
                <a:gd name="T26" fmla="*/ 34 w 864"/>
                <a:gd name="T27" fmla="*/ 518 h 552"/>
                <a:gd name="T28" fmla="*/ 34 w 864"/>
                <a:gd name="T29" fmla="*/ 35 h 552"/>
                <a:gd name="T30" fmla="*/ 830 w 864"/>
                <a:gd name="T31" fmla="*/ 35 h 552"/>
                <a:gd name="T32" fmla="*/ 830 w 864"/>
                <a:gd name="T33" fmla="*/ 518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64" h="552">
                  <a:moveTo>
                    <a:pt x="843" y="0"/>
                  </a:moveTo>
                  <a:lnTo>
                    <a:pt x="21" y="0"/>
                  </a:lnTo>
                  <a:cubicBezTo>
                    <a:pt x="9" y="0"/>
                    <a:pt x="0" y="10"/>
                    <a:pt x="0" y="21"/>
                  </a:cubicBezTo>
                  <a:lnTo>
                    <a:pt x="0" y="552"/>
                  </a:lnTo>
                  <a:lnTo>
                    <a:pt x="864" y="552"/>
                  </a:lnTo>
                  <a:lnTo>
                    <a:pt x="864" y="21"/>
                  </a:lnTo>
                  <a:cubicBezTo>
                    <a:pt x="864" y="10"/>
                    <a:pt x="855" y="0"/>
                    <a:pt x="843" y="0"/>
                  </a:cubicBezTo>
                  <a:close/>
                  <a:moveTo>
                    <a:pt x="436" y="6"/>
                  </a:moveTo>
                  <a:cubicBezTo>
                    <a:pt x="441" y="6"/>
                    <a:pt x="445" y="9"/>
                    <a:pt x="445" y="14"/>
                  </a:cubicBezTo>
                  <a:cubicBezTo>
                    <a:pt x="445" y="19"/>
                    <a:pt x="441" y="23"/>
                    <a:pt x="436" y="23"/>
                  </a:cubicBezTo>
                  <a:cubicBezTo>
                    <a:pt x="432" y="23"/>
                    <a:pt x="428" y="19"/>
                    <a:pt x="428" y="14"/>
                  </a:cubicBezTo>
                  <a:cubicBezTo>
                    <a:pt x="428" y="9"/>
                    <a:pt x="432" y="6"/>
                    <a:pt x="436" y="6"/>
                  </a:cubicBezTo>
                  <a:close/>
                  <a:moveTo>
                    <a:pt x="830" y="518"/>
                  </a:moveTo>
                  <a:lnTo>
                    <a:pt x="34" y="518"/>
                  </a:lnTo>
                  <a:lnTo>
                    <a:pt x="34" y="35"/>
                  </a:lnTo>
                  <a:lnTo>
                    <a:pt x="830" y="35"/>
                  </a:lnTo>
                  <a:lnTo>
                    <a:pt x="830" y="51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3780942" y="2708544"/>
            <a:ext cx="5870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b="1" dirty="0" smtClean="0">
                <a:solidFill>
                  <a:schemeClr val="bg1"/>
                </a:solidFill>
              </a:rPr>
              <a:t>58%</a:t>
            </a:r>
            <a:endParaRPr lang="en-IN" b="1" dirty="0">
              <a:solidFill>
                <a:schemeClr val="bg1"/>
              </a:solidFill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0" y="881699"/>
            <a:ext cx="12192000" cy="646331"/>
          </a:xfrm>
          <a:prstGeom prst="rect">
            <a:avLst/>
          </a:prstGeom>
          <a:solidFill>
            <a:srgbClr val="1B406D"/>
          </a:solidFill>
        </p:spPr>
        <p:txBody>
          <a:bodyPr wrap="square">
            <a:spAutoFit/>
          </a:bodyPr>
          <a:lstStyle/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dirty="0">
                <a:solidFill>
                  <a:schemeClr val="bg1"/>
                </a:solidFill>
              </a:rPr>
              <a:t>Phone has been used more prominently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en-IN" dirty="0" smtClean="0">
                <a:solidFill>
                  <a:schemeClr val="bg1"/>
                </a:solidFill>
              </a:rPr>
              <a:t>The use </a:t>
            </a:r>
            <a:r>
              <a:rPr lang="en-IN" dirty="0">
                <a:solidFill>
                  <a:schemeClr val="bg1"/>
                </a:solidFill>
              </a:rPr>
              <a:t>of video, chat as well as social media based </a:t>
            </a:r>
            <a:r>
              <a:rPr lang="en-IN" dirty="0" smtClean="0">
                <a:solidFill>
                  <a:schemeClr val="bg1"/>
                </a:solidFill>
              </a:rPr>
              <a:t>consultation is prevalent.</a:t>
            </a:r>
            <a:endParaRPr lang="en-IN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311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ode Of Online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4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112040"/>
            <a:ext cx="11617565" cy="338554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Which all online consultation methods did you use?</a:t>
            </a: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ase: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804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896786"/>
            <a:ext cx="12192000" cy="369332"/>
          </a:xfrm>
          <a:prstGeom prst="rect">
            <a:avLst/>
          </a:prstGeom>
          <a:solidFill>
            <a:srgbClr val="1B406D"/>
          </a:solidFill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Millennials use all the modes while non-millennials are </a:t>
            </a:r>
            <a:r>
              <a:rPr lang="en-IN" dirty="0" smtClean="0">
                <a:solidFill>
                  <a:schemeClr val="bg1"/>
                </a:solidFill>
              </a:rPr>
              <a:t>more comfortable with </a:t>
            </a:r>
            <a:r>
              <a:rPr lang="en-IN" dirty="0">
                <a:solidFill>
                  <a:schemeClr val="bg1"/>
                </a:solidFill>
              </a:rPr>
              <a:t>chat.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997747374"/>
              </p:ext>
            </p:extLst>
          </p:nvPr>
        </p:nvGraphicFramePr>
        <p:xfrm>
          <a:off x="334435" y="1266118"/>
          <a:ext cx="11477797" cy="43540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2395976" y="3733000"/>
            <a:ext cx="685800" cy="376517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ounded Rectangle 7"/>
          <p:cNvSpPr/>
          <p:nvPr/>
        </p:nvSpPr>
        <p:spPr>
          <a:xfrm>
            <a:off x="5357655" y="3660693"/>
            <a:ext cx="685800" cy="376517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ounded Rectangle 8"/>
          <p:cNvSpPr/>
          <p:nvPr/>
        </p:nvSpPr>
        <p:spPr>
          <a:xfrm>
            <a:off x="8319334" y="3817778"/>
            <a:ext cx="685800" cy="376517"/>
          </a:xfrm>
          <a:prstGeom prst="round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01181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5" y="277190"/>
            <a:ext cx="10310820" cy="422295"/>
          </a:xfrm>
        </p:spPr>
        <p:txBody>
          <a:bodyPr/>
          <a:lstStyle/>
          <a:p>
            <a:r>
              <a:rPr lang="en-US" dirty="0"/>
              <a:t>Video Call Influencing Selection Of Doctor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5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10824" y="6263125"/>
            <a:ext cx="11617565" cy="153888"/>
          </a:xfrm>
        </p:spPr>
        <p:txBody>
          <a:bodyPr/>
          <a:lstStyle/>
          <a:p>
            <a:r>
              <a:rPr lang="en-US" dirty="0"/>
              <a:t>Q. Did video consultation influence your decision for selecting the doctor?. Base: 644 (people using Video mode for consultation</a:t>
            </a:r>
            <a:r>
              <a:rPr lang="en-US" dirty="0" smtClean="0"/>
              <a:t>)</a:t>
            </a:r>
            <a:endParaRPr lang="en-US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1815479578"/>
              </p:ext>
            </p:extLst>
          </p:nvPr>
        </p:nvGraphicFramePr>
        <p:xfrm>
          <a:off x="90337" y="2005832"/>
          <a:ext cx="4926842" cy="39382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Rectangle 5"/>
          <p:cNvSpPr/>
          <p:nvPr/>
        </p:nvSpPr>
        <p:spPr>
          <a:xfrm>
            <a:off x="0" y="929892"/>
            <a:ext cx="12191999" cy="646331"/>
          </a:xfrm>
          <a:prstGeom prst="rect">
            <a:avLst/>
          </a:prstGeom>
          <a:solidFill>
            <a:srgbClr val="0B2341"/>
          </a:solidFill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IN" dirty="0">
                <a:solidFill>
                  <a:schemeClr val="bg1"/>
                </a:solidFill>
              </a:rPr>
              <a:t>A significantly </a:t>
            </a:r>
            <a:r>
              <a:rPr lang="en-IN" dirty="0" smtClean="0">
                <a:solidFill>
                  <a:schemeClr val="bg1"/>
                </a:solidFill>
              </a:rPr>
              <a:t>high, </a:t>
            </a:r>
            <a:r>
              <a:rPr lang="en-IN" dirty="0">
                <a:solidFill>
                  <a:schemeClr val="bg1"/>
                </a:solidFill>
              </a:rPr>
              <a:t>75% of people </a:t>
            </a:r>
            <a:r>
              <a:rPr lang="en-IN" dirty="0" smtClean="0">
                <a:solidFill>
                  <a:schemeClr val="bg1"/>
                </a:solidFill>
              </a:rPr>
              <a:t>favour </a:t>
            </a:r>
            <a:r>
              <a:rPr lang="en-IN" dirty="0">
                <a:solidFill>
                  <a:schemeClr val="bg1"/>
                </a:solidFill>
              </a:rPr>
              <a:t>doctors providing consultation </a:t>
            </a:r>
            <a:r>
              <a:rPr lang="en-IN" dirty="0" smtClean="0">
                <a:solidFill>
                  <a:schemeClr val="bg1"/>
                </a:solidFill>
              </a:rPr>
              <a:t>via </a:t>
            </a:r>
            <a:r>
              <a:rPr lang="en-IN" dirty="0">
                <a:solidFill>
                  <a:schemeClr val="bg1"/>
                </a:solidFill>
              </a:rPr>
              <a:t>video conference.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IN" dirty="0" smtClean="0">
                <a:solidFill>
                  <a:schemeClr val="bg1"/>
                </a:solidFill>
              </a:rPr>
              <a:t>Asian, </a:t>
            </a:r>
            <a:r>
              <a:rPr lang="en-IN" dirty="0">
                <a:solidFill>
                  <a:schemeClr val="bg1"/>
                </a:solidFill>
              </a:rPr>
              <a:t>African and Middle Eastern countries seems to have more affinity towards the use of video consultation.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133744898"/>
              </p:ext>
            </p:extLst>
          </p:nvPr>
        </p:nvGraphicFramePr>
        <p:xfrm>
          <a:off x="5200818" y="1598427"/>
          <a:ext cx="6656220" cy="4926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654674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5" y="277191"/>
            <a:ext cx="10310820" cy="422295"/>
          </a:xfrm>
        </p:spPr>
        <p:txBody>
          <a:bodyPr/>
          <a:lstStyle/>
          <a:p>
            <a:r>
              <a:rPr lang="en-US" dirty="0"/>
              <a:t>Video </a:t>
            </a:r>
            <a:r>
              <a:rPr lang="en-US" dirty="0" smtClean="0"/>
              <a:t>Conference </a:t>
            </a:r>
            <a:r>
              <a:rPr lang="en-US" dirty="0"/>
              <a:t>A</a:t>
            </a:r>
            <a:r>
              <a:rPr lang="en-US" dirty="0" smtClean="0"/>
              <a:t>vailability Influencing Selection </a:t>
            </a:r>
            <a:r>
              <a:rPr lang="en-US" dirty="0"/>
              <a:t>of </a:t>
            </a:r>
            <a:r>
              <a:rPr lang="en-US" dirty="0" smtClean="0"/>
              <a:t>Doctor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6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2000" cy="369332"/>
          </a:xfrm>
          <a:prstGeom prst="rect">
            <a:avLst/>
          </a:prstGeom>
          <a:solidFill>
            <a:srgbClr val="1B406D"/>
          </a:solidFill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Both </a:t>
            </a:r>
            <a:r>
              <a:rPr lang="en-IN" dirty="0" smtClean="0">
                <a:solidFill>
                  <a:schemeClr val="bg1"/>
                </a:solidFill>
              </a:rPr>
              <a:t>millennials </a:t>
            </a:r>
            <a:r>
              <a:rPr lang="en-IN" dirty="0">
                <a:solidFill>
                  <a:schemeClr val="bg1"/>
                </a:solidFill>
              </a:rPr>
              <a:t>and </a:t>
            </a:r>
            <a:r>
              <a:rPr lang="en-IN" dirty="0" smtClean="0">
                <a:solidFill>
                  <a:schemeClr val="bg1"/>
                </a:solidFill>
              </a:rPr>
              <a:t>non-millennials prefer </a:t>
            </a:r>
            <a:r>
              <a:rPr lang="en-IN" dirty="0">
                <a:solidFill>
                  <a:schemeClr val="bg1"/>
                </a:solidFill>
              </a:rPr>
              <a:t>doctors with video consultation facility 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471740783"/>
              </p:ext>
            </p:extLst>
          </p:nvPr>
        </p:nvGraphicFramePr>
        <p:xfrm>
          <a:off x="334434" y="1125188"/>
          <a:ext cx="11477798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Did video consultation influence your decision for selecting the doctor?. Base: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327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469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Satisfaction - Online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7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Can you rate your overall satisfaction with online consultation? 10 means very satisfied and 1 means not at all satisfied? Base: </a:t>
            </a:r>
            <a:r>
              <a:rPr lang="en-US" dirty="0" smtClean="0"/>
              <a:t>804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1999" cy="369332"/>
          </a:xfrm>
          <a:prstGeom prst="rect">
            <a:avLst/>
          </a:prstGeom>
          <a:solidFill>
            <a:srgbClr val="1B406D"/>
          </a:solidFill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People are more satisfied with video </a:t>
            </a:r>
            <a:r>
              <a:rPr lang="en-IN" dirty="0" smtClean="0">
                <a:solidFill>
                  <a:schemeClr val="bg1"/>
                </a:solidFill>
              </a:rPr>
              <a:t>consultation.</a:t>
            </a:r>
            <a:endParaRPr lang="en-IN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959124" y="1368260"/>
            <a:ext cx="10194613" cy="4837567"/>
            <a:chOff x="850482" y="1368260"/>
            <a:chExt cx="10194613" cy="4837567"/>
          </a:xfrm>
        </p:grpSpPr>
        <p:graphicFrame>
          <p:nvGraphicFramePr>
            <p:cNvPr id="6" name="Chart 5"/>
            <p:cNvGraphicFramePr/>
            <p:nvPr>
              <p:extLst>
                <p:ext uri="{D42A27DB-BD31-4B8C-83A1-F6EECF244321}">
                  <p14:modId xmlns:p14="http://schemas.microsoft.com/office/powerpoint/2010/main" val="282578638"/>
                </p:ext>
              </p:extLst>
            </p:nvPr>
          </p:nvGraphicFramePr>
          <p:xfrm>
            <a:off x="850482" y="1368260"/>
            <a:ext cx="10194613" cy="48375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1" name="Oval 10"/>
            <p:cNvSpPr/>
            <p:nvPr/>
          </p:nvSpPr>
          <p:spPr>
            <a:xfrm>
              <a:off x="9508910" y="2467798"/>
              <a:ext cx="819473" cy="819473"/>
            </a:xfrm>
            <a:prstGeom prst="ellipse">
              <a:avLst/>
            </a:prstGeom>
            <a:solidFill>
              <a:srgbClr val="4F80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dirty="0" smtClean="0"/>
                <a:t>39%</a:t>
              </a:r>
              <a:endParaRPr lang="en-IN" dirty="0"/>
            </a:p>
          </p:txBody>
        </p:sp>
        <p:sp>
          <p:nvSpPr>
            <p:cNvPr id="12" name="Oval 11"/>
            <p:cNvSpPr/>
            <p:nvPr/>
          </p:nvSpPr>
          <p:spPr>
            <a:xfrm>
              <a:off x="9508910" y="3644749"/>
              <a:ext cx="819473" cy="819473"/>
            </a:xfrm>
            <a:prstGeom prst="ellipse">
              <a:avLst/>
            </a:prstGeom>
            <a:solidFill>
              <a:srgbClr val="4F80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dirty="0" smtClean="0"/>
                <a:t>27%</a:t>
              </a:r>
              <a:endParaRPr lang="en-IN" dirty="0"/>
            </a:p>
          </p:txBody>
        </p:sp>
        <p:sp>
          <p:nvSpPr>
            <p:cNvPr id="13" name="Oval 12"/>
            <p:cNvSpPr/>
            <p:nvPr/>
          </p:nvSpPr>
          <p:spPr>
            <a:xfrm>
              <a:off x="9508910" y="4803593"/>
              <a:ext cx="819473" cy="819473"/>
            </a:xfrm>
            <a:prstGeom prst="ellipse">
              <a:avLst/>
            </a:prstGeom>
            <a:solidFill>
              <a:srgbClr val="4F80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IN" dirty="0" smtClean="0"/>
                <a:t>31%</a:t>
              </a:r>
              <a:endParaRPr lang="en-IN" dirty="0"/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8897427" y="1919727"/>
            <a:ext cx="22597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NET Satisfaction Scor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92944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all Net Satisfaction - Online Consultation Modes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8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Can you rate your overall satisfaction with online consultation? 10 means very satisfied and 1 means not at all satisfied? Base: </a:t>
            </a:r>
            <a:r>
              <a:rPr lang="en-US" dirty="0" smtClean="0"/>
              <a:t>804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2000" cy="646331"/>
          </a:xfrm>
          <a:prstGeom prst="rect">
            <a:avLst/>
          </a:prstGeom>
          <a:solidFill>
            <a:srgbClr val="1B406D"/>
          </a:solidFill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Americans and Indians seems to be happy overall with digital consultation. </a:t>
            </a:r>
          </a:p>
          <a:p>
            <a:pPr algn="ctr"/>
            <a:r>
              <a:rPr lang="en-IN" dirty="0">
                <a:solidFill>
                  <a:schemeClr val="bg1"/>
                </a:solidFill>
              </a:rPr>
              <a:t>Each market should push the most </a:t>
            </a:r>
            <a:r>
              <a:rPr lang="en-IN" dirty="0" smtClean="0">
                <a:solidFill>
                  <a:schemeClr val="bg1"/>
                </a:solidFill>
              </a:rPr>
              <a:t>preferred mode </a:t>
            </a:r>
            <a:r>
              <a:rPr lang="en-IN" dirty="0">
                <a:solidFill>
                  <a:schemeClr val="bg1"/>
                </a:solidFill>
              </a:rPr>
              <a:t>of consultation. 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2591190"/>
              </p:ext>
            </p:extLst>
          </p:nvPr>
        </p:nvGraphicFramePr>
        <p:xfrm>
          <a:off x="7" y="1658217"/>
          <a:ext cx="12191992" cy="433860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205631"/>
                <a:gridCol w="907851"/>
                <a:gridCol w="907851"/>
                <a:gridCol w="907851"/>
                <a:gridCol w="907851"/>
                <a:gridCol w="907851"/>
                <a:gridCol w="907851"/>
                <a:gridCol w="907851"/>
                <a:gridCol w="907851"/>
                <a:gridCol w="907851"/>
                <a:gridCol w="907851"/>
                <a:gridCol w="907851"/>
              </a:tblGrid>
              <a:tr h="86772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Modes</a:t>
                      </a:r>
                      <a:endParaRPr lang="en-IN" sz="16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kern="1200" dirty="0" smtClean="0"/>
                        <a:t>Global</a:t>
                      </a:r>
                      <a:endParaRPr lang="en-IN" sz="160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SA</a:t>
                      </a:r>
                      <a:endParaRPr lang="en-IN" sz="1100" b="0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K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AE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R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1600" u="none" strike="noStrike" kern="1200" dirty="0">
                          <a:effectLst/>
                        </a:rPr>
                        <a:t>Nigeria</a:t>
                      </a:r>
                      <a:endParaRPr lang="en-US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1600" u="none" strike="noStrike" kern="1200" dirty="0">
                          <a:effectLst/>
                        </a:rPr>
                        <a:t>Mexico</a:t>
                      </a:r>
                      <a:endParaRPr lang="en-US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1600" u="none" strike="noStrike" kern="1200" dirty="0">
                          <a:effectLst/>
                        </a:rPr>
                        <a:t>KSA</a:t>
                      </a:r>
                      <a:endParaRPr lang="en-US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1600" u="none" strike="noStrike" kern="1200" dirty="0">
                          <a:effectLst/>
                        </a:rPr>
                        <a:t>Indonesia</a:t>
                      </a:r>
                      <a:endParaRPr lang="en-US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1600" u="none" strike="noStrike" kern="1200" dirty="0">
                          <a:effectLst/>
                        </a:rPr>
                        <a:t>India</a:t>
                      </a:r>
                      <a:endParaRPr lang="en-US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ctr" latinLnBrk="0" hangingPunct="1"/>
                      <a:r>
                        <a:rPr lang="en-US" sz="1600" u="none" strike="noStrike" kern="1200" dirty="0">
                          <a:effectLst/>
                        </a:rPr>
                        <a:t>Germany</a:t>
                      </a:r>
                      <a:endParaRPr lang="en-US" sz="1600" b="1" u="none" strike="noStrike" kern="120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67720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Video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9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3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4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8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3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4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1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rowSpan="3"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Low base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67720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In-app</a:t>
                      </a:r>
                      <a:r>
                        <a:rPr lang="en-US" sz="1600" kern="1200" baseline="0" dirty="0" smtClean="0"/>
                        <a:t> </a:t>
                      </a:r>
                      <a:r>
                        <a:rPr lang="en-US" sz="1600" kern="1200" dirty="0" smtClean="0"/>
                        <a:t>chat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1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4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-6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8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9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2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endParaRPr lang="en-US" sz="13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67720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Social-media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0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7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8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4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5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-3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vMerge="1"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endParaRPr lang="en-US" sz="1300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67720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Base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804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67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53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84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55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111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85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74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132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117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15*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7" name="Rounded Rectangle 6"/>
          <p:cNvSpPr/>
          <p:nvPr/>
        </p:nvSpPr>
        <p:spPr>
          <a:xfrm>
            <a:off x="2312129" y="2793792"/>
            <a:ext cx="685800" cy="37651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8" name="Rounded Rectangle 7"/>
          <p:cNvSpPr/>
          <p:nvPr/>
        </p:nvSpPr>
        <p:spPr>
          <a:xfrm>
            <a:off x="3168585" y="4502663"/>
            <a:ext cx="685800" cy="400240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ounded Rectangle 8"/>
          <p:cNvSpPr/>
          <p:nvPr/>
        </p:nvSpPr>
        <p:spPr>
          <a:xfrm>
            <a:off x="6842607" y="2793791"/>
            <a:ext cx="685800" cy="37651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ounded Rectangle 9"/>
          <p:cNvSpPr/>
          <p:nvPr/>
        </p:nvSpPr>
        <p:spPr>
          <a:xfrm>
            <a:off x="10491876" y="2741597"/>
            <a:ext cx="685800" cy="37651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ounded Rectangle 10"/>
          <p:cNvSpPr/>
          <p:nvPr/>
        </p:nvSpPr>
        <p:spPr>
          <a:xfrm>
            <a:off x="3168585" y="3639258"/>
            <a:ext cx="685800" cy="37651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ounded Rectangle 11"/>
          <p:cNvSpPr/>
          <p:nvPr/>
        </p:nvSpPr>
        <p:spPr>
          <a:xfrm>
            <a:off x="10491876" y="3623929"/>
            <a:ext cx="685800" cy="37651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ounded Rectangle 12"/>
          <p:cNvSpPr/>
          <p:nvPr/>
        </p:nvSpPr>
        <p:spPr>
          <a:xfrm>
            <a:off x="10491876" y="4506261"/>
            <a:ext cx="685800" cy="400240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35042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963" y="1939611"/>
            <a:ext cx="3055073" cy="305507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19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95692" y="3534174"/>
            <a:ext cx="899634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/>
              <a:t>FUTURE HEALTHCARE CONSULTATION MODES AND PREFERENCES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842223" y="4955186"/>
            <a:ext cx="10349777" cy="2469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334435" y="1939611"/>
            <a:ext cx="3015575" cy="3015575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17447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able of Content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</a:t>
            </a:fld>
            <a:endParaRPr lang="en-IN" dirty="0"/>
          </a:p>
        </p:txBody>
      </p:sp>
      <p:grpSp>
        <p:nvGrpSpPr>
          <p:cNvPr id="41" name="Group 40"/>
          <p:cNvGrpSpPr/>
          <p:nvPr/>
        </p:nvGrpSpPr>
        <p:grpSpPr>
          <a:xfrm>
            <a:off x="351897" y="908050"/>
            <a:ext cx="11522075" cy="5016975"/>
            <a:chOff x="334963" y="908050"/>
            <a:chExt cx="11652227" cy="5016975"/>
          </a:xfrm>
        </p:grpSpPr>
        <p:sp>
          <p:nvSpPr>
            <p:cNvPr id="5" name="Rectangle 35"/>
            <p:cNvSpPr>
              <a:spLocks noChangeArrowheads="1"/>
            </p:cNvSpPr>
            <p:nvPr/>
          </p:nvSpPr>
          <p:spPr bwMode="auto">
            <a:xfrm>
              <a:off x="5997576" y="908050"/>
              <a:ext cx="5953125" cy="641350"/>
            </a:xfrm>
            <a:prstGeom prst="rect">
              <a:avLst/>
            </a:prstGeom>
            <a:solidFill>
              <a:srgbClr val="37456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" name="Rectangle 36"/>
            <p:cNvSpPr>
              <a:spLocks noChangeArrowheads="1"/>
            </p:cNvSpPr>
            <p:nvPr/>
          </p:nvSpPr>
          <p:spPr bwMode="auto">
            <a:xfrm>
              <a:off x="5997576" y="1627188"/>
              <a:ext cx="5953125" cy="641350"/>
            </a:xfrm>
            <a:prstGeom prst="rect">
              <a:avLst/>
            </a:prstGeom>
            <a:solidFill>
              <a:srgbClr val="5169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" name="Rectangle 37"/>
            <p:cNvSpPr>
              <a:spLocks noChangeArrowheads="1"/>
            </p:cNvSpPr>
            <p:nvPr/>
          </p:nvSpPr>
          <p:spPr bwMode="auto">
            <a:xfrm>
              <a:off x="5997576" y="2347913"/>
              <a:ext cx="5953125" cy="639763"/>
            </a:xfrm>
            <a:prstGeom prst="rect">
              <a:avLst/>
            </a:prstGeom>
            <a:solidFill>
              <a:srgbClr val="3D486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" name="Rectangle 38"/>
            <p:cNvSpPr>
              <a:spLocks noChangeArrowheads="1"/>
            </p:cNvSpPr>
            <p:nvPr/>
          </p:nvSpPr>
          <p:spPr bwMode="auto">
            <a:xfrm>
              <a:off x="5997576" y="3067051"/>
              <a:ext cx="5953125" cy="639763"/>
            </a:xfrm>
            <a:prstGeom prst="rect">
              <a:avLst/>
            </a:prstGeom>
            <a:solidFill>
              <a:srgbClr val="37354E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" name="Freeform 39"/>
            <p:cNvSpPr>
              <a:spLocks/>
            </p:cNvSpPr>
            <p:nvPr/>
          </p:nvSpPr>
          <p:spPr bwMode="auto">
            <a:xfrm>
              <a:off x="334963" y="908050"/>
              <a:ext cx="5915025" cy="641350"/>
            </a:xfrm>
            <a:custGeom>
              <a:avLst/>
              <a:gdLst>
                <a:gd name="T0" fmla="*/ 3567 w 3726"/>
                <a:gd name="T1" fmla="*/ 29 h 404"/>
                <a:gd name="T2" fmla="*/ 3567 w 3726"/>
                <a:gd name="T3" fmla="*/ 0 h 404"/>
                <a:gd name="T4" fmla="*/ 2865 w 3726"/>
                <a:gd name="T5" fmla="*/ 0 h 404"/>
                <a:gd name="T6" fmla="*/ 0 w 3726"/>
                <a:gd name="T7" fmla="*/ 0 h 404"/>
                <a:gd name="T8" fmla="*/ 0 w 3726"/>
                <a:gd name="T9" fmla="*/ 404 h 404"/>
                <a:gd name="T10" fmla="*/ 2865 w 3726"/>
                <a:gd name="T11" fmla="*/ 404 h 404"/>
                <a:gd name="T12" fmla="*/ 3567 w 3726"/>
                <a:gd name="T13" fmla="*/ 404 h 404"/>
                <a:gd name="T14" fmla="*/ 3567 w 3726"/>
                <a:gd name="T15" fmla="*/ 375 h 404"/>
                <a:gd name="T16" fmla="*/ 3726 w 3726"/>
                <a:gd name="T17" fmla="*/ 202 h 404"/>
                <a:gd name="T18" fmla="*/ 3567 w 3726"/>
                <a:gd name="T19" fmla="*/ 29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4">
                  <a:moveTo>
                    <a:pt x="3567" y="29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4"/>
                  </a:lnTo>
                  <a:lnTo>
                    <a:pt x="2865" y="404"/>
                  </a:lnTo>
                  <a:lnTo>
                    <a:pt x="3567" y="404"/>
                  </a:lnTo>
                  <a:lnTo>
                    <a:pt x="3567" y="375"/>
                  </a:lnTo>
                  <a:lnTo>
                    <a:pt x="3726" y="202"/>
                  </a:lnTo>
                  <a:lnTo>
                    <a:pt x="356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" name="Freeform 40"/>
            <p:cNvSpPr>
              <a:spLocks/>
            </p:cNvSpPr>
            <p:nvPr/>
          </p:nvSpPr>
          <p:spPr bwMode="auto">
            <a:xfrm>
              <a:off x="334963" y="1627188"/>
              <a:ext cx="5915025" cy="641350"/>
            </a:xfrm>
            <a:custGeom>
              <a:avLst/>
              <a:gdLst>
                <a:gd name="T0" fmla="*/ 3567 w 3726"/>
                <a:gd name="T1" fmla="*/ 29 h 404"/>
                <a:gd name="T2" fmla="*/ 3567 w 3726"/>
                <a:gd name="T3" fmla="*/ 0 h 404"/>
                <a:gd name="T4" fmla="*/ 2865 w 3726"/>
                <a:gd name="T5" fmla="*/ 0 h 404"/>
                <a:gd name="T6" fmla="*/ 0 w 3726"/>
                <a:gd name="T7" fmla="*/ 0 h 404"/>
                <a:gd name="T8" fmla="*/ 0 w 3726"/>
                <a:gd name="T9" fmla="*/ 404 h 404"/>
                <a:gd name="T10" fmla="*/ 2865 w 3726"/>
                <a:gd name="T11" fmla="*/ 404 h 404"/>
                <a:gd name="T12" fmla="*/ 3567 w 3726"/>
                <a:gd name="T13" fmla="*/ 404 h 404"/>
                <a:gd name="T14" fmla="*/ 3567 w 3726"/>
                <a:gd name="T15" fmla="*/ 375 h 404"/>
                <a:gd name="T16" fmla="*/ 3726 w 3726"/>
                <a:gd name="T17" fmla="*/ 202 h 404"/>
                <a:gd name="T18" fmla="*/ 3567 w 3726"/>
                <a:gd name="T19" fmla="*/ 29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4">
                  <a:moveTo>
                    <a:pt x="3567" y="29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4"/>
                  </a:lnTo>
                  <a:lnTo>
                    <a:pt x="2865" y="404"/>
                  </a:lnTo>
                  <a:lnTo>
                    <a:pt x="3567" y="404"/>
                  </a:lnTo>
                  <a:lnTo>
                    <a:pt x="3567" y="375"/>
                  </a:lnTo>
                  <a:lnTo>
                    <a:pt x="3726" y="202"/>
                  </a:lnTo>
                  <a:lnTo>
                    <a:pt x="356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" name="Freeform 41"/>
            <p:cNvSpPr>
              <a:spLocks/>
            </p:cNvSpPr>
            <p:nvPr/>
          </p:nvSpPr>
          <p:spPr bwMode="auto">
            <a:xfrm>
              <a:off x="334963" y="2347913"/>
              <a:ext cx="5915025" cy="639763"/>
            </a:xfrm>
            <a:custGeom>
              <a:avLst/>
              <a:gdLst>
                <a:gd name="T0" fmla="*/ 3567 w 3726"/>
                <a:gd name="T1" fmla="*/ 28 h 403"/>
                <a:gd name="T2" fmla="*/ 3567 w 3726"/>
                <a:gd name="T3" fmla="*/ 0 h 403"/>
                <a:gd name="T4" fmla="*/ 2865 w 3726"/>
                <a:gd name="T5" fmla="*/ 0 h 403"/>
                <a:gd name="T6" fmla="*/ 0 w 3726"/>
                <a:gd name="T7" fmla="*/ 0 h 403"/>
                <a:gd name="T8" fmla="*/ 0 w 3726"/>
                <a:gd name="T9" fmla="*/ 403 h 403"/>
                <a:gd name="T10" fmla="*/ 2865 w 3726"/>
                <a:gd name="T11" fmla="*/ 403 h 403"/>
                <a:gd name="T12" fmla="*/ 3567 w 3726"/>
                <a:gd name="T13" fmla="*/ 403 h 403"/>
                <a:gd name="T14" fmla="*/ 3567 w 3726"/>
                <a:gd name="T15" fmla="*/ 374 h 403"/>
                <a:gd name="T16" fmla="*/ 3726 w 3726"/>
                <a:gd name="T17" fmla="*/ 201 h 403"/>
                <a:gd name="T18" fmla="*/ 3567 w 3726"/>
                <a:gd name="T19" fmla="*/ 28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3">
                  <a:moveTo>
                    <a:pt x="3567" y="28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3"/>
                  </a:lnTo>
                  <a:lnTo>
                    <a:pt x="2865" y="403"/>
                  </a:lnTo>
                  <a:lnTo>
                    <a:pt x="3567" y="403"/>
                  </a:lnTo>
                  <a:lnTo>
                    <a:pt x="3567" y="374"/>
                  </a:lnTo>
                  <a:lnTo>
                    <a:pt x="3726" y="201"/>
                  </a:lnTo>
                  <a:lnTo>
                    <a:pt x="3567" y="28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" name="Freeform 42"/>
            <p:cNvSpPr>
              <a:spLocks/>
            </p:cNvSpPr>
            <p:nvPr/>
          </p:nvSpPr>
          <p:spPr bwMode="auto">
            <a:xfrm>
              <a:off x="334963" y="3067051"/>
              <a:ext cx="5915025" cy="639763"/>
            </a:xfrm>
            <a:custGeom>
              <a:avLst/>
              <a:gdLst>
                <a:gd name="T0" fmla="*/ 3567 w 3726"/>
                <a:gd name="T1" fmla="*/ 29 h 403"/>
                <a:gd name="T2" fmla="*/ 3567 w 3726"/>
                <a:gd name="T3" fmla="*/ 0 h 403"/>
                <a:gd name="T4" fmla="*/ 2865 w 3726"/>
                <a:gd name="T5" fmla="*/ 0 h 403"/>
                <a:gd name="T6" fmla="*/ 0 w 3726"/>
                <a:gd name="T7" fmla="*/ 0 h 403"/>
                <a:gd name="T8" fmla="*/ 0 w 3726"/>
                <a:gd name="T9" fmla="*/ 403 h 403"/>
                <a:gd name="T10" fmla="*/ 2865 w 3726"/>
                <a:gd name="T11" fmla="*/ 403 h 403"/>
                <a:gd name="T12" fmla="*/ 3567 w 3726"/>
                <a:gd name="T13" fmla="*/ 403 h 403"/>
                <a:gd name="T14" fmla="*/ 3567 w 3726"/>
                <a:gd name="T15" fmla="*/ 375 h 403"/>
                <a:gd name="T16" fmla="*/ 3726 w 3726"/>
                <a:gd name="T17" fmla="*/ 202 h 403"/>
                <a:gd name="T18" fmla="*/ 3567 w 3726"/>
                <a:gd name="T19" fmla="*/ 2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3">
                  <a:moveTo>
                    <a:pt x="3567" y="29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3"/>
                  </a:lnTo>
                  <a:lnTo>
                    <a:pt x="2865" y="403"/>
                  </a:lnTo>
                  <a:lnTo>
                    <a:pt x="3567" y="403"/>
                  </a:lnTo>
                  <a:lnTo>
                    <a:pt x="3567" y="375"/>
                  </a:lnTo>
                  <a:lnTo>
                    <a:pt x="3726" y="202"/>
                  </a:lnTo>
                  <a:lnTo>
                    <a:pt x="356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" name="Freeform 43"/>
            <p:cNvSpPr>
              <a:spLocks/>
            </p:cNvSpPr>
            <p:nvPr/>
          </p:nvSpPr>
          <p:spPr bwMode="auto">
            <a:xfrm>
              <a:off x="11542713" y="908050"/>
              <a:ext cx="407988" cy="641350"/>
            </a:xfrm>
            <a:custGeom>
              <a:avLst/>
              <a:gdLst>
                <a:gd name="T0" fmla="*/ 179 w 257"/>
                <a:gd name="T1" fmla="*/ 0 h 404"/>
                <a:gd name="T2" fmla="*/ 257 w 257"/>
                <a:gd name="T3" fmla="*/ 0 h 404"/>
                <a:gd name="T4" fmla="*/ 77 w 257"/>
                <a:gd name="T5" fmla="*/ 202 h 404"/>
                <a:gd name="T6" fmla="*/ 257 w 257"/>
                <a:gd name="T7" fmla="*/ 404 h 404"/>
                <a:gd name="T8" fmla="*/ 179 w 257"/>
                <a:gd name="T9" fmla="*/ 404 h 404"/>
                <a:gd name="T10" fmla="*/ 0 w 257"/>
                <a:gd name="T11" fmla="*/ 202 h 404"/>
                <a:gd name="T12" fmla="*/ 179 w 257"/>
                <a:gd name="T1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4">
                  <a:moveTo>
                    <a:pt x="179" y="0"/>
                  </a:moveTo>
                  <a:lnTo>
                    <a:pt x="257" y="0"/>
                  </a:lnTo>
                  <a:lnTo>
                    <a:pt x="77" y="202"/>
                  </a:lnTo>
                  <a:lnTo>
                    <a:pt x="257" y="404"/>
                  </a:lnTo>
                  <a:lnTo>
                    <a:pt x="179" y="404"/>
                  </a:lnTo>
                  <a:lnTo>
                    <a:pt x="0" y="202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" name="Freeform 44"/>
            <p:cNvSpPr>
              <a:spLocks/>
            </p:cNvSpPr>
            <p:nvPr/>
          </p:nvSpPr>
          <p:spPr bwMode="auto">
            <a:xfrm>
              <a:off x="11542713" y="1627188"/>
              <a:ext cx="407988" cy="641350"/>
            </a:xfrm>
            <a:custGeom>
              <a:avLst/>
              <a:gdLst>
                <a:gd name="T0" fmla="*/ 179 w 257"/>
                <a:gd name="T1" fmla="*/ 0 h 404"/>
                <a:gd name="T2" fmla="*/ 257 w 257"/>
                <a:gd name="T3" fmla="*/ 0 h 404"/>
                <a:gd name="T4" fmla="*/ 77 w 257"/>
                <a:gd name="T5" fmla="*/ 202 h 404"/>
                <a:gd name="T6" fmla="*/ 257 w 257"/>
                <a:gd name="T7" fmla="*/ 404 h 404"/>
                <a:gd name="T8" fmla="*/ 179 w 257"/>
                <a:gd name="T9" fmla="*/ 404 h 404"/>
                <a:gd name="T10" fmla="*/ 0 w 257"/>
                <a:gd name="T11" fmla="*/ 202 h 404"/>
                <a:gd name="T12" fmla="*/ 179 w 257"/>
                <a:gd name="T1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4">
                  <a:moveTo>
                    <a:pt x="179" y="0"/>
                  </a:moveTo>
                  <a:lnTo>
                    <a:pt x="257" y="0"/>
                  </a:lnTo>
                  <a:lnTo>
                    <a:pt x="77" y="202"/>
                  </a:lnTo>
                  <a:lnTo>
                    <a:pt x="257" y="404"/>
                  </a:lnTo>
                  <a:lnTo>
                    <a:pt x="179" y="404"/>
                  </a:lnTo>
                  <a:lnTo>
                    <a:pt x="0" y="202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" name="Freeform 45"/>
            <p:cNvSpPr>
              <a:spLocks/>
            </p:cNvSpPr>
            <p:nvPr/>
          </p:nvSpPr>
          <p:spPr bwMode="auto">
            <a:xfrm>
              <a:off x="11542713" y="2347913"/>
              <a:ext cx="407988" cy="639763"/>
            </a:xfrm>
            <a:custGeom>
              <a:avLst/>
              <a:gdLst>
                <a:gd name="T0" fmla="*/ 179 w 257"/>
                <a:gd name="T1" fmla="*/ 0 h 403"/>
                <a:gd name="T2" fmla="*/ 257 w 257"/>
                <a:gd name="T3" fmla="*/ 0 h 403"/>
                <a:gd name="T4" fmla="*/ 77 w 257"/>
                <a:gd name="T5" fmla="*/ 201 h 403"/>
                <a:gd name="T6" fmla="*/ 257 w 257"/>
                <a:gd name="T7" fmla="*/ 403 h 403"/>
                <a:gd name="T8" fmla="*/ 179 w 257"/>
                <a:gd name="T9" fmla="*/ 403 h 403"/>
                <a:gd name="T10" fmla="*/ 0 w 257"/>
                <a:gd name="T11" fmla="*/ 201 h 403"/>
                <a:gd name="T12" fmla="*/ 179 w 257"/>
                <a:gd name="T13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3">
                  <a:moveTo>
                    <a:pt x="179" y="0"/>
                  </a:moveTo>
                  <a:lnTo>
                    <a:pt x="257" y="0"/>
                  </a:lnTo>
                  <a:lnTo>
                    <a:pt x="77" y="201"/>
                  </a:lnTo>
                  <a:lnTo>
                    <a:pt x="257" y="403"/>
                  </a:lnTo>
                  <a:lnTo>
                    <a:pt x="179" y="403"/>
                  </a:lnTo>
                  <a:lnTo>
                    <a:pt x="0" y="201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" name="Freeform 46"/>
            <p:cNvSpPr>
              <a:spLocks/>
            </p:cNvSpPr>
            <p:nvPr/>
          </p:nvSpPr>
          <p:spPr bwMode="auto">
            <a:xfrm>
              <a:off x="11542713" y="3067051"/>
              <a:ext cx="407988" cy="639763"/>
            </a:xfrm>
            <a:custGeom>
              <a:avLst/>
              <a:gdLst>
                <a:gd name="T0" fmla="*/ 179 w 257"/>
                <a:gd name="T1" fmla="*/ 0 h 403"/>
                <a:gd name="T2" fmla="*/ 257 w 257"/>
                <a:gd name="T3" fmla="*/ 0 h 403"/>
                <a:gd name="T4" fmla="*/ 77 w 257"/>
                <a:gd name="T5" fmla="*/ 202 h 403"/>
                <a:gd name="T6" fmla="*/ 257 w 257"/>
                <a:gd name="T7" fmla="*/ 403 h 403"/>
                <a:gd name="T8" fmla="*/ 179 w 257"/>
                <a:gd name="T9" fmla="*/ 403 h 403"/>
                <a:gd name="T10" fmla="*/ 0 w 257"/>
                <a:gd name="T11" fmla="*/ 202 h 403"/>
                <a:gd name="T12" fmla="*/ 179 w 257"/>
                <a:gd name="T13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3">
                  <a:moveTo>
                    <a:pt x="179" y="0"/>
                  </a:moveTo>
                  <a:lnTo>
                    <a:pt x="257" y="0"/>
                  </a:lnTo>
                  <a:lnTo>
                    <a:pt x="77" y="202"/>
                  </a:lnTo>
                  <a:lnTo>
                    <a:pt x="257" y="403"/>
                  </a:lnTo>
                  <a:lnTo>
                    <a:pt x="179" y="403"/>
                  </a:lnTo>
                  <a:lnTo>
                    <a:pt x="0" y="202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" name="Rectangle 47"/>
            <p:cNvSpPr>
              <a:spLocks noChangeArrowheads="1"/>
            </p:cNvSpPr>
            <p:nvPr/>
          </p:nvSpPr>
          <p:spPr bwMode="auto">
            <a:xfrm>
              <a:off x="5997576" y="3806826"/>
              <a:ext cx="5953125" cy="639763"/>
            </a:xfrm>
            <a:prstGeom prst="rect">
              <a:avLst/>
            </a:prstGeom>
            <a:solidFill>
              <a:srgbClr val="3039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8" name="Rectangle 48"/>
            <p:cNvSpPr>
              <a:spLocks noChangeArrowheads="1"/>
            </p:cNvSpPr>
            <p:nvPr/>
          </p:nvSpPr>
          <p:spPr bwMode="auto">
            <a:xfrm>
              <a:off x="5997576" y="4525963"/>
              <a:ext cx="5953125" cy="641350"/>
            </a:xfrm>
            <a:prstGeom prst="rect">
              <a:avLst/>
            </a:prstGeom>
            <a:solidFill>
              <a:srgbClr val="3532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9" name="Freeform 51"/>
            <p:cNvSpPr>
              <a:spLocks/>
            </p:cNvSpPr>
            <p:nvPr/>
          </p:nvSpPr>
          <p:spPr bwMode="auto">
            <a:xfrm>
              <a:off x="334963" y="3806826"/>
              <a:ext cx="5915025" cy="639763"/>
            </a:xfrm>
            <a:custGeom>
              <a:avLst/>
              <a:gdLst>
                <a:gd name="T0" fmla="*/ 3567 w 3726"/>
                <a:gd name="T1" fmla="*/ 29 h 403"/>
                <a:gd name="T2" fmla="*/ 3567 w 3726"/>
                <a:gd name="T3" fmla="*/ 0 h 403"/>
                <a:gd name="T4" fmla="*/ 2865 w 3726"/>
                <a:gd name="T5" fmla="*/ 0 h 403"/>
                <a:gd name="T6" fmla="*/ 0 w 3726"/>
                <a:gd name="T7" fmla="*/ 0 h 403"/>
                <a:gd name="T8" fmla="*/ 0 w 3726"/>
                <a:gd name="T9" fmla="*/ 403 h 403"/>
                <a:gd name="T10" fmla="*/ 2865 w 3726"/>
                <a:gd name="T11" fmla="*/ 403 h 403"/>
                <a:gd name="T12" fmla="*/ 3567 w 3726"/>
                <a:gd name="T13" fmla="*/ 403 h 403"/>
                <a:gd name="T14" fmla="*/ 3567 w 3726"/>
                <a:gd name="T15" fmla="*/ 375 h 403"/>
                <a:gd name="T16" fmla="*/ 3726 w 3726"/>
                <a:gd name="T17" fmla="*/ 202 h 403"/>
                <a:gd name="T18" fmla="*/ 3567 w 3726"/>
                <a:gd name="T19" fmla="*/ 29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3">
                  <a:moveTo>
                    <a:pt x="3567" y="29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3"/>
                  </a:lnTo>
                  <a:lnTo>
                    <a:pt x="2865" y="403"/>
                  </a:lnTo>
                  <a:lnTo>
                    <a:pt x="3567" y="403"/>
                  </a:lnTo>
                  <a:lnTo>
                    <a:pt x="3567" y="375"/>
                  </a:lnTo>
                  <a:lnTo>
                    <a:pt x="3726" y="202"/>
                  </a:lnTo>
                  <a:lnTo>
                    <a:pt x="356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0" name="Freeform 52"/>
            <p:cNvSpPr>
              <a:spLocks/>
            </p:cNvSpPr>
            <p:nvPr/>
          </p:nvSpPr>
          <p:spPr bwMode="auto">
            <a:xfrm>
              <a:off x="334963" y="4525963"/>
              <a:ext cx="5915025" cy="641350"/>
            </a:xfrm>
            <a:custGeom>
              <a:avLst/>
              <a:gdLst>
                <a:gd name="T0" fmla="*/ 3567 w 3726"/>
                <a:gd name="T1" fmla="*/ 29 h 404"/>
                <a:gd name="T2" fmla="*/ 3567 w 3726"/>
                <a:gd name="T3" fmla="*/ 0 h 404"/>
                <a:gd name="T4" fmla="*/ 2865 w 3726"/>
                <a:gd name="T5" fmla="*/ 0 h 404"/>
                <a:gd name="T6" fmla="*/ 0 w 3726"/>
                <a:gd name="T7" fmla="*/ 0 h 404"/>
                <a:gd name="T8" fmla="*/ 0 w 3726"/>
                <a:gd name="T9" fmla="*/ 404 h 404"/>
                <a:gd name="T10" fmla="*/ 2865 w 3726"/>
                <a:gd name="T11" fmla="*/ 404 h 404"/>
                <a:gd name="T12" fmla="*/ 3567 w 3726"/>
                <a:gd name="T13" fmla="*/ 404 h 404"/>
                <a:gd name="T14" fmla="*/ 3567 w 3726"/>
                <a:gd name="T15" fmla="*/ 375 h 404"/>
                <a:gd name="T16" fmla="*/ 3726 w 3726"/>
                <a:gd name="T17" fmla="*/ 202 h 404"/>
                <a:gd name="T18" fmla="*/ 3567 w 3726"/>
                <a:gd name="T19" fmla="*/ 29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4">
                  <a:moveTo>
                    <a:pt x="3567" y="29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4"/>
                  </a:lnTo>
                  <a:lnTo>
                    <a:pt x="2865" y="404"/>
                  </a:lnTo>
                  <a:lnTo>
                    <a:pt x="3567" y="404"/>
                  </a:lnTo>
                  <a:lnTo>
                    <a:pt x="3567" y="375"/>
                  </a:lnTo>
                  <a:lnTo>
                    <a:pt x="3726" y="202"/>
                  </a:lnTo>
                  <a:lnTo>
                    <a:pt x="356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1" name="Freeform 55"/>
            <p:cNvSpPr>
              <a:spLocks/>
            </p:cNvSpPr>
            <p:nvPr/>
          </p:nvSpPr>
          <p:spPr bwMode="auto">
            <a:xfrm>
              <a:off x="11542713" y="3806826"/>
              <a:ext cx="407988" cy="639763"/>
            </a:xfrm>
            <a:custGeom>
              <a:avLst/>
              <a:gdLst>
                <a:gd name="T0" fmla="*/ 179 w 257"/>
                <a:gd name="T1" fmla="*/ 0 h 403"/>
                <a:gd name="T2" fmla="*/ 257 w 257"/>
                <a:gd name="T3" fmla="*/ 0 h 403"/>
                <a:gd name="T4" fmla="*/ 77 w 257"/>
                <a:gd name="T5" fmla="*/ 202 h 403"/>
                <a:gd name="T6" fmla="*/ 257 w 257"/>
                <a:gd name="T7" fmla="*/ 403 h 403"/>
                <a:gd name="T8" fmla="*/ 179 w 257"/>
                <a:gd name="T9" fmla="*/ 403 h 403"/>
                <a:gd name="T10" fmla="*/ 0 w 257"/>
                <a:gd name="T11" fmla="*/ 202 h 403"/>
                <a:gd name="T12" fmla="*/ 179 w 257"/>
                <a:gd name="T13" fmla="*/ 0 h 4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3">
                  <a:moveTo>
                    <a:pt x="179" y="0"/>
                  </a:moveTo>
                  <a:lnTo>
                    <a:pt x="257" y="0"/>
                  </a:lnTo>
                  <a:lnTo>
                    <a:pt x="77" y="202"/>
                  </a:lnTo>
                  <a:lnTo>
                    <a:pt x="257" y="403"/>
                  </a:lnTo>
                  <a:lnTo>
                    <a:pt x="179" y="403"/>
                  </a:lnTo>
                  <a:lnTo>
                    <a:pt x="0" y="202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2" name="Freeform 56"/>
            <p:cNvSpPr>
              <a:spLocks/>
            </p:cNvSpPr>
            <p:nvPr/>
          </p:nvSpPr>
          <p:spPr bwMode="auto">
            <a:xfrm>
              <a:off x="11542713" y="4525963"/>
              <a:ext cx="407988" cy="641350"/>
            </a:xfrm>
            <a:custGeom>
              <a:avLst/>
              <a:gdLst>
                <a:gd name="T0" fmla="*/ 179 w 257"/>
                <a:gd name="T1" fmla="*/ 0 h 404"/>
                <a:gd name="T2" fmla="*/ 257 w 257"/>
                <a:gd name="T3" fmla="*/ 0 h 404"/>
                <a:gd name="T4" fmla="*/ 77 w 257"/>
                <a:gd name="T5" fmla="*/ 202 h 404"/>
                <a:gd name="T6" fmla="*/ 257 w 257"/>
                <a:gd name="T7" fmla="*/ 404 h 404"/>
                <a:gd name="T8" fmla="*/ 179 w 257"/>
                <a:gd name="T9" fmla="*/ 404 h 404"/>
                <a:gd name="T10" fmla="*/ 0 w 257"/>
                <a:gd name="T11" fmla="*/ 202 h 404"/>
                <a:gd name="T12" fmla="*/ 179 w 257"/>
                <a:gd name="T1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4">
                  <a:moveTo>
                    <a:pt x="179" y="0"/>
                  </a:moveTo>
                  <a:lnTo>
                    <a:pt x="257" y="0"/>
                  </a:lnTo>
                  <a:lnTo>
                    <a:pt x="77" y="202"/>
                  </a:lnTo>
                  <a:lnTo>
                    <a:pt x="257" y="404"/>
                  </a:lnTo>
                  <a:lnTo>
                    <a:pt x="179" y="404"/>
                  </a:lnTo>
                  <a:lnTo>
                    <a:pt x="0" y="202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04850" y="1050072"/>
              <a:ext cx="4600317" cy="3847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900" dirty="0" smtClean="0"/>
                <a:t>Background and Objective</a:t>
              </a:r>
              <a:endParaRPr lang="en-US" sz="1900" dirty="0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04851" y="1716849"/>
              <a:ext cx="5234630" cy="3847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n-US" sz="1900" dirty="0"/>
                <a:t>Research </a:t>
              </a:r>
              <a:r>
                <a:rPr lang="en-US" sz="1900" dirty="0" smtClean="0"/>
                <a:t>Objectives and Sample Details</a:t>
              </a:r>
              <a:endParaRPr lang="en-US" sz="1900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04851" y="2493903"/>
              <a:ext cx="1126847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/>
                <a:t>Summary</a:t>
              </a:r>
              <a:endParaRPr lang="en-US" sz="1900" dirty="0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16269" y="3207199"/>
              <a:ext cx="3213948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/>
                <a:t>Current Mode Of Consultation</a:t>
              </a:r>
              <a:endParaRPr lang="en-US" sz="1900" dirty="0"/>
            </a:p>
          </p:txBody>
        </p:sp>
        <p:sp>
          <p:nvSpPr>
            <p:cNvPr id="27" name="Rectangle 26"/>
            <p:cNvSpPr/>
            <p:nvPr/>
          </p:nvSpPr>
          <p:spPr>
            <a:xfrm>
              <a:off x="704851" y="3932551"/>
              <a:ext cx="3798860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/>
                <a:t>Future Consultation and Preferences</a:t>
              </a:r>
              <a:endParaRPr lang="en-US" sz="1900" dirty="0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704851" y="4662780"/>
              <a:ext cx="4155100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/>
                <a:t>Future Travel and  Medical Consultation</a:t>
              </a:r>
              <a:endParaRPr lang="en-US" sz="1900" dirty="0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61552" y="1050072"/>
              <a:ext cx="836191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</a:t>
              </a:r>
              <a:r>
                <a:rPr lang="en-US" sz="1900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392561" y="1782361"/>
              <a:ext cx="1143968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4 - 7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392561" y="2493903"/>
              <a:ext cx="890693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8 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361551" y="3206740"/>
              <a:ext cx="1171479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9-18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358513" y="3932551"/>
              <a:ext cx="1296305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19-25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389522" y="4662780"/>
              <a:ext cx="1296305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26-32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6389522" y="5368209"/>
              <a:ext cx="1281826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32-35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  <p:sp>
          <p:nvSpPr>
            <p:cNvPr id="36" name="Rectangle 48"/>
            <p:cNvSpPr>
              <a:spLocks noChangeArrowheads="1"/>
            </p:cNvSpPr>
            <p:nvPr/>
          </p:nvSpPr>
          <p:spPr bwMode="auto">
            <a:xfrm>
              <a:off x="6008307" y="5283672"/>
              <a:ext cx="5953125" cy="641350"/>
            </a:xfrm>
            <a:prstGeom prst="rect">
              <a:avLst/>
            </a:prstGeom>
            <a:solidFill>
              <a:srgbClr val="35324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7" name="Freeform 52"/>
            <p:cNvSpPr>
              <a:spLocks/>
            </p:cNvSpPr>
            <p:nvPr/>
          </p:nvSpPr>
          <p:spPr bwMode="auto">
            <a:xfrm>
              <a:off x="345694" y="5283672"/>
              <a:ext cx="5915025" cy="641350"/>
            </a:xfrm>
            <a:custGeom>
              <a:avLst/>
              <a:gdLst>
                <a:gd name="T0" fmla="*/ 3567 w 3726"/>
                <a:gd name="T1" fmla="*/ 29 h 404"/>
                <a:gd name="T2" fmla="*/ 3567 w 3726"/>
                <a:gd name="T3" fmla="*/ 0 h 404"/>
                <a:gd name="T4" fmla="*/ 2865 w 3726"/>
                <a:gd name="T5" fmla="*/ 0 h 404"/>
                <a:gd name="T6" fmla="*/ 0 w 3726"/>
                <a:gd name="T7" fmla="*/ 0 h 404"/>
                <a:gd name="T8" fmla="*/ 0 w 3726"/>
                <a:gd name="T9" fmla="*/ 404 h 404"/>
                <a:gd name="T10" fmla="*/ 2865 w 3726"/>
                <a:gd name="T11" fmla="*/ 404 h 404"/>
                <a:gd name="T12" fmla="*/ 3567 w 3726"/>
                <a:gd name="T13" fmla="*/ 404 h 404"/>
                <a:gd name="T14" fmla="*/ 3567 w 3726"/>
                <a:gd name="T15" fmla="*/ 375 h 404"/>
                <a:gd name="T16" fmla="*/ 3726 w 3726"/>
                <a:gd name="T17" fmla="*/ 202 h 404"/>
                <a:gd name="T18" fmla="*/ 3567 w 3726"/>
                <a:gd name="T19" fmla="*/ 29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26" h="404">
                  <a:moveTo>
                    <a:pt x="3567" y="29"/>
                  </a:moveTo>
                  <a:lnTo>
                    <a:pt x="3567" y="0"/>
                  </a:lnTo>
                  <a:lnTo>
                    <a:pt x="2865" y="0"/>
                  </a:lnTo>
                  <a:lnTo>
                    <a:pt x="0" y="0"/>
                  </a:lnTo>
                  <a:lnTo>
                    <a:pt x="0" y="404"/>
                  </a:lnTo>
                  <a:lnTo>
                    <a:pt x="2865" y="404"/>
                  </a:lnTo>
                  <a:lnTo>
                    <a:pt x="3567" y="404"/>
                  </a:lnTo>
                  <a:lnTo>
                    <a:pt x="3567" y="375"/>
                  </a:lnTo>
                  <a:lnTo>
                    <a:pt x="3726" y="202"/>
                  </a:lnTo>
                  <a:lnTo>
                    <a:pt x="3567" y="2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8" name="Freeform 56"/>
            <p:cNvSpPr>
              <a:spLocks/>
            </p:cNvSpPr>
            <p:nvPr/>
          </p:nvSpPr>
          <p:spPr bwMode="auto">
            <a:xfrm>
              <a:off x="11579202" y="5283675"/>
              <a:ext cx="407988" cy="641350"/>
            </a:xfrm>
            <a:custGeom>
              <a:avLst/>
              <a:gdLst>
                <a:gd name="T0" fmla="*/ 179 w 257"/>
                <a:gd name="T1" fmla="*/ 0 h 404"/>
                <a:gd name="T2" fmla="*/ 257 w 257"/>
                <a:gd name="T3" fmla="*/ 0 h 404"/>
                <a:gd name="T4" fmla="*/ 77 w 257"/>
                <a:gd name="T5" fmla="*/ 202 h 404"/>
                <a:gd name="T6" fmla="*/ 257 w 257"/>
                <a:gd name="T7" fmla="*/ 404 h 404"/>
                <a:gd name="T8" fmla="*/ 179 w 257"/>
                <a:gd name="T9" fmla="*/ 404 h 404"/>
                <a:gd name="T10" fmla="*/ 0 w 257"/>
                <a:gd name="T11" fmla="*/ 202 h 404"/>
                <a:gd name="T12" fmla="*/ 179 w 257"/>
                <a:gd name="T13" fmla="*/ 0 h 4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7" h="404">
                  <a:moveTo>
                    <a:pt x="179" y="0"/>
                  </a:moveTo>
                  <a:lnTo>
                    <a:pt x="257" y="0"/>
                  </a:lnTo>
                  <a:lnTo>
                    <a:pt x="77" y="202"/>
                  </a:lnTo>
                  <a:lnTo>
                    <a:pt x="257" y="404"/>
                  </a:lnTo>
                  <a:lnTo>
                    <a:pt x="179" y="404"/>
                  </a:lnTo>
                  <a:lnTo>
                    <a:pt x="0" y="202"/>
                  </a:lnTo>
                  <a:lnTo>
                    <a:pt x="179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9" name="Rectangle 38"/>
            <p:cNvSpPr/>
            <p:nvPr/>
          </p:nvSpPr>
          <p:spPr>
            <a:xfrm>
              <a:off x="699757" y="5393967"/>
              <a:ext cx="4466742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900" dirty="0"/>
                <a:t>Medication Stock up and Point of purchase</a:t>
              </a: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503285" y="5381854"/>
              <a:ext cx="1296305" cy="3847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en-US" sz="1900" dirty="0" smtClean="0">
                  <a:solidFill>
                    <a:schemeClr val="bg1"/>
                  </a:solidFill>
                </a:rPr>
                <a:t>Page 33-37</a:t>
              </a:r>
              <a:endParaRPr lang="en-US" sz="190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99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Future Usage Of Online Vs In-Person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0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Post COVID, will you use online consultation or will you move back to in-person consultation? Base: 2906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2000" cy="369332"/>
          </a:xfrm>
          <a:prstGeom prst="rect">
            <a:avLst/>
          </a:prstGeom>
          <a:solidFill>
            <a:srgbClr val="1B406D"/>
          </a:solidFill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Strong growth opportunity for digital </a:t>
            </a:r>
            <a:r>
              <a:rPr lang="en-IN" dirty="0" smtClean="0">
                <a:solidFill>
                  <a:schemeClr val="bg1"/>
                </a:solidFill>
              </a:rPr>
              <a:t>consultation, </a:t>
            </a:r>
            <a:r>
              <a:rPr lang="en-IN" dirty="0">
                <a:solidFill>
                  <a:schemeClr val="bg1"/>
                </a:solidFill>
              </a:rPr>
              <a:t>with </a:t>
            </a:r>
            <a:r>
              <a:rPr lang="en-IN" dirty="0" smtClean="0">
                <a:solidFill>
                  <a:schemeClr val="bg1"/>
                </a:solidFill>
              </a:rPr>
              <a:t>majority preference, </a:t>
            </a:r>
            <a:r>
              <a:rPr lang="en-IN" dirty="0">
                <a:solidFill>
                  <a:schemeClr val="bg1"/>
                </a:solidFill>
              </a:rPr>
              <a:t>more so among </a:t>
            </a:r>
            <a:r>
              <a:rPr lang="en-IN" dirty="0" smtClean="0">
                <a:solidFill>
                  <a:schemeClr val="bg1"/>
                </a:solidFill>
              </a:rPr>
              <a:t>millennials</a:t>
            </a:r>
            <a:r>
              <a:rPr lang="en-IN" dirty="0">
                <a:solidFill>
                  <a:schemeClr val="bg1"/>
                </a:solidFill>
              </a:rPr>
              <a:t>.</a:t>
            </a:r>
          </a:p>
        </p:txBody>
      </p:sp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869833809"/>
              </p:ext>
            </p:extLst>
          </p:nvPr>
        </p:nvGraphicFramePr>
        <p:xfrm>
          <a:off x="334434" y="1351523"/>
          <a:ext cx="11477798" cy="48710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699190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Future Online Vs In-Person Consultation: By Market 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1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Post COVID, will you use online consultation or will you move back to in-person consultation? Base: 2906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2000" cy="607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dirty="0" smtClean="0"/>
          </a:p>
        </p:txBody>
      </p:sp>
      <p:sp>
        <p:nvSpPr>
          <p:cNvPr id="6" name="Rectangle 5"/>
          <p:cNvSpPr/>
          <p:nvPr/>
        </p:nvSpPr>
        <p:spPr>
          <a:xfrm>
            <a:off x="334963" y="891073"/>
            <a:ext cx="1152207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Developing markets, more so from APAC are more likely to shift to the digital mode while developed markets will continue to follow in-person approach.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1606120" y="1766292"/>
            <a:ext cx="8315628" cy="4492811"/>
            <a:chOff x="1623709" y="1400668"/>
            <a:chExt cx="8644223" cy="5060961"/>
          </a:xfrm>
        </p:grpSpPr>
        <p:sp>
          <p:nvSpPr>
            <p:cNvPr id="8" name="TextBox 7"/>
            <p:cNvSpPr txBox="1"/>
            <p:nvPr/>
          </p:nvSpPr>
          <p:spPr>
            <a:xfrm>
              <a:off x="6451932" y="3574581"/>
              <a:ext cx="3816000" cy="2124000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</p:spPr>
          <p:txBody>
            <a:bodyPr wrap="square" rtlCol="0">
              <a:noAutofit/>
            </a:bodyPr>
            <a:lstStyle/>
            <a:p>
              <a:pPr algn="r"/>
              <a:r>
                <a:rPr lang="en-IN" sz="1600" i="1" dirty="0" smtClean="0"/>
                <a:t>More in-person and less digital</a:t>
              </a:r>
              <a:endParaRPr lang="en-IN" sz="1600" i="1" dirty="0"/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2595282" y="3587104"/>
              <a:ext cx="3816000" cy="2111477"/>
            </a:xfrm>
            <a:prstGeom prst="rect">
              <a:avLst/>
            </a:prstGeom>
            <a:solidFill>
              <a:schemeClr val="tx2">
                <a:lumMod val="40000"/>
                <a:lumOff val="60000"/>
              </a:schemeClr>
            </a:solidFill>
          </p:spPr>
          <p:txBody>
            <a:bodyPr wrap="square" rtlCol="0">
              <a:noAutofit/>
            </a:bodyPr>
            <a:lstStyle/>
            <a:p>
              <a:r>
                <a:rPr lang="en-IN" sz="1600" i="1" dirty="0" smtClean="0"/>
                <a:t>Less digital and less in-person</a:t>
              </a:r>
              <a:endParaRPr lang="en-IN" sz="1600" i="1" dirty="0"/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451932" y="1400668"/>
              <a:ext cx="3816000" cy="2124000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</p:spPr>
          <p:txBody>
            <a:bodyPr wrap="square" rtlCol="0">
              <a:noAutofit/>
            </a:bodyPr>
            <a:lstStyle/>
            <a:p>
              <a:pPr algn="r"/>
              <a:r>
                <a:rPr lang="en-IN" sz="1600" i="1" dirty="0" smtClean="0"/>
                <a:t>Both digital and in-person</a:t>
              </a:r>
              <a:endParaRPr lang="en-IN" sz="1600" i="1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2595282" y="1400668"/>
              <a:ext cx="3816000" cy="214199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 rtlCol="0">
              <a:noAutofit/>
            </a:bodyPr>
            <a:lstStyle/>
            <a:p>
              <a:r>
                <a:rPr lang="en-IN" sz="1600" i="1" dirty="0" smtClean="0"/>
                <a:t>More Digital and less in-person</a:t>
              </a:r>
              <a:endParaRPr lang="en-IN" sz="1600" i="1" dirty="0"/>
            </a:p>
          </p:txBody>
        </p:sp>
        <p:sp>
          <p:nvSpPr>
            <p:cNvPr id="12" name="TextBox 11"/>
            <p:cNvSpPr txBox="1"/>
            <p:nvPr/>
          </p:nvSpPr>
          <p:spPr>
            <a:xfrm rot="16200000">
              <a:off x="790115" y="3374525"/>
              <a:ext cx="206729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2000" b="1" dirty="0" smtClean="0">
                  <a:solidFill>
                    <a:srgbClr val="002060"/>
                  </a:solidFill>
                </a:rPr>
                <a:t>WILL USE DIGITAL</a:t>
              </a:r>
              <a:endParaRPr lang="en-IN" sz="2000" b="1" dirty="0">
                <a:solidFill>
                  <a:srgbClr val="002060"/>
                </a:solidFill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5244357" y="6061519"/>
              <a:ext cx="241514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IN" sz="2000" b="1" dirty="0" smtClean="0">
                  <a:solidFill>
                    <a:srgbClr val="002060"/>
                  </a:solidFill>
                </a:rPr>
                <a:t>WILL USE IN-PERSON</a:t>
              </a:r>
              <a:endParaRPr lang="en-IN" sz="2000" b="1" dirty="0">
                <a:solidFill>
                  <a:srgbClr val="002060"/>
                </a:solidFill>
              </a:endParaRPr>
            </a:p>
          </p:txBody>
        </p:sp>
      </p:grp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8978601"/>
              </p:ext>
            </p:extLst>
          </p:nvPr>
        </p:nvGraphicFramePr>
        <p:xfrm>
          <a:off x="1983783" y="1634175"/>
          <a:ext cx="8160993" cy="43152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13845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 COVID – Preferred Mode of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2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Post COVID, will you use online consultation or will you move back to in-person consultation? Base:2906 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908051"/>
            <a:ext cx="12192000" cy="942844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Rectangle 6"/>
          <p:cNvSpPr/>
          <p:nvPr/>
        </p:nvSpPr>
        <p:spPr>
          <a:xfrm>
            <a:off x="334435" y="927565"/>
            <a:ext cx="115220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dirty="0">
                <a:solidFill>
                  <a:schemeClr val="bg1"/>
                </a:solidFill>
              </a:rPr>
              <a:t>People who have stopped </a:t>
            </a:r>
            <a:r>
              <a:rPr lang="en-IN" dirty="0" smtClean="0">
                <a:solidFill>
                  <a:schemeClr val="bg1"/>
                </a:solidFill>
              </a:rPr>
              <a:t>in-person consultation for safety reasons </a:t>
            </a:r>
            <a:r>
              <a:rPr lang="en-IN" dirty="0">
                <a:solidFill>
                  <a:schemeClr val="bg1"/>
                </a:solidFill>
              </a:rPr>
              <a:t>are more likely to switch </a:t>
            </a:r>
            <a:r>
              <a:rPr lang="en-IN" dirty="0" smtClean="0">
                <a:solidFill>
                  <a:schemeClr val="bg1"/>
                </a:solidFill>
              </a:rPr>
              <a:t>to digital only </a:t>
            </a:r>
            <a:r>
              <a:rPr lang="en-IN" dirty="0">
                <a:solidFill>
                  <a:schemeClr val="bg1"/>
                </a:solidFill>
              </a:rPr>
              <a:t>to avoid further risk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dirty="0">
                <a:solidFill>
                  <a:schemeClr val="bg1"/>
                </a:solidFill>
              </a:rPr>
              <a:t>People who are still </a:t>
            </a:r>
            <a:r>
              <a:rPr lang="en-IN" dirty="0" smtClean="0">
                <a:solidFill>
                  <a:schemeClr val="bg1"/>
                </a:solidFill>
              </a:rPr>
              <a:t>consulting in person are likely to use a mix of both.</a:t>
            </a:r>
            <a:endParaRPr lang="en-IN" dirty="0">
              <a:solidFill>
                <a:schemeClr val="bg1"/>
              </a:solidFill>
            </a:endParaRPr>
          </a:p>
        </p:txBody>
      </p:sp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3583328825"/>
              </p:ext>
            </p:extLst>
          </p:nvPr>
        </p:nvGraphicFramePr>
        <p:xfrm>
          <a:off x="286602" y="1780182"/>
          <a:ext cx="11525630" cy="43297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26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ost COVID - Online C</a:t>
            </a:r>
            <a:r>
              <a:rPr lang="en-IN" dirty="0" smtClean="0"/>
              <a:t>onsultation </a:t>
            </a:r>
            <a:r>
              <a:rPr lang="en-IN" dirty="0"/>
              <a:t>Vs </a:t>
            </a:r>
            <a:r>
              <a:rPr lang="en-IN" dirty="0" smtClean="0"/>
              <a:t>In-Person </a:t>
            </a:r>
            <a:r>
              <a:rPr lang="en-IN" dirty="0"/>
              <a:t>Consul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3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Post COVID, will you continue online consultation or will you move back to in-person consultation? 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908051"/>
            <a:ext cx="12192000" cy="51505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34963" y="943842"/>
            <a:ext cx="11522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People are inclined towards online mode of consultation. 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2777827"/>
              </p:ext>
            </p:extLst>
          </p:nvPr>
        </p:nvGraphicFramePr>
        <p:xfrm>
          <a:off x="0" y="1423107"/>
          <a:ext cx="12192001" cy="4835145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311339"/>
                <a:gridCol w="80214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</a:tblGrid>
              <a:tr h="69073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Category</a:t>
                      </a:r>
                      <a:endParaRPr lang="en-IN" sz="14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400" kern="1200" dirty="0" smtClean="0"/>
                        <a:t>Global</a:t>
                      </a:r>
                      <a:endParaRPr lang="en-IN" sz="140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USA</a:t>
                      </a:r>
                      <a:endParaRPr lang="en-IN" sz="1050" b="0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UK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UAE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RSA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Nigeria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Mexico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KSA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kern="1200" dirty="0" smtClean="0">
                          <a:effectLst/>
                        </a:rPr>
                        <a:t>Indonesia</a:t>
                      </a:r>
                      <a:endParaRPr lang="en-IN" sz="1400" b="1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India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400" u="none" strike="noStrike" dirty="0" smtClean="0">
                          <a:effectLst/>
                        </a:rPr>
                        <a:t>Germany</a:t>
                      </a:r>
                      <a:endParaRPr lang="en-IN" sz="105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90735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Will use equal of online and in-person consultation</a:t>
                      </a:r>
                      <a:endParaRPr lang="en-US" sz="14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6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6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90735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Will use more of online and less of in-person consultation</a:t>
                      </a:r>
                      <a:endParaRPr lang="en-US" sz="14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6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1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3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6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2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90735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Will use only in-person consultation</a:t>
                      </a:r>
                      <a:endParaRPr lang="en-US" sz="14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7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3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7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5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90735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Will use more of in-person and less of online</a:t>
                      </a:r>
                      <a:endParaRPr lang="en-US" sz="14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6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3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7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7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2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8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90735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Will use only online consultation</a:t>
                      </a:r>
                      <a:endParaRPr lang="en-US" sz="14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5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0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6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11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9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27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31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/>
                        <a:t>4%</a:t>
                      </a:r>
                      <a:endParaRPr lang="en-US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690735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Base</a:t>
                      </a:r>
                      <a:endParaRPr lang="en-US" sz="1400" b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06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30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8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4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8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8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7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5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7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299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300" kern="1200" dirty="0" smtClean="0"/>
                        <a:t>300</a:t>
                      </a:r>
                      <a:endParaRPr lang="en-US" sz="13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52388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Usage Of Online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4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In future, how likely are you willing to use online modes of consultation?. Base: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906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08051"/>
            <a:ext cx="12192000" cy="51505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1578321" y="980913"/>
            <a:ext cx="90353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Number of people using online mode of consultation will increase in </a:t>
            </a:r>
            <a:r>
              <a:rPr lang="en-IN" dirty="0" smtClean="0">
                <a:solidFill>
                  <a:schemeClr val="bg1"/>
                </a:solidFill>
              </a:rPr>
              <a:t>near future </a:t>
            </a:r>
            <a:endParaRPr lang="en-IN" dirty="0">
              <a:solidFill>
                <a:schemeClr val="bg1"/>
              </a:solidFill>
            </a:endParaRP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1061841313"/>
              </p:ext>
            </p:extLst>
          </p:nvPr>
        </p:nvGraphicFramePr>
        <p:xfrm>
          <a:off x="901606" y="1744346"/>
          <a:ext cx="4588239" cy="4201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1063604683"/>
              </p:ext>
            </p:extLst>
          </p:nvPr>
        </p:nvGraphicFramePr>
        <p:xfrm>
          <a:off x="6047525" y="1417500"/>
          <a:ext cx="5927144" cy="460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ctangle 9"/>
          <p:cNvSpPr/>
          <p:nvPr/>
        </p:nvSpPr>
        <p:spPr>
          <a:xfrm>
            <a:off x="9893870" y="6210665"/>
            <a:ext cx="193514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Still Consulting doctors Base:1878</a:t>
            </a:r>
          </a:p>
        </p:txBody>
      </p:sp>
    </p:spTree>
    <p:extLst>
      <p:ext uri="{BB962C8B-B14F-4D97-AF65-F5344CB8AC3E}">
        <p14:creationId xmlns:p14="http://schemas.microsoft.com/office/powerpoint/2010/main" val="59787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Usage Of Online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5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308997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In future, how likely are you willing to use online modes of consultation?. Base: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906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08051"/>
            <a:ext cx="12192000" cy="532619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34434" y="980913"/>
            <a:ext cx="116175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I</a:t>
            </a:r>
            <a:r>
              <a:rPr lang="en-IN" dirty="0" smtClean="0">
                <a:solidFill>
                  <a:schemeClr val="bg1"/>
                </a:solidFill>
              </a:rPr>
              <a:t>n </a:t>
            </a:r>
            <a:r>
              <a:rPr lang="en-IN" dirty="0">
                <a:solidFill>
                  <a:schemeClr val="bg1"/>
                </a:solidFill>
              </a:rPr>
              <a:t>addition to new </a:t>
            </a:r>
            <a:r>
              <a:rPr lang="en-IN" dirty="0" smtClean="0">
                <a:solidFill>
                  <a:schemeClr val="bg1"/>
                </a:solidFill>
              </a:rPr>
              <a:t>users, majority of people who are already using online mode of consultation will continue to do so.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237089" y="6185886"/>
            <a:ext cx="2470548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rPr>
              <a:t>Using Online mode of consultation Base:804</a:t>
            </a:r>
          </a:p>
        </p:txBody>
      </p:sp>
      <p:sp>
        <p:nvSpPr>
          <p:cNvPr id="8" name="Rectangle 7"/>
          <p:cNvSpPr/>
          <p:nvPr/>
        </p:nvSpPr>
        <p:spPr>
          <a:xfrm>
            <a:off x="3304062" y="1820055"/>
            <a:ext cx="5029069" cy="378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862" b="1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US" b="1" dirty="0"/>
              <a:t>Among People already using Online Consultation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2904067" y="2777067"/>
            <a:ext cx="5541290" cy="221627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  <a:prstDash val="lgDash"/>
          </a:ln>
          <a:effectLst>
            <a:innerShdw blurRad="114300">
              <a:prstClr val="black"/>
            </a:inn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0" name="Straight Connector 19"/>
          <p:cNvCxnSpPr/>
          <p:nvPr/>
        </p:nvCxnSpPr>
        <p:spPr>
          <a:xfrm flipV="1">
            <a:off x="3886200" y="5044614"/>
            <a:ext cx="4559157" cy="64126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  <a:prstDash val="lgDash"/>
          </a:ln>
          <a:effectLst>
            <a:innerShdw blurRad="114300">
              <a:prstClr val="black"/>
            </a:innerShdw>
          </a:effectLst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21" name="Chart 20"/>
          <p:cNvGraphicFramePr/>
          <p:nvPr>
            <p:extLst>
              <p:ext uri="{D42A27DB-BD31-4B8C-83A1-F6EECF244321}">
                <p14:modId xmlns:p14="http://schemas.microsoft.com/office/powerpoint/2010/main" val="2803850479"/>
              </p:ext>
            </p:extLst>
          </p:nvPr>
        </p:nvGraphicFramePr>
        <p:xfrm>
          <a:off x="6697081" y="2335482"/>
          <a:ext cx="3847451" cy="3523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2" name="Chart 21"/>
          <p:cNvGraphicFramePr/>
          <p:nvPr>
            <p:extLst>
              <p:ext uri="{D42A27DB-BD31-4B8C-83A1-F6EECF244321}">
                <p14:modId xmlns:p14="http://schemas.microsoft.com/office/powerpoint/2010/main" val="3810757163"/>
              </p:ext>
            </p:extLst>
          </p:nvPr>
        </p:nvGraphicFramePr>
        <p:xfrm>
          <a:off x="622110" y="1996300"/>
          <a:ext cx="4588239" cy="4201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35" name="Group 34"/>
          <p:cNvGrpSpPr/>
          <p:nvPr/>
        </p:nvGrpSpPr>
        <p:grpSpPr>
          <a:xfrm>
            <a:off x="9536469" y="5171927"/>
            <a:ext cx="2506584" cy="1077218"/>
            <a:chOff x="9536469" y="5006637"/>
            <a:chExt cx="2506584" cy="1077218"/>
          </a:xfrm>
        </p:grpSpPr>
        <p:sp>
          <p:nvSpPr>
            <p:cNvPr id="26" name="Rectangle 25"/>
            <p:cNvSpPr/>
            <p:nvPr/>
          </p:nvSpPr>
          <p:spPr>
            <a:xfrm>
              <a:off x="9825480" y="5006637"/>
              <a:ext cx="2217573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1600" dirty="0"/>
                <a:t>Very likely</a:t>
              </a:r>
            </a:p>
            <a:p>
              <a:r>
                <a:rPr lang="en-IN" sz="1600" dirty="0"/>
                <a:t>Somewhat likely</a:t>
              </a:r>
            </a:p>
            <a:p>
              <a:r>
                <a:rPr lang="en-IN" sz="1600" dirty="0"/>
                <a:t>Somewhat not likely</a:t>
              </a:r>
            </a:p>
            <a:p>
              <a:r>
                <a:rPr lang="en-IN" sz="1600" dirty="0"/>
                <a:t>Not at all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9536469" y="5109565"/>
              <a:ext cx="228594" cy="164387"/>
            </a:xfrm>
            <a:prstGeom prst="rect">
              <a:avLst/>
            </a:prstGeom>
            <a:solidFill>
              <a:srgbClr val="4E80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8" name="Rectangle 27"/>
            <p:cNvSpPr/>
            <p:nvPr/>
          </p:nvSpPr>
          <p:spPr>
            <a:xfrm>
              <a:off x="9536469" y="5376694"/>
              <a:ext cx="228594" cy="164387"/>
            </a:xfrm>
            <a:prstGeom prst="rect">
              <a:avLst/>
            </a:prstGeom>
            <a:solidFill>
              <a:srgbClr val="99B9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29" name="Rectangle 28"/>
            <p:cNvSpPr/>
            <p:nvPr/>
          </p:nvSpPr>
          <p:spPr>
            <a:xfrm>
              <a:off x="9536469" y="5613000"/>
              <a:ext cx="228594" cy="164387"/>
            </a:xfrm>
            <a:prstGeom prst="rect">
              <a:avLst/>
            </a:prstGeom>
            <a:solidFill>
              <a:srgbClr val="4AA9C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9536469" y="5849306"/>
              <a:ext cx="228594" cy="164387"/>
            </a:xfrm>
            <a:prstGeom prst="rect">
              <a:avLst/>
            </a:prstGeom>
            <a:solidFill>
              <a:srgbClr val="2A4C7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382195" y="5654845"/>
            <a:ext cx="3413678" cy="584775"/>
            <a:chOff x="382195" y="5654845"/>
            <a:chExt cx="3413678" cy="584775"/>
          </a:xfrm>
        </p:grpSpPr>
        <p:sp>
          <p:nvSpPr>
            <p:cNvPr id="31" name="Rectangle 30"/>
            <p:cNvSpPr/>
            <p:nvPr/>
          </p:nvSpPr>
          <p:spPr>
            <a:xfrm>
              <a:off x="420289" y="5654845"/>
              <a:ext cx="3375584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IN" sz="1600" dirty="0"/>
                <a:t>Not using online consultation</a:t>
              </a:r>
            </a:p>
            <a:p>
              <a:r>
                <a:rPr lang="en-IN" sz="1600" dirty="0" smtClean="0"/>
                <a:t>Using online consultation</a:t>
              </a:r>
              <a:endParaRPr lang="en-IN" sz="1600" dirty="0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82195" y="5778290"/>
              <a:ext cx="75005" cy="80423"/>
            </a:xfrm>
            <a:prstGeom prst="rect">
              <a:avLst/>
            </a:prstGeom>
            <a:solidFill>
              <a:srgbClr val="BD4E4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82195" y="6003418"/>
              <a:ext cx="75005" cy="83057"/>
            </a:xfrm>
            <a:prstGeom prst="rect">
              <a:avLst/>
            </a:prstGeom>
            <a:solidFill>
              <a:srgbClr val="4E80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006144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4962" y="1952484"/>
            <a:ext cx="3015047" cy="3015047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6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95692" y="3534174"/>
            <a:ext cx="8745417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/>
              <a:t>TRAVEL </a:t>
            </a:r>
            <a:r>
              <a:rPr lang="en-US" sz="4400" b="1" dirty="0" smtClean="0"/>
              <a:t>HEALTHCARE </a:t>
            </a:r>
            <a:r>
              <a:rPr lang="en-US" sz="4400" b="1" dirty="0"/>
              <a:t>CONSULTATION IN 2020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842223" y="4955186"/>
            <a:ext cx="10349777" cy="2469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334435" y="1939611"/>
            <a:ext cx="3015575" cy="3015575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64306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Travel in 2020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7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Do you plan to travel during 2020 for holidays? Base: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906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14777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34963" y="948064"/>
            <a:ext cx="1152207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People in ME and APAC are more likely to plan for travels during 2020.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79989528"/>
              </p:ext>
            </p:extLst>
          </p:nvPr>
        </p:nvGraphicFramePr>
        <p:xfrm>
          <a:off x="0" y="1535375"/>
          <a:ext cx="4353028" cy="45766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>
            <p:extLst>
              <p:ext uri="{D42A27DB-BD31-4B8C-83A1-F6EECF244321}">
                <p14:modId xmlns:p14="http://schemas.microsoft.com/office/powerpoint/2010/main" val="2705345772"/>
              </p:ext>
            </p:extLst>
          </p:nvPr>
        </p:nvGraphicFramePr>
        <p:xfrm>
          <a:off x="4861711" y="1417062"/>
          <a:ext cx="6950521" cy="50242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6058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5" y="279050"/>
            <a:ext cx="10310820" cy="418576"/>
          </a:xfrm>
        </p:spPr>
        <p:txBody>
          <a:bodyPr/>
          <a:lstStyle/>
          <a:p>
            <a:r>
              <a:rPr lang="en-US" dirty="0"/>
              <a:t>Travel Medical Consultation Before Holiday In </a:t>
            </a:r>
            <a:r>
              <a:rPr lang="en-US" dirty="0" smtClean="0"/>
              <a:t>Future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8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0" y="914777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106451" y="948064"/>
            <a:ext cx="1171205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 smtClean="0">
                <a:solidFill>
                  <a:schemeClr val="bg1"/>
                </a:solidFill>
              </a:rPr>
              <a:t>Irrespective of their travel plans in 2020, 50% of people are likely to take medical consultation prior to their travel in future </a:t>
            </a:r>
            <a:endParaRPr lang="en-IN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How likely are you to go for travel medical consultation before you go on holiday in future? . </a:t>
            </a:r>
            <a:r>
              <a:rPr lang="en-US" dirty="0" smtClean="0"/>
              <a:t>Total Base</a:t>
            </a:r>
            <a:r>
              <a:rPr lang="en-US" dirty="0"/>
              <a:t>: </a:t>
            </a:r>
            <a:r>
              <a:rPr lang="en-US" dirty="0" smtClean="0"/>
              <a:t>2906, Traveler Base: 1280</a:t>
            </a:r>
            <a:endParaRPr lang="en-US" dirty="0"/>
          </a:p>
        </p:txBody>
      </p:sp>
      <p:graphicFrame>
        <p:nvGraphicFramePr>
          <p:cNvPr id="10" name="Chart 9"/>
          <p:cNvGraphicFramePr/>
          <p:nvPr>
            <p:extLst/>
          </p:nvPr>
        </p:nvGraphicFramePr>
        <p:xfrm>
          <a:off x="631065" y="1738648"/>
          <a:ext cx="11181167" cy="43996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118725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5" y="36623"/>
            <a:ext cx="10419424" cy="837152"/>
          </a:xfrm>
        </p:spPr>
        <p:txBody>
          <a:bodyPr/>
          <a:lstStyle/>
          <a:p>
            <a:r>
              <a:rPr lang="en-US" dirty="0"/>
              <a:t>Travel Medical Consultation Before </a:t>
            </a:r>
            <a:r>
              <a:rPr lang="en-US" dirty="0" smtClean="0"/>
              <a:t>Holiday Among People Planning To Travel In 2020 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29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0" y="914777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055713" y="948064"/>
            <a:ext cx="608057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APAC and African audience is likely to go for travel consultation</a:t>
            </a:r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334434" y="1532965"/>
          <a:ext cx="11016615" cy="48699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How likely are you to go for travel medical consultation before you go on holiday in future? . Base: </a:t>
            </a:r>
            <a:r>
              <a:rPr lang="en-US" dirty="0" smtClean="0"/>
              <a:t>1280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846500"/>
              </p:ext>
            </p:extLst>
          </p:nvPr>
        </p:nvGraphicFramePr>
        <p:xfrm>
          <a:off x="11228762" y="2163650"/>
          <a:ext cx="583470" cy="3950771"/>
        </p:xfrm>
        <a:graphic>
          <a:graphicData uri="http://schemas.openxmlformats.org/drawingml/2006/table">
            <a:tbl>
              <a:tblPr firstRow="1" bandRow="1">
                <a:tableStyleId>{BDBED569-4797-4DF1-A0F4-6AAB3CD982D8}</a:tableStyleId>
              </a:tblPr>
              <a:tblGrid>
                <a:gridCol w="583470"/>
              </a:tblGrid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63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35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96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70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50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43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85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80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69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24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5916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53</a:t>
                      </a:r>
                      <a:endParaRPr lang="en-US" sz="1100" b="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1228762" y="1886651"/>
            <a:ext cx="583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Mean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266036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166" r="1" b="16146"/>
          <a:stretch/>
        </p:blipFill>
        <p:spPr>
          <a:xfrm flipH="1">
            <a:off x="-2" y="3670795"/>
            <a:ext cx="6197601" cy="319234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082"/>
          <a:stretch/>
        </p:blipFill>
        <p:spPr>
          <a:xfrm>
            <a:off x="0" y="-13448"/>
            <a:ext cx="12192000" cy="31947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Background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</a:t>
            </a:fld>
            <a:endParaRPr lang="en-IN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688" y="795501"/>
            <a:ext cx="10326625" cy="5811308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>
          <a:xfrm>
            <a:off x="7887683" y="2590014"/>
            <a:ext cx="386926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 smtClean="0"/>
              <a:t>Among many things, COVID-19 </a:t>
            </a:r>
            <a:r>
              <a:rPr lang="en-US" sz="1600" dirty="0"/>
              <a:t>has impacted peoples’ </a:t>
            </a:r>
            <a:r>
              <a:rPr lang="en-US" sz="1600" dirty="0" smtClean="0"/>
              <a:t>behavior in terms of how they approach healthcare and healthcare providers </a:t>
            </a:r>
            <a:r>
              <a:rPr lang="en-US" sz="1600" dirty="0"/>
              <a:t>across the </a:t>
            </a:r>
            <a:r>
              <a:rPr lang="en-US" sz="1600" dirty="0" smtClean="0"/>
              <a:t>globe.</a:t>
            </a:r>
            <a:endParaRPr lang="en-US" sz="1600" dirty="0"/>
          </a:p>
        </p:txBody>
      </p:sp>
      <p:sp>
        <p:nvSpPr>
          <p:cNvPr id="17" name="Rectangle 16"/>
          <p:cNvSpPr/>
          <p:nvPr/>
        </p:nvSpPr>
        <p:spPr>
          <a:xfrm>
            <a:off x="932688" y="1753899"/>
            <a:ext cx="366025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/>
              <a:t>Healthcare </a:t>
            </a:r>
            <a:r>
              <a:rPr lang="en-US" sz="1600" dirty="0" smtClean="0"/>
              <a:t>has become the prime focus across nations during </a:t>
            </a:r>
            <a:r>
              <a:rPr lang="en-US" sz="1600" dirty="0"/>
              <a:t>this unprecedented global pandemic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7198335" y="4880489"/>
            <a:ext cx="51191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dirty="0"/>
              <a:t>With Borderless Access’ strong capability to reach out to patients across the globe, we conducted a study to understand how the future of consultation </a:t>
            </a:r>
            <a:r>
              <a:rPr lang="en-US" sz="1600" dirty="0" smtClean="0"/>
              <a:t>would look like.</a:t>
            </a:r>
            <a:endParaRPr lang="en-US" sz="1600" dirty="0"/>
          </a:p>
        </p:txBody>
      </p:sp>
      <p:sp>
        <p:nvSpPr>
          <p:cNvPr id="19" name="Rectangle 18"/>
          <p:cNvSpPr/>
          <p:nvPr/>
        </p:nvSpPr>
        <p:spPr>
          <a:xfrm>
            <a:off x="600222" y="3688496"/>
            <a:ext cx="399191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dirty="0"/>
              <a:t>The changes in patient behavior is also expected to </a:t>
            </a:r>
            <a:r>
              <a:rPr lang="en-US" sz="1600" dirty="0" smtClean="0"/>
              <a:t>affect </a:t>
            </a:r>
            <a:r>
              <a:rPr lang="en-US" sz="1600" dirty="0"/>
              <a:t>healthcare consultation</a:t>
            </a:r>
            <a:r>
              <a:rPr lang="en-US" sz="1600" dirty="0" smtClean="0"/>
              <a:t>. Especially, maintaining effective consultation in response to the changes in behavior.</a:t>
            </a:r>
            <a:endParaRPr lang="en-US" sz="1600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1909" y="2728304"/>
            <a:ext cx="1190977" cy="800638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67090" y="1753899"/>
            <a:ext cx="789095" cy="688053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6">
            <a:grayscl/>
          </a:blip>
          <a:stretch>
            <a:fillRect/>
          </a:stretch>
        </p:blipFill>
        <p:spPr>
          <a:xfrm>
            <a:off x="4745217" y="3769178"/>
            <a:ext cx="805861" cy="925304"/>
          </a:xfrm>
          <a:prstGeom prst="rect">
            <a:avLst/>
          </a:prstGeom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512688" y="4857144"/>
            <a:ext cx="704710" cy="877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136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Medical Consultation Before Going On Holiday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0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Please let us know the type of medical consultation that you would take before going on holiday?  Base: </a:t>
            </a:r>
            <a:r>
              <a:rPr lang="en-US" dirty="0" smtClean="0"/>
              <a:t>1280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914777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34962" y="939360"/>
            <a:ext cx="11522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Majority of the consultation would be around general check-up. There will be traction for getting anti-flu vaccines as well.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4289472015"/>
              </p:ext>
            </p:extLst>
          </p:nvPr>
        </p:nvGraphicFramePr>
        <p:xfrm>
          <a:off x="334434" y="1273223"/>
          <a:ext cx="11477798" cy="49814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48763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Medical Consultation Before Going On Holiday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1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Please let us know the type of medical consultation that you would take before going on holiday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0" y="914777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Rectangle 6"/>
          <p:cNvSpPr/>
          <p:nvPr/>
        </p:nvSpPr>
        <p:spPr>
          <a:xfrm>
            <a:off x="334963" y="948064"/>
            <a:ext cx="1152207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Developed markets are likely to have higher traction for vaccines while it will be more of check-up in developing ones.</a:t>
            </a: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4149191"/>
              </p:ext>
            </p:extLst>
          </p:nvPr>
        </p:nvGraphicFramePr>
        <p:xfrm>
          <a:off x="334435" y="1350683"/>
          <a:ext cx="11477794" cy="482790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076424"/>
                <a:gridCol w="854670"/>
                <a:gridCol w="854670"/>
                <a:gridCol w="854670"/>
                <a:gridCol w="854670"/>
                <a:gridCol w="854670"/>
                <a:gridCol w="854670"/>
                <a:gridCol w="854670"/>
                <a:gridCol w="854670"/>
                <a:gridCol w="854670"/>
                <a:gridCol w="854670"/>
                <a:gridCol w="854670"/>
              </a:tblGrid>
              <a:tr h="80465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ategory</a:t>
                      </a:r>
                      <a:endParaRPr lang="en-IN" sz="16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kern="1200" dirty="0" smtClean="0"/>
                        <a:t>Global</a:t>
                      </a:r>
                      <a:endParaRPr lang="en-IN" sz="160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SA</a:t>
                      </a:r>
                      <a:endParaRPr lang="en-IN" sz="1100" b="0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K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AE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R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Nigeri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Mexico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K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kern="1200" dirty="0" smtClean="0">
                          <a:effectLst/>
                        </a:rPr>
                        <a:t>Indonesia</a:t>
                      </a:r>
                      <a:endParaRPr lang="en-IN" sz="1600" b="1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Indi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Germany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General health checkup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8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8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5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1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8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8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Full body checkup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6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4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3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3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8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Vaccines / anti-flu medications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4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1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4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4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9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Checkup for specific ailment/sickness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1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6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0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7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9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%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Base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80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4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03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54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98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2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8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89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6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61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5</a:t>
                      </a:r>
                      <a:endParaRPr lang="en-US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7124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neumococcus Vaccine Usag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2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287217" y="6311102"/>
            <a:ext cx="11617565" cy="338554"/>
          </a:xfrm>
        </p:spPr>
        <p:txBody>
          <a:bodyPr/>
          <a:lstStyle/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Have you been vaccinated against pneumococcus since the beginning of the corona crisis? Base: 2906</a:t>
            </a:r>
          </a:p>
          <a:p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Q. Are you planning a vaccination against pneumococcus in the near future? . Base: </a:t>
            </a:r>
            <a:r>
              <a:rPr lang="en-US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2193</a:t>
            </a:r>
            <a:endParaRPr lang="en-US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0" y="914777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466466" y="948064"/>
            <a:ext cx="52590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The usage of pneumococcus vaccines is likely to grow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793450988"/>
              </p:ext>
            </p:extLst>
          </p:nvPr>
        </p:nvGraphicFramePr>
        <p:xfrm>
          <a:off x="3299310" y="4505439"/>
          <a:ext cx="2096816" cy="9789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Rectangle 7"/>
          <p:cNvSpPr/>
          <p:nvPr/>
        </p:nvSpPr>
        <p:spPr>
          <a:xfrm>
            <a:off x="4261439" y="5551018"/>
            <a:ext cx="162000" cy="11191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Isosceles Triangle 8"/>
          <p:cNvSpPr/>
          <p:nvPr/>
        </p:nvSpPr>
        <p:spPr>
          <a:xfrm rot="10800000">
            <a:off x="3994766" y="5305609"/>
            <a:ext cx="696664" cy="2419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3558521" y="2028207"/>
            <a:ext cx="1569154" cy="4176268"/>
            <a:chOff x="2135308" y="1999333"/>
            <a:chExt cx="1569154" cy="4176268"/>
          </a:xfrm>
        </p:grpSpPr>
        <p:sp>
          <p:nvSpPr>
            <p:cNvPr id="11" name="Diagonal Stripe 10"/>
            <p:cNvSpPr/>
            <p:nvPr/>
          </p:nvSpPr>
          <p:spPr>
            <a:xfrm rot="13461000" flipV="1">
              <a:off x="2613991" y="5613286"/>
              <a:ext cx="544838" cy="562315"/>
            </a:xfrm>
            <a:prstGeom prst="diagStripe">
              <a:avLst>
                <a:gd name="adj" fmla="val 84589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12" name="Freeform: Shape 879"/>
            <p:cNvSpPr/>
            <p:nvPr/>
          </p:nvSpPr>
          <p:spPr>
            <a:xfrm rot="5400000">
              <a:off x="1649624" y="3893281"/>
              <a:ext cx="2540524" cy="841287"/>
            </a:xfrm>
            <a:custGeom>
              <a:avLst/>
              <a:gdLst>
                <a:gd name="connsiteX0" fmla="*/ 2700403 w 3063214"/>
                <a:gd name="connsiteY0" fmla="*/ 725622 h 725622"/>
                <a:gd name="connsiteX1" fmla="*/ 0 w 3063214"/>
                <a:gd name="connsiteY1" fmla="*/ 725622 h 725622"/>
                <a:gd name="connsiteX2" fmla="*/ 0 w 3063214"/>
                <a:gd name="connsiteY2" fmla="*/ 662655 h 725622"/>
                <a:gd name="connsiteX3" fmla="*/ 2666667 w 3063214"/>
                <a:gd name="connsiteY3" fmla="*/ 662655 h 725622"/>
                <a:gd name="connsiteX4" fmla="*/ 2966510 w 3063214"/>
                <a:gd name="connsiteY4" fmla="*/ 362812 h 725622"/>
                <a:gd name="connsiteX5" fmla="*/ 2666667 w 3063214"/>
                <a:gd name="connsiteY5" fmla="*/ 62968 h 725622"/>
                <a:gd name="connsiteX6" fmla="*/ 0 w 3063214"/>
                <a:gd name="connsiteY6" fmla="*/ 62968 h 725622"/>
                <a:gd name="connsiteX7" fmla="*/ 0 w 3063214"/>
                <a:gd name="connsiteY7" fmla="*/ 0 h 725622"/>
                <a:gd name="connsiteX8" fmla="*/ 2700403 w 3063214"/>
                <a:gd name="connsiteY8" fmla="*/ 0 h 725622"/>
                <a:gd name="connsiteX9" fmla="*/ 3063214 w 3063214"/>
                <a:gd name="connsiteY9" fmla="*/ 362811 h 72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3214" h="725622">
                  <a:moveTo>
                    <a:pt x="2700403" y="725622"/>
                  </a:moveTo>
                  <a:lnTo>
                    <a:pt x="0" y="725622"/>
                  </a:lnTo>
                  <a:lnTo>
                    <a:pt x="0" y="662655"/>
                  </a:lnTo>
                  <a:lnTo>
                    <a:pt x="2666667" y="662655"/>
                  </a:lnTo>
                  <a:lnTo>
                    <a:pt x="2966510" y="362812"/>
                  </a:lnTo>
                  <a:lnTo>
                    <a:pt x="2666667" y="62968"/>
                  </a:lnTo>
                  <a:lnTo>
                    <a:pt x="0" y="62968"/>
                  </a:lnTo>
                  <a:lnTo>
                    <a:pt x="0" y="0"/>
                  </a:lnTo>
                  <a:lnTo>
                    <a:pt x="2700403" y="0"/>
                  </a:lnTo>
                  <a:lnTo>
                    <a:pt x="3063214" y="36281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3" name="Rectangle: Rounded Corners 887"/>
            <p:cNvSpPr/>
            <p:nvPr/>
          </p:nvSpPr>
          <p:spPr>
            <a:xfrm rot="16200000">
              <a:off x="2857392" y="2201441"/>
              <a:ext cx="124986" cy="1569154"/>
            </a:xfrm>
            <a:prstGeom prst="roundRect">
              <a:avLst>
                <a:gd name="adj" fmla="val 47780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Rectangle: Rounded Corners 888"/>
            <p:cNvSpPr/>
            <p:nvPr/>
          </p:nvSpPr>
          <p:spPr>
            <a:xfrm rot="16200000">
              <a:off x="2857392" y="1348574"/>
              <a:ext cx="124986" cy="1426504"/>
            </a:xfrm>
            <a:prstGeom prst="roundRect">
              <a:avLst>
                <a:gd name="adj" fmla="val 47780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5" name="Freeform: Shape 889"/>
            <p:cNvSpPr/>
            <p:nvPr/>
          </p:nvSpPr>
          <p:spPr>
            <a:xfrm rot="16200000">
              <a:off x="2429380" y="2105638"/>
              <a:ext cx="999071" cy="834769"/>
            </a:xfrm>
            <a:custGeom>
              <a:avLst/>
              <a:gdLst>
                <a:gd name="connsiteX0" fmla="*/ 62480 w 720000"/>
                <a:gd name="connsiteY0" fmla="*/ 62480 h 720000"/>
                <a:gd name="connsiteX1" fmla="*/ 62480 w 720000"/>
                <a:gd name="connsiteY1" fmla="*/ 657521 h 720000"/>
                <a:gd name="connsiteX2" fmla="*/ 657521 w 720000"/>
                <a:gd name="connsiteY2" fmla="*/ 657521 h 720000"/>
                <a:gd name="connsiteX3" fmla="*/ 657521 w 720000"/>
                <a:gd name="connsiteY3" fmla="*/ 62480 h 720000"/>
                <a:gd name="connsiteX4" fmla="*/ 0 w 720000"/>
                <a:gd name="connsiteY4" fmla="*/ 0 h 720000"/>
                <a:gd name="connsiteX5" fmla="*/ 720000 w 720000"/>
                <a:gd name="connsiteY5" fmla="*/ 0 h 720000"/>
                <a:gd name="connsiteX6" fmla="*/ 720000 w 720000"/>
                <a:gd name="connsiteY6" fmla="*/ 720000 h 720000"/>
                <a:gd name="connsiteX7" fmla="*/ 0 w 720000"/>
                <a:gd name="connsiteY7" fmla="*/ 72000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000" h="720000">
                  <a:moveTo>
                    <a:pt x="62480" y="62480"/>
                  </a:moveTo>
                  <a:lnTo>
                    <a:pt x="62480" y="657521"/>
                  </a:lnTo>
                  <a:lnTo>
                    <a:pt x="657521" y="657521"/>
                  </a:lnTo>
                  <a:lnTo>
                    <a:pt x="657521" y="62480"/>
                  </a:lnTo>
                  <a:close/>
                  <a:moveTo>
                    <a:pt x="0" y="0"/>
                  </a:moveTo>
                  <a:lnTo>
                    <a:pt x="720000" y="0"/>
                  </a:lnTo>
                  <a:lnTo>
                    <a:pt x="720000" y="720000"/>
                  </a:lnTo>
                  <a:lnTo>
                    <a:pt x="0" y="7200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16" name="Rectangle: Rounded Corners 881"/>
          <p:cNvSpPr/>
          <p:nvPr/>
        </p:nvSpPr>
        <p:spPr>
          <a:xfrm rot="16200000">
            <a:off x="4150656" y="4999088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: Rounded Corners 881"/>
          <p:cNvSpPr/>
          <p:nvPr/>
        </p:nvSpPr>
        <p:spPr>
          <a:xfrm rot="16200000">
            <a:off x="4150656" y="5146745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: Rounded Corners 882"/>
          <p:cNvSpPr/>
          <p:nvPr/>
        </p:nvSpPr>
        <p:spPr>
          <a:xfrm rot="16200000">
            <a:off x="4150656" y="4851431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: Rounded Corners 883"/>
          <p:cNvSpPr/>
          <p:nvPr/>
        </p:nvSpPr>
        <p:spPr>
          <a:xfrm rot="16200000">
            <a:off x="4150656" y="4703774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Oval 19"/>
          <p:cNvSpPr>
            <a:spLocks noChangeAspect="1"/>
          </p:cNvSpPr>
          <p:nvPr/>
        </p:nvSpPr>
        <p:spPr>
          <a:xfrm>
            <a:off x="4449167" y="4710783"/>
            <a:ext cx="102119" cy="102119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1" name="Oval 20"/>
          <p:cNvSpPr>
            <a:spLocks noChangeAspect="1"/>
          </p:cNvSpPr>
          <p:nvPr/>
        </p:nvSpPr>
        <p:spPr>
          <a:xfrm>
            <a:off x="4522465" y="5163843"/>
            <a:ext cx="57643" cy="57643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2" name="Oval 21"/>
          <p:cNvSpPr>
            <a:spLocks noChangeAspect="1"/>
          </p:cNvSpPr>
          <p:nvPr/>
        </p:nvSpPr>
        <p:spPr>
          <a:xfrm>
            <a:off x="4311754" y="4959590"/>
            <a:ext cx="57643" cy="57643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3" name="Oval 22"/>
          <p:cNvSpPr>
            <a:spLocks noChangeAspect="1"/>
          </p:cNvSpPr>
          <p:nvPr/>
        </p:nvSpPr>
        <p:spPr>
          <a:xfrm>
            <a:off x="4270120" y="5305609"/>
            <a:ext cx="102119" cy="102119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aphicFrame>
        <p:nvGraphicFramePr>
          <p:cNvPr id="24" name="Chart 23"/>
          <p:cNvGraphicFramePr/>
          <p:nvPr>
            <p:extLst>
              <p:ext uri="{D42A27DB-BD31-4B8C-83A1-F6EECF244321}">
                <p14:modId xmlns:p14="http://schemas.microsoft.com/office/powerpoint/2010/main" val="2865850524"/>
              </p:ext>
            </p:extLst>
          </p:nvPr>
        </p:nvGraphicFramePr>
        <p:xfrm>
          <a:off x="7078097" y="4181637"/>
          <a:ext cx="2096816" cy="13269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Rectangle 24"/>
          <p:cNvSpPr/>
          <p:nvPr/>
        </p:nvSpPr>
        <p:spPr>
          <a:xfrm>
            <a:off x="8040226" y="5575171"/>
            <a:ext cx="162000" cy="11191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6" name="Isosceles Triangle 25"/>
          <p:cNvSpPr/>
          <p:nvPr/>
        </p:nvSpPr>
        <p:spPr>
          <a:xfrm rot="10800000">
            <a:off x="7773553" y="5329762"/>
            <a:ext cx="696664" cy="241989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7337308" y="2052360"/>
            <a:ext cx="1569154" cy="4176268"/>
            <a:chOff x="2135308" y="1999333"/>
            <a:chExt cx="1569154" cy="4176268"/>
          </a:xfrm>
        </p:grpSpPr>
        <p:sp>
          <p:nvSpPr>
            <p:cNvPr id="28" name="Diagonal Stripe 27"/>
            <p:cNvSpPr/>
            <p:nvPr/>
          </p:nvSpPr>
          <p:spPr>
            <a:xfrm rot="13461000" flipV="1">
              <a:off x="2613991" y="5613286"/>
              <a:ext cx="544838" cy="562315"/>
            </a:xfrm>
            <a:prstGeom prst="diagStripe">
              <a:avLst>
                <a:gd name="adj" fmla="val 84589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chemeClr val="tx1"/>
                </a:solidFill>
              </a:endParaRPr>
            </a:p>
          </p:txBody>
        </p:sp>
        <p:sp>
          <p:nvSpPr>
            <p:cNvPr id="29" name="Freeform: Shape 879"/>
            <p:cNvSpPr/>
            <p:nvPr/>
          </p:nvSpPr>
          <p:spPr>
            <a:xfrm rot="5400000">
              <a:off x="1649624" y="3893281"/>
              <a:ext cx="2540524" cy="841287"/>
            </a:xfrm>
            <a:custGeom>
              <a:avLst/>
              <a:gdLst>
                <a:gd name="connsiteX0" fmla="*/ 2700403 w 3063214"/>
                <a:gd name="connsiteY0" fmla="*/ 725622 h 725622"/>
                <a:gd name="connsiteX1" fmla="*/ 0 w 3063214"/>
                <a:gd name="connsiteY1" fmla="*/ 725622 h 725622"/>
                <a:gd name="connsiteX2" fmla="*/ 0 w 3063214"/>
                <a:gd name="connsiteY2" fmla="*/ 662655 h 725622"/>
                <a:gd name="connsiteX3" fmla="*/ 2666667 w 3063214"/>
                <a:gd name="connsiteY3" fmla="*/ 662655 h 725622"/>
                <a:gd name="connsiteX4" fmla="*/ 2966510 w 3063214"/>
                <a:gd name="connsiteY4" fmla="*/ 362812 h 725622"/>
                <a:gd name="connsiteX5" fmla="*/ 2666667 w 3063214"/>
                <a:gd name="connsiteY5" fmla="*/ 62968 h 725622"/>
                <a:gd name="connsiteX6" fmla="*/ 0 w 3063214"/>
                <a:gd name="connsiteY6" fmla="*/ 62968 h 725622"/>
                <a:gd name="connsiteX7" fmla="*/ 0 w 3063214"/>
                <a:gd name="connsiteY7" fmla="*/ 0 h 725622"/>
                <a:gd name="connsiteX8" fmla="*/ 2700403 w 3063214"/>
                <a:gd name="connsiteY8" fmla="*/ 0 h 725622"/>
                <a:gd name="connsiteX9" fmla="*/ 3063214 w 3063214"/>
                <a:gd name="connsiteY9" fmla="*/ 362811 h 725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63214" h="725622">
                  <a:moveTo>
                    <a:pt x="2700403" y="725622"/>
                  </a:moveTo>
                  <a:lnTo>
                    <a:pt x="0" y="725622"/>
                  </a:lnTo>
                  <a:lnTo>
                    <a:pt x="0" y="662655"/>
                  </a:lnTo>
                  <a:lnTo>
                    <a:pt x="2666667" y="662655"/>
                  </a:lnTo>
                  <a:lnTo>
                    <a:pt x="2966510" y="362812"/>
                  </a:lnTo>
                  <a:lnTo>
                    <a:pt x="2666667" y="62968"/>
                  </a:lnTo>
                  <a:lnTo>
                    <a:pt x="0" y="62968"/>
                  </a:lnTo>
                  <a:lnTo>
                    <a:pt x="0" y="0"/>
                  </a:lnTo>
                  <a:lnTo>
                    <a:pt x="2700403" y="0"/>
                  </a:lnTo>
                  <a:lnTo>
                    <a:pt x="3063214" y="362811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Rectangle: Rounded Corners 887"/>
            <p:cNvSpPr/>
            <p:nvPr/>
          </p:nvSpPr>
          <p:spPr>
            <a:xfrm rot="16200000">
              <a:off x="2857392" y="2201441"/>
              <a:ext cx="124986" cy="1569154"/>
            </a:xfrm>
            <a:prstGeom prst="roundRect">
              <a:avLst>
                <a:gd name="adj" fmla="val 47780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1" name="Rectangle: Rounded Corners 888"/>
            <p:cNvSpPr/>
            <p:nvPr/>
          </p:nvSpPr>
          <p:spPr>
            <a:xfrm rot="16200000">
              <a:off x="2857392" y="1348574"/>
              <a:ext cx="124986" cy="1426504"/>
            </a:xfrm>
            <a:prstGeom prst="roundRect">
              <a:avLst>
                <a:gd name="adj" fmla="val 47780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2" name="Freeform: Shape 889"/>
            <p:cNvSpPr/>
            <p:nvPr/>
          </p:nvSpPr>
          <p:spPr>
            <a:xfrm rot="16200000">
              <a:off x="2429380" y="2105638"/>
              <a:ext cx="999071" cy="834769"/>
            </a:xfrm>
            <a:custGeom>
              <a:avLst/>
              <a:gdLst>
                <a:gd name="connsiteX0" fmla="*/ 62480 w 720000"/>
                <a:gd name="connsiteY0" fmla="*/ 62480 h 720000"/>
                <a:gd name="connsiteX1" fmla="*/ 62480 w 720000"/>
                <a:gd name="connsiteY1" fmla="*/ 657521 h 720000"/>
                <a:gd name="connsiteX2" fmla="*/ 657521 w 720000"/>
                <a:gd name="connsiteY2" fmla="*/ 657521 h 720000"/>
                <a:gd name="connsiteX3" fmla="*/ 657521 w 720000"/>
                <a:gd name="connsiteY3" fmla="*/ 62480 h 720000"/>
                <a:gd name="connsiteX4" fmla="*/ 0 w 720000"/>
                <a:gd name="connsiteY4" fmla="*/ 0 h 720000"/>
                <a:gd name="connsiteX5" fmla="*/ 720000 w 720000"/>
                <a:gd name="connsiteY5" fmla="*/ 0 h 720000"/>
                <a:gd name="connsiteX6" fmla="*/ 720000 w 720000"/>
                <a:gd name="connsiteY6" fmla="*/ 720000 h 720000"/>
                <a:gd name="connsiteX7" fmla="*/ 0 w 720000"/>
                <a:gd name="connsiteY7" fmla="*/ 720000 h 72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20000" h="720000">
                  <a:moveTo>
                    <a:pt x="62480" y="62480"/>
                  </a:moveTo>
                  <a:lnTo>
                    <a:pt x="62480" y="657521"/>
                  </a:lnTo>
                  <a:lnTo>
                    <a:pt x="657521" y="657521"/>
                  </a:lnTo>
                  <a:lnTo>
                    <a:pt x="657521" y="62480"/>
                  </a:lnTo>
                  <a:close/>
                  <a:moveTo>
                    <a:pt x="0" y="0"/>
                  </a:moveTo>
                  <a:lnTo>
                    <a:pt x="720000" y="0"/>
                  </a:lnTo>
                  <a:lnTo>
                    <a:pt x="720000" y="720000"/>
                  </a:lnTo>
                  <a:lnTo>
                    <a:pt x="0" y="720000"/>
                  </a:ln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sp>
        <p:nvSpPr>
          <p:cNvPr id="33" name="Rectangle: Rounded Corners 881"/>
          <p:cNvSpPr/>
          <p:nvPr/>
        </p:nvSpPr>
        <p:spPr>
          <a:xfrm rot="16200000">
            <a:off x="7929443" y="5023241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Rectangle: Rounded Corners 882"/>
          <p:cNvSpPr/>
          <p:nvPr/>
        </p:nvSpPr>
        <p:spPr>
          <a:xfrm rot="16200000">
            <a:off x="8001443" y="4508270"/>
            <a:ext cx="13958" cy="32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5" name="Rectangle: Rounded Corners 883"/>
          <p:cNvSpPr/>
          <p:nvPr/>
        </p:nvSpPr>
        <p:spPr>
          <a:xfrm rot="16200000">
            <a:off x="7929443" y="4432613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6" name="Rectangle: Rounded Corners 881"/>
          <p:cNvSpPr/>
          <p:nvPr/>
        </p:nvSpPr>
        <p:spPr>
          <a:xfrm rot="16200000">
            <a:off x="7929443" y="5170898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7" name="Rectangle: Rounded Corners 882"/>
          <p:cNvSpPr/>
          <p:nvPr/>
        </p:nvSpPr>
        <p:spPr>
          <a:xfrm rot="16200000">
            <a:off x="7929443" y="4875584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Rectangle: Rounded Corners 883"/>
          <p:cNvSpPr/>
          <p:nvPr/>
        </p:nvSpPr>
        <p:spPr>
          <a:xfrm rot="16200000">
            <a:off x="7929443" y="4727927"/>
            <a:ext cx="13958" cy="180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8301252" y="4346134"/>
            <a:ext cx="57643" cy="57643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0" name="Oval 39"/>
          <p:cNvSpPr>
            <a:spLocks noChangeAspect="1"/>
          </p:cNvSpPr>
          <p:nvPr/>
        </p:nvSpPr>
        <p:spPr>
          <a:xfrm>
            <a:off x="8049047" y="4371518"/>
            <a:ext cx="102119" cy="102119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8227954" y="4734936"/>
            <a:ext cx="102119" cy="102119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2" name="Oval 41"/>
          <p:cNvSpPr>
            <a:spLocks noChangeAspect="1"/>
          </p:cNvSpPr>
          <p:nvPr/>
        </p:nvSpPr>
        <p:spPr>
          <a:xfrm>
            <a:off x="8301252" y="5187996"/>
            <a:ext cx="57643" cy="57643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8090541" y="4983743"/>
            <a:ext cx="57643" cy="57643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4" name="Oval 43"/>
          <p:cNvSpPr>
            <a:spLocks noChangeAspect="1"/>
          </p:cNvSpPr>
          <p:nvPr/>
        </p:nvSpPr>
        <p:spPr>
          <a:xfrm>
            <a:off x="8048907" y="5329762"/>
            <a:ext cx="102119" cy="102119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5" name="Oval 44"/>
          <p:cNvSpPr>
            <a:spLocks noChangeAspect="1"/>
          </p:cNvSpPr>
          <p:nvPr/>
        </p:nvSpPr>
        <p:spPr>
          <a:xfrm>
            <a:off x="7943660" y="4692133"/>
            <a:ext cx="63407" cy="63407"/>
          </a:xfrm>
          <a:prstGeom prst="ellipse">
            <a:avLst/>
          </a:prstGeom>
          <a:solidFill>
            <a:srgbClr val="FFFFFF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3090588" y="1618332"/>
            <a:ext cx="2480231" cy="338554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IN" sz="1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Had pneumococcus </a:t>
            </a:r>
            <a:r>
              <a:rPr lang="en-I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accine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4059377" y="4276162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25%</a:t>
            </a:r>
            <a:endParaRPr lang="en-IN" dirty="0"/>
          </a:p>
        </p:txBody>
      </p:sp>
      <p:sp>
        <p:nvSpPr>
          <p:cNvPr id="48" name="TextBox 47"/>
          <p:cNvSpPr txBox="1"/>
          <p:nvPr/>
        </p:nvSpPr>
        <p:spPr>
          <a:xfrm>
            <a:off x="7854349" y="3819327"/>
            <a:ext cx="5838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IN" dirty="0" smtClean="0"/>
              <a:t>37%</a:t>
            </a:r>
            <a:endParaRPr lang="en-IN" dirty="0"/>
          </a:p>
        </p:txBody>
      </p:sp>
      <p:sp>
        <p:nvSpPr>
          <p:cNvPr id="49" name="TextBox 48"/>
          <p:cNvSpPr txBox="1"/>
          <p:nvPr/>
        </p:nvSpPr>
        <p:spPr>
          <a:xfrm>
            <a:off x="6531877" y="1481775"/>
            <a:ext cx="3189271" cy="584775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IN" sz="1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Will </a:t>
            </a:r>
            <a:r>
              <a:rPr lang="en-I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g</a:t>
            </a:r>
            <a:r>
              <a:rPr lang="en-IN" sz="1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et </a:t>
            </a:r>
          </a:p>
          <a:p>
            <a:pPr algn="ctr">
              <a:defRPr sz="1862" b="0" i="0" u="none" strike="noStrike" kern="1200" spc="0" baseline="0">
                <a:solidFill>
                  <a:prstClr val="black">
                    <a:lumMod val="65000"/>
                    <a:lumOff val="35000"/>
                  </a:prstClr>
                </a:solidFill>
                <a:latin typeface="+mn-lt"/>
                <a:ea typeface="+mn-ea"/>
                <a:cs typeface="+mn-cs"/>
              </a:defRPr>
            </a:pPr>
            <a:r>
              <a:rPr lang="en-IN" sz="16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p</a:t>
            </a:r>
            <a:r>
              <a:rPr lang="en-IN" sz="16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neumococcus vaccine in the future</a:t>
            </a:r>
            <a:endParaRPr lang="en-IN" sz="16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599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58" y="2447792"/>
            <a:ext cx="3422210" cy="1925071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3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195659" y="4170938"/>
            <a:ext cx="8996341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4400" b="1" dirty="0"/>
              <a:t>MEDICATION STOCK-UP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842223" y="4955186"/>
            <a:ext cx="10349777" cy="2469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334435" y="1939611"/>
            <a:ext cx="3015575" cy="3015575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4778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ck Up of Medication And Type of Medic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4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142818"/>
            <a:ext cx="11617565" cy="307777"/>
          </a:xfrm>
        </p:spPr>
        <p:txBody>
          <a:bodyPr/>
          <a:lstStyle/>
          <a:p>
            <a:r>
              <a:rPr lang="en-US" dirty="0"/>
              <a:t>Q. Did you stock up medications during this Corona pandemic? Base: </a:t>
            </a:r>
            <a:r>
              <a:rPr lang="en-US" dirty="0" smtClean="0"/>
              <a:t>2906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Q. Please select from the below the type of medication that you stocked up</a:t>
            </a:r>
            <a:r>
              <a:rPr lang="en-US" dirty="0" smtClean="0"/>
              <a:t>? </a:t>
            </a:r>
            <a:r>
              <a:rPr lang="en-US" dirty="0"/>
              <a:t>Base: </a:t>
            </a:r>
            <a:r>
              <a:rPr lang="en-US" dirty="0" smtClean="0"/>
              <a:t>1394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2000" cy="435906"/>
          </a:xfrm>
          <a:prstGeom prst="rect">
            <a:avLst/>
          </a:prstGeom>
          <a:solidFill>
            <a:srgbClr val="284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0" y="941337"/>
            <a:ext cx="12192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IN" dirty="0">
                <a:solidFill>
                  <a:schemeClr val="bg1"/>
                </a:solidFill>
              </a:rPr>
              <a:t>People are </a:t>
            </a:r>
            <a:r>
              <a:rPr lang="en-IN" dirty="0" smtClean="0">
                <a:solidFill>
                  <a:schemeClr val="bg1"/>
                </a:solidFill>
              </a:rPr>
              <a:t>stocking medicines, </a:t>
            </a:r>
            <a:r>
              <a:rPr lang="en-IN" dirty="0">
                <a:solidFill>
                  <a:schemeClr val="bg1"/>
                </a:solidFill>
              </a:rPr>
              <a:t>mainly OTC and prescribed ones to </a:t>
            </a:r>
            <a:r>
              <a:rPr lang="en-IN" dirty="0" smtClean="0">
                <a:solidFill>
                  <a:schemeClr val="bg1"/>
                </a:solidFill>
              </a:rPr>
              <a:t>avoid shortage in case of any future problems</a:t>
            </a:r>
            <a:endParaRPr lang="en-IN" dirty="0">
              <a:solidFill>
                <a:schemeClr val="bg1"/>
              </a:solidFill>
            </a:endParaRPr>
          </a:p>
        </p:txBody>
      </p:sp>
      <p:graphicFrame>
        <p:nvGraphicFramePr>
          <p:cNvPr id="7" name="Chart 6"/>
          <p:cNvGraphicFramePr/>
          <p:nvPr>
            <p:extLst/>
          </p:nvPr>
        </p:nvGraphicFramePr>
        <p:xfrm>
          <a:off x="334435" y="2006683"/>
          <a:ext cx="4339581" cy="35878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Chart 7"/>
          <p:cNvGraphicFramePr/>
          <p:nvPr>
            <p:extLst/>
          </p:nvPr>
        </p:nvGraphicFramePr>
        <p:xfrm>
          <a:off x="5361170" y="1343956"/>
          <a:ext cx="6830830" cy="48443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73399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ype Of Medication Stocked up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5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0" y="673907"/>
            <a:ext cx="12192000" cy="67263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81915" y="681434"/>
            <a:ext cx="115226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Stocking phenomena is more prevalent in developing </a:t>
            </a:r>
            <a:r>
              <a:rPr lang="en-IN" dirty="0" smtClean="0">
                <a:solidFill>
                  <a:schemeClr val="bg1"/>
                </a:solidFill>
              </a:rPr>
              <a:t>markets.</a:t>
            </a:r>
          </a:p>
          <a:p>
            <a:pPr algn="ctr"/>
            <a:r>
              <a:rPr lang="en-IN" dirty="0" smtClean="0">
                <a:solidFill>
                  <a:schemeClr val="bg1"/>
                </a:solidFill>
              </a:rPr>
              <a:t>Developing markets are focussing on immunity medications</a:t>
            </a:r>
            <a:endParaRPr lang="en-IN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/>
          </p:nvPr>
        </p:nvGraphicFramePr>
        <p:xfrm>
          <a:off x="-1" y="1335291"/>
          <a:ext cx="12192001" cy="4961418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205629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</a:tblGrid>
              <a:tr h="70877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ategory</a:t>
                      </a:r>
                      <a:endParaRPr lang="en-IN" sz="16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kern="1200" dirty="0" smtClean="0"/>
                        <a:t>Global</a:t>
                      </a:r>
                      <a:endParaRPr lang="en-IN" sz="160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SA</a:t>
                      </a:r>
                      <a:endParaRPr lang="en-IN" sz="1100" b="0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K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AE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R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Nigeri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Mexico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K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kern="1200" dirty="0" smtClean="0">
                          <a:effectLst/>
                        </a:rPr>
                        <a:t>Indonesia</a:t>
                      </a:r>
                      <a:endParaRPr lang="en-IN" sz="1600" b="1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Indi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Germany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08774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Have stocked Medications</a:t>
                      </a:r>
                      <a:endParaRPr lang="en-US" sz="16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48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34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3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56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46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 54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54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51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73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76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10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08774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Over the counter general medicines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0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6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7%</a:t>
                      </a:r>
                      <a:endParaRPr lang="en-US" sz="14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83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08774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Prescribed medication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4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3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08774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General medication for Kids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08774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Immunity boosters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4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708774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Base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94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9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8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65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62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6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51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26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0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Did you stock up medications during this Corona pandemic? Please select from the below the type of medication that you stocked up? 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9557620" y="2243029"/>
            <a:ext cx="721220" cy="33134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0" name="Rounded Rectangle 9"/>
          <p:cNvSpPr/>
          <p:nvPr/>
        </p:nvSpPr>
        <p:spPr>
          <a:xfrm>
            <a:off x="10513117" y="2243030"/>
            <a:ext cx="605689" cy="33134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1" name="Rounded Rectangle 10"/>
          <p:cNvSpPr/>
          <p:nvPr/>
        </p:nvSpPr>
        <p:spPr>
          <a:xfrm>
            <a:off x="2343554" y="2944956"/>
            <a:ext cx="605689" cy="33134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2" name="Rounded Rectangle 11"/>
          <p:cNvSpPr/>
          <p:nvPr/>
        </p:nvSpPr>
        <p:spPr>
          <a:xfrm>
            <a:off x="5934614" y="5066285"/>
            <a:ext cx="605689" cy="331347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3" name="Rounded Rectangle 12"/>
          <p:cNvSpPr/>
          <p:nvPr/>
        </p:nvSpPr>
        <p:spPr>
          <a:xfrm>
            <a:off x="6872625" y="5069420"/>
            <a:ext cx="605689" cy="331347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4" name="Rounded Rectangle 13"/>
          <p:cNvSpPr/>
          <p:nvPr/>
        </p:nvSpPr>
        <p:spPr>
          <a:xfrm>
            <a:off x="9615385" y="5066285"/>
            <a:ext cx="605689" cy="331347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5" name="Rounded Rectangle 14"/>
          <p:cNvSpPr/>
          <p:nvPr/>
        </p:nvSpPr>
        <p:spPr>
          <a:xfrm>
            <a:off x="10529137" y="5082299"/>
            <a:ext cx="605689" cy="331347"/>
          </a:xfrm>
          <a:prstGeom prst="roundRect">
            <a:avLst/>
          </a:prstGeom>
          <a:noFill/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09114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Point Of Purchas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6</a:t>
            </a:fld>
            <a:endParaRPr lang="en-IN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From where have you bought medications recently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0" y="908050"/>
            <a:ext cx="12192000" cy="435906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34435" y="944262"/>
            <a:ext cx="1152260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IN" dirty="0">
                <a:solidFill>
                  <a:schemeClr val="bg1"/>
                </a:solidFill>
              </a:rPr>
              <a:t>Local medical stores are </a:t>
            </a:r>
            <a:r>
              <a:rPr lang="en-IN" dirty="0" smtClean="0">
                <a:solidFill>
                  <a:schemeClr val="bg1"/>
                </a:solidFill>
              </a:rPr>
              <a:t>preferred </a:t>
            </a:r>
            <a:r>
              <a:rPr lang="en-IN" dirty="0">
                <a:solidFill>
                  <a:schemeClr val="bg1"/>
                </a:solidFill>
              </a:rPr>
              <a:t>for medical purchase but online is also strong in APAC.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9085681"/>
              </p:ext>
            </p:extLst>
          </p:nvPr>
        </p:nvGraphicFramePr>
        <p:xfrm>
          <a:off x="0" y="1343956"/>
          <a:ext cx="12192002" cy="4827906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2205630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  <a:gridCol w="907852"/>
              </a:tblGrid>
              <a:tr h="804651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ategory</a:t>
                      </a:r>
                      <a:endParaRPr lang="en-IN" sz="16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IN" sz="1600" kern="1200" dirty="0" smtClean="0"/>
                        <a:t>Global</a:t>
                      </a:r>
                      <a:endParaRPr lang="en-IN" sz="1600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latin typeface="+mj-lt"/>
                        <a:ea typeface="Calibri" panose="020F0502020204030204" pitchFamily="34" charset="0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SA</a:t>
                      </a:r>
                      <a:endParaRPr lang="en-IN" sz="1100" b="0" i="0" u="none" strike="noStrike" dirty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K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UAE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R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Nigeri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Mexico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KS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kern="1200" dirty="0" smtClean="0">
                          <a:effectLst/>
                        </a:rPr>
                        <a:t>Indonesia</a:t>
                      </a:r>
                      <a:endParaRPr lang="en-IN" sz="1600" b="1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India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IN" sz="1600" u="none" strike="noStrike" dirty="0" smtClean="0">
                          <a:effectLst/>
                        </a:rPr>
                        <a:t>Germany</a:t>
                      </a:r>
                      <a:endParaRPr lang="en-IN" sz="1100" b="0" i="0" u="none" strike="noStrike" kern="1200" dirty="0" smtClean="0"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Neighborhood Pharmacy/ Chemist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4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9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8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3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Online / Medical and Pharmacy Apps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4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3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Hospital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6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1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4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8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/>
                        <a:t>Over the call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2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3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4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7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0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19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/>
                        <a:t>5%</a:t>
                      </a:r>
                      <a:endParaRPr lang="en-US" sz="14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  <a:tr h="804651"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600" kern="1200" dirty="0" smtClean="0"/>
                        <a:t>Base</a:t>
                      </a:r>
                      <a:endParaRPr lang="en-US" sz="1600" b="1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06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30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8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4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8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8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7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5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7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299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1219170" rtl="0" eaLnBrk="1" fontAlgn="t" latinLnBrk="0" hangingPunct="1"/>
                      <a:r>
                        <a:rPr lang="en-US" sz="1400" kern="1200" dirty="0" smtClean="0"/>
                        <a:t>300</a:t>
                      </a:r>
                      <a:endParaRPr lang="en-US" sz="1400" i="1" kern="1200" dirty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8" name="Rounded Rectangle 7"/>
          <p:cNvSpPr/>
          <p:nvPr/>
        </p:nvSpPr>
        <p:spPr>
          <a:xfrm>
            <a:off x="9640153" y="3187237"/>
            <a:ext cx="605689" cy="33134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9" name="Rounded Rectangle 8"/>
          <p:cNvSpPr/>
          <p:nvPr/>
        </p:nvSpPr>
        <p:spPr>
          <a:xfrm>
            <a:off x="10475138" y="3188593"/>
            <a:ext cx="605689" cy="331347"/>
          </a:xfrm>
          <a:prstGeom prst="roundRect">
            <a:avLst/>
          </a:prstGeom>
          <a:noFill/>
          <a:ln>
            <a:solidFill>
              <a:srgbClr val="1B40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5246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4" y="279050"/>
            <a:ext cx="10837542" cy="418576"/>
          </a:xfrm>
        </p:spPr>
        <p:txBody>
          <a:bodyPr/>
          <a:lstStyle/>
          <a:p>
            <a:r>
              <a:rPr lang="en-US" dirty="0"/>
              <a:t>Importance of Manufacturer </a:t>
            </a:r>
            <a:r>
              <a:rPr lang="en-US" dirty="0" smtClean="0"/>
              <a:t>and </a:t>
            </a:r>
            <a:r>
              <a:rPr lang="en-US" dirty="0"/>
              <a:t>Country Of Origin - Medicines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7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0" y="908049"/>
            <a:ext cx="12192000" cy="934643"/>
          </a:xfrm>
          <a:prstGeom prst="rect">
            <a:avLst/>
          </a:prstGeom>
          <a:solidFill>
            <a:srgbClr val="1B406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Rectangle 5"/>
          <p:cNvSpPr/>
          <p:nvPr/>
        </p:nvSpPr>
        <p:spPr>
          <a:xfrm>
            <a:off x="334434" y="919362"/>
            <a:ext cx="1152207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dirty="0">
                <a:solidFill>
                  <a:schemeClr val="bg1"/>
                </a:solidFill>
              </a:rPr>
              <a:t>Most </a:t>
            </a:r>
            <a:r>
              <a:rPr lang="en-IN" dirty="0" smtClean="0">
                <a:solidFill>
                  <a:schemeClr val="bg1"/>
                </a:solidFill>
              </a:rPr>
              <a:t>people </a:t>
            </a:r>
            <a:r>
              <a:rPr lang="en-IN" dirty="0">
                <a:solidFill>
                  <a:schemeClr val="bg1"/>
                </a:solidFill>
              </a:rPr>
              <a:t>are likely to read details around the country of origin.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IN" dirty="0">
                <a:solidFill>
                  <a:schemeClr val="bg1"/>
                </a:solidFill>
              </a:rPr>
              <a:t>This </a:t>
            </a:r>
            <a:r>
              <a:rPr lang="en-IN" dirty="0" smtClean="0">
                <a:solidFill>
                  <a:schemeClr val="bg1"/>
                </a:solidFill>
              </a:rPr>
              <a:t>is a result </a:t>
            </a:r>
            <a:r>
              <a:rPr lang="en-IN" dirty="0">
                <a:solidFill>
                  <a:schemeClr val="bg1"/>
                </a:solidFill>
              </a:rPr>
              <a:t>of people </a:t>
            </a:r>
            <a:r>
              <a:rPr lang="en-IN" dirty="0" smtClean="0">
                <a:solidFill>
                  <a:schemeClr val="bg1"/>
                </a:solidFill>
              </a:rPr>
              <a:t>becoming </a:t>
            </a:r>
            <a:r>
              <a:rPr lang="en-IN" dirty="0">
                <a:solidFill>
                  <a:schemeClr val="bg1"/>
                </a:solidFill>
              </a:rPr>
              <a:t>more aware and also </a:t>
            </a:r>
            <a:r>
              <a:rPr lang="en-IN" dirty="0" smtClean="0">
                <a:solidFill>
                  <a:schemeClr val="bg1"/>
                </a:solidFill>
              </a:rPr>
              <a:t>due </a:t>
            </a:r>
            <a:r>
              <a:rPr lang="en-IN" smtClean="0">
                <a:solidFill>
                  <a:schemeClr val="bg1"/>
                </a:solidFill>
              </a:rPr>
              <a:t>to certain </a:t>
            </a:r>
            <a:r>
              <a:rPr lang="en-IN" dirty="0">
                <a:solidFill>
                  <a:schemeClr val="bg1"/>
                </a:solidFill>
              </a:rPr>
              <a:t>wide-spread emotions about boycotting some markets.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08471346"/>
              </p:ext>
            </p:extLst>
          </p:nvPr>
        </p:nvGraphicFramePr>
        <p:xfrm>
          <a:off x="14306" y="1570581"/>
          <a:ext cx="11477798" cy="49541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34435" y="6296706"/>
            <a:ext cx="11617565" cy="153888"/>
          </a:xfrm>
        </p:spPr>
        <p:txBody>
          <a:bodyPr/>
          <a:lstStyle/>
          <a:p>
            <a:r>
              <a:rPr lang="en-US" dirty="0"/>
              <a:t>Q. How likely will you pay more attention on a medication's origin moving forward, i.e. who the manufacturer is and country of origin?. Base </a:t>
            </a:r>
            <a:r>
              <a:rPr lang="en-US" dirty="0" smtClean="0"/>
              <a:t>2906</a:t>
            </a:r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9890308"/>
              </p:ext>
            </p:extLst>
          </p:nvPr>
        </p:nvGraphicFramePr>
        <p:xfrm>
          <a:off x="11310386" y="1958400"/>
          <a:ext cx="583470" cy="3968811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583470"/>
              </a:tblGrid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58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39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81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67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48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96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52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54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63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17</a:t>
                      </a:r>
                      <a:endParaRPr lang="en-US" sz="1100" b="0" dirty="0"/>
                    </a:p>
                  </a:txBody>
                  <a:tcPr anchor="ctr"/>
                </a:tc>
              </a:tr>
              <a:tr h="360801"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 smtClean="0"/>
                        <a:t>2.67</a:t>
                      </a:r>
                      <a:endParaRPr lang="en-US" sz="1100" b="0" dirty="0"/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1310386" y="5982636"/>
            <a:ext cx="5830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Mean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3097589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4294967295"/>
          </p:nvPr>
        </p:nvSpPr>
        <p:spPr>
          <a:xfrm>
            <a:off x="5377853" y="6524735"/>
            <a:ext cx="1436291" cy="164148"/>
          </a:xfrm>
          <a:prstGeom prst="rect">
            <a:avLst/>
          </a:prstGeom>
        </p:spPr>
        <p:txBody>
          <a:bodyPr/>
          <a:lstStyle/>
          <a:p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38</a:t>
            </a:fld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Footer Placeholder 1"/>
          <p:cNvSpPr txBox="1">
            <a:spLocks/>
          </p:cNvSpPr>
          <p:nvPr/>
        </p:nvSpPr>
        <p:spPr>
          <a:xfrm>
            <a:off x="5378656" y="6524703"/>
            <a:ext cx="1434688" cy="16421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prstClr val="black">
                    <a:tint val="75000"/>
                  </a:prst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067" dirty="0"/>
              <a:t>© 2020 Borderless Access</a:t>
            </a:r>
          </a:p>
        </p:txBody>
      </p:sp>
      <p:sp>
        <p:nvSpPr>
          <p:cNvPr id="7" name="Rectangle 6"/>
          <p:cNvSpPr/>
          <p:nvPr/>
        </p:nvSpPr>
        <p:spPr>
          <a:xfrm>
            <a:off x="2303912" y="2371616"/>
            <a:ext cx="1242648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67" b="1" dirty="0">
                <a:solidFill>
                  <a:srgbClr val="FFC905"/>
                </a:solidFill>
              </a:rPr>
              <a:t>AMERICAS</a:t>
            </a:r>
          </a:p>
        </p:txBody>
      </p:sp>
      <p:sp>
        <p:nvSpPr>
          <p:cNvPr id="8" name="Rectangle 7"/>
          <p:cNvSpPr/>
          <p:nvPr/>
        </p:nvSpPr>
        <p:spPr>
          <a:xfrm>
            <a:off x="2686495" y="2768814"/>
            <a:ext cx="41069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</a:rPr>
              <a:t>US</a:t>
            </a:r>
            <a:endParaRPr lang="en-IN" sz="1867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3101855" y="3368420"/>
            <a:ext cx="996683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67" b="1" dirty="0">
                <a:solidFill>
                  <a:srgbClr val="FFC905"/>
                </a:solidFill>
              </a:rPr>
              <a:t>EUROPE</a:t>
            </a:r>
          </a:p>
        </p:txBody>
      </p:sp>
      <p:sp>
        <p:nvSpPr>
          <p:cNvPr id="10" name="Rectangle 9"/>
          <p:cNvSpPr/>
          <p:nvPr/>
        </p:nvSpPr>
        <p:spPr>
          <a:xfrm>
            <a:off x="2344000" y="3765618"/>
            <a:ext cx="251023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</a:rPr>
              <a:t>UK | GERMANY | ROMANIA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188116" y="4499055"/>
            <a:ext cx="2527808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67" b="1" dirty="0">
                <a:solidFill>
                  <a:srgbClr val="FFC905"/>
                </a:solidFill>
              </a:rPr>
              <a:t>MIDDLE EAST &amp; AFRICA</a:t>
            </a:r>
          </a:p>
        </p:txBody>
      </p:sp>
      <p:sp>
        <p:nvSpPr>
          <p:cNvPr id="12" name="Rectangle 11"/>
          <p:cNvSpPr/>
          <p:nvPr/>
        </p:nvSpPr>
        <p:spPr>
          <a:xfrm>
            <a:off x="3466698" y="4896252"/>
            <a:ext cx="1959511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</a:rPr>
              <a:t>UAE | SOUTH AFRICA</a:t>
            </a:r>
          </a:p>
        </p:txBody>
      </p:sp>
      <p:sp>
        <p:nvSpPr>
          <p:cNvPr id="13" name="Rectangle 12"/>
          <p:cNvSpPr/>
          <p:nvPr/>
        </p:nvSpPr>
        <p:spPr>
          <a:xfrm>
            <a:off x="5075667" y="5562864"/>
            <a:ext cx="710644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867" b="1" dirty="0">
                <a:solidFill>
                  <a:srgbClr val="FFC905"/>
                </a:solidFill>
              </a:rPr>
              <a:t>APAC</a:t>
            </a:r>
          </a:p>
        </p:txBody>
      </p:sp>
      <p:sp>
        <p:nvSpPr>
          <p:cNvPr id="14" name="Rectangle 13"/>
          <p:cNvSpPr/>
          <p:nvPr/>
        </p:nvSpPr>
        <p:spPr>
          <a:xfrm>
            <a:off x="5098194" y="5960062"/>
            <a:ext cx="665567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1600" dirty="0">
                <a:solidFill>
                  <a:schemeClr val="bg1"/>
                </a:solidFill>
              </a:rPr>
              <a:t>INDIA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730913" y="1161114"/>
            <a:ext cx="426424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6000" b="1" dirty="0">
                <a:solidFill>
                  <a:srgbClr val="0C3A4D"/>
                </a:solidFill>
              </a:rPr>
              <a:t>THANK YOU!</a:t>
            </a:r>
          </a:p>
        </p:txBody>
      </p:sp>
      <p:sp>
        <p:nvSpPr>
          <p:cNvPr id="16" name="Rectangle 15"/>
          <p:cNvSpPr/>
          <p:nvPr/>
        </p:nvSpPr>
        <p:spPr>
          <a:xfrm rot="2700000">
            <a:off x="3569911" y="3429288"/>
            <a:ext cx="323941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400" b="1" dirty="0">
                <a:solidFill>
                  <a:srgbClr val="0C394C"/>
                </a:solidFill>
              </a:rPr>
              <a:t>OUR OFFICE LOCATIONS</a:t>
            </a: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9061" y="4801543"/>
            <a:ext cx="525084" cy="396492"/>
          </a:xfrm>
          <a:prstGeom prst="rect">
            <a:avLst/>
          </a:prstGeom>
        </p:spPr>
      </p:pic>
      <p:sp>
        <p:nvSpPr>
          <p:cNvPr id="18" name="Rectangle 17"/>
          <p:cNvSpPr/>
          <p:nvPr/>
        </p:nvSpPr>
        <p:spPr>
          <a:xfrm>
            <a:off x="8373788" y="3368667"/>
            <a:ext cx="342850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3200" b="1" dirty="0">
                <a:solidFill>
                  <a:srgbClr val="0C3A4D"/>
                </a:solidFill>
              </a:rPr>
              <a:t>CONNECT WITH US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32494" y="3331829"/>
            <a:ext cx="841767" cy="575945"/>
          </a:xfrm>
          <a:prstGeom prst="rect">
            <a:avLst/>
          </a:prstGeom>
        </p:spPr>
      </p:pic>
      <p:sp>
        <p:nvSpPr>
          <p:cNvPr id="20" name="Rectangle 19">
            <a:hlinkClick r:id="rId5"/>
          </p:cNvPr>
          <p:cNvSpPr/>
          <p:nvPr/>
        </p:nvSpPr>
        <p:spPr>
          <a:xfrm>
            <a:off x="8302614" y="4008979"/>
            <a:ext cx="35287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connect@borderlessaccess.com</a:t>
            </a:r>
          </a:p>
        </p:txBody>
      </p:sp>
      <p:sp>
        <p:nvSpPr>
          <p:cNvPr id="21" name="Rectangle 20">
            <a:hlinkClick r:id="rId6"/>
          </p:cNvPr>
          <p:cNvSpPr/>
          <p:nvPr/>
        </p:nvSpPr>
        <p:spPr>
          <a:xfrm>
            <a:off x="8302614" y="4712532"/>
            <a:ext cx="30628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IN" sz="2000" dirty="0">
                <a:solidFill>
                  <a:schemeClr val="bg1"/>
                </a:solidFill>
              </a:rPr>
              <a:t>www.borderlessaccess.com</a:t>
            </a:r>
          </a:p>
        </p:txBody>
      </p:sp>
      <p:grpSp>
        <p:nvGrpSpPr>
          <p:cNvPr id="48" name="Group 47"/>
          <p:cNvGrpSpPr/>
          <p:nvPr/>
        </p:nvGrpSpPr>
        <p:grpSpPr>
          <a:xfrm>
            <a:off x="8355856" y="5418562"/>
            <a:ext cx="3802776" cy="380281"/>
            <a:chOff x="6266892" y="4063921"/>
            <a:chExt cx="2852082" cy="285211"/>
          </a:xfrm>
        </p:grpSpPr>
        <p:sp>
          <p:nvSpPr>
            <p:cNvPr id="50" name="Freeform 80">
              <a:hlinkClick r:id="rId7"/>
            </p:cNvPr>
            <p:cNvSpPr>
              <a:spLocks noEditPoints="1"/>
            </p:cNvSpPr>
            <p:nvPr/>
          </p:nvSpPr>
          <p:spPr bwMode="auto">
            <a:xfrm>
              <a:off x="8512905" y="4063921"/>
              <a:ext cx="280559" cy="285208"/>
            </a:xfrm>
            <a:custGeom>
              <a:avLst/>
              <a:gdLst>
                <a:gd name="T0" fmla="*/ 82 w 164"/>
                <a:gd name="T1" fmla="*/ 0 h 164"/>
                <a:gd name="T2" fmla="*/ 0 w 164"/>
                <a:gd name="T3" fmla="*/ 82 h 164"/>
                <a:gd name="T4" fmla="*/ 82 w 164"/>
                <a:gd name="T5" fmla="*/ 164 h 164"/>
                <a:gd name="T6" fmla="*/ 164 w 164"/>
                <a:gd name="T7" fmla="*/ 82 h 164"/>
                <a:gd name="T8" fmla="*/ 82 w 164"/>
                <a:gd name="T9" fmla="*/ 0 h 164"/>
                <a:gd name="T10" fmla="*/ 30 w 164"/>
                <a:gd name="T11" fmla="*/ 105 h 164"/>
                <a:gd name="T12" fmla="*/ 48 w 164"/>
                <a:gd name="T13" fmla="*/ 75 h 164"/>
                <a:gd name="T14" fmla="*/ 34 w 164"/>
                <a:gd name="T15" fmla="*/ 51 h 164"/>
                <a:gd name="T16" fmla="*/ 58 w 164"/>
                <a:gd name="T17" fmla="*/ 51 h 164"/>
                <a:gd name="T18" fmla="*/ 72 w 164"/>
                <a:gd name="T19" fmla="*/ 75 h 164"/>
                <a:gd name="T20" fmla="*/ 54 w 164"/>
                <a:gd name="T21" fmla="*/ 105 h 164"/>
                <a:gd name="T22" fmla="*/ 30 w 164"/>
                <a:gd name="T23" fmla="*/ 105 h 164"/>
                <a:gd name="T24" fmla="*/ 119 w 164"/>
                <a:gd name="T25" fmla="*/ 139 h 164"/>
                <a:gd name="T26" fmla="*/ 93 w 164"/>
                <a:gd name="T27" fmla="*/ 139 h 164"/>
                <a:gd name="T28" fmla="*/ 69 w 164"/>
                <a:gd name="T29" fmla="*/ 96 h 164"/>
                <a:gd name="T30" fmla="*/ 107 w 164"/>
                <a:gd name="T31" fmla="*/ 30 h 164"/>
                <a:gd name="T32" fmla="*/ 132 w 164"/>
                <a:gd name="T33" fmla="*/ 30 h 164"/>
                <a:gd name="T34" fmla="*/ 94 w 164"/>
                <a:gd name="T35" fmla="*/ 96 h 164"/>
                <a:gd name="T36" fmla="*/ 119 w 164"/>
                <a:gd name="T37" fmla="*/ 139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4" h="164">
                  <a:moveTo>
                    <a:pt x="82" y="0"/>
                  </a:moveTo>
                  <a:cubicBezTo>
                    <a:pt x="37" y="0"/>
                    <a:pt x="0" y="36"/>
                    <a:pt x="0" y="82"/>
                  </a:cubicBezTo>
                  <a:cubicBezTo>
                    <a:pt x="0" y="127"/>
                    <a:pt x="37" y="164"/>
                    <a:pt x="82" y="164"/>
                  </a:cubicBezTo>
                  <a:cubicBezTo>
                    <a:pt x="128" y="164"/>
                    <a:pt x="164" y="127"/>
                    <a:pt x="164" y="82"/>
                  </a:cubicBezTo>
                  <a:cubicBezTo>
                    <a:pt x="164" y="36"/>
                    <a:pt x="128" y="0"/>
                    <a:pt x="82" y="0"/>
                  </a:cubicBezTo>
                  <a:close/>
                  <a:moveTo>
                    <a:pt x="30" y="10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58" y="51"/>
                    <a:pt x="58" y="51"/>
                    <a:pt x="58" y="51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54" y="105"/>
                    <a:pt x="54" y="105"/>
                    <a:pt x="54" y="105"/>
                  </a:cubicBezTo>
                  <a:lnTo>
                    <a:pt x="30" y="105"/>
                  </a:lnTo>
                  <a:close/>
                  <a:moveTo>
                    <a:pt x="119" y="139"/>
                  </a:moveTo>
                  <a:cubicBezTo>
                    <a:pt x="93" y="139"/>
                    <a:pt x="93" y="139"/>
                    <a:pt x="93" y="139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94" y="96"/>
                    <a:pt x="94" y="96"/>
                    <a:pt x="94" y="96"/>
                  </a:cubicBezTo>
                  <a:lnTo>
                    <a:pt x="119" y="13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IN" sz="2400"/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7871187" y="4063921"/>
              <a:ext cx="280559" cy="285208"/>
              <a:chOff x="8010525" y="4075113"/>
              <a:chExt cx="287338" cy="292100"/>
            </a:xfrm>
            <a:solidFill>
              <a:schemeClr val="bg1"/>
            </a:solidFill>
          </p:grpSpPr>
          <p:sp>
            <p:nvSpPr>
              <p:cNvPr id="82" name="Freeform 81">
                <a:hlinkClick r:id="rId8"/>
              </p:cNvPr>
              <p:cNvSpPr>
                <a:spLocks noEditPoints="1"/>
              </p:cNvSpPr>
              <p:nvPr/>
            </p:nvSpPr>
            <p:spPr bwMode="auto">
              <a:xfrm>
                <a:off x="8074025" y="4129088"/>
                <a:ext cx="165100" cy="128587"/>
              </a:xfrm>
              <a:custGeom>
                <a:avLst/>
                <a:gdLst>
                  <a:gd name="T0" fmla="*/ 94 w 94"/>
                  <a:gd name="T1" fmla="*/ 11 h 73"/>
                  <a:gd name="T2" fmla="*/ 83 w 94"/>
                  <a:gd name="T3" fmla="*/ 0 h 73"/>
                  <a:gd name="T4" fmla="*/ 12 w 94"/>
                  <a:gd name="T5" fmla="*/ 0 h 73"/>
                  <a:gd name="T6" fmla="*/ 0 w 94"/>
                  <a:gd name="T7" fmla="*/ 11 h 73"/>
                  <a:gd name="T8" fmla="*/ 0 w 94"/>
                  <a:gd name="T9" fmla="*/ 61 h 73"/>
                  <a:gd name="T10" fmla="*/ 8 w 94"/>
                  <a:gd name="T11" fmla="*/ 64 h 73"/>
                  <a:gd name="T12" fmla="*/ 35 w 94"/>
                  <a:gd name="T13" fmla="*/ 67 h 73"/>
                  <a:gd name="T14" fmla="*/ 47 w 94"/>
                  <a:gd name="T15" fmla="*/ 72 h 73"/>
                  <a:gd name="T16" fmla="*/ 48 w 94"/>
                  <a:gd name="T17" fmla="*/ 73 h 73"/>
                  <a:gd name="T18" fmla="*/ 48 w 94"/>
                  <a:gd name="T19" fmla="*/ 70 h 73"/>
                  <a:gd name="T20" fmla="*/ 60 w 94"/>
                  <a:gd name="T21" fmla="*/ 66 h 73"/>
                  <a:gd name="T22" fmla="*/ 80 w 94"/>
                  <a:gd name="T23" fmla="*/ 66 h 73"/>
                  <a:gd name="T24" fmla="*/ 94 w 94"/>
                  <a:gd name="T25" fmla="*/ 61 h 73"/>
                  <a:gd name="T26" fmla="*/ 94 w 94"/>
                  <a:gd name="T27" fmla="*/ 11 h 73"/>
                  <a:gd name="T28" fmla="*/ 30 w 94"/>
                  <a:gd name="T29" fmla="*/ 60 h 73"/>
                  <a:gd name="T30" fmla="*/ 16 w 94"/>
                  <a:gd name="T31" fmla="*/ 46 h 73"/>
                  <a:gd name="T32" fmla="*/ 30 w 94"/>
                  <a:gd name="T33" fmla="*/ 32 h 73"/>
                  <a:gd name="T34" fmla="*/ 44 w 94"/>
                  <a:gd name="T35" fmla="*/ 46 h 73"/>
                  <a:gd name="T36" fmla="*/ 30 w 94"/>
                  <a:gd name="T37" fmla="*/ 60 h 73"/>
                  <a:gd name="T38" fmla="*/ 66 w 94"/>
                  <a:gd name="T39" fmla="*/ 60 h 73"/>
                  <a:gd name="T40" fmla="*/ 53 w 94"/>
                  <a:gd name="T41" fmla="*/ 46 h 73"/>
                  <a:gd name="T42" fmla="*/ 66 w 94"/>
                  <a:gd name="T43" fmla="*/ 32 h 73"/>
                  <a:gd name="T44" fmla="*/ 80 w 94"/>
                  <a:gd name="T45" fmla="*/ 46 h 73"/>
                  <a:gd name="T46" fmla="*/ 66 w 94"/>
                  <a:gd name="T47" fmla="*/ 6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94" h="73">
                    <a:moveTo>
                      <a:pt x="94" y="11"/>
                    </a:moveTo>
                    <a:cubicBezTo>
                      <a:pt x="94" y="5"/>
                      <a:pt x="89" y="0"/>
                      <a:pt x="83" y="0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6" y="0"/>
                      <a:pt x="0" y="5"/>
                      <a:pt x="0" y="1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3" y="63"/>
                      <a:pt x="5" y="64"/>
                      <a:pt x="8" y="64"/>
                    </a:cubicBezTo>
                    <a:cubicBezTo>
                      <a:pt x="15" y="66"/>
                      <a:pt x="29" y="67"/>
                      <a:pt x="35" y="67"/>
                    </a:cubicBezTo>
                    <a:cubicBezTo>
                      <a:pt x="41" y="67"/>
                      <a:pt x="44" y="69"/>
                      <a:pt x="47" y="72"/>
                    </a:cubicBezTo>
                    <a:cubicBezTo>
                      <a:pt x="47" y="72"/>
                      <a:pt x="48" y="72"/>
                      <a:pt x="48" y="73"/>
                    </a:cubicBezTo>
                    <a:cubicBezTo>
                      <a:pt x="48" y="71"/>
                      <a:pt x="48" y="70"/>
                      <a:pt x="48" y="70"/>
                    </a:cubicBezTo>
                    <a:cubicBezTo>
                      <a:pt x="48" y="67"/>
                      <a:pt x="55" y="66"/>
                      <a:pt x="60" y="66"/>
                    </a:cubicBezTo>
                    <a:cubicBezTo>
                      <a:pt x="64" y="66"/>
                      <a:pt x="77" y="66"/>
                      <a:pt x="80" y="66"/>
                    </a:cubicBezTo>
                    <a:cubicBezTo>
                      <a:pt x="81" y="66"/>
                      <a:pt x="88" y="64"/>
                      <a:pt x="94" y="61"/>
                    </a:cubicBezTo>
                    <a:lnTo>
                      <a:pt x="94" y="11"/>
                    </a:lnTo>
                    <a:close/>
                    <a:moveTo>
                      <a:pt x="30" y="60"/>
                    </a:moveTo>
                    <a:cubicBezTo>
                      <a:pt x="22" y="60"/>
                      <a:pt x="16" y="54"/>
                      <a:pt x="16" y="46"/>
                    </a:cubicBezTo>
                    <a:cubicBezTo>
                      <a:pt x="16" y="38"/>
                      <a:pt x="22" y="32"/>
                      <a:pt x="30" y="32"/>
                    </a:cubicBezTo>
                    <a:cubicBezTo>
                      <a:pt x="38" y="32"/>
                      <a:pt x="44" y="38"/>
                      <a:pt x="44" y="46"/>
                    </a:cubicBezTo>
                    <a:cubicBezTo>
                      <a:pt x="44" y="54"/>
                      <a:pt x="38" y="60"/>
                      <a:pt x="30" y="60"/>
                    </a:cubicBezTo>
                    <a:close/>
                    <a:moveTo>
                      <a:pt x="66" y="60"/>
                    </a:moveTo>
                    <a:cubicBezTo>
                      <a:pt x="59" y="60"/>
                      <a:pt x="53" y="54"/>
                      <a:pt x="53" y="46"/>
                    </a:cubicBezTo>
                    <a:cubicBezTo>
                      <a:pt x="53" y="38"/>
                      <a:pt x="59" y="32"/>
                      <a:pt x="66" y="32"/>
                    </a:cubicBezTo>
                    <a:cubicBezTo>
                      <a:pt x="74" y="32"/>
                      <a:pt x="80" y="38"/>
                      <a:pt x="80" y="46"/>
                    </a:cubicBezTo>
                    <a:cubicBezTo>
                      <a:pt x="80" y="54"/>
                      <a:pt x="74" y="60"/>
                      <a:pt x="66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83" name="Freeform 82">
                <a:hlinkClick r:id="rId8"/>
              </p:cNvPr>
              <p:cNvSpPr>
                <a:spLocks noEditPoints="1"/>
              </p:cNvSpPr>
              <p:nvPr/>
            </p:nvSpPr>
            <p:spPr bwMode="auto">
              <a:xfrm>
                <a:off x="8010525" y="4075113"/>
                <a:ext cx="287338" cy="292100"/>
              </a:xfrm>
              <a:custGeom>
                <a:avLst/>
                <a:gdLst>
                  <a:gd name="T0" fmla="*/ 82 w 164"/>
                  <a:gd name="T1" fmla="*/ 0 h 164"/>
                  <a:gd name="T2" fmla="*/ 0 w 164"/>
                  <a:gd name="T3" fmla="*/ 82 h 164"/>
                  <a:gd name="T4" fmla="*/ 82 w 164"/>
                  <a:gd name="T5" fmla="*/ 164 h 164"/>
                  <a:gd name="T6" fmla="*/ 164 w 164"/>
                  <a:gd name="T7" fmla="*/ 82 h 164"/>
                  <a:gd name="T8" fmla="*/ 82 w 164"/>
                  <a:gd name="T9" fmla="*/ 0 h 164"/>
                  <a:gd name="T10" fmla="*/ 121 w 164"/>
                  <a:gd name="T11" fmla="*/ 108 h 164"/>
                  <a:gd name="T12" fmla="*/ 121 w 164"/>
                  <a:gd name="T13" fmla="*/ 128 h 164"/>
                  <a:gd name="T14" fmla="*/ 103 w 164"/>
                  <a:gd name="T15" fmla="*/ 147 h 164"/>
                  <a:gd name="T16" fmla="*/ 85 w 164"/>
                  <a:gd name="T17" fmla="*/ 136 h 164"/>
                  <a:gd name="T18" fmla="*/ 85 w 164"/>
                  <a:gd name="T19" fmla="*/ 117 h 164"/>
                  <a:gd name="T20" fmla="*/ 81 w 164"/>
                  <a:gd name="T21" fmla="*/ 116 h 164"/>
                  <a:gd name="T22" fmla="*/ 81 w 164"/>
                  <a:gd name="T23" fmla="*/ 136 h 164"/>
                  <a:gd name="T24" fmla="*/ 69 w 164"/>
                  <a:gd name="T25" fmla="*/ 144 h 164"/>
                  <a:gd name="T26" fmla="*/ 49 w 164"/>
                  <a:gd name="T27" fmla="*/ 128 h 164"/>
                  <a:gd name="T28" fmla="*/ 49 w 164"/>
                  <a:gd name="T29" fmla="*/ 107 h 164"/>
                  <a:gd name="T30" fmla="*/ 27 w 164"/>
                  <a:gd name="T31" fmla="*/ 94 h 164"/>
                  <a:gd name="T32" fmla="*/ 22 w 164"/>
                  <a:gd name="T33" fmla="*/ 84 h 164"/>
                  <a:gd name="T34" fmla="*/ 30 w 164"/>
                  <a:gd name="T35" fmla="*/ 87 h 164"/>
                  <a:gd name="T36" fmla="*/ 30 w 164"/>
                  <a:gd name="T37" fmla="*/ 41 h 164"/>
                  <a:gd name="T38" fmla="*/ 49 w 164"/>
                  <a:gd name="T39" fmla="*/ 22 h 164"/>
                  <a:gd name="T40" fmla="*/ 120 w 164"/>
                  <a:gd name="T41" fmla="*/ 22 h 164"/>
                  <a:gd name="T42" fmla="*/ 139 w 164"/>
                  <a:gd name="T43" fmla="*/ 41 h 164"/>
                  <a:gd name="T44" fmla="*/ 139 w 164"/>
                  <a:gd name="T45" fmla="*/ 87 h 164"/>
                  <a:gd name="T46" fmla="*/ 141 w 164"/>
                  <a:gd name="T47" fmla="*/ 86 h 164"/>
                  <a:gd name="T48" fmla="*/ 145 w 164"/>
                  <a:gd name="T49" fmla="*/ 91 h 164"/>
                  <a:gd name="T50" fmla="*/ 121 w 164"/>
                  <a:gd name="T51" fmla="*/ 108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64" h="164">
                    <a:moveTo>
                      <a:pt x="82" y="0"/>
                    </a:moveTo>
                    <a:cubicBezTo>
                      <a:pt x="37" y="0"/>
                      <a:pt x="0" y="36"/>
                      <a:pt x="0" y="82"/>
                    </a:cubicBezTo>
                    <a:cubicBezTo>
                      <a:pt x="0" y="127"/>
                      <a:pt x="37" y="164"/>
                      <a:pt x="82" y="164"/>
                    </a:cubicBezTo>
                    <a:cubicBezTo>
                      <a:pt x="127" y="164"/>
                      <a:pt x="164" y="127"/>
                      <a:pt x="164" y="82"/>
                    </a:cubicBezTo>
                    <a:cubicBezTo>
                      <a:pt x="164" y="36"/>
                      <a:pt x="127" y="0"/>
                      <a:pt x="82" y="0"/>
                    </a:cubicBezTo>
                    <a:close/>
                    <a:moveTo>
                      <a:pt x="121" y="108"/>
                    </a:moveTo>
                    <a:cubicBezTo>
                      <a:pt x="121" y="115"/>
                      <a:pt x="121" y="125"/>
                      <a:pt x="121" y="128"/>
                    </a:cubicBezTo>
                    <a:cubicBezTo>
                      <a:pt x="121" y="131"/>
                      <a:pt x="117" y="147"/>
                      <a:pt x="103" y="147"/>
                    </a:cubicBezTo>
                    <a:cubicBezTo>
                      <a:pt x="89" y="147"/>
                      <a:pt x="85" y="139"/>
                      <a:pt x="85" y="136"/>
                    </a:cubicBezTo>
                    <a:cubicBezTo>
                      <a:pt x="85" y="135"/>
                      <a:pt x="85" y="126"/>
                      <a:pt x="85" y="117"/>
                    </a:cubicBezTo>
                    <a:cubicBezTo>
                      <a:pt x="83" y="117"/>
                      <a:pt x="82" y="117"/>
                      <a:pt x="81" y="116"/>
                    </a:cubicBezTo>
                    <a:cubicBezTo>
                      <a:pt x="81" y="124"/>
                      <a:pt x="81" y="133"/>
                      <a:pt x="81" y="136"/>
                    </a:cubicBezTo>
                    <a:cubicBezTo>
                      <a:pt x="81" y="139"/>
                      <a:pt x="76" y="144"/>
                      <a:pt x="69" y="144"/>
                    </a:cubicBezTo>
                    <a:cubicBezTo>
                      <a:pt x="62" y="144"/>
                      <a:pt x="49" y="134"/>
                      <a:pt x="49" y="128"/>
                    </a:cubicBezTo>
                    <a:cubicBezTo>
                      <a:pt x="49" y="122"/>
                      <a:pt x="49" y="107"/>
                      <a:pt x="49" y="107"/>
                    </a:cubicBezTo>
                    <a:cubicBezTo>
                      <a:pt x="49" y="107"/>
                      <a:pt x="31" y="99"/>
                      <a:pt x="27" y="94"/>
                    </a:cubicBezTo>
                    <a:cubicBezTo>
                      <a:pt x="23" y="89"/>
                      <a:pt x="21" y="87"/>
                      <a:pt x="22" y="84"/>
                    </a:cubicBezTo>
                    <a:cubicBezTo>
                      <a:pt x="23" y="83"/>
                      <a:pt x="26" y="84"/>
                      <a:pt x="30" y="87"/>
                    </a:cubicBezTo>
                    <a:cubicBezTo>
                      <a:pt x="30" y="41"/>
                      <a:pt x="30" y="41"/>
                      <a:pt x="30" y="41"/>
                    </a:cubicBezTo>
                    <a:cubicBezTo>
                      <a:pt x="30" y="31"/>
                      <a:pt x="38" y="22"/>
                      <a:pt x="49" y="22"/>
                    </a:cubicBezTo>
                    <a:cubicBezTo>
                      <a:pt x="120" y="22"/>
                      <a:pt x="120" y="22"/>
                      <a:pt x="120" y="22"/>
                    </a:cubicBezTo>
                    <a:cubicBezTo>
                      <a:pt x="130" y="22"/>
                      <a:pt x="139" y="31"/>
                      <a:pt x="139" y="41"/>
                    </a:cubicBezTo>
                    <a:cubicBezTo>
                      <a:pt x="139" y="87"/>
                      <a:pt x="139" y="87"/>
                      <a:pt x="139" y="87"/>
                    </a:cubicBezTo>
                    <a:cubicBezTo>
                      <a:pt x="140" y="87"/>
                      <a:pt x="141" y="86"/>
                      <a:pt x="141" y="86"/>
                    </a:cubicBezTo>
                    <a:cubicBezTo>
                      <a:pt x="145" y="81"/>
                      <a:pt x="150" y="82"/>
                      <a:pt x="145" y="91"/>
                    </a:cubicBezTo>
                    <a:cubicBezTo>
                      <a:pt x="140" y="100"/>
                      <a:pt x="130" y="103"/>
                      <a:pt x="121" y="10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</p:grpSp>
        <p:grpSp>
          <p:nvGrpSpPr>
            <p:cNvPr id="53" name="Group 52"/>
            <p:cNvGrpSpPr/>
            <p:nvPr/>
          </p:nvGrpSpPr>
          <p:grpSpPr>
            <a:xfrm>
              <a:off x="7550328" y="4063921"/>
              <a:ext cx="280559" cy="285208"/>
              <a:chOff x="7667625" y="4075113"/>
              <a:chExt cx="287338" cy="292100"/>
            </a:xfrm>
            <a:solidFill>
              <a:schemeClr val="bg1"/>
            </a:solidFill>
          </p:grpSpPr>
          <p:sp>
            <p:nvSpPr>
              <p:cNvPr id="79" name="Freeform 83">
                <a:hlinkClick r:id="rId9"/>
              </p:cNvPr>
              <p:cNvSpPr>
                <a:spLocks noEditPoints="1"/>
              </p:cNvSpPr>
              <p:nvPr/>
            </p:nvSpPr>
            <p:spPr bwMode="auto">
              <a:xfrm>
                <a:off x="7667625" y="4075113"/>
                <a:ext cx="287338" cy="292100"/>
              </a:xfrm>
              <a:custGeom>
                <a:avLst/>
                <a:gdLst>
                  <a:gd name="T0" fmla="*/ 82 w 164"/>
                  <a:gd name="T1" fmla="*/ 0 h 164"/>
                  <a:gd name="T2" fmla="*/ 0 w 164"/>
                  <a:gd name="T3" fmla="*/ 82 h 164"/>
                  <a:gd name="T4" fmla="*/ 82 w 164"/>
                  <a:gd name="T5" fmla="*/ 164 h 164"/>
                  <a:gd name="T6" fmla="*/ 164 w 164"/>
                  <a:gd name="T7" fmla="*/ 82 h 164"/>
                  <a:gd name="T8" fmla="*/ 82 w 164"/>
                  <a:gd name="T9" fmla="*/ 0 h 164"/>
                  <a:gd name="T10" fmla="*/ 103 w 164"/>
                  <a:gd name="T11" fmla="*/ 94 h 164"/>
                  <a:gd name="T12" fmla="*/ 102 w 164"/>
                  <a:gd name="T13" fmla="*/ 94 h 164"/>
                  <a:gd name="T14" fmla="*/ 79 w 164"/>
                  <a:gd name="T15" fmla="*/ 134 h 164"/>
                  <a:gd name="T16" fmla="*/ 44 w 164"/>
                  <a:gd name="T17" fmla="*/ 72 h 164"/>
                  <a:gd name="T18" fmla="*/ 44 w 164"/>
                  <a:gd name="T19" fmla="*/ 72 h 164"/>
                  <a:gd name="T20" fmla="*/ 44 w 164"/>
                  <a:gd name="T21" fmla="*/ 72 h 164"/>
                  <a:gd name="T22" fmla="*/ 44 w 164"/>
                  <a:gd name="T23" fmla="*/ 72 h 164"/>
                  <a:gd name="T24" fmla="*/ 25 w 164"/>
                  <a:gd name="T25" fmla="*/ 40 h 164"/>
                  <a:gd name="T26" fmla="*/ 84 w 164"/>
                  <a:gd name="T27" fmla="*/ 53 h 164"/>
                  <a:gd name="T28" fmla="*/ 44 w 164"/>
                  <a:gd name="T29" fmla="*/ 72 h 164"/>
                  <a:gd name="T30" fmla="*/ 44 w 164"/>
                  <a:gd name="T31" fmla="*/ 72 h 164"/>
                  <a:gd name="T32" fmla="*/ 110 w 164"/>
                  <a:gd name="T33" fmla="*/ 41 h 164"/>
                  <a:gd name="T34" fmla="*/ 139 w 164"/>
                  <a:gd name="T35" fmla="*/ 29 h 164"/>
                  <a:gd name="T36" fmla="*/ 103 w 164"/>
                  <a:gd name="T37" fmla="*/ 9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64" h="164">
                    <a:moveTo>
                      <a:pt x="82" y="0"/>
                    </a:moveTo>
                    <a:cubicBezTo>
                      <a:pt x="37" y="0"/>
                      <a:pt x="0" y="36"/>
                      <a:pt x="0" y="82"/>
                    </a:cubicBezTo>
                    <a:cubicBezTo>
                      <a:pt x="0" y="127"/>
                      <a:pt x="37" y="164"/>
                      <a:pt x="82" y="164"/>
                    </a:cubicBezTo>
                    <a:cubicBezTo>
                      <a:pt x="128" y="164"/>
                      <a:pt x="164" y="127"/>
                      <a:pt x="164" y="82"/>
                    </a:cubicBezTo>
                    <a:cubicBezTo>
                      <a:pt x="164" y="36"/>
                      <a:pt x="128" y="0"/>
                      <a:pt x="82" y="0"/>
                    </a:cubicBezTo>
                    <a:close/>
                    <a:moveTo>
                      <a:pt x="103" y="94"/>
                    </a:moveTo>
                    <a:cubicBezTo>
                      <a:pt x="102" y="94"/>
                      <a:pt x="102" y="94"/>
                      <a:pt x="102" y="94"/>
                    </a:cubicBezTo>
                    <a:cubicBezTo>
                      <a:pt x="79" y="134"/>
                      <a:pt x="79" y="134"/>
                      <a:pt x="79" y="134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25" y="40"/>
                      <a:pt x="25" y="40"/>
                      <a:pt x="25" y="40"/>
                    </a:cubicBezTo>
                    <a:cubicBezTo>
                      <a:pt x="84" y="53"/>
                      <a:pt x="84" y="53"/>
                      <a:pt x="84" y="53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44" y="72"/>
                      <a:pt x="44" y="72"/>
                      <a:pt x="44" y="72"/>
                    </a:cubicBezTo>
                    <a:cubicBezTo>
                      <a:pt x="110" y="41"/>
                      <a:pt x="110" y="41"/>
                      <a:pt x="110" y="41"/>
                    </a:cubicBezTo>
                    <a:cubicBezTo>
                      <a:pt x="139" y="29"/>
                      <a:pt x="139" y="29"/>
                      <a:pt x="139" y="29"/>
                    </a:cubicBezTo>
                    <a:lnTo>
                      <a:pt x="103" y="9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80" name="Freeform 84"/>
              <p:cNvSpPr>
                <a:spLocks/>
              </p:cNvSpPr>
              <p:nvPr/>
            </p:nvSpPr>
            <p:spPr bwMode="auto">
              <a:xfrm>
                <a:off x="7799388" y="4148138"/>
                <a:ext cx="61913" cy="74612"/>
              </a:xfrm>
              <a:custGeom>
                <a:avLst/>
                <a:gdLst>
                  <a:gd name="T0" fmla="*/ 0 w 39"/>
                  <a:gd name="T1" fmla="*/ 47 h 47"/>
                  <a:gd name="T2" fmla="*/ 0 w 39"/>
                  <a:gd name="T3" fmla="*/ 47 h 47"/>
                  <a:gd name="T4" fmla="*/ 39 w 39"/>
                  <a:gd name="T5" fmla="*/ 0 h 47"/>
                  <a:gd name="T6" fmla="*/ 0 w 39"/>
                  <a:gd name="T7" fmla="*/ 47 h 47"/>
                  <a:gd name="T8" fmla="*/ 0 w 39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7">
                    <a:moveTo>
                      <a:pt x="0" y="47"/>
                    </a:moveTo>
                    <a:lnTo>
                      <a:pt x="0" y="47"/>
                    </a:lnTo>
                    <a:lnTo>
                      <a:pt x="39" y="0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81" name="Freeform 101"/>
              <p:cNvSpPr>
                <a:spLocks/>
              </p:cNvSpPr>
              <p:nvPr/>
            </p:nvSpPr>
            <p:spPr bwMode="auto">
              <a:xfrm>
                <a:off x="7799388" y="4148138"/>
                <a:ext cx="61913" cy="74612"/>
              </a:xfrm>
              <a:custGeom>
                <a:avLst/>
                <a:gdLst>
                  <a:gd name="T0" fmla="*/ 0 w 39"/>
                  <a:gd name="T1" fmla="*/ 47 h 47"/>
                  <a:gd name="T2" fmla="*/ 0 w 39"/>
                  <a:gd name="T3" fmla="*/ 47 h 47"/>
                  <a:gd name="T4" fmla="*/ 39 w 39"/>
                  <a:gd name="T5" fmla="*/ 0 h 47"/>
                  <a:gd name="T6" fmla="*/ 0 w 39"/>
                  <a:gd name="T7" fmla="*/ 47 h 47"/>
                  <a:gd name="T8" fmla="*/ 0 w 39"/>
                  <a:gd name="T9" fmla="*/ 47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9" h="47">
                    <a:moveTo>
                      <a:pt x="0" y="47"/>
                    </a:moveTo>
                    <a:lnTo>
                      <a:pt x="0" y="47"/>
                    </a:lnTo>
                    <a:lnTo>
                      <a:pt x="39" y="0"/>
                    </a:lnTo>
                    <a:lnTo>
                      <a:pt x="0" y="47"/>
                    </a:lnTo>
                    <a:lnTo>
                      <a:pt x="0" y="4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</p:grpSp>
        <p:grpSp>
          <p:nvGrpSpPr>
            <p:cNvPr id="54" name="Group 53"/>
            <p:cNvGrpSpPr/>
            <p:nvPr/>
          </p:nvGrpSpPr>
          <p:grpSpPr>
            <a:xfrm>
              <a:off x="7229474" y="4063924"/>
              <a:ext cx="280559" cy="285208"/>
              <a:chOff x="7229474" y="4063924"/>
              <a:chExt cx="280559" cy="285208"/>
            </a:xfrm>
          </p:grpSpPr>
          <p:sp>
            <p:nvSpPr>
              <p:cNvPr id="72" name="Freeform 85">
                <a:hlinkClick r:id="rId10"/>
              </p:cNvPr>
              <p:cNvSpPr>
                <a:spLocks noEditPoints="1"/>
              </p:cNvSpPr>
              <p:nvPr/>
            </p:nvSpPr>
            <p:spPr bwMode="auto">
              <a:xfrm>
                <a:off x="7368973" y="4220475"/>
                <a:ext cx="29451" cy="48051"/>
              </a:xfrm>
              <a:custGeom>
                <a:avLst/>
                <a:gdLst>
                  <a:gd name="T0" fmla="*/ 11 w 17"/>
                  <a:gd name="T1" fmla="*/ 7 h 28"/>
                  <a:gd name="T2" fmla="*/ 8 w 17"/>
                  <a:gd name="T3" fmla="*/ 8 h 28"/>
                  <a:gd name="T4" fmla="*/ 6 w 17"/>
                  <a:gd name="T5" fmla="*/ 9 h 28"/>
                  <a:gd name="T6" fmla="*/ 6 w 17"/>
                  <a:gd name="T7" fmla="*/ 0 h 28"/>
                  <a:gd name="T8" fmla="*/ 0 w 17"/>
                  <a:gd name="T9" fmla="*/ 0 h 28"/>
                  <a:gd name="T10" fmla="*/ 0 w 17"/>
                  <a:gd name="T11" fmla="*/ 28 h 28"/>
                  <a:gd name="T12" fmla="*/ 6 w 17"/>
                  <a:gd name="T13" fmla="*/ 28 h 28"/>
                  <a:gd name="T14" fmla="*/ 6 w 17"/>
                  <a:gd name="T15" fmla="*/ 27 h 28"/>
                  <a:gd name="T16" fmla="*/ 8 w 17"/>
                  <a:gd name="T17" fmla="*/ 28 h 28"/>
                  <a:gd name="T18" fmla="*/ 12 w 17"/>
                  <a:gd name="T19" fmla="*/ 28 h 28"/>
                  <a:gd name="T20" fmla="*/ 15 w 17"/>
                  <a:gd name="T21" fmla="*/ 27 h 28"/>
                  <a:gd name="T22" fmla="*/ 17 w 17"/>
                  <a:gd name="T23" fmla="*/ 24 h 28"/>
                  <a:gd name="T24" fmla="*/ 17 w 17"/>
                  <a:gd name="T25" fmla="*/ 13 h 28"/>
                  <a:gd name="T26" fmla="*/ 15 w 17"/>
                  <a:gd name="T27" fmla="*/ 9 h 28"/>
                  <a:gd name="T28" fmla="*/ 11 w 17"/>
                  <a:gd name="T29" fmla="*/ 7 h 28"/>
                  <a:gd name="T30" fmla="*/ 11 w 17"/>
                  <a:gd name="T31" fmla="*/ 23 h 28"/>
                  <a:gd name="T32" fmla="*/ 10 w 17"/>
                  <a:gd name="T33" fmla="*/ 25 h 28"/>
                  <a:gd name="T34" fmla="*/ 9 w 17"/>
                  <a:gd name="T35" fmla="*/ 25 h 28"/>
                  <a:gd name="T36" fmla="*/ 7 w 17"/>
                  <a:gd name="T37" fmla="*/ 25 h 28"/>
                  <a:gd name="T38" fmla="*/ 6 w 17"/>
                  <a:gd name="T39" fmla="*/ 24 h 28"/>
                  <a:gd name="T40" fmla="*/ 6 w 17"/>
                  <a:gd name="T41" fmla="*/ 11 h 28"/>
                  <a:gd name="T42" fmla="*/ 7 w 17"/>
                  <a:gd name="T43" fmla="*/ 11 h 28"/>
                  <a:gd name="T44" fmla="*/ 8 w 17"/>
                  <a:gd name="T45" fmla="*/ 11 h 28"/>
                  <a:gd name="T46" fmla="*/ 10 w 17"/>
                  <a:gd name="T47" fmla="*/ 11 h 28"/>
                  <a:gd name="T48" fmla="*/ 11 w 17"/>
                  <a:gd name="T49" fmla="*/ 13 h 28"/>
                  <a:gd name="T50" fmla="*/ 11 w 17"/>
                  <a:gd name="T51" fmla="*/ 23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" h="28">
                    <a:moveTo>
                      <a:pt x="11" y="7"/>
                    </a:moveTo>
                    <a:cubicBezTo>
                      <a:pt x="10" y="7"/>
                      <a:pt x="9" y="8"/>
                      <a:pt x="8" y="8"/>
                    </a:cubicBezTo>
                    <a:cubicBezTo>
                      <a:pt x="8" y="8"/>
                      <a:pt x="7" y="9"/>
                      <a:pt x="6" y="9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28"/>
                      <a:pt x="0" y="28"/>
                      <a:pt x="0" y="28"/>
                    </a:cubicBezTo>
                    <a:cubicBezTo>
                      <a:pt x="6" y="28"/>
                      <a:pt x="6" y="28"/>
                      <a:pt x="6" y="28"/>
                    </a:cubicBezTo>
                    <a:cubicBezTo>
                      <a:pt x="6" y="27"/>
                      <a:pt x="6" y="27"/>
                      <a:pt x="6" y="27"/>
                    </a:cubicBezTo>
                    <a:cubicBezTo>
                      <a:pt x="7" y="27"/>
                      <a:pt x="8" y="28"/>
                      <a:pt x="8" y="28"/>
                    </a:cubicBezTo>
                    <a:cubicBezTo>
                      <a:pt x="9" y="28"/>
                      <a:pt x="10" y="28"/>
                      <a:pt x="12" y="28"/>
                    </a:cubicBezTo>
                    <a:cubicBezTo>
                      <a:pt x="13" y="28"/>
                      <a:pt x="15" y="28"/>
                      <a:pt x="15" y="27"/>
                    </a:cubicBezTo>
                    <a:cubicBezTo>
                      <a:pt x="16" y="27"/>
                      <a:pt x="17" y="25"/>
                      <a:pt x="17" y="24"/>
                    </a:cubicBezTo>
                    <a:cubicBezTo>
                      <a:pt x="17" y="13"/>
                      <a:pt x="17" y="13"/>
                      <a:pt x="17" y="13"/>
                    </a:cubicBezTo>
                    <a:cubicBezTo>
                      <a:pt x="17" y="11"/>
                      <a:pt x="16" y="10"/>
                      <a:pt x="15" y="9"/>
                    </a:cubicBezTo>
                    <a:cubicBezTo>
                      <a:pt x="14" y="8"/>
                      <a:pt x="13" y="7"/>
                      <a:pt x="11" y="7"/>
                    </a:cubicBezTo>
                    <a:close/>
                    <a:moveTo>
                      <a:pt x="11" y="23"/>
                    </a:moveTo>
                    <a:cubicBezTo>
                      <a:pt x="11" y="24"/>
                      <a:pt x="11" y="24"/>
                      <a:pt x="10" y="25"/>
                    </a:cubicBezTo>
                    <a:cubicBezTo>
                      <a:pt x="10" y="25"/>
                      <a:pt x="9" y="25"/>
                      <a:pt x="9" y="25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6" y="25"/>
                      <a:pt x="6" y="24"/>
                    </a:cubicBezTo>
                    <a:cubicBezTo>
                      <a:pt x="6" y="11"/>
                      <a:pt x="6" y="11"/>
                      <a:pt x="6" y="11"/>
                    </a:cubicBezTo>
                    <a:cubicBezTo>
                      <a:pt x="7" y="11"/>
                      <a:pt x="7" y="11"/>
                      <a:pt x="7" y="11"/>
                    </a:cubicBezTo>
                    <a:cubicBezTo>
                      <a:pt x="8" y="11"/>
                      <a:pt x="8" y="11"/>
                      <a:pt x="8" y="11"/>
                    </a:cubicBezTo>
                    <a:cubicBezTo>
                      <a:pt x="9" y="11"/>
                      <a:pt x="10" y="11"/>
                      <a:pt x="10" y="11"/>
                    </a:cubicBezTo>
                    <a:cubicBezTo>
                      <a:pt x="11" y="12"/>
                      <a:pt x="11" y="12"/>
                      <a:pt x="11" y="13"/>
                    </a:cubicBezTo>
                    <a:lnTo>
                      <a:pt x="11" y="2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3" name="Freeform 86">
                <a:hlinkClick r:id="rId10"/>
              </p:cNvPr>
              <p:cNvSpPr>
                <a:spLocks/>
              </p:cNvSpPr>
              <p:nvPr/>
            </p:nvSpPr>
            <p:spPr bwMode="auto">
              <a:xfrm>
                <a:off x="7328672" y="4231326"/>
                <a:ext cx="29451" cy="37201"/>
              </a:xfrm>
              <a:custGeom>
                <a:avLst/>
                <a:gdLst>
                  <a:gd name="T0" fmla="*/ 11 w 17"/>
                  <a:gd name="T1" fmla="*/ 17 h 22"/>
                  <a:gd name="T2" fmla="*/ 10 w 17"/>
                  <a:gd name="T3" fmla="*/ 18 h 22"/>
                  <a:gd name="T4" fmla="*/ 8 w 17"/>
                  <a:gd name="T5" fmla="*/ 18 h 22"/>
                  <a:gd name="T6" fmla="*/ 7 w 17"/>
                  <a:gd name="T7" fmla="*/ 18 h 22"/>
                  <a:gd name="T8" fmla="*/ 6 w 17"/>
                  <a:gd name="T9" fmla="*/ 17 h 22"/>
                  <a:gd name="T10" fmla="*/ 6 w 17"/>
                  <a:gd name="T11" fmla="*/ 0 h 22"/>
                  <a:gd name="T12" fmla="*/ 0 w 17"/>
                  <a:gd name="T13" fmla="*/ 0 h 22"/>
                  <a:gd name="T14" fmla="*/ 0 w 17"/>
                  <a:gd name="T15" fmla="*/ 19 h 22"/>
                  <a:gd name="T16" fmla="*/ 2 w 17"/>
                  <a:gd name="T17" fmla="*/ 21 h 22"/>
                  <a:gd name="T18" fmla="*/ 5 w 17"/>
                  <a:gd name="T19" fmla="*/ 22 h 22"/>
                  <a:gd name="T20" fmla="*/ 8 w 17"/>
                  <a:gd name="T21" fmla="*/ 22 h 22"/>
                  <a:gd name="T22" fmla="*/ 11 w 17"/>
                  <a:gd name="T23" fmla="*/ 20 h 22"/>
                  <a:gd name="T24" fmla="*/ 11 w 17"/>
                  <a:gd name="T25" fmla="*/ 22 h 22"/>
                  <a:gd name="T26" fmla="*/ 17 w 17"/>
                  <a:gd name="T27" fmla="*/ 22 h 22"/>
                  <a:gd name="T28" fmla="*/ 17 w 17"/>
                  <a:gd name="T29" fmla="*/ 0 h 22"/>
                  <a:gd name="T30" fmla="*/ 11 w 17"/>
                  <a:gd name="T31" fmla="*/ 0 h 22"/>
                  <a:gd name="T32" fmla="*/ 11 w 17"/>
                  <a:gd name="T33" fmla="*/ 17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" h="22">
                    <a:moveTo>
                      <a:pt x="11" y="17"/>
                    </a:moveTo>
                    <a:cubicBezTo>
                      <a:pt x="11" y="17"/>
                      <a:pt x="10" y="18"/>
                      <a:pt x="10" y="18"/>
                    </a:cubicBezTo>
                    <a:cubicBezTo>
                      <a:pt x="9" y="18"/>
                      <a:pt x="8" y="18"/>
                      <a:pt x="8" y="18"/>
                    </a:cubicBezTo>
                    <a:cubicBezTo>
                      <a:pt x="7" y="18"/>
                      <a:pt x="7" y="18"/>
                      <a:pt x="7" y="18"/>
                    </a:cubicBezTo>
                    <a:cubicBezTo>
                      <a:pt x="7" y="18"/>
                      <a:pt x="6" y="18"/>
                      <a:pt x="6" y="17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20"/>
                      <a:pt x="1" y="21"/>
                      <a:pt x="2" y="21"/>
                    </a:cubicBezTo>
                    <a:cubicBezTo>
                      <a:pt x="2" y="22"/>
                      <a:pt x="3" y="22"/>
                      <a:pt x="5" y="22"/>
                    </a:cubicBezTo>
                    <a:cubicBezTo>
                      <a:pt x="6" y="22"/>
                      <a:pt x="7" y="22"/>
                      <a:pt x="8" y="22"/>
                    </a:cubicBezTo>
                    <a:cubicBezTo>
                      <a:pt x="9" y="21"/>
                      <a:pt x="10" y="21"/>
                      <a:pt x="11" y="20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7" y="22"/>
                      <a:pt x="17" y="22"/>
                      <a:pt x="17" y="22"/>
                    </a:cubicBezTo>
                    <a:cubicBezTo>
                      <a:pt x="17" y="0"/>
                      <a:pt x="17" y="0"/>
                      <a:pt x="17" y="0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1" y="17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4" name="Freeform 87"/>
              <p:cNvSpPr>
                <a:spLocks/>
              </p:cNvSpPr>
              <p:nvPr/>
            </p:nvSpPr>
            <p:spPr bwMode="auto">
              <a:xfrm>
                <a:off x="7359673" y="4141423"/>
                <a:ext cx="10851" cy="31001"/>
              </a:xfrm>
              <a:custGeom>
                <a:avLst/>
                <a:gdLst>
                  <a:gd name="T0" fmla="*/ 1 w 6"/>
                  <a:gd name="T1" fmla="*/ 17 h 17"/>
                  <a:gd name="T2" fmla="*/ 3 w 6"/>
                  <a:gd name="T3" fmla="*/ 17 h 17"/>
                  <a:gd name="T4" fmla="*/ 5 w 6"/>
                  <a:gd name="T5" fmla="*/ 17 h 17"/>
                  <a:gd name="T6" fmla="*/ 6 w 6"/>
                  <a:gd name="T7" fmla="*/ 15 h 17"/>
                  <a:gd name="T8" fmla="*/ 6 w 6"/>
                  <a:gd name="T9" fmla="*/ 2 h 17"/>
                  <a:gd name="T10" fmla="*/ 5 w 6"/>
                  <a:gd name="T11" fmla="*/ 1 h 17"/>
                  <a:gd name="T12" fmla="*/ 3 w 6"/>
                  <a:gd name="T13" fmla="*/ 0 h 17"/>
                  <a:gd name="T14" fmla="*/ 1 w 6"/>
                  <a:gd name="T15" fmla="*/ 1 h 17"/>
                  <a:gd name="T16" fmla="*/ 0 w 6"/>
                  <a:gd name="T17" fmla="*/ 2 h 17"/>
                  <a:gd name="T18" fmla="*/ 0 w 6"/>
                  <a:gd name="T19" fmla="*/ 15 h 17"/>
                  <a:gd name="T20" fmla="*/ 1 w 6"/>
                  <a:gd name="T2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7">
                    <a:moveTo>
                      <a:pt x="1" y="17"/>
                    </a:moveTo>
                    <a:cubicBezTo>
                      <a:pt x="1" y="17"/>
                      <a:pt x="2" y="17"/>
                      <a:pt x="3" y="17"/>
                    </a:cubicBezTo>
                    <a:cubicBezTo>
                      <a:pt x="4" y="17"/>
                      <a:pt x="4" y="17"/>
                      <a:pt x="5" y="17"/>
                    </a:cubicBezTo>
                    <a:cubicBezTo>
                      <a:pt x="6" y="16"/>
                      <a:pt x="6" y="16"/>
                      <a:pt x="6" y="15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1"/>
                      <a:pt x="5" y="1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6"/>
                      <a:pt x="0" y="16"/>
                      <a:pt x="1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5" name="Freeform 88">
                <a:hlinkClick r:id="rId10"/>
              </p:cNvPr>
              <p:cNvSpPr>
                <a:spLocks/>
              </p:cNvSpPr>
              <p:nvPr/>
            </p:nvSpPr>
            <p:spPr bwMode="auto">
              <a:xfrm>
                <a:off x="7302322" y="4220475"/>
                <a:ext cx="26351" cy="48051"/>
              </a:xfrm>
              <a:custGeom>
                <a:avLst/>
                <a:gdLst>
                  <a:gd name="T0" fmla="*/ 0 w 17"/>
                  <a:gd name="T1" fmla="*/ 4 h 31"/>
                  <a:gd name="T2" fmla="*/ 5 w 17"/>
                  <a:gd name="T3" fmla="*/ 4 h 31"/>
                  <a:gd name="T4" fmla="*/ 5 w 17"/>
                  <a:gd name="T5" fmla="*/ 31 h 31"/>
                  <a:gd name="T6" fmla="*/ 12 w 17"/>
                  <a:gd name="T7" fmla="*/ 31 h 31"/>
                  <a:gd name="T8" fmla="*/ 12 w 17"/>
                  <a:gd name="T9" fmla="*/ 4 h 31"/>
                  <a:gd name="T10" fmla="*/ 17 w 17"/>
                  <a:gd name="T11" fmla="*/ 4 h 31"/>
                  <a:gd name="T12" fmla="*/ 17 w 17"/>
                  <a:gd name="T13" fmla="*/ 0 h 31"/>
                  <a:gd name="T14" fmla="*/ 0 w 17"/>
                  <a:gd name="T15" fmla="*/ 0 h 31"/>
                  <a:gd name="T16" fmla="*/ 0 w 17"/>
                  <a:gd name="T17" fmla="*/ 4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7" h="31">
                    <a:moveTo>
                      <a:pt x="0" y="4"/>
                    </a:moveTo>
                    <a:lnTo>
                      <a:pt x="5" y="4"/>
                    </a:lnTo>
                    <a:lnTo>
                      <a:pt x="5" y="31"/>
                    </a:lnTo>
                    <a:lnTo>
                      <a:pt x="12" y="31"/>
                    </a:lnTo>
                    <a:lnTo>
                      <a:pt x="12" y="4"/>
                    </a:lnTo>
                    <a:lnTo>
                      <a:pt x="17" y="4"/>
                    </a:lnTo>
                    <a:lnTo>
                      <a:pt x="17" y="0"/>
                    </a:lnTo>
                    <a:lnTo>
                      <a:pt x="0" y="0"/>
                    </a:lnTo>
                    <a:lnTo>
                      <a:pt x="0" y="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6" name="Freeform 89">
                <a:hlinkClick r:id="rId10"/>
              </p:cNvPr>
              <p:cNvSpPr>
                <a:spLocks noEditPoints="1"/>
              </p:cNvSpPr>
              <p:nvPr/>
            </p:nvSpPr>
            <p:spPr bwMode="auto">
              <a:xfrm>
                <a:off x="7229474" y="4063924"/>
                <a:ext cx="280559" cy="285208"/>
              </a:xfrm>
              <a:custGeom>
                <a:avLst/>
                <a:gdLst>
                  <a:gd name="T0" fmla="*/ 82 w 164"/>
                  <a:gd name="T1" fmla="*/ 0 h 164"/>
                  <a:gd name="T2" fmla="*/ 0 w 164"/>
                  <a:gd name="T3" fmla="*/ 82 h 164"/>
                  <a:gd name="T4" fmla="*/ 82 w 164"/>
                  <a:gd name="T5" fmla="*/ 164 h 164"/>
                  <a:gd name="T6" fmla="*/ 164 w 164"/>
                  <a:gd name="T7" fmla="*/ 82 h 164"/>
                  <a:gd name="T8" fmla="*/ 82 w 164"/>
                  <a:gd name="T9" fmla="*/ 0 h 164"/>
                  <a:gd name="T10" fmla="*/ 94 w 164"/>
                  <a:gd name="T11" fmla="*/ 40 h 164"/>
                  <a:gd name="T12" fmla="*/ 99 w 164"/>
                  <a:gd name="T13" fmla="*/ 40 h 164"/>
                  <a:gd name="T14" fmla="*/ 99 w 164"/>
                  <a:gd name="T15" fmla="*/ 61 h 164"/>
                  <a:gd name="T16" fmla="*/ 100 w 164"/>
                  <a:gd name="T17" fmla="*/ 62 h 164"/>
                  <a:gd name="T18" fmla="*/ 101 w 164"/>
                  <a:gd name="T19" fmla="*/ 62 h 164"/>
                  <a:gd name="T20" fmla="*/ 102 w 164"/>
                  <a:gd name="T21" fmla="*/ 62 h 164"/>
                  <a:gd name="T22" fmla="*/ 104 w 164"/>
                  <a:gd name="T23" fmla="*/ 60 h 164"/>
                  <a:gd name="T24" fmla="*/ 104 w 164"/>
                  <a:gd name="T25" fmla="*/ 40 h 164"/>
                  <a:gd name="T26" fmla="*/ 109 w 164"/>
                  <a:gd name="T27" fmla="*/ 40 h 164"/>
                  <a:gd name="T28" fmla="*/ 109 w 164"/>
                  <a:gd name="T29" fmla="*/ 67 h 164"/>
                  <a:gd name="T30" fmla="*/ 104 w 164"/>
                  <a:gd name="T31" fmla="*/ 67 h 164"/>
                  <a:gd name="T32" fmla="*/ 104 w 164"/>
                  <a:gd name="T33" fmla="*/ 64 h 164"/>
                  <a:gd name="T34" fmla="*/ 101 w 164"/>
                  <a:gd name="T35" fmla="*/ 67 h 164"/>
                  <a:gd name="T36" fmla="*/ 98 w 164"/>
                  <a:gd name="T37" fmla="*/ 68 h 164"/>
                  <a:gd name="T38" fmla="*/ 95 w 164"/>
                  <a:gd name="T39" fmla="*/ 66 h 164"/>
                  <a:gd name="T40" fmla="*/ 94 w 164"/>
                  <a:gd name="T41" fmla="*/ 63 h 164"/>
                  <a:gd name="T42" fmla="*/ 94 w 164"/>
                  <a:gd name="T43" fmla="*/ 40 h 164"/>
                  <a:gd name="T44" fmla="*/ 70 w 164"/>
                  <a:gd name="T45" fmla="*/ 46 h 164"/>
                  <a:gd name="T46" fmla="*/ 72 w 164"/>
                  <a:gd name="T47" fmla="*/ 42 h 164"/>
                  <a:gd name="T48" fmla="*/ 79 w 164"/>
                  <a:gd name="T49" fmla="*/ 40 h 164"/>
                  <a:gd name="T50" fmla="*/ 86 w 164"/>
                  <a:gd name="T51" fmla="*/ 42 h 164"/>
                  <a:gd name="T52" fmla="*/ 88 w 164"/>
                  <a:gd name="T53" fmla="*/ 47 h 164"/>
                  <a:gd name="T54" fmla="*/ 88 w 164"/>
                  <a:gd name="T55" fmla="*/ 60 h 164"/>
                  <a:gd name="T56" fmla="*/ 86 w 164"/>
                  <a:gd name="T57" fmla="*/ 66 h 164"/>
                  <a:gd name="T58" fmla="*/ 79 w 164"/>
                  <a:gd name="T59" fmla="*/ 68 h 164"/>
                  <a:gd name="T60" fmla="*/ 72 w 164"/>
                  <a:gd name="T61" fmla="*/ 65 h 164"/>
                  <a:gd name="T62" fmla="*/ 70 w 164"/>
                  <a:gd name="T63" fmla="*/ 60 h 164"/>
                  <a:gd name="T64" fmla="*/ 70 w 164"/>
                  <a:gd name="T65" fmla="*/ 46 h 164"/>
                  <a:gd name="T66" fmla="*/ 54 w 164"/>
                  <a:gd name="T67" fmla="*/ 28 h 164"/>
                  <a:gd name="T68" fmla="*/ 58 w 164"/>
                  <a:gd name="T69" fmla="*/ 44 h 164"/>
                  <a:gd name="T70" fmla="*/ 59 w 164"/>
                  <a:gd name="T71" fmla="*/ 44 h 164"/>
                  <a:gd name="T72" fmla="*/ 63 w 164"/>
                  <a:gd name="T73" fmla="*/ 28 h 164"/>
                  <a:gd name="T74" fmla="*/ 70 w 164"/>
                  <a:gd name="T75" fmla="*/ 28 h 164"/>
                  <a:gd name="T76" fmla="*/ 62 w 164"/>
                  <a:gd name="T77" fmla="*/ 51 h 164"/>
                  <a:gd name="T78" fmla="*/ 62 w 164"/>
                  <a:gd name="T79" fmla="*/ 68 h 164"/>
                  <a:gd name="T80" fmla="*/ 55 w 164"/>
                  <a:gd name="T81" fmla="*/ 68 h 164"/>
                  <a:gd name="T82" fmla="*/ 55 w 164"/>
                  <a:gd name="T83" fmla="*/ 52 h 164"/>
                  <a:gd name="T84" fmla="*/ 47 w 164"/>
                  <a:gd name="T85" fmla="*/ 28 h 164"/>
                  <a:gd name="T86" fmla="*/ 54 w 164"/>
                  <a:gd name="T87" fmla="*/ 28 h 164"/>
                  <a:gd name="T88" fmla="*/ 132 w 164"/>
                  <a:gd name="T89" fmla="*/ 112 h 164"/>
                  <a:gd name="T90" fmla="*/ 113 w 164"/>
                  <a:gd name="T91" fmla="*/ 130 h 164"/>
                  <a:gd name="T92" fmla="*/ 49 w 164"/>
                  <a:gd name="T93" fmla="*/ 130 h 164"/>
                  <a:gd name="T94" fmla="*/ 30 w 164"/>
                  <a:gd name="T95" fmla="*/ 112 h 164"/>
                  <a:gd name="T96" fmla="*/ 30 w 164"/>
                  <a:gd name="T97" fmla="*/ 97 h 164"/>
                  <a:gd name="T98" fmla="*/ 49 w 164"/>
                  <a:gd name="T99" fmla="*/ 79 h 164"/>
                  <a:gd name="T100" fmla="*/ 113 w 164"/>
                  <a:gd name="T101" fmla="*/ 79 h 164"/>
                  <a:gd name="T102" fmla="*/ 132 w 164"/>
                  <a:gd name="T103" fmla="*/ 97 h 164"/>
                  <a:gd name="T104" fmla="*/ 132 w 16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64" h="164">
                    <a:moveTo>
                      <a:pt x="82" y="0"/>
                    </a:moveTo>
                    <a:cubicBezTo>
                      <a:pt x="36" y="0"/>
                      <a:pt x="0" y="36"/>
                      <a:pt x="0" y="82"/>
                    </a:cubicBezTo>
                    <a:cubicBezTo>
                      <a:pt x="0" y="127"/>
                      <a:pt x="36" y="164"/>
                      <a:pt x="82" y="164"/>
                    </a:cubicBezTo>
                    <a:cubicBezTo>
                      <a:pt x="127" y="164"/>
                      <a:pt x="164" y="127"/>
                      <a:pt x="164" y="82"/>
                    </a:cubicBezTo>
                    <a:cubicBezTo>
                      <a:pt x="164" y="36"/>
                      <a:pt x="127" y="0"/>
                      <a:pt x="82" y="0"/>
                    </a:cubicBezTo>
                    <a:close/>
                    <a:moveTo>
                      <a:pt x="94" y="40"/>
                    </a:moveTo>
                    <a:cubicBezTo>
                      <a:pt x="99" y="40"/>
                      <a:pt x="99" y="40"/>
                      <a:pt x="99" y="40"/>
                    </a:cubicBezTo>
                    <a:cubicBezTo>
                      <a:pt x="99" y="61"/>
                      <a:pt x="99" y="61"/>
                      <a:pt x="99" y="61"/>
                    </a:cubicBezTo>
                    <a:cubicBezTo>
                      <a:pt x="99" y="61"/>
                      <a:pt x="99" y="62"/>
                      <a:pt x="100" y="62"/>
                    </a:cubicBezTo>
                    <a:cubicBezTo>
                      <a:pt x="100" y="62"/>
                      <a:pt x="100" y="62"/>
                      <a:pt x="101" y="62"/>
                    </a:cubicBezTo>
                    <a:cubicBezTo>
                      <a:pt x="101" y="62"/>
                      <a:pt x="102" y="62"/>
                      <a:pt x="102" y="62"/>
                    </a:cubicBezTo>
                    <a:cubicBezTo>
                      <a:pt x="103" y="62"/>
                      <a:pt x="103" y="61"/>
                      <a:pt x="104" y="60"/>
                    </a:cubicBezTo>
                    <a:cubicBezTo>
                      <a:pt x="104" y="40"/>
                      <a:pt x="104" y="40"/>
                      <a:pt x="104" y="40"/>
                    </a:cubicBezTo>
                    <a:cubicBezTo>
                      <a:pt x="109" y="40"/>
                      <a:pt x="109" y="40"/>
                      <a:pt x="109" y="40"/>
                    </a:cubicBezTo>
                    <a:cubicBezTo>
                      <a:pt x="109" y="67"/>
                      <a:pt x="109" y="67"/>
                      <a:pt x="109" y="67"/>
                    </a:cubicBezTo>
                    <a:cubicBezTo>
                      <a:pt x="104" y="67"/>
                      <a:pt x="104" y="67"/>
                      <a:pt x="104" y="67"/>
                    </a:cubicBezTo>
                    <a:cubicBezTo>
                      <a:pt x="104" y="64"/>
                      <a:pt x="104" y="64"/>
                      <a:pt x="104" y="64"/>
                    </a:cubicBezTo>
                    <a:cubicBezTo>
                      <a:pt x="103" y="65"/>
                      <a:pt x="102" y="66"/>
                      <a:pt x="101" y="67"/>
                    </a:cubicBezTo>
                    <a:cubicBezTo>
                      <a:pt x="100" y="67"/>
                      <a:pt x="99" y="68"/>
                      <a:pt x="98" y="68"/>
                    </a:cubicBezTo>
                    <a:cubicBezTo>
                      <a:pt x="96" y="68"/>
                      <a:pt x="96" y="67"/>
                      <a:pt x="95" y="66"/>
                    </a:cubicBezTo>
                    <a:cubicBezTo>
                      <a:pt x="94" y="65"/>
                      <a:pt x="94" y="64"/>
                      <a:pt x="94" y="63"/>
                    </a:cubicBezTo>
                    <a:lnTo>
                      <a:pt x="94" y="40"/>
                    </a:lnTo>
                    <a:close/>
                    <a:moveTo>
                      <a:pt x="70" y="46"/>
                    </a:moveTo>
                    <a:cubicBezTo>
                      <a:pt x="70" y="44"/>
                      <a:pt x="71" y="43"/>
                      <a:pt x="72" y="42"/>
                    </a:cubicBezTo>
                    <a:cubicBezTo>
                      <a:pt x="74" y="40"/>
                      <a:pt x="76" y="40"/>
                      <a:pt x="79" y="40"/>
                    </a:cubicBezTo>
                    <a:cubicBezTo>
                      <a:pt x="82" y="40"/>
                      <a:pt x="84" y="40"/>
                      <a:pt x="86" y="42"/>
                    </a:cubicBezTo>
                    <a:cubicBezTo>
                      <a:pt x="87" y="43"/>
                      <a:pt x="88" y="45"/>
                      <a:pt x="88" y="47"/>
                    </a:cubicBezTo>
                    <a:cubicBezTo>
                      <a:pt x="88" y="60"/>
                      <a:pt x="88" y="60"/>
                      <a:pt x="88" y="60"/>
                    </a:cubicBezTo>
                    <a:cubicBezTo>
                      <a:pt x="88" y="62"/>
                      <a:pt x="87" y="64"/>
                      <a:pt x="86" y="66"/>
                    </a:cubicBezTo>
                    <a:cubicBezTo>
                      <a:pt x="84" y="67"/>
                      <a:pt x="82" y="68"/>
                      <a:pt x="79" y="68"/>
                    </a:cubicBezTo>
                    <a:cubicBezTo>
                      <a:pt x="76" y="68"/>
                      <a:pt x="74" y="67"/>
                      <a:pt x="72" y="65"/>
                    </a:cubicBezTo>
                    <a:cubicBezTo>
                      <a:pt x="71" y="64"/>
                      <a:pt x="70" y="62"/>
                      <a:pt x="70" y="60"/>
                    </a:cubicBezTo>
                    <a:lnTo>
                      <a:pt x="70" y="46"/>
                    </a:lnTo>
                    <a:close/>
                    <a:moveTo>
                      <a:pt x="54" y="28"/>
                    </a:moveTo>
                    <a:cubicBezTo>
                      <a:pt x="58" y="44"/>
                      <a:pt x="58" y="44"/>
                      <a:pt x="58" y="44"/>
                    </a:cubicBezTo>
                    <a:cubicBezTo>
                      <a:pt x="59" y="44"/>
                      <a:pt x="59" y="44"/>
                      <a:pt x="59" y="44"/>
                    </a:cubicBezTo>
                    <a:cubicBezTo>
                      <a:pt x="63" y="28"/>
                      <a:pt x="63" y="28"/>
                      <a:pt x="63" y="28"/>
                    </a:cubicBezTo>
                    <a:cubicBezTo>
                      <a:pt x="70" y="28"/>
                      <a:pt x="70" y="28"/>
                      <a:pt x="70" y="28"/>
                    </a:cubicBezTo>
                    <a:cubicBezTo>
                      <a:pt x="62" y="51"/>
                      <a:pt x="62" y="51"/>
                      <a:pt x="62" y="51"/>
                    </a:cubicBezTo>
                    <a:cubicBezTo>
                      <a:pt x="62" y="68"/>
                      <a:pt x="62" y="68"/>
                      <a:pt x="62" y="68"/>
                    </a:cubicBezTo>
                    <a:cubicBezTo>
                      <a:pt x="55" y="68"/>
                      <a:pt x="55" y="68"/>
                      <a:pt x="55" y="68"/>
                    </a:cubicBezTo>
                    <a:cubicBezTo>
                      <a:pt x="55" y="68"/>
                      <a:pt x="55" y="52"/>
                      <a:pt x="55" y="52"/>
                    </a:cubicBezTo>
                    <a:cubicBezTo>
                      <a:pt x="47" y="28"/>
                      <a:pt x="47" y="28"/>
                      <a:pt x="47" y="28"/>
                    </a:cubicBezTo>
                    <a:lnTo>
                      <a:pt x="54" y="28"/>
                    </a:lnTo>
                    <a:close/>
                    <a:moveTo>
                      <a:pt x="132" y="112"/>
                    </a:moveTo>
                    <a:cubicBezTo>
                      <a:pt x="132" y="122"/>
                      <a:pt x="123" y="130"/>
                      <a:pt x="113" y="130"/>
                    </a:cubicBezTo>
                    <a:cubicBezTo>
                      <a:pt x="49" y="130"/>
                      <a:pt x="49" y="130"/>
                      <a:pt x="49" y="130"/>
                    </a:cubicBezTo>
                    <a:cubicBezTo>
                      <a:pt x="39" y="130"/>
                      <a:pt x="30" y="122"/>
                      <a:pt x="30" y="112"/>
                    </a:cubicBezTo>
                    <a:cubicBezTo>
                      <a:pt x="30" y="97"/>
                      <a:pt x="30" y="97"/>
                      <a:pt x="30" y="97"/>
                    </a:cubicBezTo>
                    <a:cubicBezTo>
                      <a:pt x="30" y="87"/>
                      <a:pt x="39" y="79"/>
                      <a:pt x="49" y="79"/>
                    </a:cubicBezTo>
                    <a:cubicBezTo>
                      <a:pt x="113" y="79"/>
                      <a:pt x="113" y="79"/>
                      <a:pt x="113" y="79"/>
                    </a:cubicBezTo>
                    <a:cubicBezTo>
                      <a:pt x="123" y="79"/>
                      <a:pt x="132" y="87"/>
                      <a:pt x="132" y="97"/>
                    </a:cubicBezTo>
                    <a:lnTo>
                      <a:pt x="132" y="11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7" name="Freeform 90">
                <a:hlinkClick r:id="rId10"/>
              </p:cNvPr>
              <p:cNvSpPr>
                <a:spLocks/>
              </p:cNvSpPr>
              <p:nvPr/>
            </p:nvSpPr>
            <p:spPr bwMode="auto">
              <a:xfrm>
                <a:off x="7407725" y="4231326"/>
                <a:ext cx="27901" cy="37201"/>
              </a:xfrm>
              <a:custGeom>
                <a:avLst/>
                <a:gdLst>
                  <a:gd name="T0" fmla="*/ 11 w 16"/>
                  <a:gd name="T1" fmla="*/ 16 h 22"/>
                  <a:gd name="T2" fmla="*/ 10 w 16"/>
                  <a:gd name="T3" fmla="*/ 18 h 22"/>
                  <a:gd name="T4" fmla="*/ 8 w 16"/>
                  <a:gd name="T5" fmla="*/ 19 h 22"/>
                  <a:gd name="T6" fmla="*/ 6 w 16"/>
                  <a:gd name="T7" fmla="*/ 18 h 22"/>
                  <a:gd name="T8" fmla="*/ 5 w 16"/>
                  <a:gd name="T9" fmla="*/ 16 h 22"/>
                  <a:gd name="T10" fmla="*/ 5 w 16"/>
                  <a:gd name="T11" fmla="*/ 12 h 22"/>
                  <a:gd name="T12" fmla="*/ 16 w 16"/>
                  <a:gd name="T13" fmla="*/ 12 h 22"/>
                  <a:gd name="T14" fmla="*/ 16 w 16"/>
                  <a:gd name="T15" fmla="*/ 6 h 22"/>
                  <a:gd name="T16" fmla="*/ 14 w 16"/>
                  <a:gd name="T17" fmla="*/ 2 h 22"/>
                  <a:gd name="T18" fmla="*/ 8 w 16"/>
                  <a:gd name="T19" fmla="*/ 0 h 22"/>
                  <a:gd name="T20" fmla="*/ 2 w 16"/>
                  <a:gd name="T21" fmla="*/ 2 h 22"/>
                  <a:gd name="T22" fmla="*/ 0 w 16"/>
                  <a:gd name="T23" fmla="*/ 6 h 22"/>
                  <a:gd name="T24" fmla="*/ 0 w 16"/>
                  <a:gd name="T25" fmla="*/ 16 h 22"/>
                  <a:gd name="T26" fmla="*/ 2 w 16"/>
                  <a:gd name="T27" fmla="*/ 21 h 22"/>
                  <a:gd name="T28" fmla="*/ 8 w 16"/>
                  <a:gd name="T29" fmla="*/ 22 h 22"/>
                  <a:gd name="T30" fmla="*/ 14 w 16"/>
                  <a:gd name="T31" fmla="*/ 21 h 22"/>
                  <a:gd name="T32" fmla="*/ 16 w 16"/>
                  <a:gd name="T33" fmla="*/ 16 h 22"/>
                  <a:gd name="T34" fmla="*/ 16 w 16"/>
                  <a:gd name="T35" fmla="*/ 15 h 22"/>
                  <a:gd name="T36" fmla="*/ 11 w 16"/>
                  <a:gd name="T37" fmla="*/ 15 h 22"/>
                  <a:gd name="T38" fmla="*/ 11 w 16"/>
                  <a:gd name="T39" fmla="*/ 16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6" h="22">
                    <a:moveTo>
                      <a:pt x="11" y="16"/>
                    </a:moveTo>
                    <a:cubicBezTo>
                      <a:pt x="11" y="17"/>
                      <a:pt x="10" y="18"/>
                      <a:pt x="10" y="18"/>
                    </a:cubicBezTo>
                    <a:cubicBezTo>
                      <a:pt x="10" y="18"/>
                      <a:pt x="9" y="19"/>
                      <a:pt x="8" y="19"/>
                    </a:cubicBezTo>
                    <a:cubicBezTo>
                      <a:pt x="7" y="19"/>
                      <a:pt x="6" y="18"/>
                      <a:pt x="6" y="18"/>
                    </a:cubicBezTo>
                    <a:cubicBezTo>
                      <a:pt x="6" y="18"/>
                      <a:pt x="5" y="17"/>
                      <a:pt x="5" y="16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16" y="12"/>
                      <a:pt x="16" y="12"/>
                      <a:pt x="16" y="12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6" y="4"/>
                      <a:pt x="16" y="3"/>
                      <a:pt x="14" y="2"/>
                    </a:cubicBezTo>
                    <a:cubicBezTo>
                      <a:pt x="13" y="0"/>
                      <a:pt x="11" y="0"/>
                      <a:pt x="8" y="0"/>
                    </a:cubicBezTo>
                    <a:cubicBezTo>
                      <a:pt x="6" y="0"/>
                      <a:pt x="4" y="1"/>
                      <a:pt x="2" y="2"/>
                    </a:cubicBezTo>
                    <a:cubicBezTo>
                      <a:pt x="0" y="3"/>
                      <a:pt x="0" y="4"/>
                      <a:pt x="0" y="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18"/>
                      <a:pt x="0" y="19"/>
                      <a:pt x="2" y="21"/>
                    </a:cubicBezTo>
                    <a:cubicBezTo>
                      <a:pt x="3" y="22"/>
                      <a:pt x="5" y="22"/>
                      <a:pt x="8" y="22"/>
                    </a:cubicBezTo>
                    <a:cubicBezTo>
                      <a:pt x="11" y="22"/>
                      <a:pt x="13" y="22"/>
                      <a:pt x="14" y="21"/>
                    </a:cubicBezTo>
                    <a:cubicBezTo>
                      <a:pt x="16" y="20"/>
                      <a:pt x="16" y="18"/>
                      <a:pt x="16" y="16"/>
                    </a:cubicBezTo>
                    <a:cubicBezTo>
                      <a:pt x="16" y="15"/>
                      <a:pt x="16" y="15"/>
                      <a:pt x="16" y="15"/>
                    </a:cubicBezTo>
                    <a:cubicBezTo>
                      <a:pt x="11" y="15"/>
                      <a:pt x="11" y="15"/>
                      <a:pt x="11" y="15"/>
                    </a:cubicBezTo>
                    <a:lnTo>
                      <a:pt x="11" y="1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8" name="Freeform 104">
                <a:hlinkClick r:id="rId10"/>
              </p:cNvPr>
              <p:cNvSpPr>
                <a:spLocks/>
              </p:cNvSpPr>
              <p:nvPr/>
            </p:nvSpPr>
            <p:spPr bwMode="auto">
              <a:xfrm>
                <a:off x="7359673" y="4141423"/>
                <a:ext cx="10851" cy="31001"/>
              </a:xfrm>
              <a:custGeom>
                <a:avLst/>
                <a:gdLst>
                  <a:gd name="T0" fmla="*/ 1 w 6"/>
                  <a:gd name="T1" fmla="*/ 17 h 17"/>
                  <a:gd name="T2" fmla="*/ 3 w 6"/>
                  <a:gd name="T3" fmla="*/ 17 h 17"/>
                  <a:gd name="T4" fmla="*/ 5 w 6"/>
                  <a:gd name="T5" fmla="*/ 17 h 17"/>
                  <a:gd name="T6" fmla="*/ 6 w 6"/>
                  <a:gd name="T7" fmla="*/ 15 h 17"/>
                  <a:gd name="T8" fmla="*/ 6 w 6"/>
                  <a:gd name="T9" fmla="*/ 2 h 17"/>
                  <a:gd name="T10" fmla="*/ 5 w 6"/>
                  <a:gd name="T11" fmla="*/ 1 h 17"/>
                  <a:gd name="T12" fmla="*/ 3 w 6"/>
                  <a:gd name="T13" fmla="*/ 0 h 17"/>
                  <a:gd name="T14" fmla="*/ 1 w 6"/>
                  <a:gd name="T15" fmla="*/ 1 h 17"/>
                  <a:gd name="T16" fmla="*/ 0 w 6"/>
                  <a:gd name="T17" fmla="*/ 2 h 17"/>
                  <a:gd name="T18" fmla="*/ 0 w 6"/>
                  <a:gd name="T19" fmla="*/ 15 h 17"/>
                  <a:gd name="T20" fmla="*/ 1 w 6"/>
                  <a:gd name="T21" fmla="*/ 17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" h="17">
                    <a:moveTo>
                      <a:pt x="1" y="17"/>
                    </a:moveTo>
                    <a:cubicBezTo>
                      <a:pt x="1" y="17"/>
                      <a:pt x="2" y="17"/>
                      <a:pt x="3" y="17"/>
                    </a:cubicBezTo>
                    <a:cubicBezTo>
                      <a:pt x="4" y="17"/>
                      <a:pt x="4" y="17"/>
                      <a:pt x="5" y="17"/>
                    </a:cubicBezTo>
                    <a:cubicBezTo>
                      <a:pt x="6" y="16"/>
                      <a:pt x="6" y="16"/>
                      <a:pt x="6" y="15"/>
                    </a:cubicBezTo>
                    <a:cubicBezTo>
                      <a:pt x="6" y="2"/>
                      <a:pt x="6" y="2"/>
                      <a:pt x="6" y="2"/>
                    </a:cubicBezTo>
                    <a:cubicBezTo>
                      <a:pt x="6" y="2"/>
                      <a:pt x="6" y="1"/>
                      <a:pt x="5" y="1"/>
                    </a:cubicBezTo>
                    <a:cubicBezTo>
                      <a:pt x="4" y="0"/>
                      <a:pt x="4" y="0"/>
                      <a:pt x="3" y="0"/>
                    </a:cubicBezTo>
                    <a:cubicBezTo>
                      <a:pt x="2" y="0"/>
                      <a:pt x="1" y="0"/>
                      <a:pt x="1" y="1"/>
                    </a:cubicBezTo>
                    <a:cubicBezTo>
                      <a:pt x="0" y="1"/>
                      <a:pt x="0" y="2"/>
                      <a:pt x="0" y="2"/>
                    </a:cubicBezTo>
                    <a:cubicBezTo>
                      <a:pt x="0" y="15"/>
                      <a:pt x="0" y="15"/>
                      <a:pt x="0" y="15"/>
                    </a:cubicBezTo>
                    <a:cubicBezTo>
                      <a:pt x="0" y="16"/>
                      <a:pt x="0" y="16"/>
                      <a:pt x="1" y="17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</p:grpSp>
        <p:sp>
          <p:nvSpPr>
            <p:cNvPr id="56" name="Freeform 91">
              <a:hlinkClick r:id="rId11"/>
            </p:cNvPr>
            <p:cNvSpPr>
              <a:spLocks noEditPoints="1"/>
            </p:cNvSpPr>
            <p:nvPr/>
          </p:nvSpPr>
          <p:spPr bwMode="auto">
            <a:xfrm>
              <a:off x="6587751" y="4063921"/>
              <a:ext cx="280559" cy="285208"/>
            </a:xfrm>
            <a:custGeom>
              <a:avLst/>
              <a:gdLst>
                <a:gd name="T0" fmla="*/ 82 w 164"/>
                <a:gd name="T1" fmla="*/ 0 h 164"/>
                <a:gd name="T2" fmla="*/ 0 w 164"/>
                <a:gd name="T3" fmla="*/ 82 h 164"/>
                <a:gd name="T4" fmla="*/ 82 w 164"/>
                <a:gd name="T5" fmla="*/ 164 h 164"/>
                <a:gd name="T6" fmla="*/ 164 w 164"/>
                <a:gd name="T7" fmla="*/ 82 h 164"/>
                <a:gd name="T8" fmla="*/ 82 w 164"/>
                <a:gd name="T9" fmla="*/ 0 h 164"/>
                <a:gd name="T10" fmla="*/ 125 w 164"/>
                <a:gd name="T11" fmla="*/ 62 h 164"/>
                <a:gd name="T12" fmla="*/ 125 w 164"/>
                <a:gd name="T13" fmla="*/ 65 h 164"/>
                <a:gd name="T14" fmla="*/ 61 w 164"/>
                <a:gd name="T15" fmla="*/ 128 h 164"/>
                <a:gd name="T16" fmla="*/ 27 w 164"/>
                <a:gd name="T17" fmla="*/ 118 h 164"/>
                <a:gd name="T18" fmla="*/ 32 w 164"/>
                <a:gd name="T19" fmla="*/ 119 h 164"/>
                <a:gd name="T20" fmla="*/ 60 w 164"/>
                <a:gd name="T21" fmla="*/ 109 h 164"/>
                <a:gd name="T22" fmla="*/ 39 w 164"/>
                <a:gd name="T23" fmla="*/ 94 h 164"/>
                <a:gd name="T24" fmla="*/ 43 w 164"/>
                <a:gd name="T25" fmla="*/ 94 h 164"/>
                <a:gd name="T26" fmla="*/ 49 w 164"/>
                <a:gd name="T27" fmla="*/ 93 h 164"/>
                <a:gd name="T28" fmla="*/ 31 w 164"/>
                <a:gd name="T29" fmla="*/ 71 h 164"/>
                <a:gd name="T30" fmla="*/ 31 w 164"/>
                <a:gd name="T31" fmla="*/ 71 h 164"/>
                <a:gd name="T32" fmla="*/ 41 w 164"/>
                <a:gd name="T33" fmla="*/ 74 h 164"/>
                <a:gd name="T34" fmla="*/ 32 w 164"/>
                <a:gd name="T35" fmla="*/ 55 h 164"/>
                <a:gd name="T36" fmla="*/ 35 w 164"/>
                <a:gd name="T37" fmla="*/ 44 h 164"/>
                <a:gd name="T38" fmla="*/ 81 w 164"/>
                <a:gd name="T39" fmla="*/ 67 h 164"/>
                <a:gd name="T40" fmla="*/ 80 w 164"/>
                <a:gd name="T41" fmla="*/ 62 h 164"/>
                <a:gd name="T42" fmla="*/ 102 w 164"/>
                <a:gd name="T43" fmla="*/ 40 h 164"/>
                <a:gd name="T44" fmla="*/ 119 w 164"/>
                <a:gd name="T45" fmla="*/ 47 h 164"/>
                <a:gd name="T46" fmla="*/ 133 w 164"/>
                <a:gd name="T47" fmla="*/ 42 h 164"/>
                <a:gd name="T48" fmla="*/ 123 w 164"/>
                <a:gd name="T49" fmla="*/ 54 h 164"/>
                <a:gd name="T50" fmla="*/ 136 w 164"/>
                <a:gd name="T51" fmla="*/ 50 h 164"/>
                <a:gd name="T52" fmla="*/ 125 w 164"/>
                <a:gd name="T53" fmla="*/ 62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64" h="164">
                  <a:moveTo>
                    <a:pt x="82" y="0"/>
                  </a:moveTo>
                  <a:cubicBezTo>
                    <a:pt x="37" y="0"/>
                    <a:pt x="0" y="36"/>
                    <a:pt x="0" y="82"/>
                  </a:cubicBezTo>
                  <a:cubicBezTo>
                    <a:pt x="0" y="127"/>
                    <a:pt x="37" y="164"/>
                    <a:pt x="82" y="164"/>
                  </a:cubicBezTo>
                  <a:cubicBezTo>
                    <a:pt x="127" y="164"/>
                    <a:pt x="164" y="127"/>
                    <a:pt x="164" y="82"/>
                  </a:cubicBezTo>
                  <a:cubicBezTo>
                    <a:pt x="164" y="36"/>
                    <a:pt x="127" y="0"/>
                    <a:pt x="82" y="0"/>
                  </a:cubicBezTo>
                  <a:close/>
                  <a:moveTo>
                    <a:pt x="125" y="62"/>
                  </a:moveTo>
                  <a:cubicBezTo>
                    <a:pt x="125" y="63"/>
                    <a:pt x="125" y="64"/>
                    <a:pt x="125" y="65"/>
                  </a:cubicBezTo>
                  <a:cubicBezTo>
                    <a:pt x="125" y="94"/>
                    <a:pt x="102" y="128"/>
                    <a:pt x="61" y="128"/>
                  </a:cubicBezTo>
                  <a:cubicBezTo>
                    <a:pt x="49" y="128"/>
                    <a:pt x="37" y="125"/>
                    <a:pt x="27" y="118"/>
                  </a:cubicBezTo>
                  <a:cubicBezTo>
                    <a:pt x="29" y="118"/>
                    <a:pt x="31" y="119"/>
                    <a:pt x="32" y="119"/>
                  </a:cubicBezTo>
                  <a:cubicBezTo>
                    <a:pt x="43" y="119"/>
                    <a:pt x="52" y="115"/>
                    <a:pt x="60" y="109"/>
                  </a:cubicBezTo>
                  <a:cubicBezTo>
                    <a:pt x="50" y="109"/>
                    <a:pt x="42" y="102"/>
                    <a:pt x="39" y="94"/>
                  </a:cubicBezTo>
                  <a:cubicBezTo>
                    <a:pt x="41" y="94"/>
                    <a:pt x="42" y="94"/>
                    <a:pt x="43" y="94"/>
                  </a:cubicBezTo>
                  <a:cubicBezTo>
                    <a:pt x="45" y="94"/>
                    <a:pt x="47" y="94"/>
                    <a:pt x="49" y="93"/>
                  </a:cubicBezTo>
                  <a:cubicBezTo>
                    <a:pt x="39" y="91"/>
                    <a:pt x="31" y="82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4" y="73"/>
                    <a:pt x="38" y="74"/>
                    <a:pt x="41" y="74"/>
                  </a:cubicBezTo>
                  <a:cubicBezTo>
                    <a:pt x="36" y="70"/>
                    <a:pt x="32" y="63"/>
                    <a:pt x="32" y="55"/>
                  </a:cubicBezTo>
                  <a:cubicBezTo>
                    <a:pt x="32" y="51"/>
                    <a:pt x="33" y="47"/>
                    <a:pt x="35" y="44"/>
                  </a:cubicBezTo>
                  <a:cubicBezTo>
                    <a:pt x="46" y="58"/>
                    <a:pt x="62" y="66"/>
                    <a:pt x="81" y="67"/>
                  </a:cubicBezTo>
                  <a:cubicBezTo>
                    <a:pt x="80" y="66"/>
                    <a:pt x="80" y="64"/>
                    <a:pt x="80" y="62"/>
                  </a:cubicBezTo>
                  <a:cubicBezTo>
                    <a:pt x="80" y="50"/>
                    <a:pt x="90" y="40"/>
                    <a:pt x="102" y="40"/>
                  </a:cubicBezTo>
                  <a:cubicBezTo>
                    <a:pt x="109" y="40"/>
                    <a:pt x="114" y="43"/>
                    <a:pt x="119" y="47"/>
                  </a:cubicBezTo>
                  <a:cubicBezTo>
                    <a:pt x="124" y="46"/>
                    <a:pt x="128" y="44"/>
                    <a:pt x="133" y="42"/>
                  </a:cubicBezTo>
                  <a:cubicBezTo>
                    <a:pt x="131" y="47"/>
                    <a:pt x="127" y="51"/>
                    <a:pt x="123" y="54"/>
                  </a:cubicBezTo>
                  <a:cubicBezTo>
                    <a:pt x="127" y="53"/>
                    <a:pt x="132" y="52"/>
                    <a:pt x="136" y="50"/>
                  </a:cubicBezTo>
                  <a:cubicBezTo>
                    <a:pt x="133" y="55"/>
                    <a:pt x="129" y="59"/>
                    <a:pt x="125" y="6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IN" sz="2400"/>
            </a:p>
          </p:txBody>
        </p:sp>
        <p:sp>
          <p:nvSpPr>
            <p:cNvPr id="63" name="Freeform 92">
              <a:hlinkClick r:id="rId12"/>
            </p:cNvPr>
            <p:cNvSpPr>
              <a:spLocks noEditPoints="1"/>
            </p:cNvSpPr>
            <p:nvPr/>
          </p:nvSpPr>
          <p:spPr bwMode="auto">
            <a:xfrm>
              <a:off x="6908610" y="4063921"/>
              <a:ext cx="280559" cy="285208"/>
            </a:xfrm>
            <a:custGeom>
              <a:avLst/>
              <a:gdLst>
                <a:gd name="T0" fmla="*/ 82 w 164"/>
                <a:gd name="T1" fmla="*/ 0 h 164"/>
                <a:gd name="T2" fmla="*/ 0 w 164"/>
                <a:gd name="T3" fmla="*/ 82 h 164"/>
                <a:gd name="T4" fmla="*/ 82 w 164"/>
                <a:gd name="T5" fmla="*/ 164 h 164"/>
                <a:gd name="T6" fmla="*/ 164 w 164"/>
                <a:gd name="T7" fmla="*/ 82 h 164"/>
                <a:gd name="T8" fmla="*/ 82 w 164"/>
                <a:gd name="T9" fmla="*/ 0 h 164"/>
                <a:gd name="T10" fmla="*/ 108 w 164"/>
                <a:gd name="T11" fmla="*/ 48 h 164"/>
                <a:gd name="T12" fmla="*/ 99 w 164"/>
                <a:gd name="T13" fmla="*/ 48 h 164"/>
                <a:gd name="T14" fmla="*/ 90 w 164"/>
                <a:gd name="T15" fmla="*/ 57 h 164"/>
                <a:gd name="T16" fmla="*/ 90 w 164"/>
                <a:gd name="T17" fmla="*/ 68 h 164"/>
                <a:gd name="T18" fmla="*/ 108 w 164"/>
                <a:gd name="T19" fmla="*/ 68 h 164"/>
                <a:gd name="T20" fmla="*/ 106 w 164"/>
                <a:gd name="T21" fmla="*/ 86 h 164"/>
                <a:gd name="T22" fmla="*/ 90 w 164"/>
                <a:gd name="T23" fmla="*/ 86 h 164"/>
                <a:gd name="T24" fmla="*/ 90 w 164"/>
                <a:gd name="T25" fmla="*/ 132 h 164"/>
                <a:gd name="T26" fmla="*/ 72 w 164"/>
                <a:gd name="T27" fmla="*/ 132 h 164"/>
                <a:gd name="T28" fmla="*/ 72 w 164"/>
                <a:gd name="T29" fmla="*/ 86 h 164"/>
                <a:gd name="T30" fmla="*/ 56 w 164"/>
                <a:gd name="T31" fmla="*/ 86 h 164"/>
                <a:gd name="T32" fmla="*/ 56 w 164"/>
                <a:gd name="T33" fmla="*/ 68 h 164"/>
                <a:gd name="T34" fmla="*/ 72 w 164"/>
                <a:gd name="T35" fmla="*/ 68 h 164"/>
                <a:gd name="T36" fmla="*/ 72 w 164"/>
                <a:gd name="T37" fmla="*/ 55 h 164"/>
                <a:gd name="T38" fmla="*/ 95 w 164"/>
                <a:gd name="T39" fmla="*/ 31 h 164"/>
                <a:gd name="T40" fmla="*/ 108 w 164"/>
                <a:gd name="T41" fmla="*/ 32 h 164"/>
                <a:gd name="T42" fmla="*/ 108 w 164"/>
                <a:gd name="T43" fmla="*/ 48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4" h="164">
                  <a:moveTo>
                    <a:pt x="82" y="0"/>
                  </a:moveTo>
                  <a:cubicBezTo>
                    <a:pt x="37" y="0"/>
                    <a:pt x="0" y="36"/>
                    <a:pt x="0" y="82"/>
                  </a:cubicBezTo>
                  <a:cubicBezTo>
                    <a:pt x="0" y="127"/>
                    <a:pt x="37" y="164"/>
                    <a:pt x="82" y="164"/>
                  </a:cubicBezTo>
                  <a:cubicBezTo>
                    <a:pt x="128" y="164"/>
                    <a:pt x="164" y="127"/>
                    <a:pt x="164" y="82"/>
                  </a:cubicBezTo>
                  <a:cubicBezTo>
                    <a:pt x="164" y="36"/>
                    <a:pt x="128" y="0"/>
                    <a:pt x="82" y="0"/>
                  </a:cubicBezTo>
                  <a:close/>
                  <a:moveTo>
                    <a:pt x="108" y="48"/>
                  </a:moveTo>
                  <a:cubicBezTo>
                    <a:pt x="99" y="48"/>
                    <a:pt x="99" y="48"/>
                    <a:pt x="99" y="48"/>
                  </a:cubicBezTo>
                  <a:cubicBezTo>
                    <a:pt x="92" y="48"/>
                    <a:pt x="90" y="51"/>
                    <a:pt x="90" y="57"/>
                  </a:cubicBezTo>
                  <a:cubicBezTo>
                    <a:pt x="90" y="68"/>
                    <a:pt x="90" y="68"/>
                    <a:pt x="90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132"/>
                    <a:pt x="90" y="132"/>
                    <a:pt x="90" y="13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68"/>
                    <a:pt x="56" y="68"/>
                    <a:pt x="56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40"/>
                    <a:pt x="81" y="31"/>
                    <a:pt x="95" y="31"/>
                  </a:cubicBezTo>
                  <a:cubicBezTo>
                    <a:pt x="101" y="31"/>
                    <a:pt x="107" y="32"/>
                    <a:pt x="108" y="32"/>
                  </a:cubicBezTo>
                  <a:lnTo>
                    <a:pt x="108" y="4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IN" sz="2400"/>
            </a:p>
          </p:txBody>
        </p:sp>
        <p:sp>
          <p:nvSpPr>
            <p:cNvPr id="64" name="Freeform 93">
              <a:hlinkClick r:id="rId13"/>
            </p:cNvPr>
            <p:cNvSpPr>
              <a:spLocks noEditPoints="1"/>
            </p:cNvSpPr>
            <p:nvPr/>
          </p:nvSpPr>
          <p:spPr bwMode="auto">
            <a:xfrm>
              <a:off x="6266892" y="4063921"/>
              <a:ext cx="280559" cy="285208"/>
            </a:xfrm>
            <a:custGeom>
              <a:avLst/>
              <a:gdLst>
                <a:gd name="T0" fmla="*/ 82 w 164"/>
                <a:gd name="T1" fmla="*/ 0 h 164"/>
                <a:gd name="T2" fmla="*/ 0 w 164"/>
                <a:gd name="T3" fmla="*/ 82 h 164"/>
                <a:gd name="T4" fmla="*/ 82 w 164"/>
                <a:gd name="T5" fmla="*/ 164 h 164"/>
                <a:gd name="T6" fmla="*/ 164 w 164"/>
                <a:gd name="T7" fmla="*/ 82 h 164"/>
                <a:gd name="T8" fmla="*/ 82 w 164"/>
                <a:gd name="T9" fmla="*/ 0 h 164"/>
                <a:gd name="T10" fmla="*/ 57 w 164"/>
                <a:gd name="T11" fmla="*/ 123 h 164"/>
                <a:gd name="T12" fmla="*/ 54 w 164"/>
                <a:gd name="T13" fmla="*/ 126 h 164"/>
                <a:gd name="T14" fmla="*/ 42 w 164"/>
                <a:gd name="T15" fmla="*/ 126 h 164"/>
                <a:gd name="T16" fmla="*/ 39 w 164"/>
                <a:gd name="T17" fmla="*/ 123 h 164"/>
                <a:gd name="T18" fmla="*/ 39 w 164"/>
                <a:gd name="T19" fmla="*/ 70 h 164"/>
                <a:gd name="T20" fmla="*/ 42 w 164"/>
                <a:gd name="T21" fmla="*/ 67 h 164"/>
                <a:gd name="T22" fmla="*/ 54 w 164"/>
                <a:gd name="T23" fmla="*/ 67 h 164"/>
                <a:gd name="T24" fmla="*/ 57 w 164"/>
                <a:gd name="T25" fmla="*/ 70 h 164"/>
                <a:gd name="T26" fmla="*/ 57 w 164"/>
                <a:gd name="T27" fmla="*/ 123 h 164"/>
                <a:gd name="T28" fmla="*/ 48 w 164"/>
                <a:gd name="T29" fmla="*/ 59 h 164"/>
                <a:gd name="T30" fmla="*/ 37 w 164"/>
                <a:gd name="T31" fmla="*/ 48 h 164"/>
                <a:gd name="T32" fmla="*/ 48 w 164"/>
                <a:gd name="T33" fmla="*/ 37 h 164"/>
                <a:gd name="T34" fmla="*/ 59 w 164"/>
                <a:gd name="T35" fmla="*/ 48 h 164"/>
                <a:gd name="T36" fmla="*/ 48 w 164"/>
                <a:gd name="T37" fmla="*/ 59 h 164"/>
                <a:gd name="T38" fmla="*/ 126 w 164"/>
                <a:gd name="T39" fmla="*/ 85 h 164"/>
                <a:gd name="T40" fmla="*/ 126 w 164"/>
                <a:gd name="T41" fmla="*/ 124 h 164"/>
                <a:gd name="T42" fmla="*/ 125 w 164"/>
                <a:gd name="T43" fmla="*/ 126 h 164"/>
                <a:gd name="T44" fmla="*/ 109 w 164"/>
                <a:gd name="T45" fmla="*/ 126 h 164"/>
                <a:gd name="T46" fmla="*/ 108 w 164"/>
                <a:gd name="T47" fmla="*/ 124 h 164"/>
                <a:gd name="T48" fmla="*/ 108 w 164"/>
                <a:gd name="T49" fmla="*/ 92 h 164"/>
                <a:gd name="T50" fmla="*/ 105 w 164"/>
                <a:gd name="T51" fmla="*/ 84 h 164"/>
                <a:gd name="T52" fmla="*/ 97 w 164"/>
                <a:gd name="T53" fmla="*/ 81 h 164"/>
                <a:gd name="T54" fmla="*/ 87 w 164"/>
                <a:gd name="T55" fmla="*/ 92 h 164"/>
                <a:gd name="T56" fmla="*/ 87 w 164"/>
                <a:gd name="T57" fmla="*/ 124 h 164"/>
                <a:gd name="T58" fmla="*/ 86 w 164"/>
                <a:gd name="T59" fmla="*/ 126 h 164"/>
                <a:gd name="T60" fmla="*/ 70 w 164"/>
                <a:gd name="T61" fmla="*/ 126 h 164"/>
                <a:gd name="T62" fmla="*/ 69 w 164"/>
                <a:gd name="T63" fmla="*/ 124 h 164"/>
                <a:gd name="T64" fmla="*/ 69 w 164"/>
                <a:gd name="T65" fmla="*/ 68 h 164"/>
                <a:gd name="T66" fmla="*/ 70 w 164"/>
                <a:gd name="T67" fmla="*/ 67 h 164"/>
                <a:gd name="T68" fmla="*/ 85 w 164"/>
                <a:gd name="T69" fmla="*/ 67 h 164"/>
                <a:gd name="T70" fmla="*/ 87 w 164"/>
                <a:gd name="T71" fmla="*/ 68 h 164"/>
                <a:gd name="T72" fmla="*/ 87 w 164"/>
                <a:gd name="T73" fmla="*/ 74 h 164"/>
                <a:gd name="T74" fmla="*/ 87 w 164"/>
                <a:gd name="T75" fmla="*/ 75 h 164"/>
                <a:gd name="T76" fmla="*/ 88 w 164"/>
                <a:gd name="T77" fmla="*/ 73 h 164"/>
                <a:gd name="T78" fmla="*/ 103 w 164"/>
                <a:gd name="T79" fmla="*/ 65 h 164"/>
                <a:gd name="T80" fmla="*/ 106 w 164"/>
                <a:gd name="T81" fmla="*/ 65 h 164"/>
                <a:gd name="T82" fmla="*/ 126 w 164"/>
                <a:gd name="T83" fmla="*/ 8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4" h="164">
                  <a:moveTo>
                    <a:pt x="82" y="0"/>
                  </a:moveTo>
                  <a:cubicBezTo>
                    <a:pt x="36" y="0"/>
                    <a:pt x="0" y="36"/>
                    <a:pt x="0" y="82"/>
                  </a:cubicBezTo>
                  <a:cubicBezTo>
                    <a:pt x="0" y="127"/>
                    <a:pt x="36" y="164"/>
                    <a:pt x="82" y="164"/>
                  </a:cubicBezTo>
                  <a:cubicBezTo>
                    <a:pt x="127" y="164"/>
                    <a:pt x="164" y="127"/>
                    <a:pt x="164" y="82"/>
                  </a:cubicBezTo>
                  <a:cubicBezTo>
                    <a:pt x="164" y="36"/>
                    <a:pt x="127" y="0"/>
                    <a:pt x="82" y="0"/>
                  </a:cubicBezTo>
                  <a:close/>
                  <a:moveTo>
                    <a:pt x="57" y="123"/>
                  </a:moveTo>
                  <a:cubicBezTo>
                    <a:pt x="57" y="124"/>
                    <a:pt x="56" y="126"/>
                    <a:pt x="54" y="126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40" y="126"/>
                    <a:pt x="39" y="124"/>
                    <a:pt x="39" y="123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9" y="68"/>
                    <a:pt x="40" y="67"/>
                    <a:pt x="42" y="67"/>
                  </a:cubicBezTo>
                  <a:cubicBezTo>
                    <a:pt x="54" y="67"/>
                    <a:pt x="54" y="67"/>
                    <a:pt x="54" y="67"/>
                  </a:cubicBezTo>
                  <a:cubicBezTo>
                    <a:pt x="56" y="67"/>
                    <a:pt x="57" y="68"/>
                    <a:pt x="57" y="70"/>
                  </a:cubicBezTo>
                  <a:lnTo>
                    <a:pt x="57" y="123"/>
                  </a:lnTo>
                  <a:close/>
                  <a:moveTo>
                    <a:pt x="48" y="59"/>
                  </a:moveTo>
                  <a:cubicBezTo>
                    <a:pt x="42" y="59"/>
                    <a:pt x="37" y="54"/>
                    <a:pt x="37" y="48"/>
                  </a:cubicBezTo>
                  <a:cubicBezTo>
                    <a:pt x="37" y="42"/>
                    <a:pt x="42" y="37"/>
                    <a:pt x="48" y="37"/>
                  </a:cubicBezTo>
                  <a:cubicBezTo>
                    <a:pt x="54" y="37"/>
                    <a:pt x="59" y="42"/>
                    <a:pt x="59" y="48"/>
                  </a:cubicBezTo>
                  <a:cubicBezTo>
                    <a:pt x="59" y="54"/>
                    <a:pt x="54" y="59"/>
                    <a:pt x="48" y="59"/>
                  </a:cubicBezTo>
                  <a:close/>
                  <a:moveTo>
                    <a:pt x="126" y="85"/>
                  </a:moveTo>
                  <a:cubicBezTo>
                    <a:pt x="126" y="124"/>
                    <a:pt x="126" y="124"/>
                    <a:pt x="126" y="124"/>
                  </a:cubicBezTo>
                  <a:cubicBezTo>
                    <a:pt x="126" y="125"/>
                    <a:pt x="125" y="126"/>
                    <a:pt x="125" y="126"/>
                  </a:cubicBezTo>
                  <a:cubicBezTo>
                    <a:pt x="109" y="126"/>
                    <a:pt x="109" y="126"/>
                    <a:pt x="109" y="126"/>
                  </a:cubicBezTo>
                  <a:cubicBezTo>
                    <a:pt x="108" y="126"/>
                    <a:pt x="108" y="125"/>
                    <a:pt x="108" y="124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89"/>
                    <a:pt x="106" y="86"/>
                    <a:pt x="105" y="84"/>
                  </a:cubicBezTo>
                  <a:cubicBezTo>
                    <a:pt x="103" y="83"/>
                    <a:pt x="100" y="81"/>
                    <a:pt x="97" y="81"/>
                  </a:cubicBezTo>
                  <a:cubicBezTo>
                    <a:pt x="92" y="82"/>
                    <a:pt x="87" y="86"/>
                    <a:pt x="87" y="92"/>
                  </a:cubicBezTo>
                  <a:cubicBezTo>
                    <a:pt x="87" y="124"/>
                    <a:pt x="87" y="124"/>
                    <a:pt x="87" y="124"/>
                  </a:cubicBezTo>
                  <a:cubicBezTo>
                    <a:pt x="87" y="125"/>
                    <a:pt x="86" y="126"/>
                    <a:pt x="86" y="126"/>
                  </a:cubicBezTo>
                  <a:cubicBezTo>
                    <a:pt x="70" y="126"/>
                    <a:pt x="70" y="126"/>
                    <a:pt x="70" y="126"/>
                  </a:cubicBezTo>
                  <a:cubicBezTo>
                    <a:pt x="69" y="126"/>
                    <a:pt x="69" y="125"/>
                    <a:pt x="69" y="124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69" y="67"/>
                    <a:pt x="69" y="67"/>
                    <a:pt x="70" y="67"/>
                  </a:cubicBezTo>
                  <a:cubicBezTo>
                    <a:pt x="85" y="67"/>
                    <a:pt x="85" y="67"/>
                    <a:pt x="85" y="67"/>
                  </a:cubicBezTo>
                  <a:cubicBezTo>
                    <a:pt x="86" y="67"/>
                    <a:pt x="87" y="67"/>
                    <a:pt x="87" y="68"/>
                  </a:cubicBezTo>
                  <a:cubicBezTo>
                    <a:pt x="87" y="74"/>
                    <a:pt x="87" y="74"/>
                    <a:pt x="87" y="74"/>
                  </a:cubicBezTo>
                  <a:cubicBezTo>
                    <a:pt x="87" y="74"/>
                    <a:pt x="87" y="75"/>
                    <a:pt x="87" y="75"/>
                  </a:cubicBezTo>
                  <a:cubicBezTo>
                    <a:pt x="87" y="74"/>
                    <a:pt x="87" y="73"/>
                    <a:pt x="88" y="73"/>
                  </a:cubicBezTo>
                  <a:cubicBezTo>
                    <a:pt x="91" y="68"/>
                    <a:pt x="96" y="65"/>
                    <a:pt x="103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17" y="65"/>
                    <a:pt x="126" y="74"/>
                    <a:pt x="126" y="85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IN" sz="2400" baseline="-25000" dirty="0"/>
            </a:p>
          </p:txBody>
        </p:sp>
        <p:grpSp>
          <p:nvGrpSpPr>
            <p:cNvPr id="65" name="Group 64"/>
            <p:cNvGrpSpPr/>
            <p:nvPr/>
          </p:nvGrpSpPr>
          <p:grpSpPr>
            <a:xfrm>
              <a:off x="8192046" y="4063921"/>
              <a:ext cx="280559" cy="285208"/>
              <a:chOff x="8351838" y="4075113"/>
              <a:chExt cx="287338" cy="292100"/>
            </a:xfrm>
            <a:solidFill>
              <a:schemeClr val="bg1"/>
            </a:solidFill>
          </p:grpSpPr>
          <p:sp>
            <p:nvSpPr>
              <p:cNvPr id="67" name="Freeform 94"/>
              <p:cNvSpPr>
                <a:spLocks noEditPoints="1"/>
              </p:cNvSpPr>
              <p:nvPr/>
            </p:nvSpPr>
            <p:spPr bwMode="auto">
              <a:xfrm>
                <a:off x="8418513" y="4143375"/>
                <a:ext cx="152400" cy="153987"/>
              </a:xfrm>
              <a:custGeom>
                <a:avLst/>
                <a:gdLst>
                  <a:gd name="T0" fmla="*/ 66 w 87"/>
                  <a:gd name="T1" fmla="*/ 0 h 87"/>
                  <a:gd name="T2" fmla="*/ 22 w 87"/>
                  <a:gd name="T3" fmla="*/ 0 h 87"/>
                  <a:gd name="T4" fmla="*/ 0 w 87"/>
                  <a:gd name="T5" fmla="*/ 22 h 87"/>
                  <a:gd name="T6" fmla="*/ 0 w 87"/>
                  <a:gd name="T7" fmla="*/ 65 h 87"/>
                  <a:gd name="T8" fmla="*/ 22 w 87"/>
                  <a:gd name="T9" fmla="*/ 87 h 87"/>
                  <a:gd name="T10" fmla="*/ 66 w 87"/>
                  <a:gd name="T11" fmla="*/ 87 h 87"/>
                  <a:gd name="T12" fmla="*/ 87 w 87"/>
                  <a:gd name="T13" fmla="*/ 65 h 87"/>
                  <a:gd name="T14" fmla="*/ 87 w 87"/>
                  <a:gd name="T15" fmla="*/ 22 h 87"/>
                  <a:gd name="T16" fmla="*/ 66 w 87"/>
                  <a:gd name="T17" fmla="*/ 0 h 87"/>
                  <a:gd name="T18" fmla="*/ 44 w 87"/>
                  <a:gd name="T19" fmla="*/ 72 h 87"/>
                  <a:gd name="T20" fmla="*/ 16 w 87"/>
                  <a:gd name="T21" fmla="*/ 44 h 87"/>
                  <a:gd name="T22" fmla="*/ 44 w 87"/>
                  <a:gd name="T23" fmla="*/ 16 h 87"/>
                  <a:gd name="T24" fmla="*/ 72 w 87"/>
                  <a:gd name="T25" fmla="*/ 44 h 87"/>
                  <a:gd name="T26" fmla="*/ 44 w 87"/>
                  <a:gd name="T27" fmla="*/ 72 h 87"/>
                  <a:gd name="T28" fmla="*/ 72 w 87"/>
                  <a:gd name="T29" fmla="*/ 22 h 87"/>
                  <a:gd name="T30" fmla="*/ 65 w 87"/>
                  <a:gd name="T31" fmla="*/ 16 h 87"/>
                  <a:gd name="T32" fmla="*/ 72 w 87"/>
                  <a:gd name="T33" fmla="*/ 9 h 87"/>
                  <a:gd name="T34" fmla="*/ 78 w 87"/>
                  <a:gd name="T35" fmla="*/ 16 h 87"/>
                  <a:gd name="T36" fmla="*/ 72 w 87"/>
                  <a:gd name="T37" fmla="*/ 2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87">
                    <a:moveTo>
                      <a:pt x="66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0" y="87"/>
                      <a:pt x="22" y="87"/>
                    </a:cubicBezTo>
                    <a:cubicBezTo>
                      <a:pt x="66" y="87"/>
                      <a:pt x="66" y="87"/>
                      <a:pt x="66" y="87"/>
                    </a:cubicBezTo>
                    <a:cubicBezTo>
                      <a:pt x="77" y="87"/>
                      <a:pt x="87" y="77"/>
                      <a:pt x="87" y="65"/>
                    </a:cubicBezTo>
                    <a:cubicBezTo>
                      <a:pt x="87" y="22"/>
                      <a:pt x="87" y="22"/>
                      <a:pt x="87" y="22"/>
                    </a:cubicBezTo>
                    <a:cubicBezTo>
                      <a:pt x="87" y="10"/>
                      <a:pt x="77" y="0"/>
                      <a:pt x="66" y="0"/>
                    </a:cubicBezTo>
                    <a:close/>
                    <a:moveTo>
                      <a:pt x="44" y="72"/>
                    </a:moveTo>
                    <a:cubicBezTo>
                      <a:pt x="28" y="72"/>
                      <a:pt x="16" y="59"/>
                      <a:pt x="16" y="44"/>
                    </a:cubicBezTo>
                    <a:cubicBezTo>
                      <a:pt x="16" y="28"/>
                      <a:pt x="28" y="16"/>
                      <a:pt x="44" y="16"/>
                    </a:cubicBezTo>
                    <a:cubicBezTo>
                      <a:pt x="59" y="16"/>
                      <a:pt x="72" y="28"/>
                      <a:pt x="72" y="44"/>
                    </a:cubicBezTo>
                    <a:cubicBezTo>
                      <a:pt x="72" y="59"/>
                      <a:pt x="59" y="72"/>
                      <a:pt x="44" y="72"/>
                    </a:cubicBezTo>
                    <a:close/>
                    <a:moveTo>
                      <a:pt x="72" y="22"/>
                    </a:moveTo>
                    <a:cubicBezTo>
                      <a:pt x="68" y="22"/>
                      <a:pt x="65" y="19"/>
                      <a:pt x="65" y="16"/>
                    </a:cubicBezTo>
                    <a:cubicBezTo>
                      <a:pt x="65" y="12"/>
                      <a:pt x="68" y="9"/>
                      <a:pt x="72" y="9"/>
                    </a:cubicBezTo>
                    <a:cubicBezTo>
                      <a:pt x="75" y="9"/>
                      <a:pt x="78" y="12"/>
                      <a:pt x="78" y="16"/>
                    </a:cubicBezTo>
                    <a:cubicBezTo>
                      <a:pt x="78" y="19"/>
                      <a:pt x="75" y="22"/>
                      <a:pt x="7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68" name="Oval 95"/>
              <p:cNvSpPr>
                <a:spLocks noChangeArrowheads="1"/>
              </p:cNvSpPr>
              <p:nvPr/>
            </p:nvSpPr>
            <p:spPr bwMode="auto">
              <a:xfrm>
                <a:off x="8466138" y="4189413"/>
                <a:ext cx="58738" cy="619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69" name="Freeform 96">
                <a:hlinkClick r:id="rId14"/>
              </p:cNvPr>
              <p:cNvSpPr>
                <a:spLocks noEditPoints="1"/>
              </p:cNvSpPr>
              <p:nvPr/>
            </p:nvSpPr>
            <p:spPr bwMode="auto">
              <a:xfrm>
                <a:off x="8351838" y="4075113"/>
                <a:ext cx="287338" cy="292100"/>
              </a:xfrm>
              <a:custGeom>
                <a:avLst/>
                <a:gdLst>
                  <a:gd name="T0" fmla="*/ 82 w 164"/>
                  <a:gd name="T1" fmla="*/ 0 h 164"/>
                  <a:gd name="T2" fmla="*/ 0 w 164"/>
                  <a:gd name="T3" fmla="*/ 82 h 164"/>
                  <a:gd name="T4" fmla="*/ 82 w 164"/>
                  <a:gd name="T5" fmla="*/ 164 h 164"/>
                  <a:gd name="T6" fmla="*/ 164 w 164"/>
                  <a:gd name="T7" fmla="*/ 82 h 164"/>
                  <a:gd name="T8" fmla="*/ 82 w 164"/>
                  <a:gd name="T9" fmla="*/ 0 h 164"/>
                  <a:gd name="T10" fmla="*/ 136 w 164"/>
                  <a:gd name="T11" fmla="*/ 103 h 164"/>
                  <a:gd name="T12" fmla="*/ 104 w 164"/>
                  <a:gd name="T13" fmla="*/ 136 h 164"/>
                  <a:gd name="T14" fmla="*/ 60 w 164"/>
                  <a:gd name="T15" fmla="*/ 136 h 164"/>
                  <a:gd name="T16" fmla="*/ 27 w 164"/>
                  <a:gd name="T17" fmla="*/ 103 h 164"/>
                  <a:gd name="T18" fmla="*/ 27 w 164"/>
                  <a:gd name="T19" fmla="*/ 60 h 164"/>
                  <a:gd name="T20" fmla="*/ 60 w 164"/>
                  <a:gd name="T21" fmla="*/ 27 h 164"/>
                  <a:gd name="T22" fmla="*/ 104 w 164"/>
                  <a:gd name="T23" fmla="*/ 27 h 164"/>
                  <a:gd name="T24" fmla="*/ 136 w 164"/>
                  <a:gd name="T25" fmla="*/ 60 h 164"/>
                  <a:gd name="T26" fmla="*/ 136 w 164"/>
                  <a:gd name="T27" fmla="*/ 103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64" h="164">
                    <a:moveTo>
                      <a:pt x="82" y="0"/>
                    </a:moveTo>
                    <a:cubicBezTo>
                      <a:pt x="36" y="0"/>
                      <a:pt x="0" y="36"/>
                      <a:pt x="0" y="82"/>
                    </a:cubicBezTo>
                    <a:cubicBezTo>
                      <a:pt x="0" y="127"/>
                      <a:pt x="36" y="164"/>
                      <a:pt x="82" y="164"/>
                    </a:cubicBezTo>
                    <a:cubicBezTo>
                      <a:pt x="127" y="164"/>
                      <a:pt x="164" y="127"/>
                      <a:pt x="164" y="82"/>
                    </a:cubicBezTo>
                    <a:cubicBezTo>
                      <a:pt x="164" y="36"/>
                      <a:pt x="127" y="0"/>
                      <a:pt x="82" y="0"/>
                    </a:cubicBezTo>
                    <a:close/>
                    <a:moveTo>
                      <a:pt x="136" y="103"/>
                    </a:moveTo>
                    <a:cubicBezTo>
                      <a:pt x="136" y="121"/>
                      <a:pt x="121" y="136"/>
                      <a:pt x="104" y="136"/>
                    </a:cubicBezTo>
                    <a:cubicBezTo>
                      <a:pt x="60" y="136"/>
                      <a:pt x="60" y="136"/>
                      <a:pt x="60" y="136"/>
                    </a:cubicBezTo>
                    <a:cubicBezTo>
                      <a:pt x="42" y="136"/>
                      <a:pt x="27" y="121"/>
                      <a:pt x="27" y="103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7" y="42"/>
                      <a:pt x="42" y="27"/>
                      <a:pt x="60" y="27"/>
                    </a:cubicBezTo>
                    <a:cubicBezTo>
                      <a:pt x="104" y="27"/>
                      <a:pt x="104" y="27"/>
                      <a:pt x="104" y="27"/>
                    </a:cubicBezTo>
                    <a:cubicBezTo>
                      <a:pt x="121" y="27"/>
                      <a:pt x="136" y="42"/>
                      <a:pt x="136" y="60"/>
                    </a:cubicBezTo>
                    <a:lnTo>
                      <a:pt x="136" y="10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0" name="Freeform 111">
                <a:hlinkClick r:id="rId14"/>
              </p:cNvPr>
              <p:cNvSpPr>
                <a:spLocks noEditPoints="1"/>
              </p:cNvSpPr>
              <p:nvPr/>
            </p:nvSpPr>
            <p:spPr bwMode="auto">
              <a:xfrm>
                <a:off x="8418513" y="4143375"/>
                <a:ext cx="152400" cy="153987"/>
              </a:xfrm>
              <a:custGeom>
                <a:avLst/>
                <a:gdLst>
                  <a:gd name="T0" fmla="*/ 66 w 87"/>
                  <a:gd name="T1" fmla="*/ 0 h 87"/>
                  <a:gd name="T2" fmla="*/ 22 w 87"/>
                  <a:gd name="T3" fmla="*/ 0 h 87"/>
                  <a:gd name="T4" fmla="*/ 0 w 87"/>
                  <a:gd name="T5" fmla="*/ 22 h 87"/>
                  <a:gd name="T6" fmla="*/ 0 w 87"/>
                  <a:gd name="T7" fmla="*/ 65 h 87"/>
                  <a:gd name="T8" fmla="*/ 22 w 87"/>
                  <a:gd name="T9" fmla="*/ 87 h 87"/>
                  <a:gd name="T10" fmla="*/ 66 w 87"/>
                  <a:gd name="T11" fmla="*/ 87 h 87"/>
                  <a:gd name="T12" fmla="*/ 87 w 87"/>
                  <a:gd name="T13" fmla="*/ 65 h 87"/>
                  <a:gd name="T14" fmla="*/ 87 w 87"/>
                  <a:gd name="T15" fmla="*/ 22 h 87"/>
                  <a:gd name="T16" fmla="*/ 66 w 87"/>
                  <a:gd name="T17" fmla="*/ 0 h 87"/>
                  <a:gd name="T18" fmla="*/ 44 w 87"/>
                  <a:gd name="T19" fmla="*/ 72 h 87"/>
                  <a:gd name="T20" fmla="*/ 16 w 87"/>
                  <a:gd name="T21" fmla="*/ 44 h 87"/>
                  <a:gd name="T22" fmla="*/ 44 w 87"/>
                  <a:gd name="T23" fmla="*/ 16 h 87"/>
                  <a:gd name="T24" fmla="*/ 72 w 87"/>
                  <a:gd name="T25" fmla="*/ 44 h 87"/>
                  <a:gd name="T26" fmla="*/ 44 w 87"/>
                  <a:gd name="T27" fmla="*/ 72 h 87"/>
                  <a:gd name="T28" fmla="*/ 72 w 87"/>
                  <a:gd name="T29" fmla="*/ 22 h 87"/>
                  <a:gd name="T30" fmla="*/ 65 w 87"/>
                  <a:gd name="T31" fmla="*/ 16 h 87"/>
                  <a:gd name="T32" fmla="*/ 72 w 87"/>
                  <a:gd name="T33" fmla="*/ 9 h 87"/>
                  <a:gd name="T34" fmla="*/ 78 w 87"/>
                  <a:gd name="T35" fmla="*/ 16 h 87"/>
                  <a:gd name="T36" fmla="*/ 72 w 87"/>
                  <a:gd name="T37" fmla="*/ 22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87" h="87">
                    <a:moveTo>
                      <a:pt x="66" y="0"/>
                    </a:moveTo>
                    <a:cubicBezTo>
                      <a:pt x="22" y="0"/>
                      <a:pt x="22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0" y="77"/>
                      <a:pt x="10" y="87"/>
                      <a:pt x="22" y="87"/>
                    </a:cubicBezTo>
                    <a:cubicBezTo>
                      <a:pt x="66" y="87"/>
                      <a:pt x="66" y="87"/>
                      <a:pt x="66" y="87"/>
                    </a:cubicBezTo>
                    <a:cubicBezTo>
                      <a:pt x="77" y="87"/>
                      <a:pt x="87" y="77"/>
                      <a:pt x="87" y="65"/>
                    </a:cubicBezTo>
                    <a:cubicBezTo>
                      <a:pt x="87" y="22"/>
                      <a:pt x="87" y="22"/>
                      <a:pt x="87" y="22"/>
                    </a:cubicBezTo>
                    <a:cubicBezTo>
                      <a:pt x="87" y="10"/>
                      <a:pt x="77" y="0"/>
                      <a:pt x="66" y="0"/>
                    </a:cubicBezTo>
                    <a:close/>
                    <a:moveTo>
                      <a:pt x="44" y="72"/>
                    </a:moveTo>
                    <a:cubicBezTo>
                      <a:pt x="28" y="72"/>
                      <a:pt x="16" y="59"/>
                      <a:pt x="16" y="44"/>
                    </a:cubicBezTo>
                    <a:cubicBezTo>
                      <a:pt x="16" y="28"/>
                      <a:pt x="28" y="16"/>
                      <a:pt x="44" y="16"/>
                    </a:cubicBezTo>
                    <a:cubicBezTo>
                      <a:pt x="59" y="16"/>
                      <a:pt x="72" y="28"/>
                      <a:pt x="72" y="44"/>
                    </a:cubicBezTo>
                    <a:cubicBezTo>
                      <a:pt x="72" y="59"/>
                      <a:pt x="59" y="72"/>
                      <a:pt x="44" y="72"/>
                    </a:cubicBezTo>
                    <a:close/>
                    <a:moveTo>
                      <a:pt x="72" y="22"/>
                    </a:moveTo>
                    <a:cubicBezTo>
                      <a:pt x="68" y="22"/>
                      <a:pt x="65" y="19"/>
                      <a:pt x="65" y="16"/>
                    </a:cubicBezTo>
                    <a:cubicBezTo>
                      <a:pt x="65" y="12"/>
                      <a:pt x="68" y="9"/>
                      <a:pt x="72" y="9"/>
                    </a:cubicBezTo>
                    <a:cubicBezTo>
                      <a:pt x="75" y="9"/>
                      <a:pt x="78" y="12"/>
                      <a:pt x="78" y="16"/>
                    </a:cubicBezTo>
                    <a:cubicBezTo>
                      <a:pt x="78" y="19"/>
                      <a:pt x="75" y="22"/>
                      <a:pt x="72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  <p:sp>
            <p:nvSpPr>
              <p:cNvPr id="71" name="Oval 112">
                <a:hlinkClick r:id="rId14"/>
              </p:cNvPr>
              <p:cNvSpPr>
                <a:spLocks noChangeArrowheads="1"/>
              </p:cNvSpPr>
              <p:nvPr/>
            </p:nvSpPr>
            <p:spPr bwMode="auto">
              <a:xfrm>
                <a:off x="8466138" y="4189413"/>
                <a:ext cx="58738" cy="61912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IN" sz="2400"/>
              </a:p>
            </p:txBody>
          </p:sp>
        </p:grpSp>
        <p:pic>
          <p:nvPicPr>
            <p:cNvPr id="66" name="Picture 65">
              <a:hlinkClick r:id="rId15"/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8833766" y="4063921"/>
              <a:ext cx="285208" cy="28520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33013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dicting </a:t>
            </a:r>
            <a:r>
              <a:rPr lang="en-US" dirty="0" smtClean="0"/>
              <a:t>the Future </a:t>
            </a:r>
            <a:r>
              <a:rPr lang="en-US" dirty="0"/>
              <a:t>of HC Consultation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4</a:t>
            </a:fld>
            <a:endParaRPr lang="en-IN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57767" y="1299270"/>
            <a:ext cx="10676467" cy="3023326"/>
          </a:xfrm>
          <a:prstGeom prst="rect">
            <a:avLst/>
          </a:prstGeom>
        </p:spPr>
      </p:pic>
      <p:grpSp>
        <p:nvGrpSpPr>
          <p:cNvPr id="6" name="POWER_USER_ID_ICONS_Graph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775961" y="2405513"/>
            <a:ext cx="640078" cy="810840"/>
            <a:chOff x="959" y="1717"/>
            <a:chExt cx="2875" cy="3642"/>
          </a:xfrm>
          <a:solidFill>
            <a:srgbClr val="25CBE1"/>
          </a:solidFill>
        </p:grpSpPr>
        <p:sp>
          <p:nvSpPr>
            <p:cNvPr id="7" name="Rectangle 467"/>
            <p:cNvSpPr>
              <a:spLocks noChangeArrowheads="1"/>
            </p:cNvSpPr>
            <p:nvPr/>
          </p:nvSpPr>
          <p:spPr bwMode="auto">
            <a:xfrm>
              <a:off x="3496" y="2056"/>
              <a:ext cx="338" cy="330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" name="Rectangle 468"/>
            <p:cNvSpPr>
              <a:spLocks noChangeArrowheads="1"/>
            </p:cNvSpPr>
            <p:nvPr/>
          </p:nvSpPr>
          <p:spPr bwMode="auto">
            <a:xfrm>
              <a:off x="3073" y="2605"/>
              <a:ext cx="339" cy="275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9" name="Rectangle 469"/>
            <p:cNvSpPr>
              <a:spLocks noChangeArrowheads="1"/>
            </p:cNvSpPr>
            <p:nvPr/>
          </p:nvSpPr>
          <p:spPr bwMode="auto">
            <a:xfrm>
              <a:off x="2651" y="3157"/>
              <a:ext cx="338" cy="220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Rectangle 470"/>
            <p:cNvSpPr>
              <a:spLocks noChangeArrowheads="1"/>
            </p:cNvSpPr>
            <p:nvPr/>
          </p:nvSpPr>
          <p:spPr bwMode="auto">
            <a:xfrm>
              <a:off x="2228" y="3706"/>
              <a:ext cx="338" cy="165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Rectangle 471"/>
            <p:cNvSpPr>
              <a:spLocks noChangeArrowheads="1"/>
            </p:cNvSpPr>
            <p:nvPr/>
          </p:nvSpPr>
          <p:spPr bwMode="auto">
            <a:xfrm>
              <a:off x="1805" y="4258"/>
              <a:ext cx="338" cy="110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Rectangle 472"/>
            <p:cNvSpPr>
              <a:spLocks noChangeArrowheads="1"/>
            </p:cNvSpPr>
            <p:nvPr/>
          </p:nvSpPr>
          <p:spPr bwMode="auto">
            <a:xfrm>
              <a:off x="1382" y="4807"/>
              <a:ext cx="338" cy="55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Rectangle 473"/>
            <p:cNvSpPr>
              <a:spLocks noChangeArrowheads="1"/>
            </p:cNvSpPr>
            <p:nvPr/>
          </p:nvSpPr>
          <p:spPr bwMode="auto">
            <a:xfrm>
              <a:off x="959" y="5190"/>
              <a:ext cx="339" cy="169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Freeform 474"/>
            <p:cNvSpPr>
              <a:spLocks/>
            </p:cNvSpPr>
            <p:nvPr/>
          </p:nvSpPr>
          <p:spPr bwMode="auto">
            <a:xfrm>
              <a:off x="1044" y="1717"/>
              <a:ext cx="2050" cy="3175"/>
            </a:xfrm>
            <a:custGeom>
              <a:avLst/>
              <a:gdLst>
                <a:gd name="T0" fmla="*/ 588 w 606"/>
                <a:gd name="T1" fmla="*/ 0 h 937"/>
                <a:gd name="T2" fmla="*/ 500 w 606"/>
                <a:gd name="T3" fmla="*/ 78 h 937"/>
                <a:gd name="T4" fmla="*/ 546 w 606"/>
                <a:gd name="T5" fmla="*/ 67 h 937"/>
                <a:gd name="T6" fmla="*/ 300 w 606"/>
                <a:gd name="T7" fmla="*/ 525 h 937"/>
                <a:gd name="T8" fmla="*/ 0 w 606"/>
                <a:gd name="T9" fmla="*/ 937 h 937"/>
                <a:gd name="T10" fmla="*/ 187 w 606"/>
                <a:gd name="T11" fmla="*/ 712 h 937"/>
                <a:gd name="T12" fmla="*/ 578 w 606"/>
                <a:gd name="T13" fmla="*/ 76 h 937"/>
                <a:gd name="T14" fmla="*/ 606 w 606"/>
                <a:gd name="T15" fmla="*/ 121 h 937"/>
                <a:gd name="T16" fmla="*/ 588 w 606"/>
                <a:gd name="T17" fmla="*/ 0 h 9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06" h="937">
                  <a:moveTo>
                    <a:pt x="588" y="0"/>
                  </a:moveTo>
                  <a:lnTo>
                    <a:pt x="500" y="78"/>
                  </a:lnTo>
                  <a:lnTo>
                    <a:pt x="546" y="67"/>
                  </a:lnTo>
                  <a:cubicBezTo>
                    <a:pt x="483" y="213"/>
                    <a:pt x="393" y="384"/>
                    <a:pt x="300" y="525"/>
                  </a:cubicBezTo>
                  <a:cubicBezTo>
                    <a:pt x="225" y="637"/>
                    <a:pt x="15" y="907"/>
                    <a:pt x="0" y="937"/>
                  </a:cubicBezTo>
                  <a:cubicBezTo>
                    <a:pt x="0" y="937"/>
                    <a:pt x="99" y="824"/>
                    <a:pt x="187" y="712"/>
                  </a:cubicBezTo>
                  <a:cubicBezTo>
                    <a:pt x="375" y="475"/>
                    <a:pt x="450" y="337"/>
                    <a:pt x="578" y="76"/>
                  </a:cubicBezTo>
                  <a:lnTo>
                    <a:pt x="606" y="121"/>
                  </a:lnTo>
                  <a:lnTo>
                    <a:pt x="5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5" name="POWER_USER_ID_ICONS_Microscope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1936449" y="2399539"/>
            <a:ext cx="687981" cy="822788"/>
            <a:chOff x="95" y="66"/>
            <a:chExt cx="296" cy="354"/>
          </a:xfrm>
          <a:solidFill>
            <a:srgbClr val="FCAF1A"/>
          </a:solidFill>
        </p:grpSpPr>
        <p:sp>
          <p:nvSpPr>
            <p:cNvPr id="16" name="POWER_USER_ID_ICONS_Microscope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260" y="208"/>
              <a:ext cx="40" cy="28"/>
            </a:xfrm>
            <a:custGeom>
              <a:avLst/>
              <a:gdLst>
                <a:gd name="T0" fmla="*/ 0 w 107"/>
                <a:gd name="T1" fmla="*/ 52 h 74"/>
                <a:gd name="T2" fmla="*/ 95 w 107"/>
                <a:gd name="T3" fmla="*/ 0 h 74"/>
                <a:gd name="T4" fmla="*/ 107 w 107"/>
                <a:gd name="T5" fmla="*/ 23 h 74"/>
                <a:gd name="T6" fmla="*/ 12 w 107"/>
                <a:gd name="T7" fmla="*/ 74 h 74"/>
                <a:gd name="T8" fmla="*/ 0 w 107"/>
                <a:gd name="T9" fmla="*/ 5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74">
                  <a:moveTo>
                    <a:pt x="0" y="52"/>
                  </a:moveTo>
                  <a:lnTo>
                    <a:pt x="95" y="0"/>
                  </a:lnTo>
                  <a:lnTo>
                    <a:pt x="107" y="23"/>
                  </a:lnTo>
                  <a:lnTo>
                    <a:pt x="12" y="7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7" name="POWER_USER_ID_ICONS_Microscope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83" y="66"/>
              <a:ext cx="41" cy="28"/>
            </a:xfrm>
            <a:custGeom>
              <a:avLst/>
              <a:gdLst>
                <a:gd name="T0" fmla="*/ 96 w 108"/>
                <a:gd name="T1" fmla="*/ 0 h 73"/>
                <a:gd name="T2" fmla="*/ 108 w 108"/>
                <a:gd name="T3" fmla="*/ 22 h 73"/>
                <a:gd name="T4" fmla="*/ 12 w 108"/>
                <a:gd name="T5" fmla="*/ 73 h 73"/>
                <a:gd name="T6" fmla="*/ 0 w 108"/>
                <a:gd name="T7" fmla="*/ 51 h 73"/>
                <a:gd name="T8" fmla="*/ 96 w 108"/>
                <a:gd name="T9" fmla="*/ 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8" h="73">
                  <a:moveTo>
                    <a:pt x="96" y="0"/>
                  </a:moveTo>
                  <a:lnTo>
                    <a:pt x="108" y="22"/>
                  </a:lnTo>
                  <a:lnTo>
                    <a:pt x="12" y="73"/>
                  </a:lnTo>
                  <a:lnTo>
                    <a:pt x="0" y="51"/>
                  </a:lnTo>
                  <a:lnTo>
                    <a:pt x="9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8" name="POWER_USER_ID_ICONS_Microscope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60" y="208"/>
              <a:ext cx="40" cy="28"/>
            </a:xfrm>
            <a:custGeom>
              <a:avLst/>
              <a:gdLst>
                <a:gd name="T0" fmla="*/ 0 w 107"/>
                <a:gd name="T1" fmla="*/ 52 h 74"/>
                <a:gd name="T2" fmla="*/ 95 w 107"/>
                <a:gd name="T3" fmla="*/ 0 h 74"/>
                <a:gd name="T4" fmla="*/ 107 w 107"/>
                <a:gd name="T5" fmla="*/ 23 h 74"/>
                <a:gd name="T6" fmla="*/ 12 w 107"/>
                <a:gd name="T7" fmla="*/ 74 h 74"/>
                <a:gd name="T8" fmla="*/ 0 w 107"/>
                <a:gd name="T9" fmla="*/ 52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7" h="74">
                  <a:moveTo>
                    <a:pt x="0" y="52"/>
                  </a:moveTo>
                  <a:lnTo>
                    <a:pt x="95" y="0"/>
                  </a:lnTo>
                  <a:lnTo>
                    <a:pt x="107" y="23"/>
                  </a:lnTo>
                  <a:lnTo>
                    <a:pt x="12" y="74"/>
                  </a:lnTo>
                  <a:lnTo>
                    <a:pt x="0" y="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9" name="POWER_USER_ID_ICONS_Microscope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205" y="270"/>
              <a:ext cx="186" cy="13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0" name="POWER_USER_ID_ICONS_Microscope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04" y="403"/>
              <a:ext cx="139" cy="17"/>
            </a:xfrm>
            <a:custGeom>
              <a:avLst/>
              <a:gdLst>
                <a:gd name="T0" fmla="*/ 146 w 371"/>
                <a:gd name="T1" fmla="*/ 0 h 46"/>
                <a:gd name="T2" fmla="*/ 0 w 371"/>
                <a:gd name="T3" fmla="*/ 46 h 46"/>
                <a:gd name="T4" fmla="*/ 371 w 371"/>
                <a:gd name="T5" fmla="*/ 46 h 46"/>
                <a:gd name="T6" fmla="*/ 226 w 371"/>
                <a:gd name="T7" fmla="*/ 0 h 46"/>
                <a:gd name="T8" fmla="*/ 186 w 371"/>
                <a:gd name="T9" fmla="*/ 9 h 46"/>
                <a:gd name="T10" fmla="*/ 146 w 371"/>
                <a:gd name="T11" fmla="*/ 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71" h="46">
                  <a:moveTo>
                    <a:pt x="146" y="0"/>
                  </a:moveTo>
                  <a:lnTo>
                    <a:pt x="0" y="46"/>
                  </a:lnTo>
                  <a:lnTo>
                    <a:pt x="371" y="46"/>
                  </a:lnTo>
                  <a:lnTo>
                    <a:pt x="226" y="0"/>
                  </a:lnTo>
                  <a:cubicBezTo>
                    <a:pt x="214" y="6"/>
                    <a:pt x="200" y="9"/>
                    <a:pt x="186" y="9"/>
                  </a:cubicBezTo>
                  <a:cubicBezTo>
                    <a:pt x="171" y="9"/>
                    <a:pt x="158" y="6"/>
                    <a:pt x="14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POWER_USER_ID_ICONS_Microscope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64" y="340"/>
              <a:ext cx="14" cy="26"/>
            </a:xfrm>
            <a:custGeom>
              <a:avLst/>
              <a:gdLst>
                <a:gd name="T0" fmla="*/ 0 w 38"/>
                <a:gd name="T1" fmla="*/ 0 h 67"/>
                <a:gd name="T2" fmla="*/ 38 w 38"/>
                <a:gd name="T3" fmla="*/ 67 h 67"/>
                <a:gd name="T4" fmla="*/ 9 w 38"/>
                <a:gd name="T5" fmla="*/ 16 h 67"/>
                <a:gd name="T6" fmla="*/ 0 w 38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67">
                  <a:moveTo>
                    <a:pt x="0" y="0"/>
                  </a:moveTo>
                  <a:lnTo>
                    <a:pt x="38" y="67"/>
                  </a:lnTo>
                  <a:lnTo>
                    <a:pt x="9" y="1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POWER_USER_ID_ICONS_Microscope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95" y="76"/>
              <a:ext cx="271" cy="295"/>
            </a:xfrm>
            <a:custGeom>
              <a:avLst/>
              <a:gdLst>
                <a:gd name="T0" fmla="*/ 582 w 723"/>
                <a:gd name="T1" fmla="*/ 566 h 784"/>
                <a:gd name="T2" fmla="*/ 547 w 723"/>
                <a:gd name="T3" fmla="*/ 566 h 784"/>
                <a:gd name="T4" fmla="*/ 517 w 723"/>
                <a:gd name="T5" fmla="*/ 566 h 784"/>
                <a:gd name="T6" fmla="*/ 415 w 723"/>
                <a:gd name="T7" fmla="*/ 642 h 784"/>
                <a:gd name="T8" fmla="*/ 315 w 723"/>
                <a:gd name="T9" fmla="*/ 662 h 784"/>
                <a:gd name="T10" fmla="*/ 54 w 723"/>
                <a:gd name="T11" fmla="*/ 401 h 784"/>
                <a:gd name="T12" fmla="*/ 285 w 723"/>
                <a:gd name="T13" fmla="*/ 141 h 784"/>
                <a:gd name="T14" fmla="*/ 424 w 723"/>
                <a:gd name="T15" fmla="*/ 401 h 784"/>
                <a:gd name="T16" fmla="*/ 541 w 723"/>
                <a:gd name="T17" fmla="*/ 338 h 784"/>
                <a:gd name="T18" fmla="*/ 457 w 723"/>
                <a:gd name="T19" fmla="*/ 182 h 784"/>
                <a:gd name="T20" fmla="*/ 414 w 723"/>
                <a:gd name="T21" fmla="*/ 102 h 784"/>
                <a:gd name="T22" fmla="*/ 359 w 723"/>
                <a:gd name="T23" fmla="*/ 0 h 784"/>
                <a:gd name="T24" fmla="*/ 243 w 723"/>
                <a:gd name="T25" fmla="*/ 62 h 784"/>
                <a:gd name="T26" fmla="*/ 258 w 723"/>
                <a:gd name="T27" fmla="*/ 91 h 784"/>
                <a:gd name="T28" fmla="*/ 0 w 723"/>
                <a:gd name="T29" fmla="*/ 401 h 784"/>
                <a:gd name="T30" fmla="*/ 311 w 723"/>
                <a:gd name="T31" fmla="*/ 778 h 784"/>
                <a:gd name="T32" fmla="*/ 377 w 723"/>
                <a:gd name="T33" fmla="*/ 784 h 784"/>
                <a:gd name="T34" fmla="*/ 377 w 723"/>
                <a:gd name="T35" fmla="*/ 779 h 784"/>
                <a:gd name="T36" fmla="*/ 441 w 723"/>
                <a:gd name="T37" fmla="*/ 687 h 784"/>
                <a:gd name="T38" fmla="*/ 476 w 723"/>
                <a:gd name="T39" fmla="*/ 680 h 784"/>
                <a:gd name="T40" fmla="*/ 555 w 723"/>
                <a:gd name="T41" fmla="*/ 721 h 784"/>
                <a:gd name="T42" fmla="*/ 636 w 723"/>
                <a:gd name="T43" fmla="*/ 662 h 784"/>
                <a:gd name="T44" fmla="*/ 723 w 723"/>
                <a:gd name="T45" fmla="*/ 566 h 784"/>
                <a:gd name="T46" fmla="*/ 582 w 723"/>
                <a:gd name="T47" fmla="*/ 566 h 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3" h="784">
                  <a:moveTo>
                    <a:pt x="582" y="566"/>
                  </a:moveTo>
                  <a:lnTo>
                    <a:pt x="547" y="566"/>
                  </a:lnTo>
                  <a:lnTo>
                    <a:pt x="517" y="566"/>
                  </a:lnTo>
                  <a:cubicBezTo>
                    <a:pt x="489" y="599"/>
                    <a:pt x="454" y="625"/>
                    <a:pt x="415" y="642"/>
                  </a:cubicBezTo>
                  <a:cubicBezTo>
                    <a:pt x="384" y="655"/>
                    <a:pt x="350" y="662"/>
                    <a:pt x="315" y="662"/>
                  </a:cubicBezTo>
                  <a:cubicBezTo>
                    <a:pt x="171" y="662"/>
                    <a:pt x="54" y="545"/>
                    <a:pt x="54" y="401"/>
                  </a:cubicBezTo>
                  <a:cubicBezTo>
                    <a:pt x="54" y="267"/>
                    <a:pt x="155" y="156"/>
                    <a:pt x="285" y="141"/>
                  </a:cubicBezTo>
                  <a:lnTo>
                    <a:pt x="424" y="401"/>
                  </a:lnTo>
                  <a:lnTo>
                    <a:pt x="541" y="338"/>
                  </a:lnTo>
                  <a:lnTo>
                    <a:pt x="457" y="182"/>
                  </a:lnTo>
                  <a:lnTo>
                    <a:pt x="414" y="102"/>
                  </a:lnTo>
                  <a:lnTo>
                    <a:pt x="359" y="0"/>
                  </a:lnTo>
                  <a:lnTo>
                    <a:pt x="243" y="62"/>
                  </a:lnTo>
                  <a:lnTo>
                    <a:pt x="258" y="91"/>
                  </a:lnTo>
                  <a:cubicBezTo>
                    <a:pt x="111" y="118"/>
                    <a:pt x="0" y="246"/>
                    <a:pt x="0" y="401"/>
                  </a:cubicBezTo>
                  <a:cubicBezTo>
                    <a:pt x="0" y="574"/>
                    <a:pt x="140" y="744"/>
                    <a:pt x="311" y="778"/>
                  </a:cubicBezTo>
                  <a:cubicBezTo>
                    <a:pt x="329" y="782"/>
                    <a:pt x="353" y="784"/>
                    <a:pt x="377" y="784"/>
                  </a:cubicBezTo>
                  <a:cubicBezTo>
                    <a:pt x="377" y="783"/>
                    <a:pt x="377" y="781"/>
                    <a:pt x="377" y="779"/>
                  </a:cubicBezTo>
                  <a:cubicBezTo>
                    <a:pt x="377" y="737"/>
                    <a:pt x="404" y="701"/>
                    <a:pt x="441" y="687"/>
                  </a:cubicBezTo>
                  <a:cubicBezTo>
                    <a:pt x="452" y="683"/>
                    <a:pt x="463" y="680"/>
                    <a:pt x="476" y="680"/>
                  </a:cubicBezTo>
                  <a:cubicBezTo>
                    <a:pt x="508" y="680"/>
                    <a:pt x="537" y="696"/>
                    <a:pt x="555" y="721"/>
                  </a:cubicBezTo>
                  <a:lnTo>
                    <a:pt x="636" y="662"/>
                  </a:lnTo>
                  <a:lnTo>
                    <a:pt x="723" y="566"/>
                  </a:lnTo>
                  <a:lnTo>
                    <a:pt x="582" y="5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3" name="POWER_USER_ID_ICONS_Microscope"/>
            <p:cNvSpPr>
              <a:spLocks/>
            </p:cNvSpPr>
            <p:nvPr>
              <p:custDataLst>
                <p:tags r:id="rId13"/>
              </p:custDataLst>
            </p:nvPr>
          </p:nvSpPr>
          <p:spPr bwMode="auto">
            <a:xfrm>
              <a:off x="240" y="336"/>
              <a:ext cx="67" cy="67"/>
            </a:xfrm>
            <a:custGeom>
              <a:avLst/>
              <a:gdLst>
                <a:gd name="T0" fmla="*/ 162 w 179"/>
                <a:gd name="T1" fmla="*/ 36 h 179"/>
                <a:gd name="T2" fmla="*/ 162 w 179"/>
                <a:gd name="T3" fmla="*/ 36 h 179"/>
                <a:gd name="T4" fmla="*/ 155 w 179"/>
                <a:gd name="T5" fmla="*/ 28 h 179"/>
                <a:gd name="T6" fmla="*/ 150 w 179"/>
                <a:gd name="T7" fmla="*/ 23 h 179"/>
                <a:gd name="T8" fmla="*/ 144 w 179"/>
                <a:gd name="T9" fmla="*/ 18 h 179"/>
                <a:gd name="T10" fmla="*/ 136 w 179"/>
                <a:gd name="T11" fmla="*/ 13 h 179"/>
                <a:gd name="T12" fmla="*/ 127 w 179"/>
                <a:gd name="T13" fmla="*/ 8 h 179"/>
                <a:gd name="T14" fmla="*/ 123 w 179"/>
                <a:gd name="T15" fmla="*/ 6 h 179"/>
                <a:gd name="T16" fmla="*/ 109 w 179"/>
                <a:gd name="T17" fmla="*/ 2 h 179"/>
                <a:gd name="T18" fmla="*/ 106 w 179"/>
                <a:gd name="T19" fmla="*/ 1 h 179"/>
                <a:gd name="T20" fmla="*/ 90 w 179"/>
                <a:gd name="T21" fmla="*/ 0 h 179"/>
                <a:gd name="T22" fmla="*/ 0 w 179"/>
                <a:gd name="T23" fmla="*/ 89 h 179"/>
                <a:gd name="T24" fmla="*/ 1 w 179"/>
                <a:gd name="T25" fmla="*/ 94 h 179"/>
                <a:gd name="T26" fmla="*/ 1 w 179"/>
                <a:gd name="T27" fmla="*/ 94 h 179"/>
                <a:gd name="T28" fmla="*/ 50 w 179"/>
                <a:gd name="T29" fmla="*/ 169 h 179"/>
                <a:gd name="T30" fmla="*/ 56 w 179"/>
                <a:gd name="T31" fmla="*/ 172 h 179"/>
                <a:gd name="T32" fmla="*/ 64 w 179"/>
                <a:gd name="T33" fmla="*/ 175 h 179"/>
                <a:gd name="T34" fmla="*/ 90 w 179"/>
                <a:gd name="T35" fmla="*/ 179 h 179"/>
                <a:gd name="T36" fmla="*/ 116 w 179"/>
                <a:gd name="T37" fmla="*/ 175 h 179"/>
                <a:gd name="T38" fmla="*/ 123 w 179"/>
                <a:gd name="T39" fmla="*/ 172 h 179"/>
                <a:gd name="T40" fmla="*/ 129 w 179"/>
                <a:gd name="T41" fmla="*/ 169 h 179"/>
                <a:gd name="T42" fmla="*/ 179 w 179"/>
                <a:gd name="T43" fmla="*/ 89 h 179"/>
                <a:gd name="T44" fmla="*/ 162 w 179"/>
                <a:gd name="T45" fmla="*/ 36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179">
                  <a:moveTo>
                    <a:pt x="162" y="36"/>
                  </a:moveTo>
                  <a:lnTo>
                    <a:pt x="162" y="36"/>
                  </a:lnTo>
                  <a:cubicBezTo>
                    <a:pt x="160" y="34"/>
                    <a:pt x="158" y="31"/>
                    <a:pt x="155" y="28"/>
                  </a:cubicBezTo>
                  <a:cubicBezTo>
                    <a:pt x="153" y="26"/>
                    <a:pt x="152" y="25"/>
                    <a:pt x="150" y="23"/>
                  </a:cubicBezTo>
                  <a:cubicBezTo>
                    <a:pt x="148" y="21"/>
                    <a:pt x="146" y="20"/>
                    <a:pt x="144" y="18"/>
                  </a:cubicBezTo>
                  <a:cubicBezTo>
                    <a:pt x="141" y="16"/>
                    <a:pt x="139" y="15"/>
                    <a:pt x="136" y="13"/>
                  </a:cubicBezTo>
                  <a:cubicBezTo>
                    <a:pt x="134" y="11"/>
                    <a:pt x="131" y="9"/>
                    <a:pt x="127" y="8"/>
                  </a:cubicBezTo>
                  <a:cubicBezTo>
                    <a:pt x="126" y="7"/>
                    <a:pt x="124" y="7"/>
                    <a:pt x="123" y="6"/>
                  </a:cubicBezTo>
                  <a:cubicBezTo>
                    <a:pt x="119" y="4"/>
                    <a:pt x="114" y="3"/>
                    <a:pt x="109" y="2"/>
                  </a:cubicBezTo>
                  <a:cubicBezTo>
                    <a:pt x="108" y="2"/>
                    <a:pt x="107" y="1"/>
                    <a:pt x="106" y="1"/>
                  </a:cubicBezTo>
                  <a:cubicBezTo>
                    <a:pt x="101" y="0"/>
                    <a:pt x="95" y="0"/>
                    <a:pt x="90" y="0"/>
                  </a:cubicBezTo>
                  <a:cubicBezTo>
                    <a:pt x="40" y="0"/>
                    <a:pt x="0" y="40"/>
                    <a:pt x="0" y="89"/>
                  </a:cubicBezTo>
                  <a:cubicBezTo>
                    <a:pt x="0" y="91"/>
                    <a:pt x="0" y="93"/>
                    <a:pt x="1" y="94"/>
                  </a:cubicBezTo>
                  <a:lnTo>
                    <a:pt x="1" y="94"/>
                  </a:lnTo>
                  <a:cubicBezTo>
                    <a:pt x="2" y="127"/>
                    <a:pt x="22" y="155"/>
                    <a:pt x="50" y="169"/>
                  </a:cubicBezTo>
                  <a:cubicBezTo>
                    <a:pt x="52" y="170"/>
                    <a:pt x="54" y="171"/>
                    <a:pt x="56" y="172"/>
                  </a:cubicBezTo>
                  <a:cubicBezTo>
                    <a:pt x="59" y="173"/>
                    <a:pt x="61" y="174"/>
                    <a:pt x="64" y="175"/>
                  </a:cubicBezTo>
                  <a:cubicBezTo>
                    <a:pt x="72" y="177"/>
                    <a:pt x="81" y="179"/>
                    <a:pt x="90" y="179"/>
                  </a:cubicBezTo>
                  <a:cubicBezTo>
                    <a:pt x="99" y="179"/>
                    <a:pt x="108" y="177"/>
                    <a:pt x="116" y="175"/>
                  </a:cubicBezTo>
                  <a:cubicBezTo>
                    <a:pt x="118" y="174"/>
                    <a:pt x="121" y="173"/>
                    <a:pt x="123" y="172"/>
                  </a:cubicBezTo>
                  <a:cubicBezTo>
                    <a:pt x="125" y="171"/>
                    <a:pt x="127" y="170"/>
                    <a:pt x="129" y="169"/>
                  </a:cubicBezTo>
                  <a:cubicBezTo>
                    <a:pt x="159" y="155"/>
                    <a:pt x="179" y="124"/>
                    <a:pt x="179" y="89"/>
                  </a:cubicBezTo>
                  <a:cubicBezTo>
                    <a:pt x="179" y="69"/>
                    <a:pt x="173" y="51"/>
                    <a:pt x="162" y="3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24" name="POWER_USER_ID_ICONS_Magnet2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9482512" y="2410527"/>
            <a:ext cx="821943" cy="800813"/>
            <a:chOff x="44" y="46"/>
            <a:chExt cx="389" cy="379"/>
          </a:xfrm>
          <a:solidFill>
            <a:srgbClr val="EE2239"/>
          </a:solidFill>
        </p:grpSpPr>
        <p:sp>
          <p:nvSpPr>
            <p:cNvPr id="25" name="POWER_USER_ID_ICONS_Magnet2"/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auto">
            <a:xfrm>
              <a:off x="44" y="46"/>
              <a:ext cx="325" cy="323"/>
            </a:xfrm>
            <a:custGeom>
              <a:avLst/>
              <a:gdLst>
                <a:gd name="T0" fmla="*/ 545 w 864"/>
                <a:gd name="T1" fmla="*/ 740 h 859"/>
                <a:gd name="T2" fmla="*/ 232 w 864"/>
                <a:gd name="T3" fmla="*/ 524 h 859"/>
                <a:gd name="T4" fmla="*/ 170 w 864"/>
                <a:gd name="T5" fmla="*/ 394 h 859"/>
                <a:gd name="T6" fmla="*/ 234 w 864"/>
                <a:gd name="T7" fmla="*/ 231 h 859"/>
                <a:gd name="T8" fmla="*/ 388 w 864"/>
                <a:gd name="T9" fmla="*/ 167 h 859"/>
                <a:gd name="T10" fmla="*/ 528 w 864"/>
                <a:gd name="T11" fmla="*/ 229 h 859"/>
                <a:gd name="T12" fmla="*/ 743 w 864"/>
                <a:gd name="T13" fmla="*/ 541 h 859"/>
                <a:gd name="T14" fmla="*/ 757 w 864"/>
                <a:gd name="T15" fmla="*/ 550 h 859"/>
                <a:gd name="T16" fmla="*/ 772 w 864"/>
                <a:gd name="T17" fmla="*/ 544 h 859"/>
                <a:gd name="T18" fmla="*/ 856 w 864"/>
                <a:gd name="T19" fmla="*/ 460 h 859"/>
                <a:gd name="T20" fmla="*/ 859 w 864"/>
                <a:gd name="T21" fmla="*/ 437 h 859"/>
                <a:gd name="T22" fmla="*/ 634 w 864"/>
                <a:gd name="T23" fmla="*/ 111 h 859"/>
                <a:gd name="T24" fmla="*/ 378 w 864"/>
                <a:gd name="T25" fmla="*/ 0 h 859"/>
                <a:gd name="T26" fmla="*/ 114 w 864"/>
                <a:gd name="T27" fmla="*/ 107 h 859"/>
                <a:gd name="T28" fmla="*/ 113 w 864"/>
                <a:gd name="T29" fmla="*/ 108 h 859"/>
                <a:gd name="T30" fmla="*/ 111 w 864"/>
                <a:gd name="T31" fmla="*/ 110 h 859"/>
                <a:gd name="T32" fmla="*/ 111 w 864"/>
                <a:gd name="T33" fmla="*/ 111 h 859"/>
                <a:gd name="T34" fmla="*/ 3 w 864"/>
                <a:gd name="T35" fmla="*/ 384 h 859"/>
                <a:gd name="T36" fmla="*/ 114 w 864"/>
                <a:gd name="T37" fmla="*/ 631 h 859"/>
                <a:gd name="T38" fmla="*/ 440 w 864"/>
                <a:gd name="T39" fmla="*/ 856 h 859"/>
                <a:gd name="T40" fmla="*/ 450 w 864"/>
                <a:gd name="T41" fmla="*/ 859 h 859"/>
                <a:gd name="T42" fmla="*/ 463 w 864"/>
                <a:gd name="T43" fmla="*/ 853 h 859"/>
                <a:gd name="T44" fmla="*/ 548 w 864"/>
                <a:gd name="T45" fmla="*/ 769 h 859"/>
                <a:gd name="T46" fmla="*/ 553 w 864"/>
                <a:gd name="T47" fmla="*/ 754 h 859"/>
                <a:gd name="T48" fmla="*/ 545 w 864"/>
                <a:gd name="T49" fmla="*/ 740 h 859"/>
                <a:gd name="T50" fmla="*/ 40 w 864"/>
                <a:gd name="T51" fmla="*/ 383 h 859"/>
                <a:gd name="T52" fmla="*/ 139 w 864"/>
                <a:gd name="T53" fmla="*/ 136 h 859"/>
                <a:gd name="T54" fmla="*/ 378 w 864"/>
                <a:gd name="T55" fmla="*/ 37 h 859"/>
                <a:gd name="T56" fmla="*/ 606 w 864"/>
                <a:gd name="T57" fmla="*/ 136 h 859"/>
                <a:gd name="T58" fmla="*/ 691 w 864"/>
                <a:gd name="T59" fmla="*/ 249 h 859"/>
                <a:gd name="T60" fmla="*/ 632 w 864"/>
                <a:gd name="T61" fmla="*/ 308 h 859"/>
                <a:gd name="T62" fmla="*/ 556 w 864"/>
                <a:gd name="T63" fmla="*/ 205 h 859"/>
                <a:gd name="T64" fmla="*/ 388 w 864"/>
                <a:gd name="T65" fmla="*/ 129 h 859"/>
                <a:gd name="T66" fmla="*/ 207 w 864"/>
                <a:gd name="T67" fmla="*/ 204 h 859"/>
                <a:gd name="T68" fmla="*/ 133 w 864"/>
                <a:gd name="T69" fmla="*/ 396 h 859"/>
                <a:gd name="T70" fmla="*/ 208 w 864"/>
                <a:gd name="T71" fmla="*/ 553 h 859"/>
                <a:gd name="T72" fmla="*/ 311 w 864"/>
                <a:gd name="T73" fmla="*/ 629 h 859"/>
                <a:gd name="T74" fmla="*/ 252 w 864"/>
                <a:gd name="T75" fmla="*/ 687 h 859"/>
                <a:gd name="T76" fmla="*/ 139 w 864"/>
                <a:gd name="T77" fmla="*/ 603 h 859"/>
                <a:gd name="T78" fmla="*/ 40 w 864"/>
                <a:gd name="T79" fmla="*/ 383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864" h="859">
                  <a:moveTo>
                    <a:pt x="545" y="740"/>
                  </a:moveTo>
                  <a:cubicBezTo>
                    <a:pt x="542" y="738"/>
                    <a:pt x="304" y="584"/>
                    <a:pt x="232" y="524"/>
                  </a:cubicBezTo>
                  <a:cubicBezTo>
                    <a:pt x="195" y="493"/>
                    <a:pt x="172" y="447"/>
                    <a:pt x="170" y="394"/>
                  </a:cubicBezTo>
                  <a:cubicBezTo>
                    <a:pt x="167" y="335"/>
                    <a:pt x="191" y="274"/>
                    <a:pt x="234" y="231"/>
                  </a:cubicBezTo>
                  <a:cubicBezTo>
                    <a:pt x="275" y="190"/>
                    <a:pt x="331" y="167"/>
                    <a:pt x="388" y="167"/>
                  </a:cubicBezTo>
                  <a:cubicBezTo>
                    <a:pt x="444" y="167"/>
                    <a:pt x="494" y="189"/>
                    <a:pt x="528" y="229"/>
                  </a:cubicBezTo>
                  <a:cubicBezTo>
                    <a:pt x="587" y="301"/>
                    <a:pt x="741" y="539"/>
                    <a:pt x="743" y="541"/>
                  </a:cubicBezTo>
                  <a:cubicBezTo>
                    <a:pt x="746" y="546"/>
                    <a:pt x="751" y="549"/>
                    <a:pt x="757" y="550"/>
                  </a:cubicBezTo>
                  <a:cubicBezTo>
                    <a:pt x="762" y="551"/>
                    <a:pt x="768" y="549"/>
                    <a:pt x="772" y="544"/>
                  </a:cubicBezTo>
                  <a:lnTo>
                    <a:pt x="856" y="460"/>
                  </a:lnTo>
                  <a:cubicBezTo>
                    <a:pt x="862" y="454"/>
                    <a:pt x="864" y="444"/>
                    <a:pt x="859" y="437"/>
                  </a:cubicBezTo>
                  <a:cubicBezTo>
                    <a:pt x="852" y="427"/>
                    <a:pt x="700" y="183"/>
                    <a:pt x="634" y="111"/>
                  </a:cubicBezTo>
                  <a:cubicBezTo>
                    <a:pt x="569" y="39"/>
                    <a:pt x="478" y="0"/>
                    <a:pt x="378" y="0"/>
                  </a:cubicBezTo>
                  <a:cubicBezTo>
                    <a:pt x="280" y="0"/>
                    <a:pt x="184" y="39"/>
                    <a:pt x="114" y="107"/>
                  </a:cubicBezTo>
                  <a:cubicBezTo>
                    <a:pt x="114" y="108"/>
                    <a:pt x="114" y="108"/>
                    <a:pt x="113" y="108"/>
                  </a:cubicBezTo>
                  <a:lnTo>
                    <a:pt x="111" y="110"/>
                  </a:lnTo>
                  <a:cubicBezTo>
                    <a:pt x="111" y="111"/>
                    <a:pt x="111" y="111"/>
                    <a:pt x="111" y="111"/>
                  </a:cubicBezTo>
                  <a:cubicBezTo>
                    <a:pt x="40" y="184"/>
                    <a:pt x="0" y="283"/>
                    <a:pt x="3" y="384"/>
                  </a:cubicBezTo>
                  <a:cubicBezTo>
                    <a:pt x="5" y="481"/>
                    <a:pt x="45" y="568"/>
                    <a:pt x="114" y="631"/>
                  </a:cubicBezTo>
                  <a:cubicBezTo>
                    <a:pt x="186" y="696"/>
                    <a:pt x="430" y="849"/>
                    <a:pt x="440" y="856"/>
                  </a:cubicBezTo>
                  <a:cubicBezTo>
                    <a:pt x="443" y="858"/>
                    <a:pt x="447" y="859"/>
                    <a:pt x="450" y="859"/>
                  </a:cubicBezTo>
                  <a:cubicBezTo>
                    <a:pt x="455" y="859"/>
                    <a:pt x="460" y="857"/>
                    <a:pt x="463" y="853"/>
                  </a:cubicBezTo>
                  <a:lnTo>
                    <a:pt x="548" y="769"/>
                  </a:lnTo>
                  <a:cubicBezTo>
                    <a:pt x="552" y="765"/>
                    <a:pt x="554" y="759"/>
                    <a:pt x="553" y="754"/>
                  </a:cubicBezTo>
                  <a:cubicBezTo>
                    <a:pt x="552" y="748"/>
                    <a:pt x="549" y="743"/>
                    <a:pt x="545" y="740"/>
                  </a:cubicBezTo>
                  <a:close/>
                  <a:moveTo>
                    <a:pt x="40" y="383"/>
                  </a:moveTo>
                  <a:cubicBezTo>
                    <a:pt x="38" y="291"/>
                    <a:pt x="74" y="201"/>
                    <a:pt x="139" y="136"/>
                  </a:cubicBezTo>
                  <a:cubicBezTo>
                    <a:pt x="202" y="73"/>
                    <a:pt x="289" y="37"/>
                    <a:pt x="378" y="37"/>
                  </a:cubicBezTo>
                  <a:cubicBezTo>
                    <a:pt x="467" y="37"/>
                    <a:pt x="548" y="72"/>
                    <a:pt x="606" y="136"/>
                  </a:cubicBezTo>
                  <a:cubicBezTo>
                    <a:pt x="627" y="159"/>
                    <a:pt x="658" y="202"/>
                    <a:pt x="691" y="249"/>
                  </a:cubicBezTo>
                  <a:lnTo>
                    <a:pt x="632" y="308"/>
                  </a:lnTo>
                  <a:cubicBezTo>
                    <a:pt x="603" y="266"/>
                    <a:pt x="575" y="228"/>
                    <a:pt x="556" y="205"/>
                  </a:cubicBezTo>
                  <a:cubicBezTo>
                    <a:pt x="515" y="156"/>
                    <a:pt x="456" y="129"/>
                    <a:pt x="388" y="129"/>
                  </a:cubicBezTo>
                  <a:cubicBezTo>
                    <a:pt x="321" y="129"/>
                    <a:pt x="255" y="156"/>
                    <a:pt x="207" y="204"/>
                  </a:cubicBezTo>
                  <a:cubicBezTo>
                    <a:pt x="157" y="254"/>
                    <a:pt x="129" y="326"/>
                    <a:pt x="133" y="396"/>
                  </a:cubicBezTo>
                  <a:cubicBezTo>
                    <a:pt x="135" y="459"/>
                    <a:pt x="162" y="515"/>
                    <a:pt x="208" y="553"/>
                  </a:cubicBezTo>
                  <a:cubicBezTo>
                    <a:pt x="231" y="572"/>
                    <a:pt x="269" y="600"/>
                    <a:pt x="311" y="629"/>
                  </a:cubicBezTo>
                  <a:lnTo>
                    <a:pt x="252" y="687"/>
                  </a:lnTo>
                  <a:cubicBezTo>
                    <a:pt x="205" y="655"/>
                    <a:pt x="162" y="624"/>
                    <a:pt x="139" y="603"/>
                  </a:cubicBezTo>
                  <a:cubicBezTo>
                    <a:pt x="78" y="547"/>
                    <a:pt x="43" y="469"/>
                    <a:pt x="40" y="38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6" name="POWER_USER_ID_ICONS_Magnet2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307" y="324"/>
              <a:ext cx="126" cy="101"/>
            </a:xfrm>
            <a:custGeom>
              <a:avLst/>
              <a:gdLst>
                <a:gd name="T0" fmla="*/ 320 w 334"/>
                <a:gd name="T1" fmla="*/ 234 h 270"/>
                <a:gd name="T2" fmla="*/ 170 w 334"/>
                <a:gd name="T3" fmla="*/ 172 h 270"/>
                <a:gd name="T4" fmla="*/ 228 w 334"/>
                <a:gd name="T5" fmla="*/ 88 h 270"/>
                <a:gd name="T6" fmla="*/ 231 w 334"/>
                <a:gd name="T7" fmla="*/ 71 h 270"/>
                <a:gd name="T8" fmla="*/ 218 w 334"/>
                <a:gd name="T9" fmla="*/ 59 h 270"/>
                <a:gd name="T10" fmla="*/ 27 w 334"/>
                <a:gd name="T11" fmla="*/ 3 h 270"/>
                <a:gd name="T12" fmla="*/ 3 w 334"/>
                <a:gd name="T13" fmla="*/ 16 h 270"/>
                <a:gd name="T14" fmla="*/ 16 w 334"/>
                <a:gd name="T15" fmla="*/ 39 h 270"/>
                <a:gd name="T16" fmla="*/ 183 w 334"/>
                <a:gd name="T17" fmla="*/ 88 h 270"/>
                <a:gd name="T18" fmla="*/ 125 w 334"/>
                <a:gd name="T19" fmla="*/ 169 h 270"/>
                <a:gd name="T20" fmla="*/ 123 w 334"/>
                <a:gd name="T21" fmla="*/ 185 h 270"/>
                <a:gd name="T22" fmla="*/ 134 w 334"/>
                <a:gd name="T23" fmla="*/ 197 h 270"/>
                <a:gd name="T24" fmla="*/ 306 w 334"/>
                <a:gd name="T25" fmla="*/ 268 h 270"/>
                <a:gd name="T26" fmla="*/ 313 w 334"/>
                <a:gd name="T27" fmla="*/ 270 h 270"/>
                <a:gd name="T28" fmla="*/ 330 w 334"/>
                <a:gd name="T29" fmla="*/ 258 h 270"/>
                <a:gd name="T30" fmla="*/ 320 w 334"/>
                <a:gd name="T31" fmla="*/ 234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334" h="270">
                  <a:moveTo>
                    <a:pt x="320" y="234"/>
                  </a:moveTo>
                  <a:lnTo>
                    <a:pt x="170" y="172"/>
                  </a:lnTo>
                  <a:lnTo>
                    <a:pt x="228" y="88"/>
                  </a:lnTo>
                  <a:cubicBezTo>
                    <a:pt x="232" y="83"/>
                    <a:pt x="233" y="77"/>
                    <a:pt x="231" y="71"/>
                  </a:cubicBezTo>
                  <a:cubicBezTo>
                    <a:pt x="229" y="66"/>
                    <a:pt x="224" y="61"/>
                    <a:pt x="218" y="59"/>
                  </a:cubicBezTo>
                  <a:lnTo>
                    <a:pt x="27" y="3"/>
                  </a:lnTo>
                  <a:cubicBezTo>
                    <a:pt x="17" y="0"/>
                    <a:pt x="6" y="6"/>
                    <a:pt x="3" y="16"/>
                  </a:cubicBezTo>
                  <a:cubicBezTo>
                    <a:pt x="0" y="26"/>
                    <a:pt x="6" y="36"/>
                    <a:pt x="16" y="39"/>
                  </a:cubicBezTo>
                  <a:lnTo>
                    <a:pt x="183" y="88"/>
                  </a:lnTo>
                  <a:lnTo>
                    <a:pt x="125" y="169"/>
                  </a:lnTo>
                  <a:cubicBezTo>
                    <a:pt x="122" y="174"/>
                    <a:pt x="121" y="180"/>
                    <a:pt x="123" y="185"/>
                  </a:cubicBezTo>
                  <a:cubicBezTo>
                    <a:pt x="124" y="191"/>
                    <a:pt x="128" y="195"/>
                    <a:pt x="134" y="197"/>
                  </a:cubicBezTo>
                  <a:lnTo>
                    <a:pt x="306" y="268"/>
                  </a:lnTo>
                  <a:cubicBezTo>
                    <a:pt x="308" y="269"/>
                    <a:pt x="311" y="270"/>
                    <a:pt x="313" y="270"/>
                  </a:cubicBezTo>
                  <a:cubicBezTo>
                    <a:pt x="320" y="270"/>
                    <a:pt x="327" y="265"/>
                    <a:pt x="330" y="258"/>
                  </a:cubicBezTo>
                  <a:cubicBezTo>
                    <a:pt x="334" y="248"/>
                    <a:pt x="330" y="238"/>
                    <a:pt x="320" y="23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7" name="Rectangle 26"/>
          <p:cNvSpPr/>
          <p:nvPr/>
        </p:nvSpPr>
        <p:spPr bwMode="auto">
          <a:xfrm>
            <a:off x="901981" y="4705593"/>
            <a:ext cx="2742972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en-IN" sz="2000" b="1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Understanding </a:t>
            </a:r>
            <a:r>
              <a:rPr lang="en-IN" sz="20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the current </a:t>
            </a:r>
            <a:r>
              <a:rPr lang="en-IN" sz="2000" b="1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consultation </a:t>
            </a:r>
            <a:r>
              <a:rPr lang="en-IN" sz="20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behaviour </a:t>
            </a:r>
            <a:r>
              <a:rPr lang="en-IN" sz="2000" b="1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of the people</a:t>
            </a:r>
          </a:p>
        </p:txBody>
      </p:sp>
      <p:sp>
        <p:nvSpPr>
          <p:cNvPr id="28" name="Rectangle 27"/>
          <p:cNvSpPr/>
          <p:nvPr/>
        </p:nvSpPr>
        <p:spPr bwMode="auto">
          <a:xfrm>
            <a:off x="8963624" y="4705593"/>
            <a:ext cx="2149196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en-IN" sz="20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Traction towards travel consultation</a:t>
            </a:r>
            <a:endParaRPr lang="en-IN" sz="2000" b="1" kern="0" dirty="0">
              <a:solidFill>
                <a:sysClr val="windowText" lastClr="000000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4671767" y="4705593"/>
            <a:ext cx="2858585" cy="9026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8900" tIns="38100" rIns="88900" bIns="38100" rtlCol="0" anchor="ctr"/>
          <a:lstStyle/>
          <a:p>
            <a:pPr lvl="0" algn="ctr" fontAlgn="base">
              <a:lnSpc>
                <a:spcPct val="90000"/>
              </a:lnSpc>
              <a:defRPr/>
            </a:pPr>
            <a:r>
              <a:rPr lang="en-IN" sz="2000" b="1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Understanding </a:t>
            </a:r>
            <a:r>
              <a:rPr lang="en-IN" sz="20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the future </a:t>
            </a:r>
            <a:r>
              <a:rPr lang="en-IN" sz="2000" b="1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consultation </a:t>
            </a:r>
            <a:r>
              <a:rPr lang="en-IN" sz="2000" b="1" kern="0" dirty="0" smtClean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behaviour </a:t>
            </a:r>
            <a:r>
              <a:rPr lang="en-IN" sz="2000" b="1" kern="0" dirty="0">
                <a:solidFill>
                  <a:sysClr val="windowText" lastClr="000000"/>
                </a:solidFill>
                <a:latin typeface="Calibri" panose="020F0502020204030204" pitchFamily="34" charset="0"/>
                <a:cs typeface="Arial" pitchFamily="34" charset="0"/>
              </a:rPr>
              <a:t>of the people</a:t>
            </a:r>
          </a:p>
        </p:txBody>
      </p:sp>
    </p:spTree>
    <p:extLst>
      <p:ext uri="{BB962C8B-B14F-4D97-AF65-F5344CB8AC3E}">
        <p14:creationId xmlns:p14="http://schemas.microsoft.com/office/powerpoint/2010/main" val="998703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4435" y="279050"/>
            <a:ext cx="10310820" cy="418576"/>
          </a:xfrm>
        </p:spPr>
        <p:txBody>
          <a:bodyPr/>
          <a:lstStyle/>
          <a:p>
            <a:r>
              <a:rPr lang="en-US" dirty="0"/>
              <a:t>10 MARKETS </a:t>
            </a:r>
            <a:r>
              <a:rPr lang="en-US" dirty="0" smtClean="0"/>
              <a:t>AND 3,000 </a:t>
            </a:r>
            <a:r>
              <a:rPr lang="en-US" dirty="0"/>
              <a:t>PEOPLE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5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0" y="3303477"/>
            <a:ext cx="2971031" cy="337979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6" name="Rectangle 5"/>
          <p:cNvSpPr/>
          <p:nvPr/>
        </p:nvSpPr>
        <p:spPr>
          <a:xfrm>
            <a:off x="0" y="2844940"/>
            <a:ext cx="2971031" cy="36933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solidFill>
              <a:schemeClr val="accent4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chemeClr val="accent4">
                    <a:lumMod val="50000"/>
                  </a:schemeClr>
                </a:solidFill>
              </a:rPr>
              <a:t>FIELDWORK </a:t>
            </a:r>
            <a:r>
              <a:rPr lang="en-US" dirty="0" smtClean="0">
                <a:solidFill>
                  <a:schemeClr val="accent4">
                    <a:lumMod val="50000"/>
                  </a:schemeClr>
                </a:solidFill>
              </a:rPr>
              <a:t>PERIOD</a:t>
            </a:r>
            <a:endParaRPr lang="en-US" dirty="0">
              <a:solidFill>
                <a:schemeClr val="accent4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3143" y="3323554"/>
            <a:ext cx="2856337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U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MX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K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UA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I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IND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DE</a:t>
            </a:r>
          </a:p>
          <a:p>
            <a:pPr algn="ctr"/>
            <a:endParaRPr lang="en-US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ctr"/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18</a:t>
            </a:r>
            <a:r>
              <a:rPr lang="en-US" baseline="30000" dirty="0" smtClean="0">
                <a:solidFill>
                  <a:schemeClr val="accent5">
                    <a:lumMod val="50000"/>
                  </a:schemeClr>
                </a:solidFill>
              </a:rPr>
              <a:t>th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 – 22</a:t>
            </a:r>
            <a:r>
              <a:rPr lang="en-US" baseline="30000" dirty="0" smtClean="0">
                <a:solidFill>
                  <a:schemeClr val="accent5">
                    <a:lumMod val="50000"/>
                  </a:schemeClr>
                </a:solidFill>
              </a:rPr>
              <a:t>nd</a:t>
            </a:r>
            <a:r>
              <a:rPr lang="en-US" dirty="0" smtClean="0">
                <a:solidFill>
                  <a:schemeClr val="accent5">
                    <a:lumMod val="50000"/>
                  </a:schemeClr>
                </a:solidFill>
              </a:rPr>
              <a:t> MAY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p:txBody>
      </p:sp>
      <p:grpSp>
        <p:nvGrpSpPr>
          <p:cNvPr id="185" name="Group 184"/>
          <p:cNvGrpSpPr/>
          <p:nvPr/>
        </p:nvGrpSpPr>
        <p:grpSpPr>
          <a:xfrm>
            <a:off x="3158067" y="605193"/>
            <a:ext cx="8077200" cy="6083690"/>
            <a:chOff x="3062287" y="358242"/>
            <a:chExt cx="8494713" cy="6398158"/>
          </a:xfrm>
        </p:grpSpPr>
        <p:sp>
          <p:nvSpPr>
            <p:cNvPr id="8" name="AutoShape 166"/>
            <p:cNvSpPr>
              <a:spLocks noChangeAspect="1" noChangeArrowheads="1" noTextEdit="1"/>
            </p:cNvSpPr>
            <p:nvPr/>
          </p:nvSpPr>
          <p:spPr bwMode="auto">
            <a:xfrm>
              <a:off x="3062287" y="513213"/>
              <a:ext cx="8483600" cy="6237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168"/>
            <p:cNvSpPr>
              <a:spLocks noEditPoints="1"/>
            </p:cNvSpPr>
            <p:nvPr/>
          </p:nvSpPr>
          <p:spPr bwMode="auto">
            <a:xfrm>
              <a:off x="5476875" y="3246438"/>
              <a:ext cx="1352550" cy="830263"/>
            </a:xfrm>
            <a:custGeom>
              <a:avLst/>
              <a:gdLst>
                <a:gd name="T0" fmla="*/ 319 w 471"/>
                <a:gd name="T1" fmla="*/ 167 h 289"/>
                <a:gd name="T2" fmla="*/ 334 w 471"/>
                <a:gd name="T3" fmla="*/ 161 h 289"/>
                <a:gd name="T4" fmla="*/ 376 w 471"/>
                <a:gd name="T5" fmla="*/ 173 h 289"/>
                <a:gd name="T6" fmla="*/ 368 w 471"/>
                <a:gd name="T7" fmla="*/ 156 h 289"/>
                <a:gd name="T8" fmla="*/ 384 w 471"/>
                <a:gd name="T9" fmla="*/ 161 h 289"/>
                <a:gd name="T10" fmla="*/ 376 w 471"/>
                <a:gd name="T11" fmla="*/ 145 h 289"/>
                <a:gd name="T12" fmla="*/ 391 w 471"/>
                <a:gd name="T13" fmla="*/ 101 h 289"/>
                <a:gd name="T14" fmla="*/ 425 w 471"/>
                <a:gd name="T15" fmla="*/ 98 h 289"/>
                <a:gd name="T16" fmla="*/ 395 w 471"/>
                <a:gd name="T17" fmla="*/ 82 h 289"/>
                <a:gd name="T18" fmla="*/ 418 w 471"/>
                <a:gd name="T19" fmla="*/ 76 h 289"/>
                <a:gd name="T20" fmla="*/ 414 w 471"/>
                <a:gd name="T21" fmla="*/ 60 h 289"/>
                <a:gd name="T22" fmla="*/ 437 w 471"/>
                <a:gd name="T23" fmla="*/ 51 h 289"/>
                <a:gd name="T24" fmla="*/ 467 w 471"/>
                <a:gd name="T25" fmla="*/ 46 h 289"/>
                <a:gd name="T26" fmla="*/ 448 w 471"/>
                <a:gd name="T27" fmla="*/ 37 h 289"/>
                <a:gd name="T28" fmla="*/ 429 w 471"/>
                <a:gd name="T29" fmla="*/ 29 h 289"/>
                <a:gd name="T30" fmla="*/ 387 w 471"/>
                <a:gd name="T31" fmla="*/ 35 h 289"/>
                <a:gd name="T32" fmla="*/ 425 w 471"/>
                <a:gd name="T33" fmla="*/ 15 h 289"/>
                <a:gd name="T34" fmla="*/ 380 w 471"/>
                <a:gd name="T35" fmla="*/ 7 h 289"/>
                <a:gd name="T36" fmla="*/ 346 w 471"/>
                <a:gd name="T37" fmla="*/ 7 h 289"/>
                <a:gd name="T38" fmla="*/ 327 w 471"/>
                <a:gd name="T39" fmla="*/ 2 h 289"/>
                <a:gd name="T40" fmla="*/ 258 w 471"/>
                <a:gd name="T41" fmla="*/ 7 h 289"/>
                <a:gd name="T42" fmla="*/ 213 w 471"/>
                <a:gd name="T43" fmla="*/ 13 h 289"/>
                <a:gd name="T44" fmla="*/ 216 w 471"/>
                <a:gd name="T45" fmla="*/ 32 h 289"/>
                <a:gd name="T46" fmla="*/ 148 w 471"/>
                <a:gd name="T47" fmla="*/ 29 h 289"/>
                <a:gd name="T48" fmla="*/ 53 w 471"/>
                <a:gd name="T49" fmla="*/ 54 h 289"/>
                <a:gd name="T50" fmla="*/ 68 w 471"/>
                <a:gd name="T51" fmla="*/ 65 h 289"/>
                <a:gd name="T52" fmla="*/ 27 w 471"/>
                <a:gd name="T53" fmla="*/ 79 h 289"/>
                <a:gd name="T54" fmla="*/ 0 w 471"/>
                <a:gd name="T55" fmla="*/ 87 h 289"/>
                <a:gd name="T56" fmla="*/ 19 w 471"/>
                <a:gd name="T57" fmla="*/ 93 h 289"/>
                <a:gd name="T58" fmla="*/ 38 w 471"/>
                <a:gd name="T59" fmla="*/ 93 h 289"/>
                <a:gd name="T60" fmla="*/ 65 w 471"/>
                <a:gd name="T61" fmla="*/ 95 h 289"/>
                <a:gd name="T62" fmla="*/ 15 w 471"/>
                <a:gd name="T63" fmla="*/ 98 h 289"/>
                <a:gd name="T64" fmla="*/ 46 w 471"/>
                <a:gd name="T65" fmla="*/ 115 h 289"/>
                <a:gd name="T66" fmla="*/ 65 w 471"/>
                <a:gd name="T67" fmla="*/ 109 h 289"/>
                <a:gd name="T68" fmla="*/ 110 w 471"/>
                <a:gd name="T69" fmla="*/ 117 h 289"/>
                <a:gd name="T70" fmla="*/ 118 w 471"/>
                <a:gd name="T71" fmla="*/ 142 h 289"/>
                <a:gd name="T72" fmla="*/ 114 w 471"/>
                <a:gd name="T73" fmla="*/ 161 h 289"/>
                <a:gd name="T74" fmla="*/ 141 w 471"/>
                <a:gd name="T75" fmla="*/ 159 h 289"/>
                <a:gd name="T76" fmla="*/ 118 w 471"/>
                <a:gd name="T77" fmla="*/ 167 h 289"/>
                <a:gd name="T78" fmla="*/ 152 w 471"/>
                <a:gd name="T79" fmla="*/ 186 h 289"/>
                <a:gd name="T80" fmla="*/ 125 w 471"/>
                <a:gd name="T81" fmla="*/ 200 h 289"/>
                <a:gd name="T82" fmla="*/ 118 w 471"/>
                <a:gd name="T83" fmla="*/ 214 h 289"/>
                <a:gd name="T84" fmla="*/ 144 w 471"/>
                <a:gd name="T85" fmla="*/ 277 h 289"/>
                <a:gd name="T86" fmla="*/ 171 w 471"/>
                <a:gd name="T87" fmla="*/ 277 h 289"/>
                <a:gd name="T88" fmla="*/ 190 w 471"/>
                <a:gd name="T89" fmla="*/ 288 h 289"/>
                <a:gd name="T90" fmla="*/ 205 w 471"/>
                <a:gd name="T91" fmla="*/ 274 h 289"/>
                <a:gd name="T92" fmla="*/ 220 w 471"/>
                <a:gd name="T93" fmla="*/ 233 h 289"/>
                <a:gd name="T94" fmla="*/ 235 w 471"/>
                <a:gd name="T95" fmla="*/ 222 h 289"/>
                <a:gd name="T96" fmla="*/ 266 w 471"/>
                <a:gd name="T97" fmla="*/ 222 h 289"/>
                <a:gd name="T98" fmla="*/ 285 w 471"/>
                <a:gd name="T99" fmla="*/ 211 h 289"/>
                <a:gd name="T100" fmla="*/ 330 w 471"/>
                <a:gd name="T101" fmla="*/ 195 h 289"/>
                <a:gd name="T102" fmla="*/ 353 w 471"/>
                <a:gd name="T103" fmla="*/ 173 h 289"/>
                <a:gd name="T104" fmla="*/ 319 w 471"/>
                <a:gd name="T105" fmla="*/ 167 h 289"/>
                <a:gd name="T106" fmla="*/ 357 w 471"/>
                <a:gd name="T107" fmla="*/ 156 h 289"/>
                <a:gd name="T108" fmla="*/ 368 w 471"/>
                <a:gd name="T109" fmla="*/ 140 h 289"/>
                <a:gd name="T110" fmla="*/ 357 w 471"/>
                <a:gd name="T111" fmla="*/ 156 h 289"/>
                <a:gd name="T112" fmla="*/ 384 w 471"/>
                <a:gd name="T113" fmla="*/ 24 h 289"/>
                <a:gd name="T114" fmla="*/ 368 w 471"/>
                <a:gd name="T115" fmla="*/ 37 h 289"/>
                <a:gd name="T116" fmla="*/ 319 w 471"/>
                <a:gd name="T117" fmla="*/ 32 h 289"/>
                <a:gd name="T118" fmla="*/ 384 w 471"/>
                <a:gd name="T119" fmla="*/ 24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1" h="289">
                  <a:moveTo>
                    <a:pt x="319" y="167"/>
                  </a:moveTo>
                  <a:cubicBezTo>
                    <a:pt x="327" y="167"/>
                    <a:pt x="324" y="160"/>
                    <a:pt x="334" y="161"/>
                  </a:cubicBezTo>
                  <a:cubicBezTo>
                    <a:pt x="348" y="165"/>
                    <a:pt x="356" y="173"/>
                    <a:pt x="376" y="173"/>
                  </a:cubicBezTo>
                  <a:cubicBezTo>
                    <a:pt x="389" y="166"/>
                    <a:pt x="358" y="160"/>
                    <a:pt x="368" y="156"/>
                  </a:cubicBezTo>
                  <a:cubicBezTo>
                    <a:pt x="374" y="157"/>
                    <a:pt x="378" y="160"/>
                    <a:pt x="384" y="161"/>
                  </a:cubicBezTo>
                  <a:cubicBezTo>
                    <a:pt x="387" y="152"/>
                    <a:pt x="379" y="150"/>
                    <a:pt x="376" y="145"/>
                  </a:cubicBezTo>
                  <a:cubicBezTo>
                    <a:pt x="407" y="144"/>
                    <a:pt x="397" y="116"/>
                    <a:pt x="391" y="101"/>
                  </a:cubicBezTo>
                  <a:cubicBezTo>
                    <a:pt x="401" y="99"/>
                    <a:pt x="412" y="97"/>
                    <a:pt x="425" y="98"/>
                  </a:cubicBezTo>
                  <a:cubicBezTo>
                    <a:pt x="424" y="86"/>
                    <a:pt x="405" y="87"/>
                    <a:pt x="395" y="82"/>
                  </a:cubicBezTo>
                  <a:cubicBezTo>
                    <a:pt x="407" y="83"/>
                    <a:pt x="404" y="73"/>
                    <a:pt x="418" y="76"/>
                  </a:cubicBezTo>
                  <a:cubicBezTo>
                    <a:pt x="421" y="68"/>
                    <a:pt x="411" y="68"/>
                    <a:pt x="414" y="60"/>
                  </a:cubicBezTo>
                  <a:cubicBezTo>
                    <a:pt x="428" y="61"/>
                    <a:pt x="423" y="50"/>
                    <a:pt x="437" y="51"/>
                  </a:cubicBezTo>
                  <a:cubicBezTo>
                    <a:pt x="446" y="49"/>
                    <a:pt x="470" y="57"/>
                    <a:pt x="467" y="46"/>
                  </a:cubicBezTo>
                  <a:cubicBezTo>
                    <a:pt x="471" y="36"/>
                    <a:pt x="451" y="43"/>
                    <a:pt x="448" y="37"/>
                  </a:cubicBezTo>
                  <a:cubicBezTo>
                    <a:pt x="439" y="37"/>
                    <a:pt x="441" y="28"/>
                    <a:pt x="429" y="29"/>
                  </a:cubicBezTo>
                  <a:cubicBezTo>
                    <a:pt x="413" y="28"/>
                    <a:pt x="395" y="39"/>
                    <a:pt x="387" y="35"/>
                  </a:cubicBezTo>
                  <a:cubicBezTo>
                    <a:pt x="390" y="21"/>
                    <a:pt x="421" y="28"/>
                    <a:pt x="425" y="15"/>
                  </a:cubicBezTo>
                  <a:cubicBezTo>
                    <a:pt x="418" y="7"/>
                    <a:pt x="401" y="6"/>
                    <a:pt x="380" y="7"/>
                  </a:cubicBezTo>
                  <a:cubicBezTo>
                    <a:pt x="368" y="4"/>
                    <a:pt x="352" y="0"/>
                    <a:pt x="346" y="7"/>
                  </a:cubicBezTo>
                  <a:cubicBezTo>
                    <a:pt x="342" y="3"/>
                    <a:pt x="333" y="3"/>
                    <a:pt x="327" y="2"/>
                  </a:cubicBezTo>
                  <a:cubicBezTo>
                    <a:pt x="311" y="9"/>
                    <a:pt x="274" y="0"/>
                    <a:pt x="258" y="7"/>
                  </a:cubicBezTo>
                  <a:cubicBezTo>
                    <a:pt x="241" y="7"/>
                    <a:pt x="220" y="5"/>
                    <a:pt x="213" y="13"/>
                  </a:cubicBezTo>
                  <a:cubicBezTo>
                    <a:pt x="212" y="19"/>
                    <a:pt x="223" y="31"/>
                    <a:pt x="216" y="32"/>
                  </a:cubicBezTo>
                  <a:cubicBezTo>
                    <a:pt x="189" y="29"/>
                    <a:pt x="173" y="34"/>
                    <a:pt x="148" y="29"/>
                  </a:cubicBezTo>
                  <a:cubicBezTo>
                    <a:pt x="110" y="33"/>
                    <a:pt x="92" y="51"/>
                    <a:pt x="53" y="54"/>
                  </a:cubicBezTo>
                  <a:cubicBezTo>
                    <a:pt x="50" y="64"/>
                    <a:pt x="70" y="56"/>
                    <a:pt x="68" y="65"/>
                  </a:cubicBezTo>
                  <a:cubicBezTo>
                    <a:pt x="57" y="72"/>
                    <a:pt x="37" y="72"/>
                    <a:pt x="27" y="79"/>
                  </a:cubicBezTo>
                  <a:cubicBezTo>
                    <a:pt x="17" y="75"/>
                    <a:pt x="5" y="76"/>
                    <a:pt x="0" y="87"/>
                  </a:cubicBezTo>
                  <a:cubicBezTo>
                    <a:pt x="12" y="85"/>
                    <a:pt x="12" y="91"/>
                    <a:pt x="19" y="93"/>
                  </a:cubicBezTo>
                  <a:cubicBezTo>
                    <a:pt x="19" y="85"/>
                    <a:pt x="38" y="85"/>
                    <a:pt x="38" y="93"/>
                  </a:cubicBezTo>
                  <a:cubicBezTo>
                    <a:pt x="47" y="91"/>
                    <a:pt x="64" y="80"/>
                    <a:pt x="65" y="95"/>
                  </a:cubicBezTo>
                  <a:cubicBezTo>
                    <a:pt x="48" y="96"/>
                    <a:pt x="25" y="93"/>
                    <a:pt x="15" y="98"/>
                  </a:cubicBezTo>
                  <a:cubicBezTo>
                    <a:pt x="19" y="108"/>
                    <a:pt x="33" y="111"/>
                    <a:pt x="46" y="115"/>
                  </a:cubicBezTo>
                  <a:cubicBezTo>
                    <a:pt x="57" y="117"/>
                    <a:pt x="53" y="107"/>
                    <a:pt x="65" y="109"/>
                  </a:cubicBezTo>
                  <a:cubicBezTo>
                    <a:pt x="76" y="115"/>
                    <a:pt x="88" y="120"/>
                    <a:pt x="110" y="117"/>
                  </a:cubicBezTo>
                  <a:cubicBezTo>
                    <a:pt x="107" y="130"/>
                    <a:pt x="113" y="136"/>
                    <a:pt x="118" y="142"/>
                  </a:cubicBezTo>
                  <a:cubicBezTo>
                    <a:pt x="116" y="149"/>
                    <a:pt x="112" y="153"/>
                    <a:pt x="114" y="161"/>
                  </a:cubicBezTo>
                  <a:cubicBezTo>
                    <a:pt x="129" y="167"/>
                    <a:pt x="131" y="149"/>
                    <a:pt x="141" y="159"/>
                  </a:cubicBezTo>
                  <a:cubicBezTo>
                    <a:pt x="143" y="169"/>
                    <a:pt x="129" y="167"/>
                    <a:pt x="118" y="167"/>
                  </a:cubicBezTo>
                  <a:cubicBezTo>
                    <a:pt x="121" y="179"/>
                    <a:pt x="147" y="175"/>
                    <a:pt x="152" y="186"/>
                  </a:cubicBezTo>
                  <a:cubicBezTo>
                    <a:pt x="143" y="191"/>
                    <a:pt x="133" y="194"/>
                    <a:pt x="125" y="200"/>
                  </a:cubicBezTo>
                  <a:cubicBezTo>
                    <a:pt x="136" y="204"/>
                    <a:pt x="113" y="206"/>
                    <a:pt x="118" y="214"/>
                  </a:cubicBezTo>
                  <a:cubicBezTo>
                    <a:pt x="145" y="227"/>
                    <a:pt x="124" y="259"/>
                    <a:pt x="144" y="277"/>
                  </a:cubicBezTo>
                  <a:cubicBezTo>
                    <a:pt x="153" y="277"/>
                    <a:pt x="162" y="277"/>
                    <a:pt x="171" y="277"/>
                  </a:cubicBezTo>
                  <a:cubicBezTo>
                    <a:pt x="182" y="278"/>
                    <a:pt x="178" y="289"/>
                    <a:pt x="190" y="288"/>
                  </a:cubicBezTo>
                  <a:cubicBezTo>
                    <a:pt x="194" y="283"/>
                    <a:pt x="196" y="276"/>
                    <a:pt x="205" y="274"/>
                  </a:cubicBezTo>
                  <a:cubicBezTo>
                    <a:pt x="201" y="254"/>
                    <a:pt x="224" y="253"/>
                    <a:pt x="220" y="233"/>
                  </a:cubicBezTo>
                  <a:cubicBezTo>
                    <a:pt x="230" y="233"/>
                    <a:pt x="226" y="222"/>
                    <a:pt x="235" y="222"/>
                  </a:cubicBezTo>
                  <a:cubicBezTo>
                    <a:pt x="250" y="228"/>
                    <a:pt x="250" y="216"/>
                    <a:pt x="266" y="222"/>
                  </a:cubicBezTo>
                  <a:cubicBezTo>
                    <a:pt x="272" y="218"/>
                    <a:pt x="278" y="214"/>
                    <a:pt x="285" y="211"/>
                  </a:cubicBezTo>
                  <a:cubicBezTo>
                    <a:pt x="303" y="208"/>
                    <a:pt x="311" y="197"/>
                    <a:pt x="330" y="195"/>
                  </a:cubicBezTo>
                  <a:cubicBezTo>
                    <a:pt x="332" y="185"/>
                    <a:pt x="364" y="182"/>
                    <a:pt x="353" y="173"/>
                  </a:cubicBezTo>
                  <a:cubicBezTo>
                    <a:pt x="346" y="179"/>
                    <a:pt x="330" y="168"/>
                    <a:pt x="319" y="167"/>
                  </a:cubicBezTo>
                  <a:close/>
                  <a:moveTo>
                    <a:pt x="357" y="156"/>
                  </a:moveTo>
                  <a:cubicBezTo>
                    <a:pt x="347" y="151"/>
                    <a:pt x="357" y="138"/>
                    <a:pt x="368" y="140"/>
                  </a:cubicBezTo>
                  <a:cubicBezTo>
                    <a:pt x="367" y="146"/>
                    <a:pt x="358" y="149"/>
                    <a:pt x="357" y="156"/>
                  </a:cubicBezTo>
                  <a:close/>
                  <a:moveTo>
                    <a:pt x="384" y="24"/>
                  </a:moveTo>
                  <a:cubicBezTo>
                    <a:pt x="383" y="32"/>
                    <a:pt x="375" y="34"/>
                    <a:pt x="368" y="37"/>
                  </a:cubicBezTo>
                  <a:cubicBezTo>
                    <a:pt x="357" y="32"/>
                    <a:pt x="340" y="31"/>
                    <a:pt x="319" y="32"/>
                  </a:cubicBezTo>
                  <a:cubicBezTo>
                    <a:pt x="332" y="21"/>
                    <a:pt x="368" y="25"/>
                    <a:pt x="384" y="24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169"/>
            <p:cNvSpPr>
              <a:spLocks noEditPoints="1"/>
            </p:cNvSpPr>
            <p:nvPr/>
          </p:nvSpPr>
          <p:spPr bwMode="auto">
            <a:xfrm>
              <a:off x="4995863" y="3275013"/>
              <a:ext cx="776288" cy="368300"/>
            </a:xfrm>
            <a:custGeom>
              <a:avLst/>
              <a:gdLst>
                <a:gd name="T0" fmla="*/ 15 w 270"/>
                <a:gd name="T1" fmla="*/ 55 h 128"/>
                <a:gd name="T2" fmla="*/ 15 w 270"/>
                <a:gd name="T3" fmla="*/ 72 h 128"/>
                <a:gd name="T4" fmla="*/ 38 w 270"/>
                <a:gd name="T5" fmla="*/ 74 h 128"/>
                <a:gd name="T6" fmla="*/ 76 w 270"/>
                <a:gd name="T7" fmla="*/ 55 h 128"/>
                <a:gd name="T8" fmla="*/ 57 w 270"/>
                <a:gd name="T9" fmla="*/ 63 h 128"/>
                <a:gd name="T10" fmla="*/ 45 w 270"/>
                <a:gd name="T11" fmla="*/ 74 h 128"/>
                <a:gd name="T12" fmla="*/ 57 w 270"/>
                <a:gd name="T13" fmla="*/ 83 h 128"/>
                <a:gd name="T14" fmla="*/ 34 w 270"/>
                <a:gd name="T15" fmla="*/ 80 h 128"/>
                <a:gd name="T16" fmla="*/ 26 w 270"/>
                <a:gd name="T17" fmla="*/ 96 h 128"/>
                <a:gd name="T18" fmla="*/ 76 w 270"/>
                <a:gd name="T19" fmla="*/ 105 h 128"/>
                <a:gd name="T20" fmla="*/ 7 w 270"/>
                <a:gd name="T21" fmla="*/ 99 h 128"/>
                <a:gd name="T22" fmla="*/ 30 w 270"/>
                <a:gd name="T23" fmla="*/ 116 h 128"/>
                <a:gd name="T24" fmla="*/ 106 w 270"/>
                <a:gd name="T25" fmla="*/ 107 h 128"/>
                <a:gd name="T26" fmla="*/ 121 w 270"/>
                <a:gd name="T27" fmla="*/ 99 h 128"/>
                <a:gd name="T28" fmla="*/ 106 w 270"/>
                <a:gd name="T29" fmla="*/ 94 h 128"/>
                <a:gd name="T30" fmla="*/ 133 w 270"/>
                <a:gd name="T31" fmla="*/ 94 h 128"/>
                <a:gd name="T32" fmla="*/ 152 w 270"/>
                <a:gd name="T33" fmla="*/ 63 h 128"/>
                <a:gd name="T34" fmla="*/ 198 w 270"/>
                <a:gd name="T35" fmla="*/ 52 h 128"/>
                <a:gd name="T36" fmla="*/ 224 w 270"/>
                <a:gd name="T37" fmla="*/ 41 h 128"/>
                <a:gd name="T38" fmla="*/ 224 w 270"/>
                <a:gd name="T39" fmla="*/ 27 h 128"/>
                <a:gd name="T40" fmla="*/ 270 w 270"/>
                <a:gd name="T41" fmla="*/ 14 h 128"/>
                <a:gd name="T42" fmla="*/ 258 w 270"/>
                <a:gd name="T43" fmla="*/ 8 h 128"/>
                <a:gd name="T44" fmla="*/ 45 w 270"/>
                <a:gd name="T45" fmla="*/ 19 h 128"/>
                <a:gd name="T46" fmla="*/ 64 w 270"/>
                <a:gd name="T47" fmla="*/ 44 h 128"/>
                <a:gd name="T48" fmla="*/ 19 w 270"/>
                <a:gd name="T49" fmla="*/ 27 h 128"/>
                <a:gd name="T50" fmla="*/ 15 w 270"/>
                <a:gd name="T51" fmla="*/ 39 h 128"/>
                <a:gd name="T52" fmla="*/ 4 w 270"/>
                <a:gd name="T53" fmla="*/ 44 h 128"/>
                <a:gd name="T54" fmla="*/ 15 w 270"/>
                <a:gd name="T55" fmla="*/ 55 h 128"/>
                <a:gd name="T56" fmla="*/ 95 w 270"/>
                <a:gd name="T57" fmla="*/ 105 h 128"/>
                <a:gd name="T58" fmla="*/ 91 w 270"/>
                <a:gd name="T59" fmla="*/ 107 h 128"/>
                <a:gd name="T60" fmla="*/ 95 w 270"/>
                <a:gd name="T61" fmla="*/ 10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0" h="128">
                  <a:moveTo>
                    <a:pt x="15" y="55"/>
                  </a:moveTo>
                  <a:cubicBezTo>
                    <a:pt x="15" y="61"/>
                    <a:pt x="15" y="66"/>
                    <a:pt x="15" y="72"/>
                  </a:cubicBezTo>
                  <a:cubicBezTo>
                    <a:pt x="27" y="70"/>
                    <a:pt x="29" y="74"/>
                    <a:pt x="38" y="74"/>
                  </a:cubicBezTo>
                  <a:cubicBezTo>
                    <a:pt x="39" y="62"/>
                    <a:pt x="62" y="50"/>
                    <a:pt x="76" y="55"/>
                  </a:cubicBezTo>
                  <a:cubicBezTo>
                    <a:pt x="81" y="67"/>
                    <a:pt x="56" y="55"/>
                    <a:pt x="57" y="63"/>
                  </a:cubicBezTo>
                  <a:cubicBezTo>
                    <a:pt x="68" y="67"/>
                    <a:pt x="44" y="68"/>
                    <a:pt x="45" y="74"/>
                  </a:cubicBezTo>
                  <a:cubicBezTo>
                    <a:pt x="55" y="73"/>
                    <a:pt x="59" y="75"/>
                    <a:pt x="57" y="83"/>
                  </a:cubicBezTo>
                  <a:cubicBezTo>
                    <a:pt x="48" y="83"/>
                    <a:pt x="46" y="78"/>
                    <a:pt x="34" y="80"/>
                  </a:cubicBezTo>
                  <a:cubicBezTo>
                    <a:pt x="34" y="88"/>
                    <a:pt x="21" y="85"/>
                    <a:pt x="26" y="96"/>
                  </a:cubicBezTo>
                  <a:cubicBezTo>
                    <a:pt x="49" y="94"/>
                    <a:pt x="65" y="93"/>
                    <a:pt x="76" y="105"/>
                  </a:cubicBezTo>
                  <a:cubicBezTo>
                    <a:pt x="46" y="109"/>
                    <a:pt x="26" y="94"/>
                    <a:pt x="7" y="99"/>
                  </a:cubicBezTo>
                  <a:cubicBezTo>
                    <a:pt x="4" y="112"/>
                    <a:pt x="30" y="105"/>
                    <a:pt x="30" y="116"/>
                  </a:cubicBezTo>
                  <a:cubicBezTo>
                    <a:pt x="59" y="113"/>
                    <a:pt x="97" y="128"/>
                    <a:pt x="106" y="107"/>
                  </a:cubicBezTo>
                  <a:cubicBezTo>
                    <a:pt x="116" y="108"/>
                    <a:pt x="122" y="106"/>
                    <a:pt x="121" y="99"/>
                  </a:cubicBezTo>
                  <a:cubicBezTo>
                    <a:pt x="124" y="92"/>
                    <a:pt x="104" y="101"/>
                    <a:pt x="106" y="94"/>
                  </a:cubicBezTo>
                  <a:cubicBezTo>
                    <a:pt x="115" y="94"/>
                    <a:pt x="124" y="94"/>
                    <a:pt x="133" y="94"/>
                  </a:cubicBezTo>
                  <a:cubicBezTo>
                    <a:pt x="133" y="79"/>
                    <a:pt x="156" y="81"/>
                    <a:pt x="152" y="63"/>
                  </a:cubicBezTo>
                  <a:cubicBezTo>
                    <a:pt x="171" y="63"/>
                    <a:pt x="173" y="50"/>
                    <a:pt x="198" y="52"/>
                  </a:cubicBezTo>
                  <a:cubicBezTo>
                    <a:pt x="202" y="46"/>
                    <a:pt x="210" y="41"/>
                    <a:pt x="224" y="41"/>
                  </a:cubicBezTo>
                  <a:cubicBezTo>
                    <a:pt x="229" y="34"/>
                    <a:pt x="216" y="28"/>
                    <a:pt x="224" y="27"/>
                  </a:cubicBezTo>
                  <a:cubicBezTo>
                    <a:pt x="240" y="22"/>
                    <a:pt x="263" y="30"/>
                    <a:pt x="270" y="14"/>
                  </a:cubicBezTo>
                  <a:cubicBezTo>
                    <a:pt x="270" y="9"/>
                    <a:pt x="259" y="12"/>
                    <a:pt x="258" y="8"/>
                  </a:cubicBezTo>
                  <a:cubicBezTo>
                    <a:pt x="196" y="14"/>
                    <a:pt x="111" y="0"/>
                    <a:pt x="45" y="19"/>
                  </a:cubicBezTo>
                  <a:cubicBezTo>
                    <a:pt x="40" y="36"/>
                    <a:pt x="62" y="33"/>
                    <a:pt x="64" y="44"/>
                  </a:cubicBezTo>
                  <a:cubicBezTo>
                    <a:pt x="40" y="45"/>
                    <a:pt x="47" y="23"/>
                    <a:pt x="19" y="27"/>
                  </a:cubicBezTo>
                  <a:cubicBezTo>
                    <a:pt x="18" y="31"/>
                    <a:pt x="13" y="33"/>
                    <a:pt x="15" y="39"/>
                  </a:cubicBezTo>
                  <a:cubicBezTo>
                    <a:pt x="9" y="39"/>
                    <a:pt x="2" y="38"/>
                    <a:pt x="4" y="44"/>
                  </a:cubicBezTo>
                  <a:cubicBezTo>
                    <a:pt x="0" y="53"/>
                    <a:pt x="13" y="50"/>
                    <a:pt x="15" y="55"/>
                  </a:cubicBezTo>
                  <a:close/>
                  <a:moveTo>
                    <a:pt x="95" y="105"/>
                  </a:moveTo>
                  <a:cubicBezTo>
                    <a:pt x="97" y="106"/>
                    <a:pt x="92" y="108"/>
                    <a:pt x="91" y="107"/>
                  </a:cubicBezTo>
                  <a:cubicBezTo>
                    <a:pt x="89" y="106"/>
                    <a:pt x="94" y="104"/>
                    <a:pt x="95" y="105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170"/>
            <p:cNvSpPr>
              <a:spLocks/>
            </p:cNvSpPr>
            <p:nvPr/>
          </p:nvSpPr>
          <p:spPr bwMode="auto">
            <a:xfrm>
              <a:off x="7485063" y="3352800"/>
              <a:ext cx="295275" cy="74613"/>
            </a:xfrm>
            <a:custGeom>
              <a:avLst/>
              <a:gdLst>
                <a:gd name="T0" fmla="*/ 84 w 103"/>
                <a:gd name="T1" fmla="*/ 23 h 26"/>
                <a:gd name="T2" fmla="*/ 99 w 103"/>
                <a:gd name="T3" fmla="*/ 6 h 26"/>
                <a:gd name="T4" fmla="*/ 0 w 103"/>
                <a:gd name="T5" fmla="*/ 0 h 26"/>
                <a:gd name="T6" fmla="*/ 4 w 103"/>
                <a:gd name="T7" fmla="*/ 12 h 26"/>
                <a:gd name="T8" fmla="*/ 84 w 103"/>
                <a:gd name="T9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26">
                  <a:moveTo>
                    <a:pt x="84" y="23"/>
                  </a:moveTo>
                  <a:cubicBezTo>
                    <a:pt x="85" y="15"/>
                    <a:pt x="103" y="19"/>
                    <a:pt x="99" y="6"/>
                  </a:cubicBezTo>
                  <a:cubicBezTo>
                    <a:pt x="64" y="2"/>
                    <a:pt x="31" y="1"/>
                    <a:pt x="0" y="0"/>
                  </a:cubicBezTo>
                  <a:cubicBezTo>
                    <a:pt x="0" y="5"/>
                    <a:pt x="1" y="9"/>
                    <a:pt x="4" y="12"/>
                  </a:cubicBezTo>
                  <a:cubicBezTo>
                    <a:pt x="28" y="17"/>
                    <a:pt x="47" y="26"/>
                    <a:pt x="84" y="23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171"/>
            <p:cNvSpPr>
              <a:spLocks/>
            </p:cNvSpPr>
            <p:nvPr/>
          </p:nvSpPr>
          <p:spPr bwMode="auto">
            <a:xfrm>
              <a:off x="7243763" y="3343275"/>
              <a:ext cx="393700" cy="233363"/>
            </a:xfrm>
            <a:custGeom>
              <a:avLst/>
              <a:gdLst>
                <a:gd name="T0" fmla="*/ 19 w 137"/>
                <a:gd name="T1" fmla="*/ 39 h 81"/>
                <a:gd name="T2" fmla="*/ 19 w 137"/>
                <a:gd name="T3" fmla="*/ 53 h 81"/>
                <a:gd name="T4" fmla="*/ 54 w 137"/>
                <a:gd name="T5" fmla="*/ 42 h 81"/>
                <a:gd name="T6" fmla="*/ 35 w 137"/>
                <a:gd name="T7" fmla="*/ 67 h 81"/>
                <a:gd name="T8" fmla="*/ 61 w 137"/>
                <a:gd name="T9" fmla="*/ 72 h 81"/>
                <a:gd name="T10" fmla="*/ 80 w 137"/>
                <a:gd name="T11" fmla="*/ 81 h 81"/>
                <a:gd name="T12" fmla="*/ 92 w 137"/>
                <a:gd name="T13" fmla="*/ 50 h 81"/>
                <a:gd name="T14" fmla="*/ 133 w 137"/>
                <a:gd name="T15" fmla="*/ 64 h 81"/>
                <a:gd name="T16" fmla="*/ 103 w 137"/>
                <a:gd name="T17" fmla="*/ 31 h 81"/>
                <a:gd name="T18" fmla="*/ 88 w 137"/>
                <a:gd name="T19" fmla="*/ 28 h 81"/>
                <a:gd name="T20" fmla="*/ 69 w 137"/>
                <a:gd name="T21" fmla="*/ 23 h 81"/>
                <a:gd name="T22" fmla="*/ 50 w 137"/>
                <a:gd name="T23" fmla="*/ 9 h 81"/>
                <a:gd name="T24" fmla="*/ 46 w 137"/>
                <a:gd name="T25" fmla="*/ 26 h 81"/>
                <a:gd name="T26" fmla="*/ 0 w 137"/>
                <a:gd name="T27" fmla="*/ 26 h 81"/>
                <a:gd name="T28" fmla="*/ 19 w 137"/>
                <a:gd name="T29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81">
                  <a:moveTo>
                    <a:pt x="19" y="39"/>
                  </a:moveTo>
                  <a:cubicBezTo>
                    <a:pt x="19" y="46"/>
                    <a:pt x="12" y="48"/>
                    <a:pt x="19" y="53"/>
                  </a:cubicBezTo>
                  <a:cubicBezTo>
                    <a:pt x="35" y="53"/>
                    <a:pt x="36" y="41"/>
                    <a:pt x="54" y="42"/>
                  </a:cubicBezTo>
                  <a:cubicBezTo>
                    <a:pt x="53" y="54"/>
                    <a:pt x="35" y="54"/>
                    <a:pt x="35" y="67"/>
                  </a:cubicBezTo>
                  <a:cubicBezTo>
                    <a:pt x="41" y="71"/>
                    <a:pt x="47" y="74"/>
                    <a:pt x="61" y="72"/>
                  </a:cubicBezTo>
                  <a:cubicBezTo>
                    <a:pt x="59" y="81"/>
                    <a:pt x="69" y="81"/>
                    <a:pt x="80" y="81"/>
                  </a:cubicBezTo>
                  <a:cubicBezTo>
                    <a:pt x="84" y="70"/>
                    <a:pt x="87" y="60"/>
                    <a:pt x="92" y="50"/>
                  </a:cubicBezTo>
                  <a:cubicBezTo>
                    <a:pt x="102" y="58"/>
                    <a:pt x="107" y="68"/>
                    <a:pt x="133" y="64"/>
                  </a:cubicBezTo>
                  <a:cubicBezTo>
                    <a:pt x="137" y="43"/>
                    <a:pt x="113" y="42"/>
                    <a:pt x="103" y="31"/>
                  </a:cubicBezTo>
                  <a:cubicBezTo>
                    <a:pt x="102" y="38"/>
                    <a:pt x="93" y="28"/>
                    <a:pt x="88" y="28"/>
                  </a:cubicBezTo>
                  <a:cubicBezTo>
                    <a:pt x="78" y="29"/>
                    <a:pt x="72" y="27"/>
                    <a:pt x="69" y="23"/>
                  </a:cubicBezTo>
                  <a:cubicBezTo>
                    <a:pt x="78" y="15"/>
                    <a:pt x="66" y="7"/>
                    <a:pt x="50" y="9"/>
                  </a:cubicBezTo>
                  <a:cubicBezTo>
                    <a:pt x="39" y="13"/>
                    <a:pt x="56" y="23"/>
                    <a:pt x="46" y="26"/>
                  </a:cubicBezTo>
                  <a:cubicBezTo>
                    <a:pt x="38" y="12"/>
                    <a:pt x="2" y="0"/>
                    <a:pt x="0" y="26"/>
                  </a:cubicBezTo>
                  <a:cubicBezTo>
                    <a:pt x="2" y="34"/>
                    <a:pt x="17" y="32"/>
                    <a:pt x="19" y="39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172"/>
            <p:cNvSpPr>
              <a:spLocks/>
            </p:cNvSpPr>
            <p:nvPr/>
          </p:nvSpPr>
          <p:spPr bwMode="auto">
            <a:xfrm>
              <a:off x="8301038" y="3352800"/>
              <a:ext cx="100013" cy="79375"/>
            </a:xfrm>
            <a:custGeom>
              <a:avLst/>
              <a:gdLst>
                <a:gd name="T0" fmla="*/ 35 w 35"/>
                <a:gd name="T1" fmla="*/ 17 h 28"/>
                <a:gd name="T2" fmla="*/ 1 w 35"/>
                <a:gd name="T3" fmla="*/ 20 h 28"/>
                <a:gd name="T4" fmla="*/ 35 w 35"/>
                <a:gd name="T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28">
                  <a:moveTo>
                    <a:pt x="35" y="17"/>
                  </a:moveTo>
                  <a:cubicBezTo>
                    <a:pt x="35" y="0"/>
                    <a:pt x="0" y="6"/>
                    <a:pt x="1" y="20"/>
                  </a:cubicBezTo>
                  <a:cubicBezTo>
                    <a:pt x="14" y="28"/>
                    <a:pt x="21" y="16"/>
                    <a:pt x="35" y="1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173"/>
            <p:cNvSpPr>
              <a:spLocks/>
            </p:cNvSpPr>
            <p:nvPr/>
          </p:nvSpPr>
          <p:spPr bwMode="auto">
            <a:xfrm>
              <a:off x="8999538" y="3381375"/>
              <a:ext cx="209550" cy="95250"/>
            </a:xfrm>
            <a:custGeom>
              <a:avLst/>
              <a:gdLst>
                <a:gd name="T0" fmla="*/ 5 w 73"/>
                <a:gd name="T1" fmla="*/ 24 h 33"/>
                <a:gd name="T2" fmla="*/ 73 w 73"/>
                <a:gd name="T3" fmla="*/ 15 h 33"/>
                <a:gd name="T4" fmla="*/ 9 w 73"/>
                <a:gd name="T5" fmla="*/ 7 h 33"/>
                <a:gd name="T6" fmla="*/ 5 w 73"/>
                <a:gd name="T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33">
                  <a:moveTo>
                    <a:pt x="5" y="24"/>
                  </a:moveTo>
                  <a:cubicBezTo>
                    <a:pt x="35" y="20"/>
                    <a:pt x="66" y="33"/>
                    <a:pt x="73" y="15"/>
                  </a:cubicBezTo>
                  <a:cubicBezTo>
                    <a:pt x="64" y="5"/>
                    <a:pt x="30" y="0"/>
                    <a:pt x="9" y="7"/>
                  </a:cubicBezTo>
                  <a:cubicBezTo>
                    <a:pt x="0" y="7"/>
                    <a:pt x="7" y="19"/>
                    <a:pt x="5" y="2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74"/>
            <p:cNvSpPr>
              <a:spLocks/>
            </p:cNvSpPr>
            <p:nvPr/>
          </p:nvSpPr>
          <p:spPr bwMode="auto">
            <a:xfrm>
              <a:off x="8218488" y="3519488"/>
              <a:ext cx="358775" cy="238125"/>
            </a:xfrm>
            <a:custGeom>
              <a:avLst/>
              <a:gdLst>
                <a:gd name="T0" fmla="*/ 49 w 125"/>
                <a:gd name="T1" fmla="*/ 78 h 83"/>
                <a:gd name="T2" fmla="*/ 30 w 125"/>
                <a:gd name="T3" fmla="*/ 42 h 83"/>
                <a:gd name="T4" fmla="*/ 87 w 125"/>
                <a:gd name="T5" fmla="*/ 20 h 83"/>
                <a:gd name="T6" fmla="*/ 125 w 125"/>
                <a:gd name="T7" fmla="*/ 0 h 83"/>
                <a:gd name="T8" fmla="*/ 106 w 125"/>
                <a:gd name="T9" fmla="*/ 0 h 83"/>
                <a:gd name="T10" fmla="*/ 102 w 125"/>
                <a:gd name="T11" fmla="*/ 6 h 83"/>
                <a:gd name="T12" fmla="*/ 30 w 125"/>
                <a:gd name="T13" fmla="*/ 22 h 83"/>
                <a:gd name="T14" fmla="*/ 15 w 125"/>
                <a:gd name="T15" fmla="*/ 50 h 83"/>
                <a:gd name="T16" fmla="*/ 0 w 125"/>
                <a:gd name="T17" fmla="*/ 66 h 83"/>
                <a:gd name="T18" fmla="*/ 37 w 125"/>
                <a:gd name="T19" fmla="*/ 83 h 83"/>
                <a:gd name="T20" fmla="*/ 49 w 125"/>
                <a:gd name="T21" fmla="*/ 7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83">
                  <a:moveTo>
                    <a:pt x="49" y="78"/>
                  </a:moveTo>
                  <a:cubicBezTo>
                    <a:pt x="44" y="65"/>
                    <a:pt x="26" y="61"/>
                    <a:pt x="30" y="42"/>
                  </a:cubicBezTo>
                  <a:cubicBezTo>
                    <a:pt x="57" y="40"/>
                    <a:pt x="67" y="26"/>
                    <a:pt x="87" y="20"/>
                  </a:cubicBezTo>
                  <a:cubicBezTo>
                    <a:pt x="111" y="21"/>
                    <a:pt x="123" y="15"/>
                    <a:pt x="125" y="0"/>
                  </a:cubicBezTo>
                  <a:cubicBezTo>
                    <a:pt x="118" y="0"/>
                    <a:pt x="112" y="0"/>
                    <a:pt x="106" y="0"/>
                  </a:cubicBezTo>
                  <a:cubicBezTo>
                    <a:pt x="105" y="3"/>
                    <a:pt x="106" y="6"/>
                    <a:pt x="102" y="6"/>
                  </a:cubicBezTo>
                  <a:cubicBezTo>
                    <a:pt x="74" y="8"/>
                    <a:pt x="52" y="16"/>
                    <a:pt x="30" y="22"/>
                  </a:cubicBezTo>
                  <a:cubicBezTo>
                    <a:pt x="32" y="37"/>
                    <a:pt x="12" y="35"/>
                    <a:pt x="15" y="50"/>
                  </a:cubicBezTo>
                  <a:cubicBezTo>
                    <a:pt x="10" y="56"/>
                    <a:pt x="1" y="58"/>
                    <a:pt x="0" y="66"/>
                  </a:cubicBezTo>
                  <a:cubicBezTo>
                    <a:pt x="12" y="72"/>
                    <a:pt x="24" y="78"/>
                    <a:pt x="37" y="83"/>
                  </a:cubicBezTo>
                  <a:cubicBezTo>
                    <a:pt x="39" y="80"/>
                    <a:pt x="42" y="77"/>
                    <a:pt x="49" y="78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75"/>
            <p:cNvSpPr>
              <a:spLocks/>
            </p:cNvSpPr>
            <p:nvPr/>
          </p:nvSpPr>
          <p:spPr bwMode="auto">
            <a:xfrm>
              <a:off x="10056813" y="3516313"/>
              <a:ext cx="190500" cy="82550"/>
            </a:xfrm>
            <a:custGeom>
              <a:avLst/>
              <a:gdLst>
                <a:gd name="T0" fmla="*/ 43 w 66"/>
                <a:gd name="T1" fmla="*/ 29 h 29"/>
                <a:gd name="T2" fmla="*/ 66 w 66"/>
                <a:gd name="T3" fmla="*/ 12 h 29"/>
                <a:gd name="T4" fmla="*/ 36 w 66"/>
                <a:gd name="T5" fmla="*/ 1 h 29"/>
                <a:gd name="T6" fmla="*/ 28 w 66"/>
                <a:gd name="T7" fmla="*/ 7 h 29"/>
                <a:gd name="T8" fmla="*/ 6 w 66"/>
                <a:gd name="T9" fmla="*/ 7 h 29"/>
                <a:gd name="T10" fmla="*/ 43 w 66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9">
                  <a:moveTo>
                    <a:pt x="43" y="29"/>
                  </a:moveTo>
                  <a:cubicBezTo>
                    <a:pt x="53" y="25"/>
                    <a:pt x="57" y="17"/>
                    <a:pt x="66" y="12"/>
                  </a:cubicBezTo>
                  <a:cubicBezTo>
                    <a:pt x="52" y="11"/>
                    <a:pt x="49" y="0"/>
                    <a:pt x="36" y="1"/>
                  </a:cubicBezTo>
                  <a:cubicBezTo>
                    <a:pt x="34" y="2"/>
                    <a:pt x="32" y="8"/>
                    <a:pt x="28" y="7"/>
                  </a:cubicBezTo>
                  <a:cubicBezTo>
                    <a:pt x="21" y="7"/>
                    <a:pt x="13" y="7"/>
                    <a:pt x="6" y="7"/>
                  </a:cubicBezTo>
                  <a:cubicBezTo>
                    <a:pt x="0" y="27"/>
                    <a:pt x="33" y="20"/>
                    <a:pt x="43" y="29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76"/>
            <p:cNvSpPr>
              <a:spLocks/>
            </p:cNvSpPr>
            <p:nvPr/>
          </p:nvSpPr>
          <p:spPr bwMode="auto">
            <a:xfrm>
              <a:off x="6513513" y="3827463"/>
              <a:ext cx="250825" cy="128588"/>
            </a:xfrm>
            <a:custGeom>
              <a:avLst/>
              <a:gdLst>
                <a:gd name="T0" fmla="*/ 64 w 87"/>
                <a:gd name="T1" fmla="*/ 45 h 45"/>
                <a:gd name="T2" fmla="*/ 83 w 87"/>
                <a:gd name="T3" fmla="*/ 37 h 45"/>
                <a:gd name="T4" fmla="*/ 76 w 87"/>
                <a:gd name="T5" fmla="*/ 9 h 45"/>
                <a:gd name="T6" fmla="*/ 38 w 87"/>
                <a:gd name="T7" fmla="*/ 12 h 45"/>
                <a:gd name="T8" fmla="*/ 15 w 87"/>
                <a:gd name="T9" fmla="*/ 1 h 45"/>
                <a:gd name="T10" fmla="*/ 0 w 87"/>
                <a:gd name="T11" fmla="*/ 20 h 45"/>
                <a:gd name="T12" fmla="*/ 19 w 87"/>
                <a:gd name="T13" fmla="*/ 17 h 45"/>
                <a:gd name="T14" fmla="*/ 7 w 87"/>
                <a:gd name="T15" fmla="*/ 34 h 45"/>
                <a:gd name="T16" fmla="*/ 34 w 87"/>
                <a:gd name="T17" fmla="*/ 45 h 45"/>
                <a:gd name="T18" fmla="*/ 64 w 87"/>
                <a:gd name="T1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45">
                  <a:moveTo>
                    <a:pt x="64" y="45"/>
                  </a:moveTo>
                  <a:cubicBezTo>
                    <a:pt x="65" y="38"/>
                    <a:pt x="79" y="41"/>
                    <a:pt x="83" y="37"/>
                  </a:cubicBezTo>
                  <a:cubicBezTo>
                    <a:pt x="87" y="23"/>
                    <a:pt x="75" y="21"/>
                    <a:pt x="76" y="9"/>
                  </a:cubicBezTo>
                  <a:cubicBezTo>
                    <a:pt x="59" y="13"/>
                    <a:pt x="54" y="7"/>
                    <a:pt x="38" y="12"/>
                  </a:cubicBezTo>
                  <a:cubicBezTo>
                    <a:pt x="28" y="10"/>
                    <a:pt x="28" y="0"/>
                    <a:pt x="15" y="1"/>
                  </a:cubicBezTo>
                  <a:cubicBezTo>
                    <a:pt x="20" y="14"/>
                    <a:pt x="0" y="10"/>
                    <a:pt x="0" y="20"/>
                  </a:cubicBezTo>
                  <a:cubicBezTo>
                    <a:pt x="11" y="22"/>
                    <a:pt x="10" y="16"/>
                    <a:pt x="19" y="17"/>
                  </a:cubicBezTo>
                  <a:cubicBezTo>
                    <a:pt x="17" y="24"/>
                    <a:pt x="4" y="23"/>
                    <a:pt x="7" y="34"/>
                  </a:cubicBezTo>
                  <a:cubicBezTo>
                    <a:pt x="26" y="30"/>
                    <a:pt x="22" y="43"/>
                    <a:pt x="34" y="45"/>
                  </a:cubicBezTo>
                  <a:cubicBezTo>
                    <a:pt x="37" y="39"/>
                    <a:pt x="61" y="42"/>
                    <a:pt x="64" y="45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7"/>
            <p:cNvSpPr>
              <a:spLocks/>
            </p:cNvSpPr>
            <p:nvPr/>
          </p:nvSpPr>
          <p:spPr bwMode="auto">
            <a:xfrm>
              <a:off x="5038725" y="3902075"/>
              <a:ext cx="165100" cy="103188"/>
            </a:xfrm>
            <a:custGeom>
              <a:avLst/>
              <a:gdLst>
                <a:gd name="T0" fmla="*/ 57 w 57"/>
                <a:gd name="T1" fmla="*/ 19 h 36"/>
                <a:gd name="T2" fmla="*/ 42 w 57"/>
                <a:gd name="T3" fmla="*/ 5 h 36"/>
                <a:gd name="T4" fmla="*/ 19 w 57"/>
                <a:gd name="T5" fmla="*/ 2 h 36"/>
                <a:gd name="T6" fmla="*/ 0 w 57"/>
                <a:gd name="T7" fmla="*/ 16 h 36"/>
                <a:gd name="T8" fmla="*/ 26 w 57"/>
                <a:gd name="T9" fmla="*/ 27 h 36"/>
                <a:gd name="T10" fmla="*/ 57 w 57"/>
                <a:gd name="T11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6">
                  <a:moveTo>
                    <a:pt x="57" y="19"/>
                  </a:moveTo>
                  <a:cubicBezTo>
                    <a:pt x="42" y="16"/>
                    <a:pt x="52" y="12"/>
                    <a:pt x="42" y="5"/>
                  </a:cubicBezTo>
                  <a:cubicBezTo>
                    <a:pt x="30" y="7"/>
                    <a:pt x="31" y="0"/>
                    <a:pt x="19" y="2"/>
                  </a:cubicBezTo>
                  <a:cubicBezTo>
                    <a:pt x="14" y="8"/>
                    <a:pt x="17" y="19"/>
                    <a:pt x="0" y="16"/>
                  </a:cubicBezTo>
                  <a:cubicBezTo>
                    <a:pt x="0" y="26"/>
                    <a:pt x="12" y="27"/>
                    <a:pt x="26" y="27"/>
                  </a:cubicBezTo>
                  <a:cubicBezTo>
                    <a:pt x="25" y="6"/>
                    <a:pt x="52" y="36"/>
                    <a:pt x="57" y="19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78"/>
            <p:cNvSpPr>
              <a:spLocks/>
            </p:cNvSpPr>
            <p:nvPr/>
          </p:nvSpPr>
          <p:spPr bwMode="auto">
            <a:xfrm>
              <a:off x="6900863" y="4065588"/>
              <a:ext cx="225425" cy="261938"/>
            </a:xfrm>
            <a:custGeom>
              <a:avLst/>
              <a:gdLst>
                <a:gd name="T0" fmla="*/ 78 w 78"/>
                <a:gd name="T1" fmla="*/ 61 h 91"/>
                <a:gd name="T2" fmla="*/ 62 w 78"/>
                <a:gd name="T3" fmla="*/ 53 h 91"/>
                <a:gd name="T4" fmla="*/ 51 w 78"/>
                <a:gd name="T5" fmla="*/ 20 h 91"/>
                <a:gd name="T6" fmla="*/ 36 w 78"/>
                <a:gd name="T7" fmla="*/ 11 h 91"/>
                <a:gd name="T8" fmla="*/ 47 w 78"/>
                <a:gd name="T9" fmla="*/ 0 h 91"/>
                <a:gd name="T10" fmla="*/ 17 w 78"/>
                <a:gd name="T11" fmla="*/ 6 h 91"/>
                <a:gd name="T12" fmla="*/ 13 w 78"/>
                <a:gd name="T13" fmla="*/ 42 h 91"/>
                <a:gd name="T14" fmla="*/ 32 w 78"/>
                <a:gd name="T15" fmla="*/ 47 h 91"/>
                <a:gd name="T16" fmla="*/ 13 w 78"/>
                <a:gd name="T17" fmla="*/ 58 h 91"/>
                <a:gd name="T18" fmla="*/ 21 w 78"/>
                <a:gd name="T19" fmla="*/ 83 h 91"/>
                <a:gd name="T20" fmla="*/ 2 w 78"/>
                <a:gd name="T21" fmla="*/ 91 h 91"/>
                <a:gd name="T22" fmla="*/ 62 w 78"/>
                <a:gd name="T23" fmla="*/ 89 h 91"/>
                <a:gd name="T24" fmla="*/ 78 w 78"/>
                <a:gd name="T25" fmla="*/ 6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1">
                  <a:moveTo>
                    <a:pt x="78" y="61"/>
                  </a:moveTo>
                  <a:cubicBezTo>
                    <a:pt x="73" y="58"/>
                    <a:pt x="66" y="57"/>
                    <a:pt x="62" y="53"/>
                  </a:cubicBezTo>
                  <a:cubicBezTo>
                    <a:pt x="67" y="37"/>
                    <a:pt x="37" y="34"/>
                    <a:pt x="51" y="20"/>
                  </a:cubicBezTo>
                  <a:cubicBezTo>
                    <a:pt x="46" y="17"/>
                    <a:pt x="40" y="15"/>
                    <a:pt x="36" y="11"/>
                  </a:cubicBezTo>
                  <a:cubicBezTo>
                    <a:pt x="41" y="9"/>
                    <a:pt x="48" y="7"/>
                    <a:pt x="47" y="0"/>
                  </a:cubicBezTo>
                  <a:cubicBezTo>
                    <a:pt x="33" y="0"/>
                    <a:pt x="26" y="4"/>
                    <a:pt x="17" y="6"/>
                  </a:cubicBezTo>
                  <a:cubicBezTo>
                    <a:pt x="20" y="21"/>
                    <a:pt x="11" y="27"/>
                    <a:pt x="13" y="42"/>
                  </a:cubicBezTo>
                  <a:cubicBezTo>
                    <a:pt x="22" y="46"/>
                    <a:pt x="27" y="46"/>
                    <a:pt x="32" y="47"/>
                  </a:cubicBezTo>
                  <a:cubicBezTo>
                    <a:pt x="34" y="57"/>
                    <a:pt x="19" y="62"/>
                    <a:pt x="13" y="58"/>
                  </a:cubicBezTo>
                  <a:cubicBezTo>
                    <a:pt x="10" y="71"/>
                    <a:pt x="16" y="77"/>
                    <a:pt x="21" y="83"/>
                  </a:cubicBezTo>
                  <a:cubicBezTo>
                    <a:pt x="14" y="86"/>
                    <a:pt x="0" y="83"/>
                    <a:pt x="2" y="91"/>
                  </a:cubicBezTo>
                  <a:cubicBezTo>
                    <a:pt x="20" y="89"/>
                    <a:pt x="39" y="88"/>
                    <a:pt x="62" y="89"/>
                  </a:cubicBezTo>
                  <a:cubicBezTo>
                    <a:pt x="66" y="77"/>
                    <a:pt x="63" y="69"/>
                    <a:pt x="78" y="61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79"/>
            <p:cNvSpPr>
              <a:spLocks/>
            </p:cNvSpPr>
            <p:nvPr/>
          </p:nvSpPr>
          <p:spPr bwMode="auto">
            <a:xfrm>
              <a:off x="6811963" y="4186238"/>
              <a:ext cx="104775" cy="85725"/>
            </a:xfrm>
            <a:custGeom>
              <a:avLst/>
              <a:gdLst>
                <a:gd name="T0" fmla="*/ 6 w 36"/>
                <a:gd name="T1" fmla="*/ 30 h 30"/>
                <a:gd name="T2" fmla="*/ 36 w 36"/>
                <a:gd name="T3" fmla="*/ 25 h 30"/>
                <a:gd name="T4" fmla="*/ 36 w 36"/>
                <a:gd name="T5" fmla="*/ 0 h 30"/>
                <a:gd name="T6" fmla="*/ 17 w 36"/>
                <a:gd name="T7" fmla="*/ 0 h 30"/>
                <a:gd name="T8" fmla="*/ 2 w 36"/>
                <a:gd name="T9" fmla="*/ 8 h 30"/>
                <a:gd name="T10" fmla="*/ 6 w 36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0">
                  <a:moveTo>
                    <a:pt x="6" y="30"/>
                  </a:moveTo>
                  <a:cubicBezTo>
                    <a:pt x="15" y="27"/>
                    <a:pt x="29" y="28"/>
                    <a:pt x="36" y="25"/>
                  </a:cubicBezTo>
                  <a:cubicBezTo>
                    <a:pt x="32" y="13"/>
                    <a:pt x="35" y="12"/>
                    <a:pt x="36" y="0"/>
                  </a:cubicBezTo>
                  <a:cubicBezTo>
                    <a:pt x="30" y="0"/>
                    <a:pt x="24" y="0"/>
                    <a:pt x="17" y="0"/>
                  </a:cubicBezTo>
                  <a:cubicBezTo>
                    <a:pt x="17" y="12"/>
                    <a:pt x="9" y="3"/>
                    <a:pt x="2" y="8"/>
                  </a:cubicBezTo>
                  <a:cubicBezTo>
                    <a:pt x="3" y="16"/>
                    <a:pt x="0" y="26"/>
                    <a:pt x="6" y="30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80"/>
            <p:cNvSpPr>
              <a:spLocks/>
            </p:cNvSpPr>
            <p:nvPr/>
          </p:nvSpPr>
          <p:spPr bwMode="auto">
            <a:xfrm>
              <a:off x="10507663" y="4430713"/>
              <a:ext cx="165100" cy="109538"/>
            </a:xfrm>
            <a:custGeom>
              <a:avLst/>
              <a:gdLst>
                <a:gd name="T0" fmla="*/ 23 w 57"/>
                <a:gd name="T1" fmla="*/ 25 h 38"/>
                <a:gd name="T2" fmla="*/ 35 w 57"/>
                <a:gd name="T3" fmla="*/ 33 h 38"/>
                <a:gd name="T4" fmla="*/ 57 w 57"/>
                <a:gd name="T5" fmla="*/ 11 h 38"/>
                <a:gd name="T6" fmla="*/ 4 w 57"/>
                <a:gd name="T7" fmla="*/ 0 h 38"/>
                <a:gd name="T8" fmla="*/ 0 w 57"/>
                <a:gd name="T9" fmla="*/ 31 h 38"/>
                <a:gd name="T10" fmla="*/ 23 w 57"/>
                <a:gd name="T1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8">
                  <a:moveTo>
                    <a:pt x="23" y="25"/>
                  </a:moveTo>
                  <a:cubicBezTo>
                    <a:pt x="30" y="25"/>
                    <a:pt x="26" y="34"/>
                    <a:pt x="35" y="33"/>
                  </a:cubicBezTo>
                  <a:cubicBezTo>
                    <a:pt x="43" y="26"/>
                    <a:pt x="42" y="13"/>
                    <a:pt x="57" y="11"/>
                  </a:cubicBezTo>
                  <a:cubicBezTo>
                    <a:pt x="37" y="9"/>
                    <a:pt x="25" y="2"/>
                    <a:pt x="4" y="0"/>
                  </a:cubicBezTo>
                  <a:cubicBezTo>
                    <a:pt x="7" y="13"/>
                    <a:pt x="0" y="19"/>
                    <a:pt x="0" y="31"/>
                  </a:cubicBezTo>
                  <a:cubicBezTo>
                    <a:pt x="11" y="38"/>
                    <a:pt x="10" y="23"/>
                    <a:pt x="23" y="2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81"/>
            <p:cNvSpPr>
              <a:spLocks/>
            </p:cNvSpPr>
            <p:nvPr/>
          </p:nvSpPr>
          <p:spPr bwMode="auto">
            <a:xfrm>
              <a:off x="10321925" y="4525963"/>
              <a:ext cx="287338" cy="269875"/>
            </a:xfrm>
            <a:custGeom>
              <a:avLst/>
              <a:gdLst>
                <a:gd name="T0" fmla="*/ 1 w 100"/>
                <a:gd name="T1" fmla="*/ 77 h 94"/>
                <a:gd name="T2" fmla="*/ 16 w 100"/>
                <a:gd name="T3" fmla="*/ 94 h 94"/>
                <a:gd name="T4" fmla="*/ 39 w 100"/>
                <a:gd name="T5" fmla="*/ 75 h 94"/>
                <a:gd name="T6" fmla="*/ 50 w 100"/>
                <a:gd name="T7" fmla="*/ 77 h 94"/>
                <a:gd name="T8" fmla="*/ 100 w 100"/>
                <a:gd name="T9" fmla="*/ 55 h 94"/>
                <a:gd name="T10" fmla="*/ 92 w 100"/>
                <a:gd name="T11" fmla="*/ 0 h 94"/>
                <a:gd name="T12" fmla="*/ 77 w 100"/>
                <a:gd name="T13" fmla="*/ 0 h 94"/>
                <a:gd name="T14" fmla="*/ 81 w 100"/>
                <a:gd name="T15" fmla="*/ 33 h 94"/>
                <a:gd name="T16" fmla="*/ 77 w 100"/>
                <a:gd name="T17" fmla="*/ 39 h 94"/>
                <a:gd name="T18" fmla="*/ 43 w 100"/>
                <a:gd name="T19" fmla="*/ 55 h 94"/>
                <a:gd name="T20" fmla="*/ 5 w 100"/>
                <a:gd name="T21" fmla="*/ 72 h 94"/>
                <a:gd name="T22" fmla="*/ 24 w 100"/>
                <a:gd name="T23" fmla="*/ 77 h 94"/>
                <a:gd name="T24" fmla="*/ 1 w 100"/>
                <a:gd name="T25" fmla="*/ 7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94">
                  <a:moveTo>
                    <a:pt x="1" y="77"/>
                  </a:moveTo>
                  <a:cubicBezTo>
                    <a:pt x="0" y="87"/>
                    <a:pt x="10" y="89"/>
                    <a:pt x="16" y="94"/>
                  </a:cubicBezTo>
                  <a:cubicBezTo>
                    <a:pt x="19" y="84"/>
                    <a:pt x="28" y="79"/>
                    <a:pt x="39" y="75"/>
                  </a:cubicBezTo>
                  <a:cubicBezTo>
                    <a:pt x="44" y="75"/>
                    <a:pt x="47" y="76"/>
                    <a:pt x="50" y="77"/>
                  </a:cubicBezTo>
                  <a:cubicBezTo>
                    <a:pt x="62" y="67"/>
                    <a:pt x="87" y="66"/>
                    <a:pt x="100" y="55"/>
                  </a:cubicBezTo>
                  <a:cubicBezTo>
                    <a:pt x="99" y="36"/>
                    <a:pt x="91" y="21"/>
                    <a:pt x="92" y="0"/>
                  </a:cubicBezTo>
                  <a:cubicBezTo>
                    <a:pt x="87" y="0"/>
                    <a:pt x="82" y="0"/>
                    <a:pt x="77" y="0"/>
                  </a:cubicBezTo>
                  <a:cubicBezTo>
                    <a:pt x="81" y="13"/>
                    <a:pt x="75" y="19"/>
                    <a:pt x="81" y="33"/>
                  </a:cubicBezTo>
                  <a:cubicBezTo>
                    <a:pt x="78" y="34"/>
                    <a:pt x="76" y="36"/>
                    <a:pt x="77" y="39"/>
                  </a:cubicBezTo>
                  <a:cubicBezTo>
                    <a:pt x="63" y="43"/>
                    <a:pt x="56" y="46"/>
                    <a:pt x="43" y="55"/>
                  </a:cubicBezTo>
                  <a:cubicBezTo>
                    <a:pt x="29" y="60"/>
                    <a:pt x="5" y="57"/>
                    <a:pt x="5" y="72"/>
                  </a:cubicBezTo>
                  <a:cubicBezTo>
                    <a:pt x="3" y="80"/>
                    <a:pt x="25" y="70"/>
                    <a:pt x="24" y="77"/>
                  </a:cubicBezTo>
                  <a:cubicBezTo>
                    <a:pt x="16" y="77"/>
                    <a:pt x="8" y="77"/>
                    <a:pt x="1" y="7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82"/>
            <p:cNvSpPr>
              <a:spLocks/>
            </p:cNvSpPr>
            <p:nvPr/>
          </p:nvSpPr>
          <p:spPr bwMode="auto">
            <a:xfrm>
              <a:off x="7659688" y="4672013"/>
              <a:ext cx="73025" cy="38100"/>
            </a:xfrm>
            <a:custGeom>
              <a:avLst/>
              <a:gdLst>
                <a:gd name="T0" fmla="*/ 0 w 25"/>
                <a:gd name="T1" fmla="*/ 4 h 13"/>
                <a:gd name="T2" fmla="*/ 23 w 25"/>
                <a:gd name="T3" fmla="*/ 13 h 13"/>
                <a:gd name="T4" fmla="*/ 4 w 25"/>
                <a:gd name="T5" fmla="*/ 2 h 13"/>
                <a:gd name="T6" fmla="*/ 0 w 25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3">
                  <a:moveTo>
                    <a:pt x="0" y="4"/>
                  </a:moveTo>
                  <a:cubicBezTo>
                    <a:pt x="1" y="12"/>
                    <a:pt x="12" y="7"/>
                    <a:pt x="23" y="13"/>
                  </a:cubicBezTo>
                  <a:cubicBezTo>
                    <a:pt x="25" y="2"/>
                    <a:pt x="17" y="0"/>
                    <a:pt x="4" y="2"/>
                  </a:cubicBezTo>
                  <a:cubicBezTo>
                    <a:pt x="4" y="4"/>
                    <a:pt x="2" y="4"/>
                    <a:pt x="0" y="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83"/>
            <p:cNvSpPr>
              <a:spLocks/>
            </p:cNvSpPr>
            <p:nvPr/>
          </p:nvSpPr>
          <p:spPr bwMode="auto">
            <a:xfrm>
              <a:off x="10094913" y="4913313"/>
              <a:ext cx="77788" cy="88900"/>
            </a:xfrm>
            <a:custGeom>
              <a:avLst/>
              <a:gdLst>
                <a:gd name="T0" fmla="*/ 0 w 27"/>
                <a:gd name="T1" fmla="*/ 14 h 31"/>
                <a:gd name="T2" fmla="*/ 11 w 27"/>
                <a:gd name="T3" fmla="*/ 31 h 31"/>
                <a:gd name="T4" fmla="*/ 27 w 27"/>
                <a:gd name="T5" fmla="*/ 6 h 31"/>
                <a:gd name="T6" fmla="*/ 0 w 27"/>
                <a:gd name="T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1">
                  <a:moveTo>
                    <a:pt x="0" y="14"/>
                  </a:moveTo>
                  <a:cubicBezTo>
                    <a:pt x="6" y="18"/>
                    <a:pt x="10" y="23"/>
                    <a:pt x="11" y="31"/>
                  </a:cubicBezTo>
                  <a:cubicBezTo>
                    <a:pt x="27" y="30"/>
                    <a:pt x="26" y="17"/>
                    <a:pt x="27" y="6"/>
                  </a:cubicBezTo>
                  <a:cubicBezTo>
                    <a:pt x="17" y="0"/>
                    <a:pt x="4" y="8"/>
                    <a:pt x="0" y="1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84"/>
            <p:cNvSpPr>
              <a:spLocks/>
            </p:cNvSpPr>
            <p:nvPr/>
          </p:nvSpPr>
          <p:spPr bwMode="auto">
            <a:xfrm>
              <a:off x="5038725" y="4930775"/>
              <a:ext cx="44450" cy="31750"/>
            </a:xfrm>
            <a:custGeom>
              <a:avLst/>
              <a:gdLst>
                <a:gd name="T0" fmla="*/ 0 w 15"/>
                <a:gd name="T1" fmla="*/ 0 h 11"/>
                <a:gd name="T2" fmla="*/ 0 w 15"/>
                <a:gd name="T3" fmla="*/ 11 h 11"/>
                <a:gd name="T4" fmla="*/ 15 w 15"/>
                <a:gd name="T5" fmla="*/ 11 h 11"/>
                <a:gd name="T6" fmla="*/ 0 w 1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0" y="0"/>
                  </a:moveTo>
                  <a:cubicBezTo>
                    <a:pt x="0" y="3"/>
                    <a:pt x="0" y="7"/>
                    <a:pt x="0" y="11"/>
                  </a:cubicBezTo>
                  <a:cubicBezTo>
                    <a:pt x="5" y="11"/>
                    <a:pt x="10" y="11"/>
                    <a:pt x="15" y="11"/>
                  </a:cubicBezTo>
                  <a:cubicBezTo>
                    <a:pt x="15" y="4"/>
                    <a:pt x="10" y="0"/>
                    <a:pt x="0" y="0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85"/>
            <p:cNvSpPr>
              <a:spLocks/>
            </p:cNvSpPr>
            <p:nvPr/>
          </p:nvSpPr>
          <p:spPr bwMode="auto">
            <a:xfrm>
              <a:off x="5111750" y="4930775"/>
              <a:ext cx="50800" cy="42863"/>
            </a:xfrm>
            <a:custGeom>
              <a:avLst/>
              <a:gdLst>
                <a:gd name="T0" fmla="*/ 17 w 18"/>
                <a:gd name="T1" fmla="*/ 13 h 15"/>
                <a:gd name="T2" fmla="*/ 13 w 18"/>
                <a:gd name="T3" fmla="*/ 0 h 15"/>
                <a:gd name="T4" fmla="*/ 1 w 18"/>
                <a:gd name="T5" fmla="*/ 0 h 15"/>
                <a:gd name="T6" fmla="*/ 17 w 18"/>
                <a:gd name="T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7" y="13"/>
                  </a:moveTo>
                  <a:cubicBezTo>
                    <a:pt x="18" y="7"/>
                    <a:pt x="16" y="3"/>
                    <a:pt x="13" y="0"/>
                  </a:cubicBezTo>
                  <a:cubicBezTo>
                    <a:pt x="9" y="0"/>
                    <a:pt x="5" y="0"/>
                    <a:pt x="1" y="0"/>
                  </a:cubicBezTo>
                  <a:cubicBezTo>
                    <a:pt x="0" y="9"/>
                    <a:pt x="3" y="15"/>
                    <a:pt x="17" y="13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86"/>
            <p:cNvSpPr>
              <a:spLocks/>
            </p:cNvSpPr>
            <p:nvPr/>
          </p:nvSpPr>
          <p:spPr bwMode="auto">
            <a:xfrm>
              <a:off x="5172075" y="4962525"/>
              <a:ext cx="42863" cy="42863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14 h 15"/>
                <a:gd name="T4" fmla="*/ 15 w 15"/>
                <a:gd name="T5" fmla="*/ 11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4"/>
                    <a:pt x="0" y="9"/>
                    <a:pt x="0" y="14"/>
                  </a:cubicBezTo>
                  <a:cubicBezTo>
                    <a:pt x="7" y="15"/>
                    <a:pt x="10" y="12"/>
                    <a:pt x="15" y="11"/>
                  </a:cubicBezTo>
                  <a:cubicBezTo>
                    <a:pt x="14" y="4"/>
                    <a:pt x="9" y="0"/>
                    <a:pt x="0" y="0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7"/>
            <p:cNvSpPr>
              <a:spLocks/>
            </p:cNvSpPr>
            <p:nvPr/>
          </p:nvSpPr>
          <p:spPr bwMode="auto">
            <a:xfrm>
              <a:off x="4884738" y="4976813"/>
              <a:ext cx="415925" cy="127000"/>
            </a:xfrm>
            <a:custGeom>
              <a:avLst/>
              <a:gdLst>
                <a:gd name="T0" fmla="*/ 92 w 145"/>
                <a:gd name="T1" fmla="*/ 39 h 44"/>
                <a:gd name="T2" fmla="*/ 119 w 145"/>
                <a:gd name="T3" fmla="*/ 44 h 44"/>
                <a:gd name="T4" fmla="*/ 145 w 145"/>
                <a:gd name="T5" fmla="*/ 39 h 44"/>
                <a:gd name="T6" fmla="*/ 96 w 145"/>
                <a:gd name="T7" fmla="*/ 22 h 44"/>
                <a:gd name="T8" fmla="*/ 88 w 145"/>
                <a:gd name="T9" fmla="*/ 11 h 44"/>
                <a:gd name="T10" fmla="*/ 65 w 145"/>
                <a:gd name="T11" fmla="*/ 0 h 44"/>
                <a:gd name="T12" fmla="*/ 8 w 145"/>
                <a:gd name="T13" fmla="*/ 0 h 44"/>
                <a:gd name="T14" fmla="*/ 1 w 145"/>
                <a:gd name="T15" fmla="*/ 14 h 44"/>
                <a:gd name="T16" fmla="*/ 35 w 145"/>
                <a:gd name="T17" fmla="*/ 9 h 44"/>
                <a:gd name="T18" fmla="*/ 69 w 145"/>
                <a:gd name="T19" fmla="*/ 25 h 44"/>
                <a:gd name="T20" fmla="*/ 100 w 145"/>
                <a:gd name="T21" fmla="*/ 28 h 44"/>
                <a:gd name="T22" fmla="*/ 92 w 145"/>
                <a:gd name="T23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44">
                  <a:moveTo>
                    <a:pt x="92" y="39"/>
                  </a:moveTo>
                  <a:cubicBezTo>
                    <a:pt x="106" y="37"/>
                    <a:pt x="110" y="42"/>
                    <a:pt x="119" y="44"/>
                  </a:cubicBezTo>
                  <a:cubicBezTo>
                    <a:pt x="119" y="36"/>
                    <a:pt x="134" y="39"/>
                    <a:pt x="145" y="39"/>
                  </a:cubicBezTo>
                  <a:cubicBezTo>
                    <a:pt x="140" y="21"/>
                    <a:pt x="119" y="23"/>
                    <a:pt x="96" y="22"/>
                  </a:cubicBezTo>
                  <a:cubicBezTo>
                    <a:pt x="99" y="15"/>
                    <a:pt x="88" y="17"/>
                    <a:pt x="88" y="11"/>
                  </a:cubicBezTo>
                  <a:cubicBezTo>
                    <a:pt x="80" y="8"/>
                    <a:pt x="67" y="8"/>
                    <a:pt x="65" y="0"/>
                  </a:cubicBezTo>
                  <a:cubicBezTo>
                    <a:pt x="46" y="0"/>
                    <a:pt x="27" y="0"/>
                    <a:pt x="8" y="0"/>
                  </a:cubicBezTo>
                  <a:cubicBezTo>
                    <a:pt x="7" y="6"/>
                    <a:pt x="0" y="7"/>
                    <a:pt x="1" y="14"/>
                  </a:cubicBezTo>
                  <a:cubicBezTo>
                    <a:pt x="16" y="15"/>
                    <a:pt x="16" y="5"/>
                    <a:pt x="35" y="9"/>
                  </a:cubicBezTo>
                  <a:cubicBezTo>
                    <a:pt x="51" y="11"/>
                    <a:pt x="53" y="23"/>
                    <a:pt x="69" y="25"/>
                  </a:cubicBezTo>
                  <a:cubicBezTo>
                    <a:pt x="78" y="27"/>
                    <a:pt x="97" y="22"/>
                    <a:pt x="100" y="28"/>
                  </a:cubicBezTo>
                  <a:cubicBezTo>
                    <a:pt x="86" y="28"/>
                    <a:pt x="90" y="32"/>
                    <a:pt x="92" y="39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88"/>
            <p:cNvSpPr>
              <a:spLocks/>
            </p:cNvSpPr>
            <p:nvPr/>
          </p:nvSpPr>
          <p:spPr bwMode="auto">
            <a:xfrm>
              <a:off x="5191125" y="4991100"/>
              <a:ext cx="77788" cy="38100"/>
            </a:xfrm>
            <a:custGeom>
              <a:avLst/>
              <a:gdLst>
                <a:gd name="T0" fmla="*/ 23 w 27"/>
                <a:gd name="T1" fmla="*/ 4 h 13"/>
                <a:gd name="T2" fmla="*/ 8 w 27"/>
                <a:gd name="T3" fmla="*/ 1 h 13"/>
                <a:gd name="T4" fmla="*/ 23 w 27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3">
                  <a:moveTo>
                    <a:pt x="23" y="4"/>
                  </a:moveTo>
                  <a:cubicBezTo>
                    <a:pt x="22" y="0"/>
                    <a:pt x="13" y="1"/>
                    <a:pt x="8" y="1"/>
                  </a:cubicBezTo>
                  <a:cubicBezTo>
                    <a:pt x="0" y="11"/>
                    <a:pt x="27" y="13"/>
                    <a:pt x="23" y="4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189"/>
            <p:cNvSpPr>
              <a:spLocks/>
            </p:cNvSpPr>
            <p:nvPr/>
          </p:nvSpPr>
          <p:spPr bwMode="auto">
            <a:xfrm>
              <a:off x="10137775" y="5037138"/>
              <a:ext cx="117475" cy="98425"/>
            </a:xfrm>
            <a:custGeom>
              <a:avLst/>
              <a:gdLst>
                <a:gd name="T0" fmla="*/ 0 w 41"/>
                <a:gd name="T1" fmla="*/ 18 h 34"/>
                <a:gd name="T2" fmla="*/ 23 w 41"/>
                <a:gd name="T3" fmla="*/ 34 h 34"/>
                <a:gd name="T4" fmla="*/ 38 w 41"/>
                <a:gd name="T5" fmla="*/ 10 h 34"/>
                <a:gd name="T6" fmla="*/ 0 w 41"/>
                <a:gd name="T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4">
                  <a:moveTo>
                    <a:pt x="0" y="18"/>
                  </a:moveTo>
                  <a:cubicBezTo>
                    <a:pt x="6" y="25"/>
                    <a:pt x="14" y="30"/>
                    <a:pt x="23" y="34"/>
                  </a:cubicBezTo>
                  <a:cubicBezTo>
                    <a:pt x="28" y="26"/>
                    <a:pt x="41" y="23"/>
                    <a:pt x="38" y="10"/>
                  </a:cubicBezTo>
                  <a:cubicBezTo>
                    <a:pt x="28" y="0"/>
                    <a:pt x="0" y="4"/>
                    <a:pt x="0" y="18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190"/>
            <p:cNvSpPr>
              <a:spLocks/>
            </p:cNvSpPr>
            <p:nvPr/>
          </p:nvSpPr>
          <p:spPr bwMode="auto">
            <a:xfrm>
              <a:off x="9855200" y="5057775"/>
              <a:ext cx="63500" cy="53975"/>
            </a:xfrm>
            <a:custGeom>
              <a:avLst/>
              <a:gdLst>
                <a:gd name="T0" fmla="*/ 7 w 22"/>
                <a:gd name="T1" fmla="*/ 19 h 19"/>
                <a:gd name="T2" fmla="*/ 22 w 22"/>
                <a:gd name="T3" fmla="*/ 3 h 19"/>
                <a:gd name="T4" fmla="*/ 7 w 22"/>
                <a:gd name="T5" fmla="*/ 0 h 19"/>
                <a:gd name="T6" fmla="*/ 7 w 22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7" y="19"/>
                  </a:moveTo>
                  <a:cubicBezTo>
                    <a:pt x="18" y="18"/>
                    <a:pt x="18" y="8"/>
                    <a:pt x="22" y="3"/>
                  </a:cubicBezTo>
                  <a:cubicBezTo>
                    <a:pt x="19" y="0"/>
                    <a:pt x="14" y="0"/>
                    <a:pt x="7" y="0"/>
                  </a:cubicBezTo>
                  <a:cubicBezTo>
                    <a:pt x="0" y="11"/>
                    <a:pt x="2" y="2"/>
                    <a:pt x="7" y="19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191"/>
            <p:cNvSpPr>
              <a:spLocks/>
            </p:cNvSpPr>
            <p:nvPr/>
          </p:nvSpPr>
          <p:spPr bwMode="auto">
            <a:xfrm>
              <a:off x="5027613" y="5065713"/>
              <a:ext cx="84138" cy="41275"/>
            </a:xfrm>
            <a:custGeom>
              <a:avLst/>
              <a:gdLst>
                <a:gd name="T0" fmla="*/ 0 w 29"/>
                <a:gd name="T1" fmla="*/ 2 h 14"/>
                <a:gd name="T2" fmla="*/ 0 w 29"/>
                <a:gd name="T3" fmla="*/ 13 h 14"/>
                <a:gd name="T4" fmla="*/ 27 w 29"/>
                <a:gd name="T5" fmla="*/ 11 h 14"/>
                <a:gd name="T6" fmla="*/ 0 w 29"/>
                <a:gd name="T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4">
                  <a:moveTo>
                    <a:pt x="0" y="2"/>
                  </a:moveTo>
                  <a:cubicBezTo>
                    <a:pt x="0" y="6"/>
                    <a:pt x="0" y="10"/>
                    <a:pt x="0" y="13"/>
                  </a:cubicBezTo>
                  <a:cubicBezTo>
                    <a:pt x="13" y="10"/>
                    <a:pt x="13" y="14"/>
                    <a:pt x="27" y="11"/>
                  </a:cubicBezTo>
                  <a:cubicBezTo>
                    <a:pt x="29" y="0"/>
                    <a:pt x="12" y="3"/>
                    <a:pt x="0" y="2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192"/>
            <p:cNvSpPr>
              <a:spLocks/>
            </p:cNvSpPr>
            <p:nvPr/>
          </p:nvSpPr>
          <p:spPr bwMode="auto">
            <a:xfrm>
              <a:off x="5324475" y="5072063"/>
              <a:ext cx="74613" cy="34925"/>
            </a:xfrm>
            <a:custGeom>
              <a:avLst/>
              <a:gdLst>
                <a:gd name="T0" fmla="*/ 0 w 26"/>
                <a:gd name="T1" fmla="*/ 11 h 12"/>
                <a:gd name="T2" fmla="*/ 22 w 26"/>
                <a:gd name="T3" fmla="*/ 0 h 12"/>
                <a:gd name="T4" fmla="*/ 0 w 26"/>
                <a:gd name="T5" fmla="*/ 0 h 12"/>
                <a:gd name="T6" fmla="*/ 0 w 2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0" y="11"/>
                  </a:moveTo>
                  <a:cubicBezTo>
                    <a:pt x="13" y="12"/>
                    <a:pt x="26" y="12"/>
                    <a:pt x="22" y="0"/>
                  </a:cubicBezTo>
                  <a:cubicBezTo>
                    <a:pt x="15" y="0"/>
                    <a:pt x="7" y="0"/>
                    <a:pt x="0" y="0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193"/>
            <p:cNvSpPr>
              <a:spLocks/>
            </p:cNvSpPr>
            <p:nvPr/>
          </p:nvSpPr>
          <p:spPr bwMode="auto">
            <a:xfrm>
              <a:off x="6438900" y="5103813"/>
              <a:ext cx="53975" cy="31750"/>
            </a:xfrm>
            <a:custGeom>
              <a:avLst/>
              <a:gdLst>
                <a:gd name="T0" fmla="*/ 11 w 19"/>
                <a:gd name="T1" fmla="*/ 0 h 11"/>
                <a:gd name="T2" fmla="*/ 3 w 19"/>
                <a:gd name="T3" fmla="*/ 11 h 11"/>
                <a:gd name="T4" fmla="*/ 18 w 19"/>
                <a:gd name="T5" fmla="*/ 11 h 11"/>
                <a:gd name="T6" fmla="*/ 11 w 19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1">
                  <a:moveTo>
                    <a:pt x="11" y="0"/>
                  </a:moveTo>
                  <a:cubicBezTo>
                    <a:pt x="11" y="6"/>
                    <a:pt x="0" y="4"/>
                    <a:pt x="3" y="11"/>
                  </a:cubicBezTo>
                  <a:cubicBezTo>
                    <a:pt x="8" y="11"/>
                    <a:pt x="13" y="11"/>
                    <a:pt x="18" y="11"/>
                  </a:cubicBezTo>
                  <a:cubicBezTo>
                    <a:pt x="19" y="5"/>
                    <a:pt x="17" y="1"/>
                    <a:pt x="11" y="0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194"/>
            <p:cNvSpPr>
              <a:spLocks/>
            </p:cNvSpPr>
            <p:nvPr/>
          </p:nvSpPr>
          <p:spPr bwMode="auto">
            <a:xfrm>
              <a:off x="10226675" y="5153025"/>
              <a:ext cx="184150" cy="117475"/>
            </a:xfrm>
            <a:custGeom>
              <a:avLst/>
              <a:gdLst>
                <a:gd name="T0" fmla="*/ 0 w 64"/>
                <a:gd name="T1" fmla="*/ 27 h 41"/>
                <a:gd name="T2" fmla="*/ 22 w 64"/>
                <a:gd name="T3" fmla="*/ 27 h 41"/>
                <a:gd name="T4" fmla="*/ 26 w 64"/>
                <a:gd name="T5" fmla="*/ 41 h 41"/>
                <a:gd name="T6" fmla="*/ 60 w 64"/>
                <a:gd name="T7" fmla="*/ 30 h 41"/>
                <a:gd name="T8" fmla="*/ 41 w 64"/>
                <a:gd name="T9" fmla="*/ 14 h 41"/>
                <a:gd name="T10" fmla="*/ 26 w 64"/>
                <a:gd name="T11" fmla="*/ 0 h 41"/>
                <a:gd name="T12" fmla="*/ 22 w 64"/>
                <a:gd name="T13" fmla="*/ 19 h 41"/>
                <a:gd name="T14" fmla="*/ 0 w 64"/>
                <a:gd name="T15" fmla="*/ 2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41">
                  <a:moveTo>
                    <a:pt x="0" y="27"/>
                  </a:moveTo>
                  <a:cubicBezTo>
                    <a:pt x="8" y="33"/>
                    <a:pt x="10" y="26"/>
                    <a:pt x="22" y="27"/>
                  </a:cubicBezTo>
                  <a:cubicBezTo>
                    <a:pt x="21" y="34"/>
                    <a:pt x="14" y="39"/>
                    <a:pt x="26" y="41"/>
                  </a:cubicBezTo>
                  <a:cubicBezTo>
                    <a:pt x="32" y="33"/>
                    <a:pt x="42" y="29"/>
                    <a:pt x="60" y="30"/>
                  </a:cubicBezTo>
                  <a:cubicBezTo>
                    <a:pt x="64" y="18"/>
                    <a:pt x="48" y="19"/>
                    <a:pt x="41" y="14"/>
                  </a:cubicBezTo>
                  <a:cubicBezTo>
                    <a:pt x="42" y="5"/>
                    <a:pt x="37" y="0"/>
                    <a:pt x="26" y="0"/>
                  </a:cubicBezTo>
                  <a:cubicBezTo>
                    <a:pt x="21" y="3"/>
                    <a:pt x="22" y="12"/>
                    <a:pt x="22" y="19"/>
                  </a:cubicBezTo>
                  <a:cubicBezTo>
                    <a:pt x="10" y="14"/>
                    <a:pt x="6" y="21"/>
                    <a:pt x="0" y="2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195"/>
            <p:cNvSpPr>
              <a:spLocks/>
            </p:cNvSpPr>
            <p:nvPr/>
          </p:nvSpPr>
          <p:spPr bwMode="auto">
            <a:xfrm>
              <a:off x="9102725" y="5256213"/>
              <a:ext cx="98425" cy="82550"/>
            </a:xfrm>
            <a:custGeom>
              <a:avLst/>
              <a:gdLst>
                <a:gd name="T0" fmla="*/ 14 w 34"/>
                <a:gd name="T1" fmla="*/ 0 h 29"/>
                <a:gd name="T2" fmla="*/ 14 w 34"/>
                <a:gd name="T3" fmla="*/ 27 h 29"/>
                <a:gd name="T4" fmla="*/ 34 w 34"/>
                <a:gd name="T5" fmla="*/ 19 h 29"/>
                <a:gd name="T6" fmla="*/ 14 w 34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9">
                  <a:moveTo>
                    <a:pt x="14" y="0"/>
                  </a:moveTo>
                  <a:cubicBezTo>
                    <a:pt x="20" y="16"/>
                    <a:pt x="0" y="19"/>
                    <a:pt x="14" y="27"/>
                  </a:cubicBezTo>
                  <a:cubicBezTo>
                    <a:pt x="26" y="29"/>
                    <a:pt x="25" y="20"/>
                    <a:pt x="34" y="19"/>
                  </a:cubicBezTo>
                  <a:cubicBezTo>
                    <a:pt x="30" y="10"/>
                    <a:pt x="22" y="5"/>
                    <a:pt x="14" y="0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196"/>
            <p:cNvSpPr>
              <a:spLocks/>
            </p:cNvSpPr>
            <p:nvPr/>
          </p:nvSpPr>
          <p:spPr bwMode="auto">
            <a:xfrm>
              <a:off x="9864725" y="5324475"/>
              <a:ext cx="279400" cy="258763"/>
            </a:xfrm>
            <a:custGeom>
              <a:avLst/>
              <a:gdLst>
                <a:gd name="T0" fmla="*/ 0 w 97"/>
                <a:gd name="T1" fmla="*/ 50 h 90"/>
                <a:gd name="T2" fmla="*/ 19 w 97"/>
                <a:gd name="T3" fmla="*/ 78 h 90"/>
                <a:gd name="T4" fmla="*/ 65 w 97"/>
                <a:gd name="T5" fmla="*/ 86 h 90"/>
                <a:gd name="T6" fmla="*/ 76 w 97"/>
                <a:gd name="T7" fmla="*/ 78 h 90"/>
                <a:gd name="T8" fmla="*/ 69 w 97"/>
                <a:gd name="T9" fmla="*/ 75 h 90"/>
                <a:gd name="T10" fmla="*/ 88 w 97"/>
                <a:gd name="T11" fmla="*/ 50 h 90"/>
                <a:gd name="T12" fmla="*/ 84 w 97"/>
                <a:gd name="T13" fmla="*/ 25 h 90"/>
                <a:gd name="T14" fmla="*/ 95 w 97"/>
                <a:gd name="T15" fmla="*/ 12 h 90"/>
                <a:gd name="T16" fmla="*/ 61 w 97"/>
                <a:gd name="T17" fmla="*/ 0 h 90"/>
                <a:gd name="T18" fmla="*/ 0 w 97"/>
                <a:gd name="T19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90">
                  <a:moveTo>
                    <a:pt x="0" y="50"/>
                  </a:moveTo>
                  <a:cubicBezTo>
                    <a:pt x="4" y="61"/>
                    <a:pt x="20" y="63"/>
                    <a:pt x="19" y="78"/>
                  </a:cubicBezTo>
                  <a:cubicBezTo>
                    <a:pt x="44" y="74"/>
                    <a:pt x="40" y="90"/>
                    <a:pt x="65" y="86"/>
                  </a:cubicBezTo>
                  <a:cubicBezTo>
                    <a:pt x="64" y="80"/>
                    <a:pt x="76" y="83"/>
                    <a:pt x="76" y="78"/>
                  </a:cubicBezTo>
                  <a:cubicBezTo>
                    <a:pt x="73" y="77"/>
                    <a:pt x="69" y="78"/>
                    <a:pt x="69" y="75"/>
                  </a:cubicBezTo>
                  <a:cubicBezTo>
                    <a:pt x="81" y="71"/>
                    <a:pt x="75" y="54"/>
                    <a:pt x="88" y="50"/>
                  </a:cubicBezTo>
                  <a:cubicBezTo>
                    <a:pt x="79" y="41"/>
                    <a:pt x="91" y="32"/>
                    <a:pt x="84" y="25"/>
                  </a:cubicBezTo>
                  <a:cubicBezTo>
                    <a:pt x="90" y="23"/>
                    <a:pt x="97" y="20"/>
                    <a:pt x="95" y="12"/>
                  </a:cubicBezTo>
                  <a:cubicBezTo>
                    <a:pt x="86" y="6"/>
                    <a:pt x="79" y="0"/>
                    <a:pt x="61" y="0"/>
                  </a:cubicBezTo>
                  <a:cubicBezTo>
                    <a:pt x="57" y="29"/>
                    <a:pt x="7" y="24"/>
                    <a:pt x="0" y="50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197"/>
            <p:cNvSpPr>
              <a:spLocks/>
            </p:cNvSpPr>
            <p:nvPr/>
          </p:nvSpPr>
          <p:spPr bwMode="auto">
            <a:xfrm>
              <a:off x="9517063" y="5341938"/>
              <a:ext cx="276225" cy="247650"/>
            </a:xfrm>
            <a:custGeom>
              <a:avLst/>
              <a:gdLst>
                <a:gd name="T0" fmla="*/ 49 w 96"/>
                <a:gd name="T1" fmla="*/ 25 h 86"/>
                <a:gd name="T2" fmla="*/ 34 w 96"/>
                <a:gd name="T3" fmla="*/ 6 h 86"/>
                <a:gd name="T4" fmla="*/ 19 w 96"/>
                <a:gd name="T5" fmla="*/ 0 h 86"/>
                <a:gd name="T6" fmla="*/ 0 w 96"/>
                <a:gd name="T7" fmla="*/ 3 h 86"/>
                <a:gd name="T8" fmla="*/ 45 w 96"/>
                <a:gd name="T9" fmla="*/ 66 h 86"/>
                <a:gd name="T10" fmla="*/ 87 w 96"/>
                <a:gd name="T11" fmla="*/ 80 h 86"/>
                <a:gd name="T12" fmla="*/ 80 w 96"/>
                <a:gd name="T13" fmla="*/ 44 h 86"/>
                <a:gd name="T14" fmla="*/ 49 w 96"/>
                <a:gd name="T15" fmla="*/ 2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86">
                  <a:moveTo>
                    <a:pt x="49" y="25"/>
                  </a:moveTo>
                  <a:cubicBezTo>
                    <a:pt x="43" y="18"/>
                    <a:pt x="31" y="14"/>
                    <a:pt x="34" y="6"/>
                  </a:cubicBezTo>
                  <a:cubicBezTo>
                    <a:pt x="24" y="8"/>
                    <a:pt x="26" y="0"/>
                    <a:pt x="19" y="0"/>
                  </a:cubicBezTo>
                  <a:cubicBezTo>
                    <a:pt x="19" y="12"/>
                    <a:pt x="9" y="0"/>
                    <a:pt x="0" y="3"/>
                  </a:cubicBezTo>
                  <a:cubicBezTo>
                    <a:pt x="0" y="35"/>
                    <a:pt x="53" y="28"/>
                    <a:pt x="45" y="66"/>
                  </a:cubicBezTo>
                  <a:cubicBezTo>
                    <a:pt x="64" y="68"/>
                    <a:pt x="69" y="86"/>
                    <a:pt x="87" y="80"/>
                  </a:cubicBezTo>
                  <a:cubicBezTo>
                    <a:pt x="96" y="69"/>
                    <a:pt x="79" y="57"/>
                    <a:pt x="80" y="44"/>
                  </a:cubicBezTo>
                  <a:cubicBezTo>
                    <a:pt x="68" y="38"/>
                    <a:pt x="54" y="31"/>
                    <a:pt x="49" y="2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198"/>
            <p:cNvSpPr>
              <a:spLocks/>
            </p:cNvSpPr>
            <p:nvPr/>
          </p:nvSpPr>
          <p:spPr bwMode="auto">
            <a:xfrm>
              <a:off x="10085388" y="5427663"/>
              <a:ext cx="184150" cy="152400"/>
            </a:xfrm>
            <a:custGeom>
              <a:avLst/>
              <a:gdLst>
                <a:gd name="T0" fmla="*/ 64 w 64"/>
                <a:gd name="T1" fmla="*/ 17 h 53"/>
                <a:gd name="T2" fmla="*/ 33 w 64"/>
                <a:gd name="T3" fmla="*/ 0 h 53"/>
                <a:gd name="T4" fmla="*/ 30 w 64"/>
                <a:gd name="T5" fmla="*/ 53 h 53"/>
                <a:gd name="T6" fmla="*/ 37 w 64"/>
                <a:gd name="T7" fmla="*/ 36 h 53"/>
                <a:gd name="T8" fmla="*/ 60 w 64"/>
                <a:gd name="T9" fmla="*/ 44 h 53"/>
                <a:gd name="T10" fmla="*/ 45 w 64"/>
                <a:gd name="T11" fmla="*/ 17 h 53"/>
                <a:gd name="T12" fmla="*/ 64 w 64"/>
                <a:gd name="T13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53">
                  <a:moveTo>
                    <a:pt x="64" y="17"/>
                  </a:moveTo>
                  <a:cubicBezTo>
                    <a:pt x="63" y="5"/>
                    <a:pt x="40" y="8"/>
                    <a:pt x="33" y="0"/>
                  </a:cubicBezTo>
                  <a:cubicBezTo>
                    <a:pt x="14" y="12"/>
                    <a:pt x="0" y="42"/>
                    <a:pt x="30" y="53"/>
                  </a:cubicBezTo>
                  <a:cubicBezTo>
                    <a:pt x="29" y="45"/>
                    <a:pt x="31" y="39"/>
                    <a:pt x="37" y="36"/>
                  </a:cubicBezTo>
                  <a:cubicBezTo>
                    <a:pt x="46" y="41"/>
                    <a:pt x="46" y="50"/>
                    <a:pt x="60" y="44"/>
                  </a:cubicBezTo>
                  <a:cubicBezTo>
                    <a:pt x="58" y="33"/>
                    <a:pt x="45" y="29"/>
                    <a:pt x="45" y="17"/>
                  </a:cubicBezTo>
                  <a:cubicBezTo>
                    <a:pt x="50" y="20"/>
                    <a:pt x="59" y="20"/>
                    <a:pt x="64" y="1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199"/>
            <p:cNvSpPr>
              <a:spLocks/>
            </p:cNvSpPr>
            <p:nvPr/>
          </p:nvSpPr>
          <p:spPr bwMode="auto">
            <a:xfrm>
              <a:off x="10387013" y="5427663"/>
              <a:ext cx="120650" cy="58738"/>
            </a:xfrm>
            <a:custGeom>
              <a:avLst/>
              <a:gdLst>
                <a:gd name="T0" fmla="*/ 42 w 42"/>
                <a:gd name="T1" fmla="*/ 6 h 20"/>
                <a:gd name="T2" fmla="*/ 1 w 42"/>
                <a:gd name="T3" fmla="*/ 14 h 20"/>
                <a:gd name="T4" fmla="*/ 42 w 42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20">
                  <a:moveTo>
                    <a:pt x="42" y="6"/>
                  </a:moveTo>
                  <a:cubicBezTo>
                    <a:pt x="30" y="0"/>
                    <a:pt x="0" y="1"/>
                    <a:pt x="1" y="14"/>
                  </a:cubicBezTo>
                  <a:cubicBezTo>
                    <a:pt x="14" y="20"/>
                    <a:pt x="41" y="17"/>
                    <a:pt x="42" y="6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200"/>
            <p:cNvSpPr>
              <a:spLocks/>
            </p:cNvSpPr>
            <p:nvPr/>
          </p:nvSpPr>
          <p:spPr bwMode="auto">
            <a:xfrm>
              <a:off x="10414000" y="5476875"/>
              <a:ext cx="511175" cy="219075"/>
            </a:xfrm>
            <a:custGeom>
              <a:avLst/>
              <a:gdLst>
                <a:gd name="T0" fmla="*/ 75 w 178"/>
                <a:gd name="T1" fmla="*/ 0 h 76"/>
                <a:gd name="T2" fmla="*/ 49 w 178"/>
                <a:gd name="T3" fmla="*/ 0 h 76"/>
                <a:gd name="T4" fmla="*/ 33 w 178"/>
                <a:gd name="T5" fmla="*/ 8 h 76"/>
                <a:gd name="T6" fmla="*/ 15 w 178"/>
                <a:gd name="T7" fmla="*/ 3 h 76"/>
                <a:gd name="T8" fmla="*/ 3 w 178"/>
                <a:gd name="T9" fmla="*/ 14 h 76"/>
                <a:gd name="T10" fmla="*/ 22 w 178"/>
                <a:gd name="T11" fmla="*/ 14 h 76"/>
                <a:gd name="T12" fmla="*/ 75 w 178"/>
                <a:gd name="T13" fmla="*/ 41 h 76"/>
                <a:gd name="T14" fmla="*/ 75 w 178"/>
                <a:gd name="T15" fmla="*/ 58 h 76"/>
                <a:gd name="T16" fmla="*/ 117 w 178"/>
                <a:gd name="T17" fmla="*/ 66 h 76"/>
                <a:gd name="T18" fmla="*/ 144 w 178"/>
                <a:gd name="T19" fmla="*/ 55 h 76"/>
                <a:gd name="T20" fmla="*/ 178 w 178"/>
                <a:gd name="T21" fmla="*/ 66 h 76"/>
                <a:gd name="T22" fmla="*/ 166 w 178"/>
                <a:gd name="T23" fmla="*/ 50 h 76"/>
                <a:gd name="T24" fmla="*/ 136 w 178"/>
                <a:gd name="T25" fmla="*/ 30 h 76"/>
                <a:gd name="T26" fmla="*/ 136 w 178"/>
                <a:gd name="T27" fmla="*/ 22 h 76"/>
                <a:gd name="T28" fmla="*/ 75 w 178"/>
                <a:gd name="T2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8" h="76">
                  <a:moveTo>
                    <a:pt x="75" y="0"/>
                  </a:moveTo>
                  <a:cubicBezTo>
                    <a:pt x="66" y="0"/>
                    <a:pt x="57" y="0"/>
                    <a:pt x="49" y="0"/>
                  </a:cubicBezTo>
                  <a:cubicBezTo>
                    <a:pt x="45" y="4"/>
                    <a:pt x="43" y="9"/>
                    <a:pt x="33" y="8"/>
                  </a:cubicBezTo>
                  <a:cubicBezTo>
                    <a:pt x="22" y="10"/>
                    <a:pt x="26" y="0"/>
                    <a:pt x="15" y="3"/>
                  </a:cubicBezTo>
                  <a:cubicBezTo>
                    <a:pt x="16" y="10"/>
                    <a:pt x="0" y="5"/>
                    <a:pt x="3" y="14"/>
                  </a:cubicBezTo>
                  <a:cubicBezTo>
                    <a:pt x="4" y="20"/>
                    <a:pt x="13" y="10"/>
                    <a:pt x="22" y="14"/>
                  </a:cubicBezTo>
                  <a:cubicBezTo>
                    <a:pt x="39" y="23"/>
                    <a:pt x="61" y="29"/>
                    <a:pt x="75" y="41"/>
                  </a:cubicBezTo>
                  <a:cubicBezTo>
                    <a:pt x="75" y="47"/>
                    <a:pt x="75" y="52"/>
                    <a:pt x="75" y="58"/>
                  </a:cubicBezTo>
                  <a:cubicBezTo>
                    <a:pt x="96" y="49"/>
                    <a:pt x="102" y="63"/>
                    <a:pt x="117" y="66"/>
                  </a:cubicBezTo>
                  <a:cubicBezTo>
                    <a:pt x="130" y="66"/>
                    <a:pt x="126" y="52"/>
                    <a:pt x="144" y="55"/>
                  </a:cubicBezTo>
                  <a:cubicBezTo>
                    <a:pt x="152" y="59"/>
                    <a:pt x="163" y="76"/>
                    <a:pt x="178" y="66"/>
                  </a:cubicBezTo>
                  <a:cubicBezTo>
                    <a:pt x="170" y="64"/>
                    <a:pt x="166" y="58"/>
                    <a:pt x="166" y="50"/>
                  </a:cubicBezTo>
                  <a:cubicBezTo>
                    <a:pt x="156" y="43"/>
                    <a:pt x="142" y="39"/>
                    <a:pt x="136" y="30"/>
                  </a:cubicBezTo>
                  <a:cubicBezTo>
                    <a:pt x="136" y="27"/>
                    <a:pt x="136" y="25"/>
                    <a:pt x="136" y="22"/>
                  </a:cubicBezTo>
                  <a:cubicBezTo>
                    <a:pt x="107" y="21"/>
                    <a:pt x="99" y="5"/>
                    <a:pt x="75" y="0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201"/>
            <p:cNvSpPr>
              <a:spLocks/>
            </p:cNvSpPr>
            <p:nvPr/>
          </p:nvSpPr>
          <p:spPr bwMode="auto">
            <a:xfrm>
              <a:off x="9769475" y="5580063"/>
              <a:ext cx="287338" cy="90488"/>
            </a:xfrm>
            <a:custGeom>
              <a:avLst/>
              <a:gdLst>
                <a:gd name="T0" fmla="*/ 98 w 100"/>
                <a:gd name="T1" fmla="*/ 27 h 31"/>
                <a:gd name="T2" fmla="*/ 86 w 100"/>
                <a:gd name="T3" fmla="*/ 11 h 31"/>
                <a:gd name="T4" fmla="*/ 10 w 100"/>
                <a:gd name="T5" fmla="*/ 0 h 31"/>
                <a:gd name="T6" fmla="*/ 3 w 100"/>
                <a:gd name="T7" fmla="*/ 16 h 31"/>
                <a:gd name="T8" fmla="*/ 98 w 100"/>
                <a:gd name="T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1">
                  <a:moveTo>
                    <a:pt x="98" y="27"/>
                  </a:moveTo>
                  <a:cubicBezTo>
                    <a:pt x="100" y="17"/>
                    <a:pt x="85" y="20"/>
                    <a:pt x="86" y="11"/>
                  </a:cubicBezTo>
                  <a:cubicBezTo>
                    <a:pt x="55" y="11"/>
                    <a:pt x="33" y="5"/>
                    <a:pt x="10" y="0"/>
                  </a:cubicBezTo>
                  <a:cubicBezTo>
                    <a:pt x="7" y="5"/>
                    <a:pt x="0" y="7"/>
                    <a:pt x="3" y="16"/>
                  </a:cubicBezTo>
                  <a:cubicBezTo>
                    <a:pt x="39" y="16"/>
                    <a:pt x="56" y="31"/>
                    <a:pt x="98" y="2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202"/>
            <p:cNvSpPr>
              <a:spLocks/>
            </p:cNvSpPr>
            <p:nvPr/>
          </p:nvSpPr>
          <p:spPr bwMode="auto">
            <a:xfrm>
              <a:off x="9918700" y="5689600"/>
              <a:ext cx="1031875" cy="650875"/>
            </a:xfrm>
            <a:custGeom>
              <a:avLst/>
              <a:gdLst>
                <a:gd name="T0" fmla="*/ 327 w 359"/>
                <a:gd name="T1" fmla="*/ 97 h 226"/>
                <a:gd name="T2" fmla="*/ 323 w 359"/>
                <a:gd name="T3" fmla="*/ 64 h 226"/>
                <a:gd name="T4" fmla="*/ 308 w 359"/>
                <a:gd name="T5" fmla="*/ 53 h 226"/>
                <a:gd name="T6" fmla="*/ 285 w 359"/>
                <a:gd name="T7" fmla="*/ 3 h 226"/>
                <a:gd name="T8" fmla="*/ 270 w 359"/>
                <a:gd name="T9" fmla="*/ 0 h 226"/>
                <a:gd name="T10" fmla="*/ 259 w 359"/>
                <a:gd name="T11" fmla="*/ 47 h 226"/>
                <a:gd name="T12" fmla="*/ 236 w 359"/>
                <a:gd name="T13" fmla="*/ 42 h 226"/>
                <a:gd name="T14" fmla="*/ 221 w 359"/>
                <a:gd name="T15" fmla="*/ 28 h 226"/>
                <a:gd name="T16" fmla="*/ 236 w 359"/>
                <a:gd name="T17" fmla="*/ 17 h 226"/>
                <a:gd name="T18" fmla="*/ 164 w 359"/>
                <a:gd name="T19" fmla="*/ 9 h 226"/>
                <a:gd name="T20" fmla="*/ 156 w 359"/>
                <a:gd name="T21" fmla="*/ 22 h 226"/>
                <a:gd name="T22" fmla="*/ 118 w 359"/>
                <a:gd name="T23" fmla="*/ 31 h 226"/>
                <a:gd name="T24" fmla="*/ 103 w 359"/>
                <a:gd name="T25" fmla="*/ 55 h 226"/>
                <a:gd name="T26" fmla="*/ 72 w 359"/>
                <a:gd name="T27" fmla="*/ 55 h 226"/>
                <a:gd name="T28" fmla="*/ 65 w 359"/>
                <a:gd name="T29" fmla="*/ 72 h 226"/>
                <a:gd name="T30" fmla="*/ 50 w 359"/>
                <a:gd name="T31" fmla="*/ 69 h 226"/>
                <a:gd name="T32" fmla="*/ 31 w 359"/>
                <a:gd name="T33" fmla="*/ 97 h 226"/>
                <a:gd name="T34" fmla="*/ 0 w 359"/>
                <a:gd name="T35" fmla="*/ 105 h 226"/>
                <a:gd name="T36" fmla="*/ 4 w 359"/>
                <a:gd name="T37" fmla="*/ 146 h 226"/>
                <a:gd name="T38" fmla="*/ 15 w 359"/>
                <a:gd name="T39" fmla="*/ 160 h 226"/>
                <a:gd name="T40" fmla="*/ 11 w 359"/>
                <a:gd name="T41" fmla="*/ 190 h 226"/>
                <a:gd name="T42" fmla="*/ 34 w 359"/>
                <a:gd name="T43" fmla="*/ 196 h 226"/>
                <a:gd name="T44" fmla="*/ 88 w 359"/>
                <a:gd name="T45" fmla="*/ 185 h 226"/>
                <a:gd name="T46" fmla="*/ 160 w 359"/>
                <a:gd name="T47" fmla="*/ 171 h 226"/>
                <a:gd name="T48" fmla="*/ 183 w 359"/>
                <a:gd name="T49" fmla="*/ 196 h 226"/>
                <a:gd name="T50" fmla="*/ 209 w 359"/>
                <a:gd name="T51" fmla="*/ 196 h 226"/>
                <a:gd name="T52" fmla="*/ 205 w 359"/>
                <a:gd name="T53" fmla="*/ 215 h 226"/>
                <a:gd name="T54" fmla="*/ 281 w 359"/>
                <a:gd name="T55" fmla="*/ 226 h 226"/>
                <a:gd name="T56" fmla="*/ 312 w 359"/>
                <a:gd name="T57" fmla="*/ 212 h 226"/>
                <a:gd name="T58" fmla="*/ 327 w 359"/>
                <a:gd name="T59" fmla="*/ 185 h 226"/>
                <a:gd name="T60" fmla="*/ 350 w 359"/>
                <a:gd name="T61" fmla="*/ 171 h 226"/>
                <a:gd name="T62" fmla="*/ 357 w 359"/>
                <a:gd name="T63" fmla="*/ 146 h 226"/>
                <a:gd name="T64" fmla="*/ 346 w 359"/>
                <a:gd name="T65" fmla="*/ 97 h 226"/>
                <a:gd name="T66" fmla="*/ 327 w 359"/>
                <a:gd name="T67" fmla="*/ 9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26">
                  <a:moveTo>
                    <a:pt x="327" y="97"/>
                  </a:moveTo>
                  <a:cubicBezTo>
                    <a:pt x="328" y="84"/>
                    <a:pt x="320" y="78"/>
                    <a:pt x="323" y="64"/>
                  </a:cubicBezTo>
                  <a:cubicBezTo>
                    <a:pt x="316" y="62"/>
                    <a:pt x="314" y="55"/>
                    <a:pt x="308" y="53"/>
                  </a:cubicBezTo>
                  <a:cubicBezTo>
                    <a:pt x="307" y="31"/>
                    <a:pt x="281" y="28"/>
                    <a:pt x="285" y="3"/>
                  </a:cubicBezTo>
                  <a:cubicBezTo>
                    <a:pt x="278" y="4"/>
                    <a:pt x="277" y="0"/>
                    <a:pt x="270" y="0"/>
                  </a:cubicBezTo>
                  <a:cubicBezTo>
                    <a:pt x="260" y="12"/>
                    <a:pt x="274" y="40"/>
                    <a:pt x="259" y="47"/>
                  </a:cubicBezTo>
                  <a:cubicBezTo>
                    <a:pt x="244" y="51"/>
                    <a:pt x="251" y="38"/>
                    <a:pt x="236" y="42"/>
                  </a:cubicBezTo>
                  <a:cubicBezTo>
                    <a:pt x="235" y="34"/>
                    <a:pt x="218" y="38"/>
                    <a:pt x="221" y="28"/>
                  </a:cubicBezTo>
                  <a:cubicBezTo>
                    <a:pt x="219" y="19"/>
                    <a:pt x="239" y="27"/>
                    <a:pt x="236" y="17"/>
                  </a:cubicBezTo>
                  <a:cubicBezTo>
                    <a:pt x="223" y="6"/>
                    <a:pt x="184" y="14"/>
                    <a:pt x="164" y="9"/>
                  </a:cubicBezTo>
                  <a:cubicBezTo>
                    <a:pt x="157" y="10"/>
                    <a:pt x="164" y="22"/>
                    <a:pt x="156" y="22"/>
                  </a:cubicBezTo>
                  <a:cubicBezTo>
                    <a:pt x="142" y="24"/>
                    <a:pt x="129" y="27"/>
                    <a:pt x="118" y="31"/>
                  </a:cubicBezTo>
                  <a:cubicBezTo>
                    <a:pt x="113" y="39"/>
                    <a:pt x="117" y="54"/>
                    <a:pt x="103" y="55"/>
                  </a:cubicBezTo>
                  <a:cubicBezTo>
                    <a:pt x="94" y="49"/>
                    <a:pt x="84" y="56"/>
                    <a:pt x="72" y="55"/>
                  </a:cubicBezTo>
                  <a:cubicBezTo>
                    <a:pt x="65" y="57"/>
                    <a:pt x="73" y="71"/>
                    <a:pt x="65" y="72"/>
                  </a:cubicBezTo>
                  <a:cubicBezTo>
                    <a:pt x="57" y="70"/>
                    <a:pt x="57" y="64"/>
                    <a:pt x="50" y="69"/>
                  </a:cubicBezTo>
                  <a:cubicBezTo>
                    <a:pt x="40" y="76"/>
                    <a:pt x="45" y="93"/>
                    <a:pt x="31" y="97"/>
                  </a:cubicBezTo>
                  <a:cubicBezTo>
                    <a:pt x="22" y="101"/>
                    <a:pt x="5" y="98"/>
                    <a:pt x="0" y="105"/>
                  </a:cubicBezTo>
                  <a:cubicBezTo>
                    <a:pt x="4" y="117"/>
                    <a:pt x="14" y="132"/>
                    <a:pt x="4" y="146"/>
                  </a:cubicBezTo>
                  <a:cubicBezTo>
                    <a:pt x="11" y="148"/>
                    <a:pt x="14" y="154"/>
                    <a:pt x="15" y="160"/>
                  </a:cubicBezTo>
                  <a:cubicBezTo>
                    <a:pt x="18" y="173"/>
                    <a:pt x="9" y="177"/>
                    <a:pt x="11" y="190"/>
                  </a:cubicBezTo>
                  <a:cubicBezTo>
                    <a:pt x="23" y="190"/>
                    <a:pt x="23" y="197"/>
                    <a:pt x="34" y="196"/>
                  </a:cubicBezTo>
                  <a:cubicBezTo>
                    <a:pt x="50" y="191"/>
                    <a:pt x="60" y="181"/>
                    <a:pt x="88" y="185"/>
                  </a:cubicBezTo>
                  <a:cubicBezTo>
                    <a:pt x="101" y="173"/>
                    <a:pt x="128" y="170"/>
                    <a:pt x="160" y="171"/>
                  </a:cubicBezTo>
                  <a:cubicBezTo>
                    <a:pt x="171" y="177"/>
                    <a:pt x="178" y="186"/>
                    <a:pt x="183" y="196"/>
                  </a:cubicBezTo>
                  <a:cubicBezTo>
                    <a:pt x="197" y="191"/>
                    <a:pt x="193" y="202"/>
                    <a:pt x="209" y="196"/>
                  </a:cubicBezTo>
                  <a:cubicBezTo>
                    <a:pt x="209" y="203"/>
                    <a:pt x="211" y="212"/>
                    <a:pt x="205" y="215"/>
                  </a:cubicBezTo>
                  <a:cubicBezTo>
                    <a:pt x="230" y="225"/>
                    <a:pt x="244" y="226"/>
                    <a:pt x="281" y="226"/>
                  </a:cubicBezTo>
                  <a:cubicBezTo>
                    <a:pt x="291" y="221"/>
                    <a:pt x="298" y="214"/>
                    <a:pt x="312" y="212"/>
                  </a:cubicBezTo>
                  <a:cubicBezTo>
                    <a:pt x="310" y="198"/>
                    <a:pt x="330" y="200"/>
                    <a:pt x="327" y="185"/>
                  </a:cubicBezTo>
                  <a:cubicBezTo>
                    <a:pt x="340" y="184"/>
                    <a:pt x="337" y="172"/>
                    <a:pt x="350" y="171"/>
                  </a:cubicBezTo>
                  <a:cubicBezTo>
                    <a:pt x="345" y="161"/>
                    <a:pt x="356" y="155"/>
                    <a:pt x="357" y="146"/>
                  </a:cubicBezTo>
                  <a:cubicBezTo>
                    <a:pt x="359" y="129"/>
                    <a:pt x="350" y="112"/>
                    <a:pt x="346" y="97"/>
                  </a:cubicBezTo>
                  <a:cubicBezTo>
                    <a:pt x="336" y="93"/>
                    <a:pt x="330" y="105"/>
                    <a:pt x="327" y="97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203"/>
            <p:cNvSpPr>
              <a:spLocks/>
            </p:cNvSpPr>
            <p:nvPr/>
          </p:nvSpPr>
          <p:spPr bwMode="auto">
            <a:xfrm>
              <a:off x="8143875" y="5710238"/>
              <a:ext cx="214313" cy="339725"/>
            </a:xfrm>
            <a:custGeom>
              <a:avLst/>
              <a:gdLst>
                <a:gd name="T0" fmla="*/ 60 w 75"/>
                <a:gd name="T1" fmla="*/ 2 h 118"/>
                <a:gd name="T2" fmla="*/ 45 w 75"/>
                <a:gd name="T3" fmla="*/ 29 h 118"/>
                <a:gd name="T4" fmla="*/ 10 w 75"/>
                <a:gd name="T5" fmla="*/ 48 h 118"/>
                <a:gd name="T6" fmla="*/ 14 w 75"/>
                <a:gd name="T7" fmla="*/ 68 h 118"/>
                <a:gd name="T8" fmla="*/ 3 w 75"/>
                <a:gd name="T9" fmla="*/ 84 h 118"/>
                <a:gd name="T10" fmla="*/ 14 w 75"/>
                <a:gd name="T11" fmla="*/ 117 h 118"/>
                <a:gd name="T12" fmla="*/ 45 w 75"/>
                <a:gd name="T13" fmla="*/ 114 h 118"/>
                <a:gd name="T14" fmla="*/ 60 w 75"/>
                <a:gd name="T15" fmla="*/ 84 h 118"/>
                <a:gd name="T16" fmla="*/ 60 w 75"/>
                <a:gd name="T17" fmla="*/ 70 h 118"/>
                <a:gd name="T18" fmla="*/ 67 w 75"/>
                <a:gd name="T19" fmla="*/ 65 h 118"/>
                <a:gd name="T20" fmla="*/ 75 w 75"/>
                <a:gd name="T21" fmla="*/ 21 h 118"/>
                <a:gd name="T22" fmla="*/ 60 w 75"/>
                <a:gd name="T2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118">
                  <a:moveTo>
                    <a:pt x="60" y="2"/>
                  </a:moveTo>
                  <a:cubicBezTo>
                    <a:pt x="53" y="10"/>
                    <a:pt x="47" y="18"/>
                    <a:pt x="45" y="29"/>
                  </a:cubicBezTo>
                  <a:cubicBezTo>
                    <a:pt x="28" y="32"/>
                    <a:pt x="20" y="40"/>
                    <a:pt x="10" y="48"/>
                  </a:cubicBezTo>
                  <a:cubicBezTo>
                    <a:pt x="7" y="58"/>
                    <a:pt x="16" y="59"/>
                    <a:pt x="14" y="68"/>
                  </a:cubicBezTo>
                  <a:cubicBezTo>
                    <a:pt x="11" y="73"/>
                    <a:pt x="8" y="80"/>
                    <a:pt x="3" y="84"/>
                  </a:cubicBezTo>
                  <a:cubicBezTo>
                    <a:pt x="11" y="97"/>
                    <a:pt x="0" y="108"/>
                    <a:pt x="14" y="117"/>
                  </a:cubicBezTo>
                  <a:cubicBezTo>
                    <a:pt x="26" y="118"/>
                    <a:pt x="30" y="112"/>
                    <a:pt x="45" y="114"/>
                  </a:cubicBezTo>
                  <a:cubicBezTo>
                    <a:pt x="53" y="102"/>
                    <a:pt x="50" y="97"/>
                    <a:pt x="60" y="84"/>
                  </a:cubicBezTo>
                  <a:cubicBezTo>
                    <a:pt x="60" y="80"/>
                    <a:pt x="60" y="75"/>
                    <a:pt x="60" y="70"/>
                  </a:cubicBezTo>
                  <a:cubicBezTo>
                    <a:pt x="61" y="67"/>
                    <a:pt x="64" y="66"/>
                    <a:pt x="67" y="65"/>
                  </a:cubicBezTo>
                  <a:cubicBezTo>
                    <a:pt x="60" y="53"/>
                    <a:pt x="74" y="41"/>
                    <a:pt x="75" y="21"/>
                  </a:cubicBezTo>
                  <a:cubicBezTo>
                    <a:pt x="61" y="21"/>
                    <a:pt x="75" y="0"/>
                    <a:pt x="60" y="2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204"/>
            <p:cNvSpPr>
              <a:spLocks/>
            </p:cNvSpPr>
            <p:nvPr/>
          </p:nvSpPr>
          <p:spPr bwMode="auto">
            <a:xfrm>
              <a:off x="11376025" y="6210300"/>
              <a:ext cx="180975" cy="169863"/>
            </a:xfrm>
            <a:custGeom>
              <a:avLst/>
              <a:gdLst>
                <a:gd name="T0" fmla="*/ 29 w 63"/>
                <a:gd name="T1" fmla="*/ 15 h 59"/>
                <a:gd name="T2" fmla="*/ 18 w 63"/>
                <a:gd name="T3" fmla="*/ 1 h 59"/>
                <a:gd name="T4" fmla="*/ 18 w 63"/>
                <a:gd name="T5" fmla="*/ 23 h 59"/>
                <a:gd name="T6" fmla="*/ 2 w 63"/>
                <a:gd name="T7" fmla="*/ 42 h 59"/>
                <a:gd name="T8" fmla="*/ 10 w 63"/>
                <a:gd name="T9" fmla="*/ 59 h 59"/>
                <a:gd name="T10" fmla="*/ 44 w 63"/>
                <a:gd name="T11" fmla="*/ 29 h 59"/>
                <a:gd name="T12" fmla="*/ 63 w 63"/>
                <a:gd name="T13" fmla="*/ 18 h 59"/>
                <a:gd name="T14" fmla="*/ 29 w 63"/>
                <a:gd name="T15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9">
                  <a:moveTo>
                    <a:pt x="29" y="15"/>
                  </a:moveTo>
                  <a:cubicBezTo>
                    <a:pt x="30" y="7"/>
                    <a:pt x="29" y="0"/>
                    <a:pt x="18" y="1"/>
                  </a:cubicBezTo>
                  <a:cubicBezTo>
                    <a:pt x="18" y="8"/>
                    <a:pt x="18" y="16"/>
                    <a:pt x="18" y="23"/>
                  </a:cubicBezTo>
                  <a:cubicBezTo>
                    <a:pt x="15" y="31"/>
                    <a:pt x="0" y="30"/>
                    <a:pt x="2" y="42"/>
                  </a:cubicBezTo>
                  <a:cubicBezTo>
                    <a:pt x="28" y="40"/>
                    <a:pt x="11" y="51"/>
                    <a:pt x="10" y="59"/>
                  </a:cubicBezTo>
                  <a:cubicBezTo>
                    <a:pt x="34" y="58"/>
                    <a:pt x="35" y="40"/>
                    <a:pt x="44" y="29"/>
                  </a:cubicBezTo>
                  <a:cubicBezTo>
                    <a:pt x="50" y="24"/>
                    <a:pt x="60" y="24"/>
                    <a:pt x="63" y="18"/>
                  </a:cubicBezTo>
                  <a:cubicBezTo>
                    <a:pt x="54" y="9"/>
                    <a:pt x="47" y="16"/>
                    <a:pt x="29" y="15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205"/>
            <p:cNvSpPr>
              <a:spLocks/>
            </p:cNvSpPr>
            <p:nvPr/>
          </p:nvSpPr>
          <p:spPr bwMode="auto">
            <a:xfrm>
              <a:off x="11131550" y="6348413"/>
              <a:ext cx="261938" cy="180975"/>
            </a:xfrm>
            <a:custGeom>
              <a:avLst/>
              <a:gdLst>
                <a:gd name="T0" fmla="*/ 72 w 91"/>
                <a:gd name="T1" fmla="*/ 0 h 63"/>
                <a:gd name="T2" fmla="*/ 61 w 91"/>
                <a:gd name="T3" fmla="*/ 16 h 63"/>
                <a:gd name="T4" fmla="*/ 45 w 91"/>
                <a:gd name="T5" fmla="*/ 19 h 63"/>
                <a:gd name="T6" fmla="*/ 27 w 91"/>
                <a:gd name="T7" fmla="*/ 36 h 63"/>
                <a:gd name="T8" fmla="*/ 0 w 91"/>
                <a:gd name="T9" fmla="*/ 63 h 63"/>
                <a:gd name="T10" fmla="*/ 34 w 91"/>
                <a:gd name="T11" fmla="*/ 63 h 63"/>
                <a:gd name="T12" fmla="*/ 45 w 91"/>
                <a:gd name="T13" fmla="*/ 44 h 63"/>
                <a:gd name="T14" fmla="*/ 61 w 91"/>
                <a:gd name="T15" fmla="*/ 44 h 63"/>
                <a:gd name="T16" fmla="*/ 91 w 91"/>
                <a:gd name="T17" fmla="*/ 16 h 63"/>
                <a:gd name="T18" fmla="*/ 72 w 91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3">
                  <a:moveTo>
                    <a:pt x="72" y="0"/>
                  </a:moveTo>
                  <a:cubicBezTo>
                    <a:pt x="69" y="6"/>
                    <a:pt x="61" y="8"/>
                    <a:pt x="61" y="16"/>
                  </a:cubicBezTo>
                  <a:cubicBezTo>
                    <a:pt x="54" y="16"/>
                    <a:pt x="49" y="17"/>
                    <a:pt x="45" y="19"/>
                  </a:cubicBezTo>
                  <a:cubicBezTo>
                    <a:pt x="39" y="25"/>
                    <a:pt x="37" y="33"/>
                    <a:pt x="27" y="36"/>
                  </a:cubicBezTo>
                  <a:cubicBezTo>
                    <a:pt x="11" y="40"/>
                    <a:pt x="6" y="52"/>
                    <a:pt x="0" y="63"/>
                  </a:cubicBezTo>
                  <a:cubicBezTo>
                    <a:pt x="12" y="59"/>
                    <a:pt x="20" y="62"/>
                    <a:pt x="34" y="63"/>
                  </a:cubicBezTo>
                  <a:cubicBezTo>
                    <a:pt x="38" y="57"/>
                    <a:pt x="49" y="56"/>
                    <a:pt x="45" y="44"/>
                  </a:cubicBezTo>
                  <a:cubicBezTo>
                    <a:pt x="51" y="44"/>
                    <a:pt x="56" y="44"/>
                    <a:pt x="61" y="44"/>
                  </a:cubicBezTo>
                  <a:cubicBezTo>
                    <a:pt x="62" y="28"/>
                    <a:pt x="91" y="33"/>
                    <a:pt x="91" y="16"/>
                  </a:cubicBezTo>
                  <a:cubicBezTo>
                    <a:pt x="90" y="7"/>
                    <a:pt x="80" y="5"/>
                    <a:pt x="72" y="0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206"/>
            <p:cNvSpPr>
              <a:spLocks/>
            </p:cNvSpPr>
            <p:nvPr/>
          </p:nvSpPr>
          <p:spPr bwMode="auto">
            <a:xfrm>
              <a:off x="10582275" y="6362700"/>
              <a:ext cx="144463" cy="80963"/>
            </a:xfrm>
            <a:custGeom>
              <a:avLst/>
              <a:gdLst>
                <a:gd name="T0" fmla="*/ 5 w 50"/>
                <a:gd name="T1" fmla="*/ 3 h 28"/>
                <a:gd name="T2" fmla="*/ 20 w 50"/>
                <a:gd name="T3" fmla="*/ 28 h 28"/>
                <a:gd name="T4" fmla="*/ 47 w 50"/>
                <a:gd name="T5" fmla="*/ 3 h 28"/>
                <a:gd name="T6" fmla="*/ 5 w 50"/>
                <a:gd name="T7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8">
                  <a:moveTo>
                    <a:pt x="5" y="3"/>
                  </a:moveTo>
                  <a:cubicBezTo>
                    <a:pt x="0" y="7"/>
                    <a:pt x="17" y="20"/>
                    <a:pt x="20" y="28"/>
                  </a:cubicBezTo>
                  <a:cubicBezTo>
                    <a:pt x="39" y="27"/>
                    <a:pt x="50" y="21"/>
                    <a:pt x="47" y="3"/>
                  </a:cubicBezTo>
                  <a:cubicBezTo>
                    <a:pt x="30" y="5"/>
                    <a:pt x="11" y="0"/>
                    <a:pt x="5" y="3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207"/>
            <p:cNvSpPr>
              <a:spLocks/>
            </p:cNvSpPr>
            <p:nvPr/>
          </p:nvSpPr>
          <p:spPr bwMode="auto">
            <a:xfrm>
              <a:off x="5648325" y="6586538"/>
              <a:ext cx="52388" cy="31750"/>
            </a:xfrm>
            <a:custGeom>
              <a:avLst/>
              <a:gdLst>
                <a:gd name="T0" fmla="*/ 1 w 18"/>
                <a:gd name="T1" fmla="*/ 11 h 11"/>
                <a:gd name="T2" fmla="*/ 16 w 18"/>
                <a:gd name="T3" fmla="*/ 11 h 11"/>
                <a:gd name="T4" fmla="*/ 1 w 18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1">
                  <a:moveTo>
                    <a:pt x="1" y="11"/>
                  </a:moveTo>
                  <a:cubicBezTo>
                    <a:pt x="6" y="11"/>
                    <a:pt x="11" y="11"/>
                    <a:pt x="16" y="11"/>
                  </a:cubicBezTo>
                  <a:cubicBezTo>
                    <a:pt x="18" y="0"/>
                    <a:pt x="0" y="2"/>
                    <a:pt x="1" y="11"/>
                  </a:cubicBezTo>
                  <a:close/>
                </a:path>
              </a:pathLst>
            </a:custGeom>
            <a:solidFill>
              <a:srgbClr val="40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208"/>
            <p:cNvSpPr>
              <a:spLocks noEditPoints="1"/>
            </p:cNvSpPr>
            <p:nvPr/>
          </p:nvSpPr>
          <p:spPr bwMode="auto">
            <a:xfrm>
              <a:off x="5476875" y="3246438"/>
              <a:ext cx="1352550" cy="830263"/>
            </a:xfrm>
            <a:custGeom>
              <a:avLst/>
              <a:gdLst>
                <a:gd name="T0" fmla="*/ 319 w 471"/>
                <a:gd name="T1" fmla="*/ 167 h 289"/>
                <a:gd name="T2" fmla="*/ 334 w 471"/>
                <a:gd name="T3" fmla="*/ 161 h 289"/>
                <a:gd name="T4" fmla="*/ 376 w 471"/>
                <a:gd name="T5" fmla="*/ 173 h 289"/>
                <a:gd name="T6" fmla="*/ 368 w 471"/>
                <a:gd name="T7" fmla="*/ 156 h 289"/>
                <a:gd name="T8" fmla="*/ 384 w 471"/>
                <a:gd name="T9" fmla="*/ 161 h 289"/>
                <a:gd name="T10" fmla="*/ 376 w 471"/>
                <a:gd name="T11" fmla="*/ 145 h 289"/>
                <a:gd name="T12" fmla="*/ 391 w 471"/>
                <a:gd name="T13" fmla="*/ 101 h 289"/>
                <a:gd name="T14" fmla="*/ 425 w 471"/>
                <a:gd name="T15" fmla="*/ 98 h 289"/>
                <a:gd name="T16" fmla="*/ 395 w 471"/>
                <a:gd name="T17" fmla="*/ 82 h 289"/>
                <a:gd name="T18" fmla="*/ 418 w 471"/>
                <a:gd name="T19" fmla="*/ 76 h 289"/>
                <a:gd name="T20" fmla="*/ 414 w 471"/>
                <a:gd name="T21" fmla="*/ 60 h 289"/>
                <a:gd name="T22" fmla="*/ 437 w 471"/>
                <a:gd name="T23" fmla="*/ 51 h 289"/>
                <a:gd name="T24" fmla="*/ 467 w 471"/>
                <a:gd name="T25" fmla="*/ 46 h 289"/>
                <a:gd name="T26" fmla="*/ 448 w 471"/>
                <a:gd name="T27" fmla="*/ 37 h 289"/>
                <a:gd name="T28" fmla="*/ 429 w 471"/>
                <a:gd name="T29" fmla="*/ 29 h 289"/>
                <a:gd name="T30" fmla="*/ 387 w 471"/>
                <a:gd name="T31" fmla="*/ 35 h 289"/>
                <a:gd name="T32" fmla="*/ 425 w 471"/>
                <a:gd name="T33" fmla="*/ 15 h 289"/>
                <a:gd name="T34" fmla="*/ 380 w 471"/>
                <a:gd name="T35" fmla="*/ 7 h 289"/>
                <a:gd name="T36" fmla="*/ 346 w 471"/>
                <a:gd name="T37" fmla="*/ 7 h 289"/>
                <a:gd name="T38" fmla="*/ 327 w 471"/>
                <a:gd name="T39" fmla="*/ 2 h 289"/>
                <a:gd name="T40" fmla="*/ 258 w 471"/>
                <a:gd name="T41" fmla="*/ 7 h 289"/>
                <a:gd name="T42" fmla="*/ 213 w 471"/>
                <a:gd name="T43" fmla="*/ 13 h 289"/>
                <a:gd name="T44" fmla="*/ 216 w 471"/>
                <a:gd name="T45" fmla="*/ 32 h 289"/>
                <a:gd name="T46" fmla="*/ 148 w 471"/>
                <a:gd name="T47" fmla="*/ 29 h 289"/>
                <a:gd name="T48" fmla="*/ 53 w 471"/>
                <a:gd name="T49" fmla="*/ 54 h 289"/>
                <a:gd name="T50" fmla="*/ 68 w 471"/>
                <a:gd name="T51" fmla="*/ 65 h 289"/>
                <a:gd name="T52" fmla="*/ 27 w 471"/>
                <a:gd name="T53" fmla="*/ 79 h 289"/>
                <a:gd name="T54" fmla="*/ 0 w 471"/>
                <a:gd name="T55" fmla="*/ 87 h 289"/>
                <a:gd name="T56" fmla="*/ 19 w 471"/>
                <a:gd name="T57" fmla="*/ 93 h 289"/>
                <a:gd name="T58" fmla="*/ 38 w 471"/>
                <a:gd name="T59" fmla="*/ 93 h 289"/>
                <a:gd name="T60" fmla="*/ 65 w 471"/>
                <a:gd name="T61" fmla="*/ 95 h 289"/>
                <a:gd name="T62" fmla="*/ 15 w 471"/>
                <a:gd name="T63" fmla="*/ 98 h 289"/>
                <a:gd name="T64" fmla="*/ 46 w 471"/>
                <a:gd name="T65" fmla="*/ 115 h 289"/>
                <a:gd name="T66" fmla="*/ 65 w 471"/>
                <a:gd name="T67" fmla="*/ 109 h 289"/>
                <a:gd name="T68" fmla="*/ 110 w 471"/>
                <a:gd name="T69" fmla="*/ 117 h 289"/>
                <a:gd name="T70" fmla="*/ 118 w 471"/>
                <a:gd name="T71" fmla="*/ 142 h 289"/>
                <a:gd name="T72" fmla="*/ 114 w 471"/>
                <a:gd name="T73" fmla="*/ 161 h 289"/>
                <a:gd name="T74" fmla="*/ 141 w 471"/>
                <a:gd name="T75" fmla="*/ 159 h 289"/>
                <a:gd name="T76" fmla="*/ 118 w 471"/>
                <a:gd name="T77" fmla="*/ 167 h 289"/>
                <a:gd name="T78" fmla="*/ 152 w 471"/>
                <a:gd name="T79" fmla="*/ 186 h 289"/>
                <a:gd name="T80" fmla="*/ 125 w 471"/>
                <a:gd name="T81" fmla="*/ 200 h 289"/>
                <a:gd name="T82" fmla="*/ 118 w 471"/>
                <a:gd name="T83" fmla="*/ 214 h 289"/>
                <a:gd name="T84" fmla="*/ 144 w 471"/>
                <a:gd name="T85" fmla="*/ 277 h 289"/>
                <a:gd name="T86" fmla="*/ 171 w 471"/>
                <a:gd name="T87" fmla="*/ 277 h 289"/>
                <a:gd name="T88" fmla="*/ 190 w 471"/>
                <a:gd name="T89" fmla="*/ 288 h 289"/>
                <a:gd name="T90" fmla="*/ 205 w 471"/>
                <a:gd name="T91" fmla="*/ 274 h 289"/>
                <a:gd name="T92" fmla="*/ 220 w 471"/>
                <a:gd name="T93" fmla="*/ 233 h 289"/>
                <a:gd name="T94" fmla="*/ 235 w 471"/>
                <a:gd name="T95" fmla="*/ 222 h 289"/>
                <a:gd name="T96" fmla="*/ 266 w 471"/>
                <a:gd name="T97" fmla="*/ 222 h 289"/>
                <a:gd name="T98" fmla="*/ 285 w 471"/>
                <a:gd name="T99" fmla="*/ 211 h 289"/>
                <a:gd name="T100" fmla="*/ 330 w 471"/>
                <a:gd name="T101" fmla="*/ 195 h 289"/>
                <a:gd name="T102" fmla="*/ 353 w 471"/>
                <a:gd name="T103" fmla="*/ 173 h 289"/>
                <a:gd name="T104" fmla="*/ 319 w 471"/>
                <a:gd name="T105" fmla="*/ 167 h 289"/>
                <a:gd name="T106" fmla="*/ 357 w 471"/>
                <a:gd name="T107" fmla="*/ 156 h 289"/>
                <a:gd name="T108" fmla="*/ 368 w 471"/>
                <a:gd name="T109" fmla="*/ 140 h 289"/>
                <a:gd name="T110" fmla="*/ 357 w 471"/>
                <a:gd name="T111" fmla="*/ 156 h 289"/>
                <a:gd name="T112" fmla="*/ 384 w 471"/>
                <a:gd name="T113" fmla="*/ 24 h 289"/>
                <a:gd name="T114" fmla="*/ 368 w 471"/>
                <a:gd name="T115" fmla="*/ 37 h 289"/>
                <a:gd name="T116" fmla="*/ 319 w 471"/>
                <a:gd name="T117" fmla="*/ 32 h 289"/>
                <a:gd name="T118" fmla="*/ 384 w 471"/>
                <a:gd name="T119" fmla="*/ 24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1" h="289">
                  <a:moveTo>
                    <a:pt x="319" y="167"/>
                  </a:moveTo>
                  <a:cubicBezTo>
                    <a:pt x="327" y="167"/>
                    <a:pt x="324" y="160"/>
                    <a:pt x="334" y="161"/>
                  </a:cubicBezTo>
                  <a:cubicBezTo>
                    <a:pt x="348" y="165"/>
                    <a:pt x="356" y="173"/>
                    <a:pt x="376" y="173"/>
                  </a:cubicBezTo>
                  <a:cubicBezTo>
                    <a:pt x="389" y="166"/>
                    <a:pt x="358" y="160"/>
                    <a:pt x="368" y="156"/>
                  </a:cubicBezTo>
                  <a:cubicBezTo>
                    <a:pt x="374" y="157"/>
                    <a:pt x="378" y="160"/>
                    <a:pt x="384" y="161"/>
                  </a:cubicBezTo>
                  <a:cubicBezTo>
                    <a:pt x="387" y="152"/>
                    <a:pt x="379" y="150"/>
                    <a:pt x="376" y="145"/>
                  </a:cubicBezTo>
                  <a:cubicBezTo>
                    <a:pt x="407" y="144"/>
                    <a:pt x="397" y="116"/>
                    <a:pt x="391" y="101"/>
                  </a:cubicBezTo>
                  <a:cubicBezTo>
                    <a:pt x="401" y="99"/>
                    <a:pt x="412" y="97"/>
                    <a:pt x="425" y="98"/>
                  </a:cubicBezTo>
                  <a:cubicBezTo>
                    <a:pt x="424" y="86"/>
                    <a:pt x="405" y="87"/>
                    <a:pt x="395" y="82"/>
                  </a:cubicBezTo>
                  <a:cubicBezTo>
                    <a:pt x="407" y="83"/>
                    <a:pt x="404" y="73"/>
                    <a:pt x="418" y="76"/>
                  </a:cubicBezTo>
                  <a:cubicBezTo>
                    <a:pt x="421" y="68"/>
                    <a:pt x="411" y="68"/>
                    <a:pt x="414" y="60"/>
                  </a:cubicBezTo>
                  <a:cubicBezTo>
                    <a:pt x="428" y="61"/>
                    <a:pt x="423" y="50"/>
                    <a:pt x="437" y="51"/>
                  </a:cubicBezTo>
                  <a:cubicBezTo>
                    <a:pt x="446" y="49"/>
                    <a:pt x="470" y="57"/>
                    <a:pt x="467" y="46"/>
                  </a:cubicBezTo>
                  <a:cubicBezTo>
                    <a:pt x="471" y="36"/>
                    <a:pt x="451" y="43"/>
                    <a:pt x="448" y="37"/>
                  </a:cubicBezTo>
                  <a:cubicBezTo>
                    <a:pt x="439" y="37"/>
                    <a:pt x="441" y="28"/>
                    <a:pt x="429" y="29"/>
                  </a:cubicBezTo>
                  <a:cubicBezTo>
                    <a:pt x="413" y="28"/>
                    <a:pt x="395" y="39"/>
                    <a:pt x="387" y="35"/>
                  </a:cubicBezTo>
                  <a:cubicBezTo>
                    <a:pt x="390" y="21"/>
                    <a:pt x="421" y="28"/>
                    <a:pt x="425" y="15"/>
                  </a:cubicBezTo>
                  <a:cubicBezTo>
                    <a:pt x="418" y="7"/>
                    <a:pt x="401" y="6"/>
                    <a:pt x="380" y="7"/>
                  </a:cubicBezTo>
                  <a:cubicBezTo>
                    <a:pt x="368" y="4"/>
                    <a:pt x="352" y="0"/>
                    <a:pt x="346" y="7"/>
                  </a:cubicBezTo>
                  <a:cubicBezTo>
                    <a:pt x="342" y="3"/>
                    <a:pt x="333" y="3"/>
                    <a:pt x="327" y="2"/>
                  </a:cubicBezTo>
                  <a:cubicBezTo>
                    <a:pt x="311" y="9"/>
                    <a:pt x="274" y="0"/>
                    <a:pt x="258" y="7"/>
                  </a:cubicBezTo>
                  <a:cubicBezTo>
                    <a:pt x="241" y="7"/>
                    <a:pt x="220" y="5"/>
                    <a:pt x="213" y="13"/>
                  </a:cubicBezTo>
                  <a:cubicBezTo>
                    <a:pt x="212" y="19"/>
                    <a:pt x="223" y="31"/>
                    <a:pt x="216" y="32"/>
                  </a:cubicBezTo>
                  <a:cubicBezTo>
                    <a:pt x="189" y="29"/>
                    <a:pt x="173" y="34"/>
                    <a:pt x="148" y="29"/>
                  </a:cubicBezTo>
                  <a:cubicBezTo>
                    <a:pt x="110" y="33"/>
                    <a:pt x="92" y="51"/>
                    <a:pt x="53" y="54"/>
                  </a:cubicBezTo>
                  <a:cubicBezTo>
                    <a:pt x="50" y="64"/>
                    <a:pt x="70" y="56"/>
                    <a:pt x="68" y="65"/>
                  </a:cubicBezTo>
                  <a:cubicBezTo>
                    <a:pt x="57" y="72"/>
                    <a:pt x="37" y="72"/>
                    <a:pt x="27" y="79"/>
                  </a:cubicBezTo>
                  <a:cubicBezTo>
                    <a:pt x="17" y="75"/>
                    <a:pt x="5" y="76"/>
                    <a:pt x="0" y="87"/>
                  </a:cubicBezTo>
                  <a:cubicBezTo>
                    <a:pt x="12" y="85"/>
                    <a:pt x="12" y="91"/>
                    <a:pt x="19" y="93"/>
                  </a:cubicBezTo>
                  <a:cubicBezTo>
                    <a:pt x="19" y="85"/>
                    <a:pt x="38" y="85"/>
                    <a:pt x="38" y="93"/>
                  </a:cubicBezTo>
                  <a:cubicBezTo>
                    <a:pt x="47" y="91"/>
                    <a:pt x="64" y="80"/>
                    <a:pt x="65" y="95"/>
                  </a:cubicBezTo>
                  <a:cubicBezTo>
                    <a:pt x="48" y="96"/>
                    <a:pt x="25" y="93"/>
                    <a:pt x="15" y="98"/>
                  </a:cubicBezTo>
                  <a:cubicBezTo>
                    <a:pt x="19" y="108"/>
                    <a:pt x="33" y="111"/>
                    <a:pt x="46" y="115"/>
                  </a:cubicBezTo>
                  <a:cubicBezTo>
                    <a:pt x="57" y="117"/>
                    <a:pt x="53" y="107"/>
                    <a:pt x="65" y="109"/>
                  </a:cubicBezTo>
                  <a:cubicBezTo>
                    <a:pt x="76" y="115"/>
                    <a:pt x="88" y="120"/>
                    <a:pt x="110" y="117"/>
                  </a:cubicBezTo>
                  <a:cubicBezTo>
                    <a:pt x="107" y="130"/>
                    <a:pt x="113" y="136"/>
                    <a:pt x="118" y="142"/>
                  </a:cubicBezTo>
                  <a:cubicBezTo>
                    <a:pt x="116" y="149"/>
                    <a:pt x="112" y="153"/>
                    <a:pt x="114" y="161"/>
                  </a:cubicBezTo>
                  <a:cubicBezTo>
                    <a:pt x="129" y="167"/>
                    <a:pt x="131" y="149"/>
                    <a:pt x="141" y="159"/>
                  </a:cubicBezTo>
                  <a:cubicBezTo>
                    <a:pt x="143" y="169"/>
                    <a:pt x="129" y="167"/>
                    <a:pt x="118" y="167"/>
                  </a:cubicBezTo>
                  <a:cubicBezTo>
                    <a:pt x="121" y="179"/>
                    <a:pt x="147" y="175"/>
                    <a:pt x="152" y="186"/>
                  </a:cubicBezTo>
                  <a:cubicBezTo>
                    <a:pt x="143" y="191"/>
                    <a:pt x="133" y="194"/>
                    <a:pt x="125" y="200"/>
                  </a:cubicBezTo>
                  <a:cubicBezTo>
                    <a:pt x="136" y="204"/>
                    <a:pt x="113" y="206"/>
                    <a:pt x="118" y="214"/>
                  </a:cubicBezTo>
                  <a:cubicBezTo>
                    <a:pt x="145" y="227"/>
                    <a:pt x="124" y="259"/>
                    <a:pt x="144" y="277"/>
                  </a:cubicBezTo>
                  <a:cubicBezTo>
                    <a:pt x="153" y="277"/>
                    <a:pt x="162" y="277"/>
                    <a:pt x="171" y="277"/>
                  </a:cubicBezTo>
                  <a:cubicBezTo>
                    <a:pt x="182" y="278"/>
                    <a:pt x="178" y="289"/>
                    <a:pt x="190" y="288"/>
                  </a:cubicBezTo>
                  <a:cubicBezTo>
                    <a:pt x="194" y="283"/>
                    <a:pt x="196" y="276"/>
                    <a:pt x="205" y="274"/>
                  </a:cubicBezTo>
                  <a:cubicBezTo>
                    <a:pt x="201" y="254"/>
                    <a:pt x="224" y="253"/>
                    <a:pt x="220" y="233"/>
                  </a:cubicBezTo>
                  <a:cubicBezTo>
                    <a:pt x="230" y="233"/>
                    <a:pt x="226" y="222"/>
                    <a:pt x="235" y="222"/>
                  </a:cubicBezTo>
                  <a:cubicBezTo>
                    <a:pt x="250" y="228"/>
                    <a:pt x="250" y="216"/>
                    <a:pt x="266" y="222"/>
                  </a:cubicBezTo>
                  <a:cubicBezTo>
                    <a:pt x="272" y="218"/>
                    <a:pt x="278" y="214"/>
                    <a:pt x="285" y="211"/>
                  </a:cubicBezTo>
                  <a:cubicBezTo>
                    <a:pt x="303" y="208"/>
                    <a:pt x="311" y="197"/>
                    <a:pt x="330" y="195"/>
                  </a:cubicBezTo>
                  <a:cubicBezTo>
                    <a:pt x="332" y="185"/>
                    <a:pt x="364" y="182"/>
                    <a:pt x="353" y="173"/>
                  </a:cubicBezTo>
                  <a:cubicBezTo>
                    <a:pt x="346" y="179"/>
                    <a:pt x="330" y="168"/>
                    <a:pt x="319" y="167"/>
                  </a:cubicBezTo>
                  <a:close/>
                  <a:moveTo>
                    <a:pt x="357" y="156"/>
                  </a:moveTo>
                  <a:cubicBezTo>
                    <a:pt x="347" y="151"/>
                    <a:pt x="357" y="138"/>
                    <a:pt x="368" y="140"/>
                  </a:cubicBezTo>
                  <a:cubicBezTo>
                    <a:pt x="367" y="146"/>
                    <a:pt x="358" y="149"/>
                    <a:pt x="357" y="156"/>
                  </a:cubicBezTo>
                  <a:close/>
                  <a:moveTo>
                    <a:pt x="384" y="24"/>
                  </a:moveTo>
                  <a:cubicBezTo>
                    <a:pt x="383" y="32"/>
                    <a:pt x="375" y="34"/>
                    <a:pt x="368" y="37"/>
                  </a:cubicBezTo>
                  <a:cubicBezTo>
                    <a:pt x="357" y="32"/>
                    <a:pt x="340" y="31"/>
                    <a:pt x="319" y="32"/>
                  </a:cubicBezTo>
                  <a:cubicBezTo>
                    <a:pt x="332" y="21"/>
                    <a:pt x="368" y="25"/>
                    <a:pt x="384" y="24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209"/>
            <p:cNvSpPr>
              <a:spLocks noEditPoints="1"/>
            </p:cNvSpPr>
            <p:nvPr/>
          </p:nvSpPr>
          <p:spPr bwMode="auto">
            <a:xfrm>
              <a:off x="4995863" y="3275013"/>
              <a:ext cx="776288" cy="368300"/>
            </a:xfrm>
            <a:custGeom>
              <a:avLst/>
              <a:gdLst>
                <a:gd name="T0" fmla="*/ 15 w 270"/>
                <a:gd name="T1" fmla="*/ 55 h 128"/>
                <a:gd name="T2" fmla="*/ 15 w 270"/>
                <a:gd name="T3" fmla="*/ 72 h 128"/>
                <a:gd name="T4" fmla="*/ 38 w 270"/>
                <a:gd name="T5" fmla="*/ 74 h 128"/>
                <a:gd name="T6" fmla="*/ 76 w 270"/>
                <a:gd name="T7" fmla="*/ 55 h 128"/>
                <a:gd name="T8" fmla="*/ 57 w 270"/>
                <a:gd name="T9" fmla="*/ 63 h 128"/>
                <a:gd name="T10" fmla="*/ 45 w 270"/>
                <a:gd name="T11" fmla="*/ 74 h 128"/>
                <a:gd name="T12" fmla="*/ 57 w 270"/>
                <a:gd name="T13" fmla="*/ 83 h 128"/>
                <a:gd name="T14" fmla="*/ 34 w 270"/>
                <a:gd name="T15" fmla="*/ 80 h 128"/>
                <a:gd name="T16" fmla="*/ 26 w 270"/>
                <a:gd name="T17" fmla="*/ 96 h 128"/>
                <a:gd name="T18" fmla="*/ 76 w 270"/>
                <a:gd name="T19" fmla="*/ 105 h 128"/>
                <a:gd name="T20" fmla="*/ 7 w 270"/>
                <a:gd name="T21" fmla="*/ 99 h 128"/>
                <a:gd name="T22" fmla="*/ 30 w 270"/>
                <a:gd name="T23" fmla="*/ 116 h 128"/>
                <a:gd name="T24" fmla="*/ 106 w 270"/>
                <a:gd name="T25" fmla="*/ 107 h 128"/>
                <a:gd name="T26" fmla="*/ 121 w 270"/>
                <a:gd name="T27" fmla="*/ 99 h 128"/>
                <a:gd name="T28" fmla="*/ 106 w 270"/>
                <a:gd name="T29" fmla="*/ 94 h 128"/>
                <a:gd name="T30" fmla="*/ 133 w 270"/>
                <a:gd name="T31" fmla="*/ 94 h 128"/>
                <a:gd name="T32" fmla="*/ 152 w 270"/>
                <a:gd name="T33" fmla="*/ 63 h 128"/>
                <a:gd name="T34" fmla="*/ 198 w 270"/>
                <a:gd name="T35" fmla="*/ 52 h 128"/>
                <a:gd name="T36" fmla="*/ 224 w 270"/>
                <a:gd name="T37" fmla="*/ 41 h 128"/>
                <a:gd name="T38" fmla="*/ 224 w 270"/>
                <a:gd name="T39" fmla="*/ 27 h 128"/>
                <a:gd name="T40" fmla="*/ 270 w 270"/>
                <a:gd name="T41" fmla="*/ 14 h 128"/>
                <a:gd name="T42" fmla="*/ 258 w 270"/>
                <a:gd name="T43" fmla="*/ 8 h 128"/>
                <a:gd name="T44" fmla="*/ 45 w 270"/>
                <a:gd name="T45" fmla="*/ 19 h 128"/>
                <a:gd name="T46" fmla="*/ 64 w 270"/>
                <a:gd name="T47" fmla="*/ 44 h 128"/>
                <a:gd name="T48" fmla="*/ 19 w 270"/>
                <a:gd name="T49" fmla="*/ 27 h 128"/>
                <a:gd name="T50" fmla="*/ 15 w 270"/>
                <a:gd name="T51" fmla="*/ 39 h 128"/>
                <a:gd name="T52" fmla="*/ 4 w 270"/>
                <a:gd name="T53" fmla="*/ 44 h 128"/>
                <a:gd name="T54" fmla="*/ 15 w 270"/>
                <a:gd name="T55" fmla="*/ 55 h 128"/>
                <a:gd name="T56" fmla="*/ 95 w 270"/>
                <a:gd name="T57" fmla="*/ 105 h 128"/>
                <a:gd name="T58" fmla="*/ 91 w 270"/>
                <a:gd name="T59" fmla="*/ 107 h 128"/>
                <a:gd name="T60" fmla="*/ 95 w 270"/>
                <a:gd name="T61" fmla="*/ 10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0" h="128">
                  <a:moveTo>
                    <a:pt x="15" y="55"/>
                  </a:moveTo>
                  <a:cubicBezTo>
                    <a:pt x="15" y="61"/>
                    <a:pt x="15" y="66"/>
                    <a:pt x="15" y="72"/>
                  </a:cubicBezTo>
                  <a:cubicBezTo>
                    <a:pt x="27" y="70"/>
                    <a:pt x="29" y="74"/>
                    <a:pt x="38" y="74"/>
                  </a:cubicBezTo>
                  <a:cubicBezTo>
                    <a:pt x="39" y="62"/>
                    <a:pt x="62" y="50"/>
                    <a:pt x="76" y="55"/>
                  </a:cubicBezTo>
                  <a:cubicBezTo>
                    <a:pt x="81" y="67"/>
                    <a:pt x="56" y="55"/>
                    <a:pt x="57" y="63"/>
                  </a:cubicBezTo>
                  <a:cubicBezTo>
                    <a:pt x="68" y="67"/>
                    <a:pt x="44" y="68"/>
                    <a:pt x="45" y="74"/>
                  </a:cubicBezTo>
                  <a:cubicBezTo>
                    <a:pt x="55" y="73"/>
                    <a:pt x="59" y="75"/>
                    <a:pt x="57" y="83"/>
                  </a:cubicBezTo>
                  <a:cubicBezTo>
                    <a:pt x="48" y="83"/>
                    <a:pt x="46" y="78"/>
                    <a:pt x="34" y="80"/>
                  </a:cubicBezTo>
                  <a:cubicBezTo>
                    <a:pt x="34" y="88"/>
                    <a:pt x="21" y="85"/>
                    <a:pt x="26" y="96"/>
                  </a:cubicBezTo>
                  <a:cubicBezTo>
                    <a:pt x="49" y="94"/>
                    <a:pt x="65" y="93"/>
                    <a:pt x="76" y="105"/>
                  </a:cubicBezTo>
                  <a:cubicBezTo>
                    <a:pt x="46" y="109"/>
                    <a:pt x="26" y="94"/>
                    <a:pt x="7" y="99"/>
                  </a:cubicBezTo>
                  <a:cubicBezTo>
                    <a:pt x="4" y="112"/>
                    <a:pt x="30" y="105"/>
                    <a:pt x="30" y="116"/>
                  </a:cubicBezTo>
                  <a:cubicBezTo>
                    <a:pt x="59" y="113"/>
                    <a:pt x="97" y="128"/>
                    <a:pt x="106" y="107"/>
                  </a:cubicBezTo>
                  <a:cubicBezTo>
                    <a:pt x="116" y="108"/>
                    <a:pt x="122" y="106"/>
                    <a:pt x="121" y="99"/>
                  </a:cubicBezTo>
                  <a:cubicBezTo>
                    <a:pt x="124" y="92"/>
                    <a:pt x="104" y="101"/>
                    <a:pt x="106" y="94"/>
                  </a:cubicBezTo>
                  <a:cubicBezTo>
                    <a:pt x="115" y="94"/>
                    <a:pt x="124" y="94"/>
                    <a:pt x="133" y="94"/>
                  </a:cubicBezTo>
                  <a:cubicBezTo>
                    <a:pt x="133" y="79"/>
                    <a:pt x="156" y="81"/>
                    <a:pt x="152" y="63"/>
                  </a:cubicBezTo>
                  <a:cubicBezTo>
                    <a:pt x="171" y="63"/>
                    <a:pt x="173" y="50"/>
                    <a:pt x="198" y="52"/>
                  </a:cubicBezTo>
                  <a:cubicBezTo>
                    <a:pt x="202" y="46"/>
                    <a:pt x="210" y="41"/>
                    <a:pt x="224" y="41"/>
                  </a:cubicBezTo>
                  <a:cubicBezTo>
                    <a:pt x="229" y="34"/>
                    <a:pt x="216" y="28"/>
                    <a:pt x="224" y="27"/>
                  </a:cubicBezTo>
                  <a:cubicBezTo>
                    <a:pt x="240" y="22"/>
                    <a:pt x="263" y="30"/>
                    <a:pt x="270" y="14"/>
                  </a:cubicBezTo>
                  <a:cubicBezTo>
                    <a:pt x="270" y="9"/>
                    <a:pt x="259" y="12"/>
                    <a:pt x="258" y="8"/>
                  </a:cubicBezTo>
                  <a:cubicBezTo>
                    <a:pt x="196" y="14"/>
                    <a:pt x="111" y="0"/>
                    <a:pt x="45" y="19"/>
                  </a:cubicBezTo>
                  <a:cubicBezTo>
                    <a:pt x="40" y="36"/>
                    <a:pt x="62" y="33"/>
                    <a:pt x="64" y="44"/>
                  </a:cubicBezTo>
                  <a:cubicBezTo>
                    <a:pt x="40" y="45"/>
                    <a:pt x="47" y="23"/>
                    <a:pt x="19" y="27"/>
                  </a:cubicBezTo>
                  <a:cubicBezTo>
                    <a:pt x="18" y="31"/>
                    <a:pt x="13" y="33"/>
                    <a:pt x="15" y="39"/>
                  </a:cubicBezTo>
                  <a:cubicBezTo>
                    <a:pt x="9" y="39"/>
                    <a:pt x="2" y="38"/>
                    <a:pt x="4" y="44"/>
                  </a:cubicBezTo>
                  <a:cubicBezTo>
                    <a:pt x="0" y="53"/>
                    <a:pt x="13" y="50"/>
                    <a:pt x="15" y="55"/>
                  </a:cubicBezTo>
                  <a:close/>
                  <a:moveTo>
                    <a:pt x="95" y="105"/>
                  </a:moveTo>
                  <a:cubicBezTo>
                    <a:pt x="97" y="106"/>
                    <a:pt x="92" y="108"/>
                    <a:pt x="91" y="107"/>
                  </a:cubicBezTo>
                  <a:cubicBezTo>
                    <a:pt x="89" y="106"/>
                    <a:pt x="94" y="104"/>
                    <a:pt x="95" y="105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210"/>
            <p:cNvSpPr>
              <a:spLocks/>
            </p:cNvSpPr>
            <p:nvPr/>
          </p:nvSpPr>
          <p:spPr bwMode="auto">
            <a:xfrm>
              <a:off x="7485063" y="3352800"/>
              <a:ext cx="295275" cy="74613"/>
            </a:xfrm>
            <a:custGeom>
              <a:avLst/>
              <a:gdLst>
                <a:gd name="T0" fmla="*/ 84 w 103"/>
                <a:gd name="T1" fmla="*/ 23 h 26"/>
                <a:gd name="T2" fmla="*/ 99 w 103"/>
                <a:gd name="T3" fmla="*/ 6 h 26"/>
                <a:gd name="T4" fmla="*/ 0 w 103"/>
                <a:gd name="T5" fmla="*/ 0 h 26"/>
                <a:gd name="T6" fmla="*/ 4 w 103"/>
                <a:gd name="T7" fmla="*/ 12 h 26"/>
                <a:gd name="T8" fmla="*/ 84 w 103"/>
                <a:gd name="T9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26">
                  <a:moveTo>
                    <a:pt x="84" y="23"/>
                  </a:moveTo>
                  <a:cubicBezTo>
                    <a:pt x="85" y="15"/>
                    <a:pt x="103" y="19"/>
                    <a:pt x="99" y="6"/>
                  </a:cubicBezTo>
                  <a:cubicBezTo>
                    <a:pt x="64" y="2"/>
                    <a:pt x="31" y="1"/>
                    <a:pt x="0" y="0"/>
                  </a:cubicBezTo>
                  <a:cubicBezTo>
                    <a:pt x="0" y="5"/>
                    <a:pt x="1" y="9"/>
                    <a:pt x="4" y="12"/>
                  </a:cubicBezTo>
                  <a:cubicBezTo>
                    <a:pt x="28" y="17"/>
                    <a:pt x="47" y="26"/>
                    <a:pt x="84" y="23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211"/>
            <p:cNvSpPr>
              <a:spLocks/>
            </p:cNvSpPr>
            <p:nvPr/>
          </p:nvSpPr>
          <p:spPr bwMode="auto">
            <a:xfrm>
              <a:off x="7243763" y="3343275"/>
              <a:ext cx="393700" cy="233363"/>
            </a:xfrm>
            <a:custGeom>
              <a:avLst/>
              <a:gdLst>
                <a:gd name="T0" fmla="*/ 19 w 137"/>
                <a:gd name="T1" fmla="*/ 39 h 81"/>
                <a:gd name="T2" fmla="*/ 19 w 137"/>
                <a:gd name="T3" fmla="*/ 53 h 81"/>
                <a:gd name="T4" fmla="*/ 54 w 137"/>
                <a:gd name="T5" fmla="*/ 42 h 81"/>
                <a:gd name="T6" fmla="*/ 35 w 137"/>
                <a:gd name="T7" fmla="*/ 67 h 81"/>
                <a:gd name="T8" fmla="*/ 61 w 137"/>
                <a:gd name="T9" fmla="*/ 72 h 81"/>
                <a:gd name="T10" fmla="*/ 80 w 137"/>
                <a:gd name="T11" fmla="*/ 81 h 81"/>
                <a:gd name="T12" fmla="*/ 92 w 137"/>
                <a:gd name="T13" fmla="*/ 50 h 81"/>
                <a:gd name="T14" fmla="*/ 133 w 137"/>
                <a:gd name="T15" fmla="*/ 64 h 81"/>
                <a:gd name="T16" fmla="*/ 103 w 137"/>
                <a:gd name="T17" fmla="*/ 31 h 81"/>
                <a:gd name="T18" fmla="*/ 88 w 137"/>
                <a:gd name="T19" fmla="*/ 28 h 81"/>
                <a:gd name="T20" fmla="*/ 69 w 137"/>
                <a:gd name="T21" fmla="*/ 23 h 81"/>
                <a:gd name="T22" fmla="*/ 50 w 137"/>
                <a:gd name="T23" fmla="*/ 9 h 81"/>
                <a:gd name="T24" fmla="*/ 46 w 137"/>
                <a:gd name="T25" fmla="*/ 26 h 81"/>
                <a:gd name="T26" fmla="*/ 0 w 137"/>
                <a:gd name="T27" fmla="*/ 26 h 81"/>
                <a:gd name="T28" fmla="*/ 19 w 137"/>
                <a:gd name="T29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81">
                  <a:moveTo>
                    <a:pt x="19" y="39"/>
                  </a:moveTo>
                  <a:cubicBezTo>
                    <a:pt x="19" y="46"/>
                    <a:pt x="12" y="48"/>
                    <a:pt x="19" y="53"/>
                  </a:cubicBezTo>
                  <a:cubicBezTo>
                    <a:pt x="35" y="53"/>
                    <a:pt x="36" y="41"/>
                    <a:pt x="54" y="42"/>
                  </a:cubicBezTo>
                  <a:cubicBezTo>
                    <a:pt x="53" y="54"/>
                    <a:pt x="35" y="54"/>
                    <a:pt x="35" y="67"/>
                  </a:cubicBezTo>
                  <a:cubicBezTo>
                    <a:pt x="41" y="71"/>
                    <a:pt x="47" y="74"/>
                    <a:pt x="61" y="72"/>
                  </a:cubicBezTo>
                  <a:cubicBezTo>
                    <a:pt x="59" y="81"/>
                    <a:pt x="69" y="81"/>
                    <a:pt x="80" y="81"/>
                  </a:cubicBezTo>
                  <a:cubicBezTo>
                    <a:pt x="84" y="70"/>
                    <a:pt x="87" y="60"/>
                    <a:pt x="92" y="50"/>
                  </a:cubicBezTo>
                  <a:cubicBezTo>
                    <a:pt x="102" y="58"/>
                    <a:pt x="107" y="68"/>
                    <a:pt x="133" y="64"/>
                  </a:cubicBezTo>
                  <a:cubicBezTo>
                    <a:pt x="137" y="43"/>
                    <a:pt x="113" y="42"/>
                    <a:pt x="103" y="31"/>
                  </a:cubicBezTo>
                  <a:cubicBezTo>
                    <a:pt x="102" y="38"/>
                    <a:pt x="93" y="28"/>
                    <a:pt x="88" y="28"/>
                  </a:cubicBezTo>
                  <a:cubicBezTo>
                    <a:pt x="78" y="29"/>
                    <a:pt x="72" y="27"/>
                    <a:pt x="69" y="23"/>
                  </a:cubicBezTo>
                  <a:cubicBezTo>
                    <a:pt x="78" y="15"/>
                    <a:pt x="66" y="7"/>
                    <a:pt x="50" y="9"/>
                  </a:cubicBezTo>
                  <a:cubicBezTo>
                    <a:pt x="39" y="13"/>
                    <a:pt x="56" y="23"/>
                    <a:pt x="46" y="26"/>
                  </a:cubicBezTo>
                  <a:cubicBezTo>
                    <a:pt x="38" y="12"/>
                    <a:pt x="2" y="0"/>
                    <a:pt x="0" y="26"/>
                  </a:cubicBezTo>
                  <a:cubicBezTo>
                    <a:pt x="2" y="34"/>
                    <a:pt x="17" y="32"/>
                    <a:pt x="19" y="39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212"/>
            <p:cNvSpPr>
              <a:spLocks/>
            </p:cNvSpPr>
            <p:nvPr/>
          </p:nvSpPr>
          <p:spPr bwMode="auto">
            <a:xfrm>
              <a:off x="8301038" y="3352800"/>
              <a:ext cx="100013" cy="79375"/>
            </a:xfrm>
            <a:custGeom>
              <a:avLst/>
              <a:gdLst>
                <a:gd name="T0" fmla="*/ 35 w 35"/>
                <a:gd name="T1" fmla="*/ 17 h 28"/>
                <a:gd name="T2" fmla="*/ 1 w 35"/>
                <a:gd name="T3" fmla="*/ 20 h 28"/>
                <a:gd name="T4" fmla="*/ 35 w 35"/>
                <a:gd name="T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28">
                  <a:moveTo>
                    <a:pt x="35" y="17"/>
                  </a:moveTo>
                  <a:cubicBezTo>
                    <a:pt x="35" y="0"/>
                    <a:pt x="0" y="6"/>
                    <a:pt x="1" y="20"/>
                  </a:cubicBezTo>
                  <a:cubicBezTo>
                    <a:pt x="14" y="28"/>
                    <a:pt x="21" y="16"/>
                    <a:pt x="35" y="1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213"/>
            <p:cNvSpPr>
              <a:spLocks/>
            </p:cNvSpPr>
            <p:nvPr/>
          </p:nvSpPr>
          <p:spPr bwMode="auto">
            <a:xfrm>
              <a:off x="8999538" y="3381375"/>
              <a:ext cx="209550" cy="95250"/>
            </a:xfrm>
            <a:custGeom>
              <a:avLst/>
              <a:gdLst>
                <a:gd name="T0" fmla="*/ 5 w 73"/>
                <a:gd name="T1" fmla="*/ 24 h 33"/>
                <a:gd name="T2" fmla="*/ 73 w 73"/>
                <a:gd name="T3" fmla="*/ 15 h 33"/>
                <a:gd name="T4" fmla="*/ 9 w 73"/>
                <a:gd name="T5" fmla="*/ 7 h 33"/>
                <a:gd name="T6" fmla="*/ 5 w 73"/>
                <a:gd name="T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33">
                  <a:moveTo>
                    <a:pt x="5" y="24"/>
                  </a:moveTo>
                  <a:cubicBezTo>
                    <a:pt x="35" y="20"/>
                    <a:pt x="66" y="33"/>
                    <a:pt x="73" y="15"/>
                  </a:cubicBezTo>
                  <a:cubicBezTo>
                    <a:pt x="64" y="5"/>
                    <a:pt x="30" y="0"/>
                    <a:pt x="9" y="7"/>
                  </a:cubicBezTo>
                  <a:cubicBezTo>
                    <a:pt x="0" y="7"/>
                    <a:pt x="7" y="19"/>
                    <a:pt x="5" y="2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214"/>
            <p:cNvSpPr>
              <a:spLocks/>
            </p:cNvSpPr>
            <p:nvPr/>
          </p:nvSpPr>
          <p:spPr bwMode="auto">
            <a:xfrm>
              <a:off x="8218488" y="3519488"/>
              <a:ext cx="358775" cy="238125"/>
            </a:xfrm>
            <a:custGeom>
              <a:avLst/>
              <a:gdLst>
                <a:gd name="T0" fmla="*/ 49 w 125"/>
                <a:gd name="T1" fmla="*/ 78 h 83"/>
                <a:gd name="T2" fmla="*/ 30 w 125"/>
                <a:gd name="T3" fmla="*/ 42 h 83"/>
                <a:gd name="T4" fmla="*/ 87 w 125"/>
                <a:gd name="T5" fmla="*/ 20 h 83"/>
                <a:gd name="T6" fmla="*/ 125 w 125"/>
                <a:gd name="T7" fmla="*/ 0 h 83"/>
                <a:gd name="T8" fmla="*/ 106 w 125"/>
                <a:gd name="T9" fmla="*/ 0 h 83"/>
                <a:gd name="T10" fmla="*/ 102 w 125"/>
                <a:gd name="T11" fmla="*/ 6 h 83"/>
                <a:gd name="T12" fmla="*/ 30 w 125"/>
                <a:gd name="T13" fmla="*/ 22 h 83"/>
                <a:gd name="T14" fmla="*/ 15 w 125"/>
                <a:gd name="T15" fmla="*/ 50 h 83"/>
                <a:gd name="T16" fmla="*/ 0 w 125"/>
                <a:gd name="T17" fmla="*/ 66 h 83"/>
                <a:gd name="T18" fmla="*/ 37 w 125"/>
                <a:gd name="T19" fmla="*/ 83 h 83"/>
                <a:gd name="T20" fmla="*/ 49 w 125"/>
                <a:gd name="T21" fmla="*/ 7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83">
                  <a:moveTo>
                    <a:pt x="49" y="78"/>
                  </a:moveTo>
                  <a:cubicBezTo>
                    <a:pt x="44" y="65"/>
                    <a:pt x="26" y="61"/>
                    <a:pt x="30" y="42"/>
                  </a:cubicBezTo>
                  <a:cubicBezTo>
                    <a:pt x="57" y="40"/>
                    <a:pt x="67" y="26"/>
                    <a:pt x="87" y="20"/>
                  </a:cubicBezTo>
                  <a:cubicBezTo>
                    <a:pt x="111" y="21"/>
                    <a:pt x="123" y="15"/>
                    <a:pt x="125" y="0"/>
                  </a:cubicBezTo>
                  <a:cubicBezTo>
                    <a:pt x="118" y="0"/>
                    <a:pt x="112" y="0"/>
                    <a:pt x="106" y="0"/>
                  </a:cubicBezTo>
                  <a:cubicBezTo>
                    <a:pt x="105" y="3"/>
                    <a:pt x="106" y="6"/>
                    <a:pt x="102" y="6"/>
                  </a:cubicBezTo>
                  <a:cubicBezTo>
                    <a:pt x="74" y="8"/>
                    <a:pt x="52" y="16"/>
                    <a:pt x="30" y="22"/>
                  </a:cubicBezTo>
                  <a:cubicBezTo>
                    <a:pt x="32" y="37"/>
                    <a:pt x="12" y="35"/>
                    <a:pt x="15" y="50"/>
                  </a:cubicBezTo>
                  <a:cubicBezTo>
                    <a:pt x="10" y="56"/>
                    <a:pt x="1" y="58"/>
                    <a:pt x="0" y="66"/>
                  </a:cubicBezTo>
                  <a:cubicBezTo>
                    <a:pt x="12" y="72"/>
                    <a:pt x="24" y="78"/>
                    <a:pt x="37" y="83"/>
                  </a:cubicBezTo>
                  <a:cubicBezTo>
                    <a:pt x="39" y="80"/>
                    <a:pt x="42" y="77"/>
                    <a:pt x="49" y="78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215"/>
            <p:cNvSpPr>
              <a:spLocks/>
            </p:cNvSpPr>
            <p:nvPr/>
          </p:nvSpPr>
          <p:spPr bwMode="auto">
            <a:xfrm>
              <a:off x="10056813" y="3516313"/>
              <a:ext cx="190500" cy="82550"/>
            </a:xfrm>
            <a:custGeom>
              <a:avLst/>
              <a:gdLst>
                <a:gd name="T0" fmla="*/ 43 w 66"/>
                <a:gd name="T1" fmla="*/ 29 h 29"/>
                <a:gd name="T2" fmla="*/ 66 w 66"/>
                <a:gd name="T3" fmla="*/ 12 h 29"/>
                <a:gd name="T4" fmla="*/ 36 w 66"/>
                <a:gd name="T5" fmla="*/ 1 h 29"/>
                <a:gd name="T6" fmla="*/ 28 w 66"/>
                <a:gd name="T7" fmla="*/ 7 h 29"/>
                <a:gd name="T8" fmla="*/ 6 w 66"/>
                <a:gd name="T9" fmla="*/ 7 h 29"/>
                <a:gd name="T10" fmla="*/ 43 w 66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9">
                  <a:moveTo>
                    <a:pt x="43" y="29"/>
                  </a:moveTo>
                  <a:cubicBezTo>
                    <a:pt x="53" y="25"/>
                    <a:pt x="57" y="17"/>
                    <a:pt x="66" y="12"/>
                  </a:cubicBezTo>
                  <a:cubicBezTo>
                    <a:pt x="52" y="11"/>
                    <a:pt x="49" y="0"/>
                    <a:pt x="36" y="1"/>
                  </a:cubicBezTo>
                  <a:cubicBezTo>
                    <a:pt x="34" y="2"/>
                    <a:pt x="32" y="8"/>
                    <a:pt x="28" y="7"/>
                  </a:cubicBezTo>
                  <a:cubicBezTo>
                    <a:pt x="21" y="7"/>
                    <a:pt x="13" y="7"/>
                    <a:pt x="6" y="7"/>
                  </a:cubicBezTo>
                  <a:cubicBezTo>
                    <a:pt x="0" y="27"/>
                    <a:pt x="33" y="20"/>
                    <a:pt x="43" y="29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216"/>
            <p:cNvSpPr>
              <a:spLocks/>
            </p:cNvSpPr>
            <p:nvPr/>
          </p:nvSpPr>
          <p:spPr bwMode="auto">
            <a:xfrm>
              <a:off x="6513513" y="3827463"/>
              <a:ext cx="250825" cy="128588"/>
            </a:xfrm>
            <a:custGeom>
              <a:avLst/>
              <a:gdLst>
                <a:gd name="T0" fmla="*/ 64 w 87"/>
                <a:gd name="T1" fmla="*/ 45 h 45"/>
                <a:gd name="T2" fmla="*/ 83 w 87"/>
                <a:gd name="T3" fmla="*/ 37 h 45"/>
                <a:gd name="T4" fmla="*/ 76 w 87"/>
                <a:gd name="T5" fmla="*/ 9 h 45"/>
                <a:gd name="T6" fmla="*/ 38 w 87"/>
                <a:gd name="T7" fmla="*/ 12 h 45"/>
                <a:gd name="T8" fmla="*/ 15 w 87"/>
                <a:gd name="T9" fmla="*/ 1 h 45"/>
                <a:gd name="T10" fmla="*/ 0 w 87"/>
                <a:gd name="T11" fmla="*/ 20 h 45"/>
                <a:gd name="T12" fmla="*/ 19 w 87"/>
                <a:gd name="T13" fmla="*/ 17 h 45"/>
                <a:gd name="T14" fmla="*/ 7 w 87"/>
                <a:gd name="T15" fmla="*/ 34 h 45"/>
                <a:gd name="T16" fmla="*/ 34 w 87"/>
                <a:gd name="T17" fmla="*/ 45 h 45"/>
                <a:gd name="T18" fmla="*/ 64 w 87"/>
                <a:gd name="T1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45">
                  <a:moveTo>
                    <a:pt x="64" y="45"/>
                  </a:moveTo>
                  <a:cubicBezTo>
                    <a:pt x="65" y="38"/>
                    <a:pt x="79" y="41"/>
                    <a:pt x="83" y="37"/>
                  </a:cubicBezTo>
                  <a:cubicBezTo>
                    <a:pt x="87" y="23"/>
                    <a:pt x="75" y="21"/>
                    <a:pt x="76" y="9"/>
                  </a:cubicBezTo>
                  <a:cubicBezTo>
                    <a:pt x="59" y="13"/>
                    <a:pt x="54" y="7"/>
                    <a:pt x="38" y="12"/>
                  </a:cubicBezTo>
                  <a:cubicBezTo>
                    <a:pt x="28" y="10"/>
                    <a:pt x="28" y="0"/>
                    <a:pt x="15" y="1"/>
                  </a:cubicBezTo>
                  <a:cubicBezTo>
                    <a:pt x="20" y="14"/>
                    <a:pt x="0" y="10"/>
                    <a:pt x="0" y="20"/>
                  </a:cubicBezTo>
                  <a:cubicBezTo>
                    <a:pt x="11" y="22"/>
                    <a:pt x="10" y="16"/>
                    <a:pt x="19" y="17"/>
                  </a:cubicBezTo>
                  <a:cubicBezTo>
                    <a:pt x="17" y="24"/>
                    <a:pt x="4" y="23"/>
                    <a:pt x="7" y="34"/>
                  </a:cubicBezTo>
                  <a:cubicBezTo>
                    <a:pt x="26" y="30"/>
                    <a:pt x="22" y="43"/>
                    <a:pt x="34" y="45"/>
                  </a:cubicBezTo>
                  <a:cubicBezTo>
                    <a:pt x="37" y="39"/>
                    <a:pt x="61" y="42"/>
                    <a:pt x="64" y="45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217"/>
            <p:cNvSpPr>
              <a:spLocks/>
            </p:cNvSpPr>
            <p:nvPr/>
          </p:nvSpPr>
          <p:spPr bwMode="auto">
            <a:xfrm>
              <a:off x="5038725" y="3902075"/>
              <a:ext cx="165100" cy="103188"/>
            </a:xfrm>
            <a:custGeom>
              <a:avLst/>
              <a:gdLst>
                <a:gd name="T0" fmla="*/ 57 w 57"/>
                <a:gd name="T1" fmla="*/ 19 h 36"/>
                <a:gd name="T2" fmla="*/ 42 w 57"/>
                <a:gd name="T3" fmla="*/ 5 h 36"/>
                <a:gd name="T4" fmla="*/ 19 w 57"/>
                <a:gd name="T5" fmla="*/ 2 h 36"/>
                <a:gd name="T6" fmla="*/ 0 w 57"/>
                <a:gd name="T7" fmla="*/ 16 h 36"/>
                <a:gd name="T8" fmla="*/ 26 w 57"/>
                <a:gd name="T9" fmla="*/ 27 h 36"/>
                <a:gd name="T10" fmla="*/ 57 w 57"/>
                <a:gd name="T11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6">
                  <a:moveTo>
                    <a:pt x="57" y="19"/>
                  </a:moveTo>
                  <a:cubicBezTo>
                    <a:pt x="42" y="16"/>
                    <a:pt x="52" y="12"/>
                    <a:pt x="42" y="5"/>
                  </a:cubicBezTo>
                  <a:cubicBezTo>
                    <a:pt x="30" y="7"/>
                    <a:pt x="31" y="0"/>
                    <a:pt x="19" y="2"/>
                  </a:cubicBezTo>
                  <a:cubicBezTo>
                    <a:pt x="14" y="8"/>
                    <a:pt x="17" y="19"/>
                    <a:pt x="0" y="16"/>
                  </a:cubicBezTo>
                  <a:cubicBezTo>
                    <a:pt x="0" y="26"/>
                    <a:pt x="12" y="27"/>
                    <a:pt x="26" y="27"/>
                  </a:cubicBezTo>
                  <a:cubicBezTo>
                    <a:pt x="25" y="6"/>
                    <a:pt x="52" y="36"/>
                    <a:pt x="57" y="19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218"/>
            <p:cNvSpPr>
              <a:spLocks/>
            </p:cNvSpPr>
            <p:nvPr/>
          </p:nvSpPr>
          <p:spPr bwMode="auto">
            <a:xfrm>
              <a:off x="6900863" y="4065588"/>
              <a:ext cx="225425" cy="261938"/>
            </a:xfrm>
            <a:custGeom>
              <a:avLst/>
              <a:gdLst>
                <a:gd name="T0" fmla="*/ 78 w 78"/>
                <a:gd name="T1" fmla="*/ 61 h 91"/>
                <a:gd name="T2" fmla="*/ 62 w 78"/>
                <a:gd name="T3" fmla="*/ 53 h 91"/>
                <a:gd name="T4" fmla="*/ 51 w 78"/>
                <a:gd name="T5" fmla="*/ 20 h 91"/>
                <a:gd name="T6" fmla="*/ 36 w 78"/>
                <a:gd name="T7" fmla="*/ 11 h 91"/>
                <a:gd name="T8" fmla="*/ 47 w 78"/>
                <a:gd name="T9" fmla="*/ 0 h 91"/>
                <a:gd name="T10" fmla="*/ 17 w 78"/>
                <a:gd name="T11" fmla="*/ 6 h 91"/>
                <a:gd name="T12" fmla="*/ 13 w 78"/>
                <a:gd name="T13" fmla="*/ 42 h 91"/>
                <a:gd name="T14" fmla="*/ 32 w 78"/>
                <a:gd name="T15" fmla="*/ 47 h 91"/>
                <a:gd name="T16" fmla="*/ 13 w 78"/>
                <a:gd name="T17" fmla="*/ 58 h 91"/>
                <a:gd name="T18" fmla="*/ 21 w 78"/>
                <a:gd name="T19" fmla="*/ 83 h 91"/>
                <a:gd name="T20" fmla="*/ 2 w 78"/>
                <a:gd name="T21" fmla="*/ 91 h 91"/>
                <a:gd name="T22" fmla="*/ 62 w 78"/>
                <a:gd name="T23" fmla="*/ 89 h 91"/>
                <a:gd name="T24" fmla="*/ 78 w 78"/>
                <a:gd name="T25" fmla="*/ 6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1">
                  <a:moveTo>
                    <a:pt x="78" y="61"/>
                  </a:moveTo>
                  <a:cubicBezTo>
                    <a:pt x="73" y="58"/>
                    <a:pt x="66" y="57"/>
                    <a:pt x="62" y="53"/>
                  </a:cubicBezTo>
                  <a:cubicBezTo>
                    <a:pt x="67" y="37"/>
                    <a:pt x="37" y="34"/>
                    <a:pt x="51" y="20"/>
                  </a:cubicBezTo>
                  <a:cubicBezTo>
                    <a:pt x="46" y="17"/>
                    <a:pt x="40" y="15"/>
                    <a:pt x="36" y="11"/>
                  </a:cubicBezTo>
                  <a:cubicBezTo>
                    <a:pt x="41" y="9"/>
                    <a:pt x="48" y="7"/>
                    <a:pt x="47" y="0"/>
                  </a:cubicBezTo>
                  <a:cubicBezTo>
                    <a:pt x="33" y="0"/>
                    <a:pt x="26" y="4"/>
                    <a:pt x="17" y="6"/>
                  </a:cubicBezTo>
                  <a:cubicBezTo>
                    <a:pt x="20" y="21"/>
                    <a:pt x="11" y="27"/>
                    <a:pt x="13" y="42"/>
                  </a:cubicBezTo>
                  <a:cubicBezTo>
                    <a:pt x="22" y="46"/>
                    <a:pt x="27" y="46"/>
                    <a:pt x="32" y="47"/>
                  </a:cubicBezTo>
                  <a:cubicBezTo>
                    <a:pt x="34" y="57"/>
                    <a:pt x="19" y="62"/>
                    <a:pt x="13" y="58"/>
                  </a:cubicBezTo>
                  <a:cubicBezTo>
                    <a:pt x="10" y="71"/>
                    <a:pt x="16" y="77"/>
                    <a:pt x="21" y="83"/>
                  </a:cubicBezTo>
                  <a:cubicBezTo>
                    <a:pt x="14" y="86"/>
                    <a:pt x="0" y="83"/>
                    <a:pt x="2" y="91"/>
                  </a:cubicBezTo>
                  <a:cubicBezTo>
                    <a:pt x="20" y="89"/>
                    <a:pt x="39" y="88"/>
                    <a:pt x="62" y="89"/>
                  </a:cubicBezTo>
                  <a:cubicBezTo>
                    <a:pt x="66" y="77"/>
                    <a:pt x="63" y="69"/>
                    <a:pt x="78" y="61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219"/>
            <p:cNvSpPr>
              <a:spLocks/>
            </p:cNvSpPr>
            <p:nvPr/>
          </p:nvSpPr>
          <p:spPr bwMode="auto">
            <a:xfrm>
              <a:off x="6811963" y="4186238"/>
              <a:ext cx="104775" cy="85725"/>
            </a:xfrm>
            <a:custGeom>
              <a:avLst/>
              <a:gdLst>
                <a:gd name="T0" fmla="*/ 6 w 36"/>
                <a:gd name="T1" fmla="*/ 30 h 30"/>
                <a:gd name="T2" fmla="*/ 36 w 36"/>
                <a:gd name="T3" fmla="*/ 25 h 30"/>
                <a:gd name="T4" fmla="*/ 36 w 36"/>
                <a:gd name="T5" fmla="*/ 0 h 30"/>
                <a:gd name="T6" fmla="*/ 17 w 36"/>
                <a:gd name="T7" fmla="*/ 0 h 30"/>
                <a:gd name="T8" fmla="*/ 2 w 36"/>
                <a:gd name="T9" fmla="*/ 8 h 30"/>
                <a:gd name="T10" fmla="*/ 6 w 36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0">
                  <a:moveTo>
                    <a:pt x="6" y="30"/>
                  </a:moveTo>
                  <a:cubicBezTo>
                    <a:pt x="15" y="27"/>
                    <a:pt x="29" y="28"/>
                    <a:pt x="36" y="25"/>
                  </a:cubicBezTo>
                  <a:cubicBezTo>
                    <a:pt x="32" y="13"/>
                    <a:pt x="35" y="12"/>
                    <a:pt x="36" y="0"/>
                  </a:cubicBezTo>
                  <a:cubicBezTo>
                    <a:pt x="30" y="0"/>
                    <a:pt x="24" y="0"/>
                    <a:pt x="17" y="0"/>
                  </a:cubicBezTo>
                  <a:cubicBezTo>
                    <a:pt x="17" y="12"/>
                    <a:pt x="9" y="3"/>
                    <a:pt x="2" y="8"/>
                  </a:cubicBezTo>
                  <a:cubicBezTo>
                    <a:pt x="3" y="16"/>
                    <a:pt x="0" y="26"/>
                    <a:pt x="6" y="30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220"/>
            <p:cNvSpPr>
              <a:spLocks/>
            </p:cNvSpPr>
            <p:nvPr/>
          </p:nvSpPr>
          <p:spPr bwMode="auto">
            <a:xfrm>
              <a:off x="10507663" y="4430713"/>
              <a:ext cx="165100" cy="109538"/>
            </a:xfrm>
            <a:custGeom>
              <a:avLst/>
              <a:gdLst>
                <a:gd name="T0" fmla="*/ 23 w 57"/>
                <a:gd name="T1" fmla="*/ 25 h 38"/>
                <a:gd name="T2" fmla="*/ 35 w 57"/>
                <a:gd name="T3" fmla="*/ 33 h 38"/>
                <a:gd name="T4" fmla="*/ 57 w 57"/>
                <a:gd name="T5" fmla="*/ 11 h 38"/>
                <a:gd name="T6" fmla="*/ 4 w 57"/>
                <a:gd name="T7" fmla="*/ 0 h 38"/>
                <a:gd name="T8" fmla="*/ 0 w 57"/>
                <a:gd name="T9" fmla="*/ 31 h 38"/>
                <a:gd name="T10" fmla="*/ 23 w 57"/>
                <a:gd name="T1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8">
                  <a:moveTo>
                    <a:pt x="23" y="25"/>
                  </a:moveTo>
                  <a:cubicBezTo>
                    <a:pt x="30" y="25"/>
                    <a:pt x="26" y="34"/>
                    <a:pt x="35" y="33"/>
                  </a:cubicBezTo>
                  <a:cubicBezTo>
                    <a:pt x="43" y="26"/>
                    <a:pt x="42" y="13"/>
                    <a:pt x="57" y="11"/>
                  </a:cubicBezTo>
                  <a:cubicBezTo>
                    <a:pt x="37" y="9"/>
                    <a:pt x="25" y="2"/>
                    <a:pt x="4" y="0"/>
                  </a:cubicBezTo>
                  <a:cubicBezTo>
                    <a:pt x="7" y="13"/>
                    <a:pt x="0" y="19"/>
                    <a:pt x="0" y="31"/>
                  </a:cubicBezTo>
                  <a:cubicBezTo>
                    <a:pt x="11" y="38"/>
                    <a:pt x="10" y="23"/>
                    <a:pt x="23" y="2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221"/>
            <p:cNvSpPr>
              <a:spLocks/>
            </p:cNvSpPr>
            <p:nvPr/>
          </p:nvSpPr>
          <p:spPr bwMode="auto">
            <a:xfrm>
              <a:off x="10321925" y="4525963"/>
              <a:ext cx="287338" cy="269875"/>
            </a:xfrm>
            <a:custGeom>
              <a:avLst/>
              <a:gdLst>
                <a:gd name="T0" fmla="*/ 1 w 100"/>
                <a:gd name="T1" fmla="*/ 77 h 94"/>
                <a:gd name="T2" fmla="*/ 16 w 100"/>
                <a:gd name="T3" fmla="*/ 94 h 94"/>
                <a:gd name="T4" fmla="*/ 39 w 100"/>
                <a:gd name="T5" fmla="*/ 75 h 94"/>
                <a:gd name="T6" fmla="*/ 50 w 100"/>
                <a:gd name="T7" fmla="*/ 77 h 94"/>
                <a:gd name="T8" fmla="*/ 100 w 100"/>
                <a:gd name="T9" fmla="*/ 55 h 94"/>
                <a:gd name="T10" fmla="*/ 92 w 100"/>
                <a:gd name="T11" fmla="*/ 0 h 94"/>
                <a:gd name="T12" fmla="*/ 77 w 100"/>
                <a:gd name="T13" fmla="*/ 0 h 94"/>
                <a:gd name="T14" fmla="*/ 81 w 100"/>
                <a:gd name="T15" fmla="*/ 33 h 94"/>
                <a:gd name="T16" fmla="*/ 77 w 100"/>
                <a:gd name="T17" fmla="*/ 39 h 94"/>
                <a:gd name="T18" fmla="*/ 43 w 100"/>
                <a:gd name="T19" fmla="*/ 55 h 94"/>
                <a:gd name="T20" fmla="*/ 5 w 100"/>
                <a:gd name="T21" fmla="*/ 72 h 94"/>
                <a:gd name="T22" fmla="*/ 24 w 100"/>
                <a:gd name="T23" fmla="*/ 77 h 94"/>
                <a:gd name="T24" fmla="*/ 1 w 100"/>
                <a:gd name="T25" fmla="*/ 7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94">
                  <a:moveTo>
                    <a:pt x="1" y="77"/>
                  </a:moveTo>
                  <a:cubicBezTo>
                    <a:pt x="0" y="87"/>
                    <a:pt x="10" y="89"/>
                    <a:pt x="16" y="94"/>
                  </a:cubicBezTo>
                  <a:cubicBezTo>
                    <a:pt x="19" y="84"/>
                    <a:pt x="28" y="79"/>
                    <a:pt x="39" y="75"/>
                  </a:cubicBezTo>
                  <a:cubicBezTo>
                    <a:pt x="44" y="75"/>
                    <a:pt x="47" y="76"/>
                    <a:pt x="50" y="77"/>
                  </a:cubicBezTo>
                  <a:cubicBezTo>
                    <a:pt x="62" y="67"/>
                    <a:pt x="87" y="66"/>
                    <a:pt x="100" y="55"/>
                  </a:cubicBezTo>
                  <a:cubicBezTo>
                    <a:pt x="99" y="36"/>
                    <a:pt x="91" y="21"/>
                    <a:pt x="92" y="0"/>
                  </a:cubicBezTo>
                  <a:cubicBezTo>
                    <a:pt x="87" y="0"/>
                    <a:pt x="82" y="0"/>
                    <a:pt x="77" y="0"/>
                  </a:cubicBezTo>
                  <a:cubicBezTo>
                    <a:pt x="81" y="13"/>
                    <a:pt x="75" y="19"/>
                    <a:pt x="81" y="33"/>
                  </a:cubicBezTo>
                  <a:cubicBezTo>
                    <a:pt x="78" y="34"/>
                    <a:pt x="76" y="36"/>
                    <a:pt x="77" y="39"/>
                  </a:cubicBezTo>
                  <a:cubicBezTo>
                    <a:pt x="63" y="43"/>
                    <a:pt x="56" y="46"/>
                    <a:pt x="43" y="55"/>
                  </a:cubicBezTo>
                  <a:cubicBezTo>
                    <a:pt x="29" y="60"/>
                    <a:pt x="5" y="57"/>
                    <a:pt x="5" y="72"/>
                  </a:cubicBezTo>
                  <a:cubicBezTo>
                    <a:pt x="3" y="80"/>
                    <a:pt x="25" y="70"/>
                    <a:pt x="24" y="77"/>
                  </a:cubicBezTo>
                  <a:cubicBezTo>
                    <a:pt x="16" y="77"/>
                    <a:pt x="8" y="77"/>
                    <a:pt x="1" y="7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222"/>
            <p:cNvSpPr>
              <a:spLocks/>
            </p:cNvSpPr>
            <p:nvPr/>
          </p:nvSpPr>
          <p:spPr bwMode="auto">
            <a:xfrm>
              <a:off x="7659688" y="4672013"/>
              <a:ext cx="73025" cy="38100"/>
            </a:xfrm>
            <a:custGeom>
              <a:avLst/>
              <a:gdLst>
                <a:gd name="T0" fmla="*/ 0 w 25"/>
                <a:gd name="T1" fmla="*/ 4 h 13"/>
                <a:gd name="T2" fmla="*/ 23 w 25"/>
                <a:gd name="T3" fmla="*/ 13 h 13"/>
                <a:gd name="T4" fmla="*/ 4 w 25"/>
                <a:gd name="T5" fmla="*/ 2 h 13"/>
                <a:gd name="T6" fmla="*/ 0 w 25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3">
                  <a:moveTo>
                    <a:pt x="0" y="4"/>
                  </a:moveTo>
                  <a:cubicBezTo>
                    <a:pt x="1" y="12"/>
                    <a:pt x="12" y="7"/>
                    <a:pt x="23" y="13"/>
                  </a:cubicBezTo>
                  <a:cubicBezTo>
                    <a:pt x="25" y="2"/>
                    <a:pt x="17" y="0"/>
                    <a:pt x="4" y="2"/>
                  </a:cubicBezTo>
                  <a:cubicBezTo>
                    <a:pt x="4" y="4"/>
                    <a:pt x="2" y="4"/>
                    <a:pt x="0" y="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Freeform 223"/>
            <p:cNvSpPr>
              <a:spLocks/>
            </p:cNvSpPr>
            <p:nvPr/>
          </p:nvSpPr>
          <p:spPr bwMode="auto">
            <a:xfrm>
              <a:off x="10094913" y="4913313"/>
              <a:ext cx="77788" cy="88900"/>
            </a:xfrm>
            <a:custGeom>
              <a:avLst/>
              <a:gdLst>
                <a:gd name="T0" fmla="*/ 0 w 27"/>
                <a:gd name="T1" fmla="*/ 14 h 31"/>
                <a:gd name="T2" fmla="*/ 11 w 27"/>
                <a:gd name="T3" fmla="*/ 31 h 31"/>
                <a:gd name="T4" fmla="*/ 27 w 27"/>
                <a:gd name="T5" fmla="*/ 6 h 31"/>
                <a:gd name="T6" fmla="*/ 0 w 27"/>
                <a:gd name="T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1">
                  <a:moveTo>
                    <a:pt x="0" y="14"/>
                  </a:moveTo>
                  <a:cubicBezTo>
                    <a:pt x="6" y="18"/>
                    <a:pt x="10" y="23"/>
                    <a:pt x="11" y="31"/>
                  </a:cubicBezTo>
                  <a:cubicBezTo>
                    <a:pt x="27" y="30"/>
                    <a:pt x="26" y="17"/>
                    <a:pt x="27" y="6"/>
                  </a:cubicBezTo>
                  <a:cubicBezTo>
                    <a:pt x="17" y="0"/>
                    <a:pt x="4" y="8"/>
                    <a:pt x="0" y="1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Freeform 224"/>
            <p:cNvSpPr>
              <a:spLocks/>
            </p:cNvSpPr>
            <p:nvPr/>
          </p:nvSpPr>
          <p:spPr bwMode="auto">
            <a:xfrm>
              <a:off x="5038725" y="4930775"/>
              <a:ext cx="44450" cy="31750"/>
            </a:xfrm>
            <a:custGeom>
              <a:avLst/>
              <a:gdLst>
                <a:gd name="T0" fmla="*/ 0 w 15"/>
                <a:gd name="T1" fmla="*/ 0 h 11"/>
                <a:gd name="T2" fmla="*/ 0 w 15"/>
                <a:gd name="T3" fmla="*/ 11 h 11"/>
                <a:gd name="T4" fmla="*/ 15 w 15"/>
                <a:gd name="T5" fmla="*/ 11 h 11"/>
                <a:gd name="T6" fmla="*/ 0 w 1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0" y="0"/>
                  </a:moveTo>
                  <a:cubicBezTo>
                    <a:pt x="0" y="3"/>
                    <a:pt x="0" y="7"/>
                    <a:pt x="0" y="11"/>
                  </a:cubicBezTo>
                  <a:cubicBezTo>
                    <a:pt x="5" y="11"/>
                    <a:pt x="10" y="11"/>
                    <a:pt x="15" y="11"/>
                  </a:cubicBezTo>
                  <a:cubicBezTo>
                    <a:pt x="15" y="4"/>
                    <a:pt x="10" y="0"/>
                    <a:pt x="0" y="0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Freeform 225"/>
            <p:cNvSpPr>
              <a:spLocks/>
            </p:cNvSpPr>
            <p:nvPr/>
          </p:nvSpPr>
          <p:spPr bwMode="auto">
            <a:xfrm>
              <a:off x="5111750" y="4930775"/>
              <a:ext cx="50800" cy="42863"/>
            </a:xfrm>
            <a:custGeom>
              <a:avLst/>
              <a:gdLst>
                <a:gd name="T0" fmla="*/ 17 w 18"/>
                <a:gd name="T1" fmla="*/ 13 h 15"/>
                <a:gd name="T2" fmla="*/ 13 w 18"/>
                <a:gd name="T3" fmla="*/ 0 h 15"/>
                <a:gd name="T4" fmla="*/ 1 w 18"/>
                <a:gd name="T5" fmla="*/ 0 h 15"/>
                <a:gd name="T6" fmla="*/ 17 w 18"/>
                <a:gd name="T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7" y="13"/>
                  </a:moveTo>
                  <a:cubicBezTo>
                    <a:pt x="18" y="7"/>
                    <a:pt x="16" y="3"/>
                    <a:pt x="13" y="0"/>
                  </a:cubicBezTo>
                  <a:cubicBezTo>
                    <a:pt x="9" y="0"/>
                    <a:pt x="5" y="0"/>
                    <a:pt x="1" y="0"/>
                  </a:cubicBezTo>
                  <a:cubicBezTo>
                    <a:pt x="0" y="9"/>
                    <a:pt x="3" y="15"/>
                    <a:pt x="17" y="13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226"/>
            <p:cNvSpPr>
              <a:spLocks/>
            </p:cNvSpPr>
            <p:nvPr/>
          </p:nvSpPr>
          <p:spPr bwMode="auto">
            <a:xfrm>
              <a:off x="5172075" y="4962525"/>
              <a:ext cx="42863" cy="42863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14 h 15"/>
                <a:gd name="T4" fmla="*/ 15 w 15"/>
                <a:gd name="T5" fmla="*/ 11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4"/>
                    <a:pt x="0" y="9"/>
                    <a:pt x="0" y="14"/>
                  </a:cubicBezTo>
                  <a:cubicBezTo>
                    <a:pt x="7" y="15"/>
                    <a:pt x="10" y="12"/>
                    <a:pt x="15" y="11"/>
                  </a:cubicBezTo>
                  <a:cubicBezTo>
                    <a:pt x="14" y="4"/>
                    <a:pt x="9" y="0"/>
                    <a:pt x="0" y="0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227"/>
            <p:cNvSpPr>
              <a:spLocks/>
            </p:cNvSpPr>
            <p:nvPr/>
          </p:nvSpPr>
          <p:spPr bwMode="auto">
            <a:xfrm>
              <a:off x="4884738" y="4976813"/>
              <a:ext cx="415925" cy="127000"/>
            </a:xfrm>
            <a:custGeom>
              <a:avLst/>
              <a:gdLst>
                <a:gd name="T0" fmla="*/ 92 w 145"/>
                <a:gd name="T1" fmla="*/ 39 h 44"/>
                <a:gd name="T2" fmla="*/ 119 w 145"/>
                <a:gd name="T3" fmla="*/ 44 h 44"/>
                <a:gd name="T4" fmla="*/ 145 w 145"/>
                <a:gd name="T5" fmla="*/ 39 h 44"/>
                <a:gd name="T6" fmla="*/ 96 w 145"/>
                <a:gd name="T7" fmla="*/ 22 h 44"/>
                <a:gd name="T8" fmla="*/ 88 w 145"/>
                <a:gd name="T9" fmla="*/ 11 h 44"/>
                <a:gd name="T10" fmla="*/ 65 w 145"/>
                <a:gd name="T11" fmla="*/ 0 h 44"/>
                <a:gd name="T12" fmla="*/ 8 w 145"/>
                <a:gd name="T13" fmla="*/ 0 h 44"/>
                <a:gd name="T14" fmla="*/ 1 w 145"/>
                <a:gd name="T15" fmla="*/ 14 h 44"/>
                <a:gd name="T16" fmla="*/ 35 w 145"/>
                <a:gd name="T17" fmla="*/ 9 h 44"/>
                <a:gd name="T18" fmla="*/ 69 w 145"/>
                <a:gd name="T19" fmla="*/ 25 h 44"/>
                <a:gd name="T20" fmla="*/ 100 w 145"/>
                <a:gd name="T21" fmla="*/ 28 h 44"/>
                <a:gd name="T22" fmla="*/ 92 w 145"/>
                <a:gd name="T23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44">
                  <a:moveTo>
                    <a:pt x="92" y="39"/>
                  </a:moveTo>
                  <a:cubicBezTo>
                    <a:pt x="106" y="37"/>
                    <a:pt x="110" y="42"/>
                    <a:pt x="119" y="44"/>
                  </a:cubicBezTo>
                  <a:cubicBezTo>
                    <a:pt x="119" y="36"/>
                    <a:pt x="134" y="39"/>
                    <a:pt x="145" y="39"/>
                  </a:cubicBezTo>
                  <a:cubicBezTo>
                    <a:pt x="140" y="21"/>
                    <a:pt x="119" y="23"/>
                    <a:pt x="96" y="22"/>
                  </a:cubicBezTo>
                  <a:cubicBezTo>
                    <a:pt x="99" y="15"/>
                    <a:pt x="88" y="17"/>
                    <a:pt x="88" y="11"/>
                  </a:cubicBezTo>
                  <a:cubicBezTo>
                    <a:pt x="80" y="8"/>
                    <a:pt x="67" y="8"/>
                    <a:pt x="65" y="0"/>
                  </a:cubicBezTo>
                  <a:cubicBezTo>
                    <a:pt x="46" y="0"/>
                    <a:pt x="27" y="0"/>
                    <a:pt x="8" y="0"/>
                  </a:cubicBezTo>
                  <a:cubicBezTo>
                    <a:pt x="7" y="6"/>
                    <a:pt x="0" y="7"/>
                    <a:pt x="1" y="14"/>
                  </a:cubicBezTo>
                  <a:cubicBezTo>
                    <a:pt x="16" y="15"/>
                    <a:pt x="16" y="5"/>
                    <a:pt x="35" y="9"/>
                  </a:cubicBezTo>
                  <a:cubicBezTo>
                    <a:pt x="51" y="11"/>
                    <a:pt x="53" y="23"/>
                    <a:pt x="69" y="25"/>
                  </a:cubicBezTo>
                  <a:cubicBezTo>
                    <a:pt x="78" y="27"/>
                    <a:pt x="97" y="22"/>
                    <a:pt x="100" y="28"/>
                  </a:cubicBezTo>
                  <a:cubicBezTo>
                    <a:pt x="86" y="28"/>
                    <a:pt x="90" y="32"/>
                    <a:pt x="92" y="39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Freeform 228"/>
            <p:cNvSpPr>
              <a:spLocks/>
            </p:cNvSpPr>
            <p:nvPr/>
          </p:nvSpPr>
          <p:spPr bwMode="auto">
            <a:xfrm>
              <a:off x="5191125" y="4991100"/>
              <a:ext cx="77788" cy="38100"/>
            </a:xfrm>
            <a:custGeom>
              <a:avLst/>
              <a:gdLst>
                <a:gd name="T0" fmla="*/ 23 w 27"/>
                <a:gd name="T1" fmla="*/ 4 h 13"/>
                <a:gd name="T2" fmla="*/ 8 w 27"/>
                <a:gd name="T3" fmla="*/ 1 h 13"/>
                <a:gd name="T4" fmla="*/ 23 w 27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3">
                  <a:moveTo>
                    <a:pt x="23" y="4"/>
                  </a:moveTo>
                  <a:cubicBezTo>
                    <a:pt x="22" y="0"/>
                    <a:pt x="13" y="1"/>
                    <a:pt x="8" y="1"/>
                  </a:cubicBezTo>
                  <a:cubicBezTo>
                    <a:pt x="0" y="11"/>
                    <a:pt x="27" y="13"/>
                    <a:pt x="23" y="4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Freeform 229"/>
            <p:cNvSpPr>
              <a:spLocks/>
            </p:cNvSpPr>
            <p:nvPr/>
          </p:nvSpPr>
          <p:spPr bwMode="auto">
            <a:xfrm>
              <a:off x="10137775" y="5037138"/>
              <a:ext cx="117475" cy="98425"/>
            </a:xfrm>
            <a:custGeom>
              <a:avLst/>
              <a:gdLst>
                <a:gd name="T0" fmla="*/ 0 w 41"/>
                <a:gd name="T1" fmla="*/ 18 h 34"/>
                <a:gd name="T2" fmla="*/ 23 w 41"/>
                <a:gd name="T3" fmla="*/ 34 h 34"/>
                <a:gd name="T4" fmla="*/ 38 w 41"/>
                <a:gd name="T5" fmla="*/ 10 h 34"/>
                <a:gd name="T6" fmla="*/ 0 w 41"/>
                <a:gd name="T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4">
                  <a:moveTo>
                    <a:pt x="0" y="18"/>
                  </a:moveTo>
                  <a:cubicBezTo>
                    <a:pt x="6" y="25"/>
                    <a:pt x="14" y="30"/>
                    <a:pt x="23" y="34"/>
                  </a:cubicBezTo>
                  <a:cubicBezTo>
                    <a:pt x="28" y="26"/>
                    <a:pt x="41" y="23"/>
                    <a:pt x="38" y="10"/>
                  </a:cubicBezTo>
                  <a:cubicBezTo>
                    <a:pt x="28" y="0"/>
                    <a:pt x="0" y="4"/>
                    <a:pt x="0" y="18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Freeform 230"/>
            <p:cNvSpPr>
              <a:spLocks/>
            </p:cNvSpPr>
            <p:nvPr/>
          </p:nvSpPr>
          <p:spPr bwMode="auto">
            <a:xfrm>
              <a:off x="9855200" y="5057775"/>
              <a:ext cx="63500" cy="53975"/>
            </a:xfrm>
            <a:custGeom>
              <a:avLst/>
              <a:gdLst>
                <a:gd name="T0" fmla="*/ 7 w 22"/>
                <a:gd name="T1" fmla="*/ 19 h 19"/>
                <a:gd name="T2" fmla="*/ 22 w 22"/>
                <a:gd name="T3" fmla="*/ 3 h 19"/>
                <a:gd name="T4" fmla="*/ 7 w 22"/>
                <a:gd name="T5" fmla="*/ 0 h 19"/>
                <a:gd name="T6" fmla="*/ 7 w 22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7" y="19"/>
                  </a:moveTo>
                  <a:cubicBezTo>
                    <a:pt x="18" y="18"/>
                    <a:pt x="18" y="8"/>
                    <a:pt x="22" y="3"/>
                  </a:cubicBezTo>
                  <a:cubicBezTo>
                    <a:pt x="19" y="0"/>
                    <a:pt x="14" y="0"/>
                    <a:pt x="7" y="0"/>
                  </a:cubicBezTo>
                  <a:cubicBezTo>
                    <a:pt x="0" y="11"/>
                    <a:pt x="2" y="2"/>
                    <a:pt x="7" y="19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Freeform 231"/>
            <p:cNvSpPr>
              <a:spLocks/>
            </p:cNvSpPr>
            <p:nvPr/>
          </p:nvSpPr>
          <p:spPr bwMode="auto">
            <a:xfrm>
              <a:off x="5027613" y="5065713"/>
              <a:ext cx="84138" cy="41275"/>
            </a:xfrm>
            <a:custGeom>
              <a:avLst/>
              <a:gdLst>
                <a:gd name="T0" fmla="*/ 0 w 29"/>
                <a:gd name="T1" fmla="*/ 2 h 14"/>
                <a:gd name="T2" fmla="*/ 0 w 29"/>
                <a:gd name="T3" fmla="*/ 13 h 14"/>
                <a:gd name="T4" fmla="*/ 27 w 29"/>
                <a:gd name="T5" fmla="*/ 11 h 14"/>
                <a:gd name="T6" fmla="*/ 0 w 29"/>
                <a:gd name="T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4">
                  <a:moveTo>
                    <a:pt x="0" y="2"/>
                  </a:moveTo>
                  <a:cubicBezTo>
                    <a:pt x="0" y="6"/>
                    <a:pt x="0" y="10"/>
                    <a:pt x="0" y="13"/>
                  </a:cubicBezTo>
                  <a:cubicBezTo>
                    <a:pt x="13" y="10"/>
                    <a:pt x="13" y="14"/>
                    <a:pt x="27" y="11"/>
                  </a:cubicBezTo>
                  <a:cubicBezTo>
                    <a:pt x="29" y="0"/>
                    <a:pt x="12" y="3"/>
                    <a:pt x="0" y="2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232"/>
            <p:cNvSpPr>
              <a:spLocks/>
            </p:cNvSpPr>
            <p:nvPr/>
          </p:nvSpPr>
          <p:spPr bwMode="auto">
            <a:xfrm>
              <a:off x="5324475" y="5072063"/>
              <a:ext cx="74613" cy="34925"/>
            </a:xfrm>
            <a:custGeom>
              <a:avLst/>
              <a:gdLst>
                <a:gd name="T0" fmla="*/ 0 w 26"/>
                <a:gd name="T1" fmla="*/ 11 h 12"/>
                <a:gd name="T2" fmla="*/ 22 w 26"/>
                <a:gd name="T3" fmla="*/ 0 h 12"/>
                <a:gd name="T4" fmla="*/ 0 w 26"/>
                <a:gd name="T5" fmla="*/ 0 h 12"/>
                <a:gd name="T6" fmla="*/ 0 w 2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0" y="11"/>
                  </a:moveTo>
                  <a:cubicBezTo>
                    <a:pt x="13" y="12"/>
                    <a:pt x="26" y="12"/>
                    <a:pt x="22" y="0"/>
                  </a:cubicBezTo>
                  <a:cubicBezTo>
                    <a:pt x="15" y="0"/>
                    <a:pt x="7" y="0"/>
                    <a:pt x="0" y="0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Freeform 233"/>
            <p:cNvSpPr>
              <a:spLocks/>
            </p:cNvSpPr>
            <p:nvPr/>
          </p:nvSpPr>
          <p:spPr bwMode="auto">
            <a:xfrm>
              <a:off x="6438900" y="5103813"/>
              <a:ext cx="53975" cy="31750"/>
            </a:xfrm>
            <a:custGeom>
              <a:avLst/>
              <a:gdLst>
                <a:gd name="T0" fmla="*/ 11 w 19"/>
                <a:gd name="T1" fmla="*/ 0 h 11"/>
                <a:gd name="T2" fmla="*/ 3 w 19"/>
                <a:gd name="T3" fmla="*/ 11 h 11"/>
                <a:gd name="T4" fmla="*/ 18 w 19"/>
                <a:gd name="T5" fmla="*/ 11 h 11"/>
                <a:gd name="T6" fmla="*/ 11 w 19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1">
                  <a:moveTo>
                    <a:pt x="11" y="0"/>
                  </a:moveTo>
                  <a:cubicBezTo>
                    <a:pt x="11" y="6"/>
                    <a:pt x="0" y="4"/>
                    <a:pt x="3" y="11"/>
                  </a:cubicBezTo>
                  <a:cubicBezTo>
                    <a:pt x="8" y="11"/>
                    <a:pt x="13" y="11"/>
                    <a:pt x="18" y="11"/>
                  </a:cubicBezTo>
                  <a:cubicBezTo>
                    <a:pt x="19" y="5"/>
                    <a:pt x="17" y="1"/>
                    <a:pt x="11" y="0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Freeform 234"/>
            <p:cNvSpPr>
              <a:spLocks/>
            </p:cNvSpPr>
            <p:nvPr/>
          </p:nvSpPr>
          <p:spPr bwMode="auto">
            <a:xfrm>
              <a:off x="10226675" y="5153025"/>
              <a:ext cx="184150" cy="117475"/>
            </a:xfrm>
            <a:custGeom>
              <a:avLst/>
              <a:gdLst>
                <a:gd name="T0" fmla="*/ 0 w 64"/>
                <a:gd name="T1" fmla="*/ 27 h 41"/>
                <a:gd name="T2" fmla="*/ 22 w 64"/>
                <a:gd name="T3" fmla="*/ 27 h 41"/>
                <a:gd name="T4" fmla="*/ 26 w 64"/>
                <a:gd name="T5" fmla="*/ 41 h 41"/>
                <a:gd name="T6" fmla="*/ 60 w 64"/>
                <a:gd name="T7" fmla="*/ 30 h 41"/>
                <a:gd name="T8" fmla="*/ 41 w 64"/>
                <a:gd name="T9" fmla="*/ 14 h 41"/>
                <a:gd name="T10" fmla="*/ 26 w 64"/>
                <a:gd name="T11" fmla="*/ 0 h 41"/>
                <a:gd name="T12" fmla="*/ 22 w 64"/>
                <a:gd name="T13" fmla="*/ 19 h 41"/>
                <a:gd name="T14" fmla="*/ 0 w 64"/>
                <a:gd name="T15" fmla="*/ 2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41">
                  <a:moveTo>
                    <a:pt x="0" y="27"/>
                  </a:moveTo>
                  <a:cubicBezTo>
                    <a:pt x="8" y="33"/>
                    <a:pt x="10" y="26"/>
                    <a:pt x="22" y="27"/>
                  </a:cubicBezTo>
                  <a:cubicBezTo>
                    <a:pt x="21" y="34"/>
                    <a:pt x="14" y="39"/>
                    <a:pt x="26" y="41"/>
                  </a:cubicBezTo>
                  <a:cubicBezTo>
                    <a:pt x="32" y="33"/>
                    <a:pt x="42" y="29"/>
                    <a:pt x="60" y="30"/>
                  </a:cubicBezTo>
                  <a:cubicBezTo>
                    <a:pt x="64" y="18"/>
                    <a:pt x="48" y="19"/>
                    <a:pt x="41" y="14"/>
                  </a:cubicBezTo>
                  <a:cubicBezTo>
                    <a:pt x="42" y="5"/>
                    <a:pt x="37" y="0"/>
                    <a:pt x="26" y="0"/>
                  </a:cubicBezTo>
                  <a:cubicBezTo>
                    <a:pt x="21" y="3"/>
                    <a:pt x="22" y="12"/>
                    <a:pt x="22" y="19"/>
                  </a:cubicBezTo>
                  <a:cubicBezTo>
                    <a:pt x="10" y="14"/>
                    <a:pt x="6" y="21"/>
                    <a:pt x="0" y="2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235"/>
            <p:cNvSpPr>
              <a:spLocks/>
            </p:cNvSpPr>
            <p:nvPr/>
          </p:nvSpPr>
          <p:spPr bwMode="auto">
            <a:xfrm>
              <a:off x="9102725" y="5256213"/>
              <a:ext cx="98425" cy="82550"/>
            </a:xfrm>
            <a:custGeom>
              <a:avLst/>
              <a:gdLst>
                <a:gd name="T0" fmla="*/ 14 w 34"/>
                <a:gd name="T1" fmla="*/ 0 h 29"/>
                <a:gd name="T2" fmla="*/ 14 w 34"/>
                <a:gd name="T3" fmla="*/ 27 h 29"/>
                <a:gd name="T4" fmla="*/ 34 w 34"/>
                <a:gd name="T5" fmla="*/ 19 h 29"/>
                <a:gd name="T6" fmla="*/ 14 w 34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9">
                  <a:moveTo>
                    <a:pt x="14" y="0"/>
                  </a:moveTo>
                  <a:cubicBezTo>
                    <a:pt x="20" y="16"/>
                    <a:pt x="0" y="19"/>
                    <a:pt x="14" y="27"/>
                  </a:cubicBezTo>
                  <a:cubicBezTo>
                    <a:pt x="26" y="29"/>
                    <a:pt x="25" y="20"/>
                    <a:pt x="34" y="19"/>
                  </a:cubicBezTo>
                  <a:cubicBezTo>
                    <a:pt x="30" y="10"/>
                    <a:pt x="22" y="5"/>
                    <a:pt x="14" y="0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Freeform 236"/>
            <p:cNvSpPr>
              <a:spLocks/>
            </p:cNvSpPr>
            <p:nvPr/>
          </p:nvSpPr>
          <p:spPr bwMode="auto">
            <a:xfrm>
              <a:off x="9864725" y="5324475"/>
              <a:ext cx="279400" cy="258763"/>
            </a:xfrm>
            <a:custGeom>
              <a:avLst/>
              <a:gdLst>
                <a:gd name="T0" fmla="*/ 0 w 97"/>
                <a:gd name="T1" fmla="*/ 50 h 90"/>
                <a:gd name="T2" fmla="*/ 19 w 97"/>
                <a:gd name="T3" fmla="*/ 78 h 90"/>
                <a:gd name="T4" fmla="*/ 65 w 97"/>
                <a:gd name="T5" fmla="*/ 86 h 90"/>
                <a:gd name="T6" fmla="*/ 76 w 97"/>
                <a:gd name="T7" fmla="*/ 78 h 90"/>
                <a:gd name="T8" fmla="*/ 69 w 97"/>
                <a:gd name="T9" fmla="*/ 75 h 90"/>
                <a:gd name="T10" fmla="*/ 88 w 97"/>
                <a:gd name="T11" fmla="*/ 50 h 90"/>
                <a:gd name="T12" fmla="*/ 84 w 97"/>
                <a:gd name="T13" fmla="*/ 25 h 90"/>
                <a:gd name="T14" fmla="*/ 95 w 97"/>
                <a:gd name="T15" fmla="*/ 12 h 90"/>
                <a:gd name="T16" fmla="*/ 61 w 97"/>
                <a:gd name="T17" fmla="*/ 0 h 90"/>
                <a:gd name="T18" fmla="*/ 0 w 97"/>
                <a:gd name="T19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90">
                  <a:moveTo>
                    <a:pt x="0" y="50"/>
                  </a:moveTo>
                  <a:cubicBezTo>
                    <a:pt x="4" y="61"/>
                    <a:pt x="20" y="63"/>
                    <a:pt x="19" y="78"/>
                  </a:cubicBezTo>
                  <a:cubicBezTo>
                    <a:pt x="44" y="74"/>
                    <a:pt x="40" y="90"/>
                    <a:pt x="65" y="86"/>
                  </a:cubicBezTo>
                  <a:cubicBezTo>
                    <a:pt x="64" y="80"/>
                    <a:pt x="76" y="83"/>
                    <a:pt x="76" y="78"/>
                  </a:cubicBezTo>
                  <a:cubicBezTo>
                    <a:pt x="73" y="77"/>
                    <a:pt x="69" y="78"/>
                    <a:pt x="69" y="75"/>
                  </a:cubicBezTo>
                  <a:cubicBezTo>
                    <a:pt x="81" y="71"/>
                    <a:pt x="75" y="54"/>
                    <a:pt x="88" y="50"/>
                  </a:cubicBezTo>
                  <a:cubicBezTo>
                    <a:pt x="79" y="41"/>
                    <a:pt x="91" y="32"/>
                    <a:pt x="84" y="25"/>
                  </a:cubicBezTo>
                  <a:cubicBezTo>
                    <a:pt x="90" y="23"/>
                    <a:pt x="97" y="20"/>
                    <a:pt x="95" y="12"/>
                  </a:cubicBezTo>
                  <a:cubicBezTo>
                    <a:pt x="86" y="6"/>
                    <a:pt x="79" y="0"/>
                    <a:pt x="61" y="0"/>
                  </a:cubicBezTo>
                  <a:cubicBezTo>
                    <a:pt x="57" y="29"/>
                    <a:pt x="7" y="24"/>
                    <a:pt x="0" y="50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237"/>
            <p:cNvSpPr>
              <a:spLocks/>
            </p:cNvSpPr>
            <p:nvPr/>
          </p:nvSpPr>
          <p:spPr bwMode="auto">
            <a:xfrm>
              <a:off x="9517063" y="5341938"/>
              <a:ext cx="276225" cy="247650"/>
            </a:xfrm>
            <a:custGeom>
              <a:avLst/>
              <a:gdLst>
                <a:gd name="T0" fmla="*/ 49 w 96"/>
                <a:gd name="T1" fmla="*/ 25 h 86"/>
                <a:gd name="T2" fmla="*/ 34 w 96"/>
                <a:gd name="T3" fmla="*/ 6 h 86"/>
                <a:gd name="T4" fmla="*/ 19 w 96"/>
                <a:gd name="T5" fmla="*/ 0 h 86"/>
                <a:gd name="T6" fmla="*/ 0 w 96"/>
                <a:gd name="T7" fmla="*/ 3 h 86"/>
                <a:gd name="T8" fmla="*/ 45 w 96"/>
                <a:gd name="T9" fmla="*/ 66 h 86"/>
                <a:gd name="T10" fmla="*/ 87 w 96"/>
                <a:gd name="T11" fmla="*/ 80 h 86"/>
                <a:gd name="T12" fmla="*/ 80 w 96"/>
                <a:gd name="T13" fmla="*/ 44 h 86"/>
                <a:gd name="T14" fmla="*/ 49 w 96"/>
                <a:gd name="T15" fmla="*/ 2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86">
                  <a:moveTo>
                    <a:pt x="49" y="25"/>
                  </a:moveTo>
                  <a:cubicBezTo>
                    <a:pt x="43" y="18"/>
                    <a:pt x="31" y="14"/>
                    <a:pt x="34" y="6"/>
                  </a:cubicBezTo>
                  <a:cubicBezTo>
                    <a:pt x="24" y="8"/>
                    <a:pt x="26" y="0"/>
                    <a:pt x="19" y="0"/>
                  </a:cubicBezTo>
                  <a:cubicBezTo>
                    <a:pt x="19" y="12"/>
                    <a:pt x="9" y="0"/>
                    <a:pt x="0" y="3"/>
                  </a:cubicBezTo>
                  <a:cubicBezTo>
                    <a:pt x="0" y="35"/>
                    <a:pt x="53" y="28"/>
                    <a:pt x="45" y="66"/>
                  </a:cubicBezTo>
                  <a:cubicBezTo>
                    <a:pt x="64" y="68"/>
                    <a:pt x="69" y="86"/>
                    <a:pt x="87" y="80"/>
                  </a:cubicBezTo>
                  <a:cubicBezTo>
                    <a:pt x="96" y="69"/>
                    <a:pt x="79" y="57"/>
                    <a:pt x="80" y="44"/>
                  </a:cubicBezTo>
                  <a:cubicBezTo>
                    <a:pt x="68" y="38"/>
                    <a:pt x="54" y="31"/>
                    <a:pt x="49" y="2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Freeform 238"/>
            <p:cNvSpPr>
              <a:spLocks/>
            </p:cNvSpPr>
            <p:nvPr/>
          </p:nvSpPr>
          <p:spPr bwMode="auto">
            <a:xfrm>
              <a:off x="10085388" y="5427663"/>
              <a:ext cx="184150" cy="152400"/>
            </a:xfrm>
            <a:custGeom>
              <a:avLst/>
              <a:gdLst>
                <a:gd name="T0" fmla="*/ 64 w 64"/>
                <a:gd name="T1" fmla="*/ 17 h 53"/>
                <a:gd name="T2" fmla="*/ 33 w 64"/>
                <a:gd name="T3" fmla="*/ 0 h 53"/>
                <a:gd name="T4" fmla="*/ 30 w 64"/>
                <a:gd name="T5" fmla="*/ 53 h 53"/>
                <a:gd name="T6" fmla="*/ 37 w 64"/>
                <a:gd name="T7" fmla="*/ 36 h 53"/>
                <a:gd name="T8" fmla="*/ 60 w 64"/>
                <a:gd name="T9" fmla="*/ 44 h 53"/>
                <a:gd name="T10" fmla="*/ 45 w 64"/>
                <a:gd name="T11" fmla="*/ 17 h 53"/>
                <a:gd name="T12" fmla="*/ 64 w 64"/>
                <a:gd name="T13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53">
                  <a:moveTo>
                    <a:pt x="64" y="17"/>
                  </a:moveTo>
                  <a:cubicBezTo>
                    <a:pt x="63" y="5"/>
                    <a:pt x="40" y="8"/>
                    <a:pt x="33" y="0"/>
                  </a:cubicBezTo>
                  <a:cubicBezTo>
                    <a:pt x="14" y="12"/>
                    <a:pt x="0" y="42"/>
                    <a:pt x="30" y="53"/>
                  </a:cubicBezTo>
                  <a:cubicBezTo>
                    <a:pt x="29" y="45"/>
                    <a:pt x="31" y="39"/>
                    <a:pt x="37" y="36"/>
                  </a:cubicBezTo>
                  <a:cubicBezTo>
                    <a:pt x="46" y="41"/>
                    <a:pt x="46" y="50"/>
                    <a:pt x="60" y="44"/>
                  </a:cubicBezTo>
                  <a:cubicBezTo>
                    <a:pt x="58" y="33"/>
                    <a:pt x="45" y="29"/>
                    <a:pt x="45" y="17"/>
                  </a:cubicBezTo>
                  <a:cubicBezTo>
                    <a:pt x="50" y="20"/>
                    <a:pt x="59" y="20"/>
                    <a:pt x="64" y="1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Freeform 239"/>
            <p:cNvSpPr>
              <a:spLocks/>
            </p:cNvSpPr>
            <p:nvPr/>
          </p:nvSpPr>
          <p:spPr bwMode="auto">
            <a:xfrm>
              <a:off x="10387013" y="5427663"/>
              <a:ext cx="120650" cy="58738"/>
            </a:xfrm>
            <a:custGeom>
              <a:avLst/>
              <a:gdLst>
                <a:gd name="T0" fmla="*/ 42 w 42"/>
                <a:gd name="T1" fmla="*/ 6 h 20"/>
                <a:gd name="T2" fmla="*/ 1 w 42"/>
                <a:gd name="T3" fmla="*/ 14 h 20"/>
                <a:gd name="T4" fmla="*/ 42 w 42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20">
                  <a:moveTo>
                    <a:pt x="42" y="6"/>
                  </a:moveTo>
                  <a:cubicBezTo>
                    <a:pt x="30" y="0"/>
                    <a:pt x="0" y="1"/>
                    <a:pt x="1" y="14"/>
                  </a:cubicBezTo>
                  <a:cubicBezTo>
                    <a:pt x="14" y="20"/>
                    <a:pt x="41" y="17"/>
                    <a:pt x="42" y="6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240"/>
            <p:cNvSpPr>
              <a:spLocks/>
            </p:cNvSpPr>
            <p:nvPr/>
          </p:nvSpPr>
          <p:spPr bwMode="auto">
            <a:xfrm>
              <a:off x="10414000" y="5476875"/>
              <a:ext cx="511175" cy="219075"/>
            </a:xfrm>
            <a:custGeom>
              <a:avLst/>
              <a:gdLst>
                <a:gd name="T0" fmla="*/ 75 w 178"/>
                <a:gd name="T1" fmla="*/ 0 h 76"/>
                <a:gd name="T2" fmla="*/ 49 w 178"/>
                <a:gd name="T3" fmla="*/ 0 h 76"/>
                <a:gd name="T4" fmla="*/ 33 w 178"/>
                <a:gd name="T5" fmla="*/ 8 h 76"/>
                <a:gd name="T6" fmla="*/ 15 w 178"/>
                <a:gd name="T7" fmla="*/ 3 h 76"/>
                <a:gd name="T8" fmla="*/ 3 w 178"/>
                <a:gd name="T9" fmla="*/ 14 h 76"/>
                <a:gd name="T10" fmla="*/ 22 w 178"/>
                <a:gd name="T11" fmla="*/ 14 h 76"/>
                <a:gd name="T12" fmla="*/ 75 w 178"/>
                <a:gd name="T13" fmla="*/ 41 h 76"/>
                <a:gd name="T14" fmla="*/ 75 w 178"/>
                <a:gd name="T15" fmla="*/ 58 h 76"/>
                <a:gd name="T16" fmla="*/ 117 w 178"/>
                <a:gd name="T17" fmla="*/ 66 h 76"/>
                <a:gd name="T18" fmla="*/ 144 w 178"/>
                <a:gd name="T19" fmla="*/ 55 h 76"/>
                <a:gd name="T20" fmla="*/ 178 w 178"/>
                <a:gd name="T21" fmla="*/ 66 h 76"/>
                <a:gd name="T22" fmla="*/ 166 w 178"/>
                <a:gd name="T23" fmla="*/ 50 h 76"/>
                <a:gd name="T24" fmla="*/ 136 w 178"/>
                <a:gd name="T25" fmla="*/ 30 h 76"/>
                <a:gd name="T26" fmla="*/ 136 w 178"/>
                <a:gd name="T27" fmla="*/ 22 h 76"/>
                <a:gd name="T28" fmla="*/ 75 w 178"/>
                <a:gd name="T2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8" h="76">
                  <a:moveTo>
                    <a:pt x="75" y="0"/>
                  </a:moveTo>
                  <a:cubicBezTo>
                    <a:pt x="66" y="0"/>
                    <a:pt x="57" y="0"/>
                    <a:pt x="49" y="0"/>
                  </a:cubicBezTo>
                  <a:cubicBezTo>
                    <a:pt x="45" y="4"/>
                    <a:pt x="43" y="9"/>
                    <a:pt x="33" y="8"/>
                  </a:cubicBezTo>
                  <a:cubicBezTo>
                    <a:pt x="22" y="10"/>
                    <a:pt x="26" y="0"/>
                    <a:pt x="15" y="3"/>
                  </a:cubicBezTo>
                  <a:cubicBezTo>
                    <a:pt x="16" y="10"/>
                    <a:pt x="0" y="5"/>
                    <a:pt x="3" y="14"/>
                  </a:cubicBezTo>
                  <a:cubicBezTo>
                    <a:pt x="4" y="20"/>
                    <a:pt x="13" y="10"/>
                    <a:pt x="22" y="14"/>
                  </a:cubicBezTo>
                  <a:cubicBezTo>
                    <a:pt x="39" y="23"/>
                    <a:pt x="61" y="29"/>
                    <a:pt x="75" y="41"/>
                  </a:cubicBezTo>
                  <a:cubicBezTo>
                    <a:pt x="75" y="47"/>
                    <a:pt x="75" y="52"/>
                    <a:pt x="75" y="58"/>
                  </a:cubicBezTo>
                  <a:cubicBezTo>
                    <a:pt x="96" y="49"/>
                    <a:pt x="102" y="63"/>
                    <a:pt x="117" y="66"/>
                  </a:cubicBezTo>
                  <a:cubicBezTo>
                    <a:pt x="130" y="66"/>
                    <a:pt x="126" y="52"/>
                    <a:pt x="144" y="55"/>
                  </a:cubicBezTo>
                  <a:cubicBezTo>
                    <a:pt x="152" y="59"/>
                    <a:pt x="163" y="76"/>
                    <a:pt x="178" y="66"/>
                  </a:cubicBezTo>
                  <a:cubicBezTo>
                    <a:pt x="170" y="64"/>
                    <a:pt x="166" y="58"/>
                    <a:pt x="166" y="50"/>
                  </a:cubicBezTo>
                  <a:cubicBezTo>
                    <a:pt x="156" y="43"/>
                    <a:pt x="142" y="39"/>
                    <a:pt x="136" y="30"/>
                  </a:cubicBezTo>
                  <a:cubicBezTo>
                    <a:pt x="136" y="27"/>
                    <a:pt x="136" y="25"/>
                    <a:pt x="136" y="22"/>
                  </a:cubicBezTo>
                  <a:cubicBezTo>
                    <a:pt x="107" y="21"/>
                    <a:pt x="99" y="5"/>
                    <a:pt x="75" y="0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241"/>
            <p:cNvSpPr>
              <a:spLocks/>
            </p:cNvSpPr>
            <p:nvPr/>
          </p:nvSpPr>
          <p:spPr bwMode="auto">
            <a:xfrm>
              <a:off x="9769475" y="5580063"/>
              <a:ext cx="287338" cy="90488"/>
            </a:xfrm>
            <a:custGeom>
              <a:avLst/>
              <a:gdLst>
                <a:gd name="T0" fmla="*/ 98 w 100"/>
                <a:gd name="T1" fmla="*/ 27 h 31"/>
                <a:gd name="T2" fmla="*/ 86 w 100"/>
                <a:gd name="T3" fmla="*/ 11 h 31"/>
                <a:gd name="T4" fmla="*/ 10 w 100"/>
                <a:gd name="T5" fmla="*/ 0 h 31"/>
                <a:gd name="T6" fmla="*/ 3 w 100"/>
                <a:gd name="T7" fmla="*/ 16 h 31"/>
                <a:gd name="T8" fmla="*/ 98 w 100"/>
                <a:gd name="T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1">
                  <a:moveTo>
                    <a:pt x="98" y="27"/>
                  </a:moveTo>
                  <a:cubicBezTo>
                    <a:pt x="100" y="17"/>
                    <a:pt x="85" y="20"/>
                    <a:pt x="86" y="11"/>
                  </a:cubicBezTo>
                  <a:cubicBezTo>
                    <a:pt x="55" y="11"/>
                    <a:pt x="33" y="5"/>
                    <a:pt x="10" y="0"/>
                  </a:cubicBezTo>
                  <a:cubicBezTo>
                    <a:pt x="7" y="5"/>
                    <a:pt x="0" y="7"/>
                    <a:pt x="3" y="16"/>
                  </a:cubicBezTo>
                  <a:cubicBezTo>
                    <a:pt x="39" y="16"/>
                    <a:pt x="56" y="31"/>
                    <a:pt x="98" y="2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242"/>
            <p:cNvSpPr>
              <a:spLocks/>
            </p:cNvSpPr>
            <p:nvPr/>
          </p:nvSpPr>
          <p:spPr bwMode="auto">
            <a:xfrm>
              <a:off x="9918700" y="5689600"/>
              <a:ext cx="1031875" cy="650875"/>
            </a:xfrm>
            <a:custGeom>
              <a:avLst/>
              <a:gdLst>
                <a:gd name="T0" fmla="*/ 327 w 359"/>
                <a:gd name="T1" fmla="*/ 97 h 226"/>
                <a:gd name="T2" fmla="*/ 323 w 359"/>
                <a:gd name="T3" fmla="*/ 64 h 226"/>
                <a:gd name="T4" fmla="*/ 308 w 359"/>
                <a:gd name="T5" fmla="*/ 53 h 226"/>
                <a:gd name="T6" fmla="*/ 285 w 359"/>
                <a:gd name="T7" fmla="*/ 3 h 226"/>
                <a:gd name="T8" fmla="*/ 270 w 359"/>
                <a:gd name="T9" fmla="*/ 0 h 226"/>
                <a:gd name="T10" fmla="*/ 259 w 359"/>
                <a:gd name="T11" fmla="*/ 47 h 226"/>
                <a:gd name="T12" fmla="*/ 236 w 359"/>
                <a:gd name="T13" fmla="*/ 42 h 226"/>
                <a:gd name="T14" fmla="*/ 221 w 359"/>
                <a:gd name="T15" fmla="*/ 28 h 226"/>
                <a:gd name="T16" fmla="*/ 236 w 359"/>
                <a:gd name="T17" fmla="*/ 17 h 226"/>
                <a:gd name="T18" fmla="*/ 164 w 359"/>
                <a:gd name="T19" fmla="*/ 9 h 226"/>
                <a:gd name="T20" fmla="*/ 156 w 359"/>
                <a:gd name="T21" fmla="*/ 22 h 226"/>
                <a:gd name="T22" fmla="*/ 118 w 359"/>
                <a:gd name="T23" fmla="*/ 31 h 226"/>
                <a:gd name="T24" fmla="*/ 103 w 359"/>
                <a:gd name="T25" fmla="*/ 55 h 226"/>
                <a:gd name="T26" fmla="*/ 72 w 359"/>
                <a:gd name="T27" fmla="*/ 55 h 226"/>
                <a:gd name="T28" fmla="*/ 65 w 359"/>
                <a:gd name="T29" fmla="*/ 72 h 226"/>
                <a:gd name="T30" fmla="*/ 50 w 359"/>
                <a:gd name="T31" fmla="*/ 69 h 226"/>
                <a:gd name="T32" fmla="*/ 31 w 359"/>
                <a:gd name="T33" fmla="*/ 97 h 226"/>
                <a:gd name="T34" fmla="*/ 0 w 359"/>
                <a:gd name="T35" fmla="*/ 105 h 226"/>
                <a:gd name="T36" fmla="*/ 4 w 359"/>
                <a:gd name="T37" fmla="*/ 146 h 226"/>
                <a:gd name="T38" fmla="*/ 15 w 359"/>
                <a:gd name="T39" fmla="*/ 160 h 226"/>
                <a:gd name="T40" fmla="*/ 11 w 359"/>
                <a:gd name="T41" fmla="*/ 190 h 226"/>
                <a:gd name="T42" fmla="*/ 34 w 359"/>
                <a:gd name="T43" fmla="*/ 196 h 226"/>
                <a:gd name="T44" fmla="*/ 88 w 359"/>
                <a:gd name="T45" fmla="*/ 185 h 226"/>
                <a:gd name="T46" fmla="*/ 160 w 359"/>
                <a:gd name="T47" fmla="*/ 171 h 226"/>
                <a:gd name="T48" fmla="*/ 183 w 359"/>
                <a:gd name="T49" fmla="*/ 196 h 226"/>
                <a:gd name="T50" fmla="*/ 209 w 359"/>
                <a:gd name="T51" fmla="*/ 196 h 226"/>
                <a:gd name="T52" fmla="*/ 205 w 359"/>
                <a:gd name="T53" fmla="*/ 215 h 226"/>
                <a:gd name="T54" fmla="*/ 281 w 359"/>
                <a:gd name="T55" fmla="*/ 226 h 226"/>
                <a:gd name="T56" fmla="*/ 312 w 359"/>
                <a:gd name="T57" fmla="*/ 212 h 226"/>
                <a:gd name="T58" fmla="*/ 327 w 359"/>
                <a:gd name="T59" fmla="*/ 185 h 226"/>
                <a:gd name="T60" fmla="*/ 350 w 359"/>
                <a:gd name="T61" fmla="*/ 171 h 226"/>
                <a:gd name="T62" fmla="*/ 357 w 359"/>
                <a:gd name="T63" fmla="*/ 146 h 226"/>
                <a:gd name="T64" fmla="*/ 346 w 359"/>
                <a:gd name="T65" fmla="*/ 97 h 226"/>
                <a:gd name="T66" fmla="*/ 327 w 359"/>
                <a:gd name="T67" fmla="*/ 9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26">
                  <a:moveTo>
                    <a:pt x="327" y="97"/>
                  </a:moveTo>
                  <a:cubicBezTo>
                    <a:pt x="328" y="84"/>
                    <a:pt x="320" y="78"/>
                    <a:pt x="323" y="64"/>
                  </a:cubicBezTo>
                  <a:cubicBezTo>
                    <a:pt x="316" y="62"/>
                    <a:pt x="314" y="55"/>
                    <a:pt x="308" y="53"/>
                  </a:cubicBezTo>
                  <a:cubicBezTo>
                    <a:pt x="307" y="31"/>
                    <a:pt x="281" y="28"/>
                    <a:pt x="285" y="3"/>
                  </a:cubicBezTo>
                  <a:cubicBezTo>
                    <a:pt x="278" y="4"/>
                    <a:pt x="277" y="0"/>
                    <a:pt x="270" y="0"/>
                  </a:cubicBezTo>
                  <a:cubicBezTo>
                    <a:pt x="260" y="12"/>
                    <a:pt x="274" y="40"/>
                    <a:pt x="259" y="47"/>
                  </a:cubicBezTo>
                  <a:cubicBezTo>
                    <a:pt x="244" y="51"/>
                    <a:pt x="251" y="38"/>
                    <a:pt x="236" y="42"/>
                  </a:cubicBezTo>
                  <a:cubicBezTo>
                    <a:pt x="235" y="34"/>
                    <a:pt x="218" y="38"/>
                    <a:pt x="221" y="28"/>
                  </a:cubicBezTo>
                  <a:cubicBezTo>
                    <a:pt x="219" y="19"/>
                    <a:pt x="239" y="27"/>
                    <a:pt x="236" y="17"/>
                  </a:cubicBezTo>
                  <a:cubicBezTo>
                    <a:pt x="223" y="6"/>
                    <a:pt x="184" y="14"/>
                    <a:pt x="164" y="9"/>
                  </a:cubicBezTo>
                  <a:cubicBezTo>
                    <a:pt x="157" y="10"/>
                    <a:pt x="164" y="22"/>
                    <a:pt x="156" y="22"/>
                  </a:cubicBezTo>
                  <a:cubicBezTo>
                    <a:pt x="142" y="24"/>
                    <a:pt x="129" y="27"/>
                    <a:pt x="118" y="31"/>
                  </a:cubicBezTo>
                  <a:cubicBezTo>
                    <a:pt x="113" y="39"/>
                    <a:pt x="117" y="54"/>
                    <a:pt x="103" y="55"/>
                  </a:cubicBezTo>
                  <a:cubicBezTo>
                    <a:pt x="94" y="49"/>
                    <a:pt x="84" y="56"/>
                    <a:pt x="72" y="55"/>
                  </a:cubicBezTo>
                  <a:cubicBezTo>
                    <a:pt x="65" y="57"/>
                    <a:pt x="73" y="71"/>
                    <a:pt x="65" y="72"/>
                  </a:cubicBezTo>
                  <a:cubicBezTo>
                    <a:pt x="57" y="70"/>
                    <a:pt x="57" y="64"/>
                    <a:pt x="50" y="69"/>
                  </a:cubicBezTo>
                  <a:cubicBezTo>
                    <a:pt x="40" y="76"/>
                    <a:pt x="45" y="93"/>
                    <a:pt x="31" y="97"/>
                  </a:cubicBezTo>
                  <a:cubicBezTo>
                    <a:pt x="22" y="101"/>
                    <a:pt x="5" y="98"/>
                    <a:pt x="0" y="105"/>
                  </a:cubicBezTo>
                  <a:cubicBezTo>
                    <a:pt x="4" y="117"/>
                    <a:pt x="14" y="132"/>
                    <a:pt x="4" y="146"/>
                  </a:cubicBezTo>
                  <a:cubicBezTo>
                    <a:pt x="11" y="148"/>
                    <a:pt x="14" y="154"/>
                    <a:pt x="15" y="160"/>
                  </a:cubicBezTo>
                  <a:cubicBezTo>
                    <a:pt x="18" y="173"/>
                    <a:pt x="9" y="177"/>
                    <a:pt x="11" y="190"/>
                  </a:cubicBezTo>
                  <a:cubicBezTo>
                    <a:pt x="23" y="190"/>
                    <a:pt x="23" y="197"/>
                    <a:pt x="34" y="196"/>
                  </a:cubicBezTo>
                  <a:cubicBezTo>
                    <a:pt x="50" y="191"/>
                    <a:pt x="60" y="181"/>
                    <a:pt x="88" y="185"/>
                  </a:cubicBezTo>
                  <a:cubicBezTo>
                    <a:pt x="101" y="173"/>
                    <a:pt x="128" y="170"/>
                    <a:pt x="160" y="171"/>
                  </a:cubicBezTo>
                  <a:cubicBezTo>
                    <a:pt x="171" y="177"/>
                    <a:pt x="178" y="186"/>
                    <a:pt x="183" y="196"/>
                  </a:cubicBezTo>
                  <a:cubicBezTo>
                    <a:pt x="197" y="191"/>
                    <a:pt x="193" y="202"/>
                    <a:pt x="209" y="196"/>
                  </a:cubicBezTo>
                  <a:cubicBezTo>
                    <a:pt x="209" y="203"/>
                    <a:pt x="211" y="212"/>
                    <a:pt x="205" y="215"/>
                  </a:cubicBezTo>
                  <a:cubicBezTo>
                    <a:pt x="230" y="225"/>
                    <a:pt x="244" y="226"/>
                    <a:pt x="281" y="226"/>
                  </a:cubicBezTo>
                  <a:cubicBezTo>
                    <a:pt x="291" y="221"/>
                    <a:pt x="298" y="214"/>
                    <a:pt x="312" y="212"/>
                  </a:cubicBezTo>
                  <a:cubicBezTo>
                    <a:pt x="310" y="198"/>
                    <a:pt x="330" y="200"/>
                    <a:pt x="327" y="185"/>
                  </a:cubicBezTo>
                  <a:cubicBezTo>
                    <a:pt x="340" y="184"/>
                    <a:pt x="337" y="172"/>
                    <a:pt x="350" y="171"/>
                  </a:cubicBezTo>
                  <a:cubicBezTo>
                    <a:pt x="345" y="161"/>
                    <a:pt x="356" y="155"/>
                    <a:pt x="357" y="146"/>
                  </a:cubicBezTo>
                  <a:cubicBezTo>
                    <a:pt x="359" y="129"/>
                    <a:pt x="350" y="112"/>
                    <a:pt x="346" y="97"/>
                  </a:cubicBezTo>
                  <a:cubicBezTo>
                    <a:pt x="336" y="93"/>
                    <a:pt x="330" y="105"/>
                    <a:pt x="327" y="97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243"/>
            <p:cNvSpPr>
              <a:spLocks/>
            </p:cNvSpPr>
            <p:nvPr/>
          </p:nvSpPr>
          <p:spPr bwMode="auto">
            <a:xfrm>
              <a:off x="8143875" y="5710238"/>
              <a:ext cx="214313" cy="339725"/>
            </a:xfrm>
            <a:custGeom>
              <a:avLst/>
              <a:gdLst>
                <a:gd name="T0" fmla="*/ 60 w 75"/>
                <a:gd name="T1" fmla="*/ 2 h 118"/>
                <a:gd name="T2" fmla="*/ 45 w 75"/>
                <a:gd name="T3" fmla="*/ 29 h 118"/>
                <a:gd name="T4" fmla="*/ 10 w 75"/>
                <a:gd name="T5" fmla="*/ 48 h 118"/>
                <a:gd name="T6" fmla="*/ 14 w 75"/>
                <a:gd name="T7" fmla="*/ 68 h 118"/>
                <a:gd name="T8" fmla="*/ 3 w 75"/>
                <a:gd name="T9" fmla="*/ 84 h 118"/>
                <a:gd name="T10" fmla="*/ 14 w 75"/>
                <a:gd name="T11" fmla="*/ 117 h 118"/>
                <a:gd name="T12" fmla="*/ 45 w 75"/>
                <a:gd name="T13" fmla="*/ 114 h 118"/>
                <a:gd name="T14" fmla="*/ 60 w 75"/>
                <a:gd name="T15" fmla="*/ 84 h 118"/>
                <a:gd name="T16" fmla="*/ 60 w 75"/>
                <a:gd name="T17" fmla="*/ 70 h 118"/>
                <a:gd name="T18" fmla="*/ 67 w 75"/>
                <a:gd name="T19" fmla="*/ 65 h 118"/>
                <a:gd name="T20" fmla="*/ 75 w 75"/>
                <a:gd name="T21" fmla="*/ 21 h 118"/>
                <a:gd name="T22" fmla="*/ 60 w 75"/>
                <a:gd name="T2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118">
                  <a:moveTo>
                    <a:pt x="60" y="2"/>
                  </a:moveTo>
                  <a:cubicBezTo>
                    <a:pt x="53" y="10"/>
                    <a:pt x="47" y="18"/>
                    <a:pt x="45" y="29"/>
                  </a:cubicBezTo>
                  <a:cubicBezTo>
                    <a:pt x="28" y="32"/>
                    <a:pt x="20" y="40"/>
                    <a:pt x="10" y="48"/>
                  </a:cubicBezTo>
                  <a:cubicBezTo>
                    <a:pt x="7" y="58"/>
                    <a:pt x="16" y="59"/>
                    <a:pt x="14" y="68"/>
                  </a:cubicBezTo>
                  <a:cubicBezTo>
                    <a:pt x="11" y="73"/>
                    <a:pt x="8" y="80"/>
                    <a:pt x="3" y="84"/>
                  </a:cubicBezTo>
                  <a:cubicBezTo>
                    <a:pt x="11" y="97"/>
                    <a:pt x="0" y="108"/>
                    <a:pt x="14" y="117"/>
                  </a:cubicBezTo>
                  <a:cubicBezTo>
                    <a:pt x="26" y="118"/>
                    <a:pt x="30" y="112"/>
                    <a:pt x="45" y="114"/>
                  </a:cubicBezTo>
                  <a:cubicBezTo>
                    <a:pt x="53" y="102"/>
                    <a:pt x="50" y="97"/>
                    <a:pt x="60" y="84"/>
                  </a:cubicBezTo>
                  <a:cubicBezTo>
                    <a:pt x="60" y="80"/>
                    <a:pt x="60" y="75"/>
                    <a:pt x="60" y="70"/>
                  </a:cubicBezTo>
                  <a:cubicBezTo>
                    <a:pt x="61" y="67"/>
                    <a:pt x="64" y="66"/>
                    <a:pt x="67" y="65"/>
                  </a:cubicBezTo>
                  <a:cubicBezTo>
                    <a:pt x="60" y="53"/>
                    <a:pt x="74" y="41"/>
                    <a:pt x="75" y="21"/>
                  </a:cubicBezTo>
                  <a:cubicBezTo>
                    <a:pt x="61" y="21"/>
                    <a:pt x="75" y="0"/>
                    <a:pt x="60" y="2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244"/>
            <p:cNvSpPr>
              <a:spLocks/>
            </p:cNvSpPr>
            <p:nvPr/>
          </p:nvSpPr>
          <p:spPr bwMode="auto">
            <a:xfrm>
              <a:off x="11376025" y="6210300"/>
              <a:ext cx="180975" cy="169863"/>
            </a:xfrm>
            <a:custGeom>
              <a:avLst/>
              <a:gdLst>
                <a:gd name="T0" fmla="*/ 29 w 63"/>
                <a:gd name="T1" fmla="*/ 15 h 59"/>
                <a:gd name="T2" fmla="*/ 18 w 63"/>
                <a:gd name="T3" fmla="*/ 1 h 59"/>
                <a:gd name="T4" fmla="*/ 18 w 63"/>
                <a:gd name="T5" fmla="*/ 23 h 59"/>
                <a:gd name="T6" fmla="*/ 2 w 63"/>
                <a:gd name="T7" fmla="*/ 42 h 59"/>
                <a:gd name="T8" fmla="*/ 10 w 63"/>
                <a:gd name="T9" fmla="*/ 59 h 59"/>
                <a:gd name="T10" fmla="*/ 44 w 63"/>
                <a:gd name="T11" fmla="*/ 29 h 59"/>
                <a:gd name="T12" fmla="*/ 63 w 63"/>
                <a:gd name="T13" fmla="*/ 18 h 59"/>
                <a:gd name="T14" fmla="*/ 29 w 63"/>
                <a:gd name="T15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9">
                  <a:moveTo>
                    <a:pt x="29" y="15"/>
                  </a:moveTo>
                  <a:cubicBezTo>
                    <a:pt x="30" y="7"/>
                    <a:pt x="29" y="0"/>
                    <a:pt x="18" y="1"/>
                  </a:cubicBezTo>
                  <a:cubicBezTo>
                    <a:pt x="18" y="8"/>
                    <a:pt x="18" y="16"/>
                    <a:pt x="18" y="23"/>
                  </a:cubicBezTo>
                  <a:cubicBezTo>
                    <a:pt x="15" y="31"/>
                    <a:pt x="0" y="30"/>
                    <a:pt x="2" y="42"/>
                  </a:cubicBezTo>
                  <a:cubicBezTo>
                    <a:pt x="28" y="40"/>
                    <a:pt x="11" y="51"/>
                    <a:pt x="10" y="59"/>
                  </a:cubicBezTo>
                  <a:cubicBezTo>
                    <a:pt x="34" y="58"/>
                    <a:pt x="35" y="40"/>
                    <a:pt x="44" y="29"/>
                  </a:cubicBezTo>
                  <a:cubicBezTo>
                    <a:pt x="50" y="24"/>
                    <a:pt x="60" y="24"/>
                    <a:pt x="63" y="18"/>
                  </a:cubicBezTo>
                  <a:cubicBezTo>
                    <a:pt x="54" y="9"/>
                    <a:pt x="47" y="16"/>
                    <a:pt x="29" y="15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245"/>
            <p:cNvSpPr>
              <a:spLocks/>
            </p:cNvSpPr>
            <p:nvPr/>
          </p:nvSpPr>
          <p:spPr bwMode="auto">
            <a:xfrm>
              <a:off x="11131550" y="6348413"/>
              <a:ext cx="261938" cy="180975"/>
            </a:xfrm>
            <a:custGeom>
              <a:avLst/>
              <a:gdLst>
                <a:gd name="T0" fmla="*/ 72 w 91"/>
                <a:gd name="T1" fmla="*/ 0 h 63"/>
                <a:gd name="T2" fmla="*/ 61 w 91"/>
                <a:gd name="T3" fmla="*/ 16 h 63"/>
                <a:gd name="T4" fmla="*/ 45 w 91"/>
                <a:gd name="T5" fmla="*/ 19 h 63"/>
                <a:gd name="T6" fmla="*/ 27 w 91"/>
                <a:gd name="T7" fmla="*/ 36 h 63"/>
                <a:gd name="T8" fmla="*/ 0 w 91"/>
                <a:gd name="T9" fmla="*/ 63 h 63"/>
                <a:gd name="T10" fmla="*/ 34 w 91"/>
                <a:gd name="T11" fmla="*/ 63 h 63"/>
                <a:gd name="T12" fmla="*/ 45 w 91"/>
                <a:gd name="T13" fmla="*/ 44 h 63"/>
                <a:gd name="T14" fmla="*/ 61 w 91"/>
                <a:gd name="T15" fmla="*/ 44 h 63"/>
                <a:gd name="T16" fmla="*/ 91 w 91"/>
                <a:gd name="T17" fmla="*/ 16 h 63"/>
                <a:gd name="T18" fmla="*/ 72 w 91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3">
                  <a:moveTo>
                    <a:pt x="72" y="0"/>
                  </a:moveTo>
                  <a:cubicBezTo>
                    <a:pt x="69" y="6"/>
                    <a:pt x="61" y="8"/>
                    <a:pt x="61" y="16"/>
                  </a:cubicBezTo>
                  <a:cubicBezTo>
                    <a:pt x="54" y="16"/>
                    <a:pt x="49" y="17"/>
                    <a:pt x="45" y="19"/>
                  </a:cubicBezTo>
                  <a:cubicBezTo>
                    <a:pt x="39" y="25"/>
                    <a:pt x="37" y="33"/>
                    <a:pt x="27" y="36"/>
                  </a:cubicBezTo>
                  <a:cubicBezTo>
                    <a:pt x="11" y="40"/>
                    <a:pt x="6" y="52"/>
                    <a:pt x="0" y="63"/>
                  </a:cubicBezTo>
                  <a:cubicBezTo>
                    <a:pt x="12" y="59"/>
                    <a:pt x="20" y="62"/>
                    <a:pt x="34" y="63"/>
                  </a:cubicBezTo>
                  <a:cubicBezTo>
                    <a:pt x="38" y="57"/>
                    <a:pt x="49" y="56"/>
                    <a:pt x="45" y="44"/>
                  </a:cubicBezTo>
                  <a:cubicBezTo>
                    <a:pt x="51" y="44"/>
                    <a:pt x="56" y="44"/>
                    <a:pt x="61" y="44"/>
                  </a:cubicBezTo>
                  <a:cubicBezTo>
                    <a:pt x="62" y="28"/>
                    <a:pt x="91" y="33"/>
                    <a:pt x="91" y="16"/>
                  </a:cubicBezTo>
                  <a:cubicBezTo>
                    <a:pt x="90" y="7"/>
                    <a:pt x="80" y="5"/>
                    <a:pt x="72" y="0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246"/>
            <p:cNvSpPr>
              <a:spLocks/>
            </p:cNvSpPr>
            <p:nvPr/>
          </p:nvSpPr>
          <p:spPr bwMode="auto">
            <a:xfrm>
              <a:off x="10582275" y="6362700"/>
              <a:ext cx="144463" cy="80963"/>
            </a:xfrm>
            <a:custGeom>
              <a:avLst/>
              <a:gdLst>
                <a:gd name="T0" fmla="*/ 5 w 50"/>
                <a:gd name="T1" fmla="*/ 3 h 28"/>
                <a:gd name="T2" fmla="*/ 20 w 50"/>
                <a:gd name="T3" fmla="*/ 28 h 28"/>
                <a:gd name="T4" fmla="*/ 47 w 50"/>
                <a:gd name="T5" fmla="*/ 3 h 28"/>
                <a:gd name="T6" fmla="*/ 5 w 50"/>
                <a:gd name="T7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8">
                  <a:moveTo>
                    <a:pt x="5" y="3"/>
                  </a:moveTo>
                  <a:cubicBezTo>
                    <a:pt x="0" y="7"/>
                    <a:pt x="17" y="20"/>
                    <a:pt x="20" y="28"/>
                  </a:cubicBezTo>
                  <a:cubicBezTo>
                    <a:pt x="39" y="27"/>
                    <a:pt x="50" y="21"/>
                    <a:pt x="47" y="3"/>
                  </a:cubicBezTo>
                  <a:cubicBezTo>
                    <a:pt x="30" y="5"/>
                    <a:pt x="11" y="0"/>
                    <a:pt x="5" y="3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Freeform 247"/>
            <p:cNvSpPr>
              <a:spLocks/>
            </p:cNvSpPr>
            <p:nvPr/>
          </p:nvSpPr>
          <p:spPr bwMode="auto">
            <a:xfrm>
              <a:off x="5648325" y="6586538"/>
              <a:ext cx="52388" cy="31750"/>
            </a:xfrm>
            <a:custGeom>
              <a:avLst/>
              <a:gdLst>
                <a:gd name="T0" fmla="*/ 1 w 18"/>
                <a:gd name="T1" fmla="*/ 11 h 11"/>
                <a:gd name="T2" fmla="*/ 16 w 18"/>
                <a:gd name="T3" fmla="*/ 11 h 11"/>
                <a:gd name="T4" fmla="*/ 1 w 18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1">
                  <a:moveTo>
                    <a:pt x="1" y="11"/>
                  </a:moveTo>
                  <a:cubicBezTo>
                    <a:pt x="6" y="11"/>
                    <a:pt x="11" y="11"/>
                    <a:pt x="16" y="11"/>
                  </a:cubicBezTo>
                  <a:cubicBezTo>
                    <a:pt x="18" y="0"/>
                    <a:pt x="0" y="2"/>
                    <a:pt x="1" y="11"/>
                  </a:cubicBezTo>
                  <a:close/>
                </a:path>
              </a:pathLst>
            </a:custGeom>
            <a:solidFill>
              <a:srgbClr val="40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248"/>
            <p:cNvSpPr>
              <a:spLocks/>
            </p:cNvSpPr>
            <p:nvPr/>
          </p:nvSpPr>
          <p:spPr bwMode="auto">
            <a:xfrm>
              <a:off x="6643688" y="4651375"/>
              <a:ext cx="1760538" cy="1601788"/>
            </a:xfrm>
            <a:custGeom>
              <a:avLst/>
              <a:gdLst>
                <a:gd name="T0" fmla="*/ 601 w 613"/>
                <a:gd name="T1" fmla="*/ 193 h 557"/>
                <a:gd name="T2" fmla="*/ 570 w 613"/>
                <a:gd name="T3" fmla="*/ 201 h 557"/>
                <a:gd name="T4" fmla="*/ 536 w 613"/>
                <a:gd name="T5" fmla="*/ 201 h 557"/>
                <a:gd name="T6" fmla="*/ 502 w 613"/>
                <a:gd name="T7" fmla="*/ 166 h 557"/>
                <a:gd name="T8" fmla="*/ 487 w 613"/>
                <a:gd name="T9" fmla="*/ 130 h 557"/>
                <a:gd name="T10" fmla="*/ 464 w 613"/>
                <a:gd name="T11" fmla="*/ 113 h 557"/>
                <a:gd name="T12" fmla="*/ 463 w 613"/>
                <a:gd name="T13" fmla="*/ 92 h 557"/>
                <a:gd name="T14" fmla="*/ 460 w 613"/>
                <a:gd name="T15" fmla="*/ 85 h 557"/>
                <a:gd name="T16" fmla="*/ 456 w 613"/>
                <a:gd name="T17" fmla="*/ 86 h 557"/>
                <a:gd name="T18" fmla="*/ 458 w 613"/>
                <a:gd name="T19" fmla="*/ 83 h 557"/>
                <a:gd name="T20" fmla="*/ 438 w 613"/>
                <a:gd name="T21" fmla="*/ 50 h 557"/>
                <a:gd name="T22" fmla="*/ 437 w 613"/>
                <a:gd name="T23" fmla="*/ 50 h 557"/>
                <a:gd name="T24" fmla="*/ 338 w 613"/>
                <a:gd name="T25" fmla="*/ 39 h 557"/>
                <a:gd name="T26" fmla="*/ 320 w 613"/>
                <a:gd name="T27" fmla="*/ 56 h 557"/>
                <a:gd name="T28" fmla="*/ 251 w 613"/>
                <a:gd name="T29" fmla="*/ 28 h 557"/>
                <a:gd name="T30" fmla="*/ 244 w 613"/>
                <a:gd name="T31" fmla="*/ 11 h 557"/>
                <a:gd name="T32" fmla="*/ 247 w 613"/>
                <a:gd name="T33" fmla="*/ 0 h 557"/>
                <a:gd name="T34" fmla="*/ 190 w 613"/>
                <a:gd name="T35" fmla="*/ 9 h 557"/>
                <a:gd name="T36" fmla="*/ 118 w 613"/>
                <a:gd name="T37" fmla="*/ 20 h 557"/>
                <a:gd name="T38" fmla="*/ 95 w 613"/>
                <a:gd name="T39" fmla="*/ 11 h 557"/>
                <a:gd name="T40" fmla="*/ 69 w 613"/>
                <a:gd name="T41" fmla="*/ 28 h 557"/>
                <a:gd name="T42" fmla="*/ 54 w 613"/>
                <a:gd name="T43" fmla="*/ 69 h 557"/>
                <a:gd name="T44" fmla="*/ 19 w 613"/>
                <a:gd name="T45" fmla="*/ 91 h 557"/>
                <a:gd name="T46" fmla="*/ 0 w 613"/>
                <a:gd name="T47" fmla="*/ 127 h 557"/>
                <a:gd name="T48" fmla="*/ 0 w 613"/>
                <a:gd name="T49" fmla="*/ 199 h 557"/>
                <a:gd name="T50" fmla="*/ 31 w 613"/>
                <a:gd name="T51" fmla="*/ 237 h 557"/>
                <a:gd name="T52" fmla="*/ 84 w 613"/>
                <a:gd name="T53" fmla="*/ 259 h 557"/>
                <a:gd name="T54" fmla="*/ 137 w 613"/>
                <a:gd name="T55" fmla="*/ 257 h 557"/>
                <a:gd name="T56" fmla="*/ 160 w 613"/>
                <a:gd name="T57" fmla="*/ 243 h 557"/>
                <a:gd name="T58" fmla="*/ 168 w 613"/>
                <a:gd name="T59" fmla="*/ 254 h 557"/>
                <a:gd name="T60" fmla="*/ 206 w 613"/>
                <a:gd name="T61" fmla="*/ 259 h 557"/>
                <a:gd name="T62" fmla="*/ 228 w 613"/>
                <a:gd name="T63" fmla="*/ 254 h 557"/>
                <a:gd name="T64" fmla="*/ 221 w 613"/>
                <a:gd name="T65" fmla="*/ 303 h 557"/>
                <a:gd name="T66" fmla="*/ 244 w 613"/>
                <a:gd name="T67" fmla="*/ 347 h 557"/>
                <a:gd name="T68" fmla="*/ 259 w 613"/>
                <a:gd name="T69" fmla="*/ 386 h 557"/>
                <a:gd name="T70" fmla="*/ 244 w 613"/>
                <a:gd name="T71" fmla="*/ 433 h 557"/>
                <a:gd name="T72" fmla="*/ 278 w 613"/>
                <a:gd name="T73" fmla="*/ 477 h 557"/>
                <a:gd name="T74" fmla="*/ 278 w 613"/>
                <a:gd name="T75" fmla="*/ 502 h 557"/>
                <a:gd name="T76" fmla="*/ 312 w 613"/>
                <a:gd name="T77" fmla="*/ 557 h 557"/>
                <a:gd name="T78" fmla="*/ 399 w 613"/>
                <a:gd name="T79" fmla="*/ 535 h 557"/>
                <a:gd name="T80" fmla="*/ 434 w 613"/>
                <a:gd name="T81" fmla="*/ 502 h 557"/>
                <a:gd name="T82" fmla="*/ 437 w 613"/>
                <a:gd name="T83" fmla="*/ 477 h 557"/>
                <a:gd name="T84" fmla="*/ 460 w 613"/>
                <a:gd name="T85" fmla="*/ 471 h 557"/>
                <a:gd name="T86" fmla="*/ 506 w 613"/>
                <a:gd name="T87" fmla="*/ 408 h 557"/>
                <a:gd name="T88" fmla="*/ 506 w 613"/>
                <a:gd name="T89" fmla="*/ 331 h 557"/>
                <a:gd name="T90" fmla="*/ 525 w 613"/>
                <a:gd name="T91" fmla="*/ 295 h 557"/>
                <a:gd name="T92" fmla="*/ 551 w 613"/>
                <a:gd name="T93" fmla="*/ 281 h 557"/>
                <a:gd name="T94" fmla="*/ 605 w 613"/>
                <a:gd name="T95" fmla="*/ 224 h 557"/>
                <a:gd name="T96" fmla="*/ 601 w 613"/>
                <a:gd name="T97" fmla="*/ 193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13" h="557">
                  <a:moveTo>
                    <a:pt x="601" y="193"/>
                  </a:moveTo>
                  <a:cubicBezTo>
                    <a:pt x="584" y="192"/>
                    <a:pt x="585" y="202"/>
                    <a:pt x="570" y="201"/>
                  </a:cubicBezTo>
                  <a:cubicBezTo>
                    <a:pt x="559" y="201"/>
                    <a:pt x="548" y="201"/>
                    <a:pt x="536" y="201"/>
                  </a:cubicBezTo>
                  <a:cubicBezTo>
                    <a:pt x="534" y="183"/>
                    <a:pt x="515" y="176"/>
                    <a:pt x="502" y="166"/>
                  </a:cubicBezTo>
                  <a:cubicBezTo>
                    <a:pt x="505" y="148"/>
                    <a:pt x="479" y="151"/>
                    <a:pt x="487" y="130"/>
                  </a:cubicBezTo>
                  <a:cubicBezTo>
                    <a:pt x="480" y="124"/>
                    <a:pt x="468" y="121"/>
                    <a:pt x="464" y="113"/>
                  </a:cubicBezTo>
                  <a:cubicBezTo>
                    <a:pt x="467" y="106"/>
                    <a:pt x="460" y="94"/>
                    <a:pt x="463" y="92"/>
                  </a:cubicBezTo>
                  <a:cubicBezTo>
                    <a:pt x="462" y="90"/>
                    <a:pt x="461" y="87"/>
                    <a:pt x="460" y="85"/>
                  </a:cubicBezTo>
                  <a:cubicBezTo>
                    <a:pt x="459" y="86"/>
                    <a:pt x="457" y="86"/>
                    <a:pt x="456" y="86"/>
                  </a:cubicBezTo>
                  <a:cubicBezTo>
                    <a:pt x="455" y="85"/>
                    <a:pt x="457" y="83"/>
                    <a:pt x="458" y="83"/>
                  </a:cubicBezTo>
                  <a:cubicBezTo>
                    <a:pt x="452" y="71"/>
                    <a:pt x="442" y="56"/>
                    <a:pt x="438" y="50"/>
                  </a:cubicBezTo>
                  <a:cubicBezTo>
                    <a:pt x="438" y="50"/>
                    <a:pt x="438" y="50"/>
                    <a:pt x="437" y="50"/>
                  </a:cubicBezTo>
                  <a:cubicBezTo>
                    <a:pt x="410" y="43"/>
                    <a:pt x="375" y="40"/>
                    <a:pt x="338" y="39"/>
                  </a:cubicBezTo>
                  <a:cubicBezTo>
                    <a:pt x="328" y="41"/>
                    <a:pt x="329" y="53"/>
                    <a:pt x="320" y="56"/>
                  </a:cubicBezTo>
                  <a:cubicBezTo>
                    <a:pt x="302" y="42"/>
                    <a:pt x="267" y="42"/>
                    <a:pt x="251" y="28"/>
                  </a:cubicBezTo>
                  <a:cubicBezTo>
                    <a:pt x="254" y="18"/>
                    <a:pt x="247" y="16"/>
                    <a:pt x="244" y="11"/>
                  </a:cubicBezTo>
                  <a:cubicBezTo>
                    <a:pt x="253" y="11"/>
                    <a:pt x="252" y="4"/>
                    <a:pt x="247" y="0"/>
                  </a:cubicBezTo>
                  <a:cubicBezTo>
                    <a:pt x="224" y="0"/>
                    <a:pt x="206" y="3"/>
                    <a:pt x="190" y="9"/>
                  </a:cubicBezTo>
                  <a:cubicBezTo>
                    <a:pt x="160" y="7"/>
                    <a:pt x="133" y="9"/>
                    <a:pt x="118" y="20"/>
                  </a:cubicBezTo>
                  <a:cubicBezTo>
                    <a:pt x="115" y="14"/>
                    <a:pt x="107" y="11"/>
                    <a:pt x="95" y="11"/>
                  </a:cubicBezTo>
                  <a:cubicBezTo>
                    <a:pt x="92" y="21"/>
                    <a:pt x="79" y="23"/>
                    <a:pt x="69" y="28"/>
                  </a:cubicBezTo>
                  <a:cubicBezTo>
                    <a:pt x="59" y="41"/>
                    <a:pt x="62" y="58"/>
                    <a:pt x="54" y="69"/>
                  </a:cubicBezTo>
                  <a:cubicBezTo>
                    <a:pt x="48" y="76"/>
                    <a:pt x="28" y="84"/>
                    <a:pt x="19" y="91"/>
                  </a:cubicBezTo>
                  <a:cubicBezTo>
                    <a:pt x="19" y="107"/>
                    <a:pt x="10" y="118"/>
                    <a:pt x="0" y="127"/>
                  </a:cubicBezTo>
                  <a:cubicBezTo>
                    <a:pt x="0" y="151"/>
                    <a:pt x="0" y="175"/>
                    <a:pt x="0" y="199"/>
                  </a:cubicBezTo>
                  <a:cubicBezTo>
                    <a:pt x="14" y="209"/>
                    <a:pt x="25" y="221"/>
                    <a:pt x="31" y="237"/>
                  </a:cubicBezTo>
                  <a:cubicBezTo>
                    <a:pt x="48" y="245"/>
                    <a:pt x="60" y="257"/>
                    <a:pt x="84" y="259"/>
                  </a:cubicBezTo>
                  <a:cubicBezTo>
                    <a:pt x="99" y="257"/>
                    <a:pt x="117" y="256"/>
                    <a:pt x="137" y="257"/>
                  </a:cubicBezTo>
                  <a:cubicBezTo>
                    <a:pt x="145" y="252"/>
                    <a:pt x="145" y="242"/>
                    <a:pt x="160" y="243"/>
                  </a:cubicBezTo>
                  <a:cubicBezTo>
                    <a:pt x="167" y="243"/>
                    <a:pt x="162" y="252"/>
                    <a:pt x="168" y="254"/>
                  </a:cubicBezTo>
                  <a:cubicBezTo>
                    <a:pt x="185" y="252"/>
                    <a:pt x="192" y="258"/>
                    <a:pt x="206" y="259"/>
                  </a:cubicBezTo>
                  <a:cubicBezTo>
                    <a:pt x="212" y="257"/>
                    <a:pt x="215" y="252"/>
                    <a:pt x="228" y="254"/>
                  </a:cubicBezTo>
                  <a:cubicBezTo>
                    <a:pt x="232" y="275"/>
                    <a:pt x="220" y="285"/>
                    <a:pt x="221" y="303"/>
                  </a:cubicBezTo>
                  <a:cubicBezTo>
                    <a:pt x="232" y="318"/>
                    <a:pt x="250" y="328"/>
                    <a:pt x="244" y="347"/>
                  </a:cubicBezTo>
                  <a:cubicBezTo>
                    <a:pt x="254" y="357"/>
                    <a:pt x="254" y="373"/>
                    <a:pt x="259" y="386"/>
                  </a:cubicBezTo>
                  <a:cubicBezTo>
                    <a:pt x="249" y="399"/>
                    <a:pt x="252" y="419"/>
                    <a:pt x="244" y="433"/>
                  </a:cubicBezTo>
                  <a:cubicBezTo>
                    <a:pt x="260" y="444"/>
                    <a:pt x="272" y="458"/>
                    <a:pt x="278" y="477"/>
                  </a:cubicBezTo>
                  <a:cubicBezTo>
                    <a:pt x="278" y="485"/>
                    <a:pt x="278" y="493"/>
                    <a:pt x="278" y="502"/>
                  </a:cubicBezTo>
                  <a:cubicBezTo>
                    <a:pt x="295" y="516"/>
                    <a:pt x="294" y="543"/>
                    <a:pt x="312" y="557"/>
                  </a:cubicBezTo>
                  <a:cubicBezTo>
                    <a:pt x="349" y="555"/>
                    <a:pt x="367" y="540"/>
                    <a:pt x="399" y="535"/>
                  </a:cubicBezTo>
                  <a:cubicBezTo>
                    <a:pt x="405" y="520"/>
                    <a:pt x="417" y="509"/>
                    <a:pt x="434" y="502"/>
                  </a:cubicBezTo>
                  <a:cubicBezTo>
                    <a:pt x="432" y="491"/>
                    <a:pt x="440" y="488"/>
                    <a:pt x="437" y="477"/>
                  </a:cubicBezTo>
                  <a:cubicBezTo>
                    <a:pt x="444" y="474"/>
                    <a:pt x="447" y="469"/>
                    <a:pt x="460" y="471"/>
                  </a:cubicBezTo>
                  <a:cubicBezTo>
                    <a:pt x="461" y="440"/>
                    <a:pt x="476" y="419"/>
                    <a:pt x="506" y="408"/>
                  </a:cubicBezTo>
                  <a:cubicBezTo>
                    <a:pt x="511" y="386"/>
                    <a:pt x="511" y="353"/>
                    <a:pt x="506" y="331"/>
                  </a:cubicBezTo>
                  <a:cubicBezTo>
                    <a:pt x="514" y="320"/>
                    <a:pt x="520" y="309"/>
                    <a:pt x="525" y="295"/>
                  </a:cubicBezTo>
                  <a:cubicBezTo>
                    <a:pt x="534" y="291"/>
                    <a:pt x="541" y="285"/>
                    <a:pt x="551" y="281"/>
                  </a:cubicBezTo>
                  <a:cubicBezTo>
                    <a:pt x="569" y="262"/>
                    <a:pt x="586" y="242"/>
                    <a:pt x="605" y="224"/>
                  </a:cubicBezTo>
                  <a:cubicBezTo>
                    <a:pt x="607" y="213"/>
                    <a:pt x="613" y="199"/>
                    <a:pt x="601" y="193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Freeform 249"/>
            <p:cNvSpPr>
              <a:spLocks noEditPoints="1"/>
            </p:cNvSpPr>
            <p:nvPr/>
          </p:nvSpPr>
          <p:spPr bwMode="auto">
            <a:xfrm>
              <a:off x="6829425" y="3484563"/>
              <a:ext cx="4578350" cy="1952625"/>
            </a:xfrm>
            <a:custGeom>
              <a:avLst/>
              <a:gdLst>
                <a:gd name="T0" fmla="*/ 1489 w 1593"/>
                <a:gd name="T1" fmla="*/ 103 h 679"/>
                <a:gd name="T2" fmla="*/ 1394 w 1593"/>
                <a:gd name="T3" fmla="*/ 90 h 679"/>
                <a:gd name="T4" fmla="*/ 1246 w 1593"/>
                <a:gd name="T5" fmla="*/ 68 h 679"/>
                <a:gd name="T6" fmla="*/ 1178 w 1593"/>
                <a:gd name="T7" fmla="*/ 51 h 679"/>
                <a:gd name="T8" fmla="*/ 1037 w 1593"/>
                <a:gd name="T9" fmla="*/ 57 h 679"/>
                <a:gd name="T10" fmla="*/ 954 w 1593"/>
                <a:gd name="T11" fmla="*/ 29 h 679"/>
                <a:gd name="T12" fmla="*/ 851 w 1593"/>
                <a:gd name="T13" fmla="*/ 21 h 679"/>
                <a:gd name="T14" fmla="*/ 741 w 1593"/>
                <a:gd name="T15" fmla="*/ 40 h 679"/>
                <a:gd name="T16" fmla="*/ 688 w 1593"/>
                <a:gd name="T17" fmla="*/ 65 h 679"/>
                <a:gd name="T18" fmla="*/ 631 w 1593"/>
                <a:gd name="T19" fmla="*/ 62 h 679"/>
                <a:gd name="T20" fmla="*/ 502 w 1593"/>
                <a:gd name="T21" fmla="*/ 103 h 679"/>
                <a:gd name="T22" fmla="*/ 410 w 1593"/>
                <a:gd name="T23" fmla="*/ 131 h 679"/>
                <a:gd name="T24" fmla="*/ 410 w 1593"/>
                <a:gd name="T25" fmla="*/ 131 h 679"/>
                <a:gd name="T26" fmla="*/ 281 w 1593"/>
                <a:gd name="T27" fmla="*/ 76 h 679"/>
                <a:gd name="T28" fmla="*/ 171 w 1593"/>
                <a:gd name="T29" fmla="*/ 150 h 679"/>
                <a:gd name="T30" fmla="*/ 133 w 1593"/>
                <a:gd name="T31" fmla="*/ 219 h 679"/>
                <a:gd name="T32" fmla="*/ 122 w 1593"/>
                <a:gd name="T33" fmla="*/ 260 h 679"/>
                <a:gd name="T34" fmla="*/ 53 w 1593"/>
                <a:gd name="T35" fmla="*/ 307 h 679"/>
                <a:gd name="T36" fmla="*/ 65 w 1593"/>
                <a:gd name="T37" fmla="*/ 354 h 679"/>
                <a:gd name="T38" fmla="*/ 42 w 1593"/>
                <a:gd name="T39" fmla="*/ 415 h 679"/>
                <a:gd name="T40" fmla="*/ 163 w 1593"/>
                <a:gd name="T41" fmla="*/ 351 h 679"/>
                <a:gd name="T42" fmla="*/ 175 w 1593"/>
                <a:gd name="T43" fmla="*/ 362 h 679"/>
                <a:gd name="T44" fmla="*/ 220 w 1593"/>
                <a:gd name="T45" fmla="*/ 409 h 679"/>
                <a:gd name="T46" fmla="*/ 205 w 1593"/>
                <a:gd name="T47" fmla="*/ 343 h 679"/>
                <a:gd name="T48" fmla="*/ 266 w 1593"/>
                <a:gd name="T49" fmla="*/ 412 h 679"/>
                <a:gd name="T50" fmla="*/ 304 w 1593"/>
                <a:gd name="T51" fmla="*/ 403 h 679"/>
                <a:gd name="T52" fmla="*/ 391 w 1593"/>
                <a:gd name="T53" fmla="*/ 415 h 679"/>
                <a:gd name="T54" fmla="*/ 403 w 1593"/>
                <a:gd name="T55" fmla="*/ 500 h 679"/>
                <a:gd name="T56" fmla="*/ 559 w 1593"/>
                <a:gd name="T57" fmla="*/ 577 h 679"/>
                <a:gd name="T58" fmla="*/ 593 w 1593"/>
                <a:gd name="T59" fmla="*/ 503 h 679"/>
                <a:gd name="T60" fmla="*/ 543 w 1593"/>
                <a:gd name="T61" fmla="*/ 464 h 679"/>
                <a:gd name="T62" fmla="*/ 654 w 1593"/>
                <a:gd name="T63" fmla="*/ 511 h 679"/>
                <a:gd name="T64" fmla="*/ 722 w 1593"/>
                <a:gd name="T65" fmla="*/ 558 h 679"/>
                <a:gd name="T66" fmla="*/ 790 w 1593"/>
                <a:gd name="T67" fmla="*/ 632 h 679"/>
                <a:gd name="T68" fmla="*/ 840 w 1593"/>
                <a:gd name="T69" fmla="*/ 563 h 679"/>
                <a:gd name="T70" fmla="*/ 912 w 1593"/>
                <a:gd name="T71" fmla="*/ 569 h 679"/>
                <a:gd name="T72" fmla="*/ 957 w 1593"/>
                <a:gd name="T73" fmla="*/ 624 h 679"/>
                <a:gd name="T74" fmla="*/ 976 w 1593"/>
                <a:gd name="T75" fmla="*/ 621 h 679"/>
                <a:gd name="T76" fmla="*/ 1060 w 1593"/>
                <a:gd name="T77" fmla="*/ 566 h 679"/>
                <a:gd name="T78" fmla="*/ 1102 w 1593"/>
                <a:gd name="T79" fmla="*/ 536 h 679"/>
                <a:gd name="T80" fmla="*/ 1147 w 1593"/>
                <a:gd name="T81" fmla="*/ 437 h 679"/>
                <a:gd name="T82" fmla="*/ 1155 w 1593"/>
                <a:gd name="T83" fmla="*/ 387 h 679"/>
                <a:gd name="T84" fmla="*/ 1239 w 1593"/>
                <a:gd name="T85" fmla="*/ 354 h 679"/>
                <a:gd name="T86" fmla="*/ 1299 w 1593"/>
                <a:gd name="T87" fmla="*/ 324 h 679"/>
                <a:gd name="T88" fmla="*/ 1284 w 1593"/>
                <a:gd name="T89" fmla="*/ 269 h 679"/>
                <a:gd name="T90" fmla="*/ 1235 w 1593"/>
                <a:gd name="T91" fmla="*/ 233 h 679"/>
                <a:gd name="T92" fmla="*/ 1334 w 1593"/>
                <a:gd name="T93" fmla="*/ 216 h 679"/>
                <a:gd name="T94" fmla="*/ 1387 w 1593"/>
                <a:gd name="T95" fmla="*/ 194 h 679"/>
                <a:gd name="T96" fmla="*/ 1398 w 1593"/>
                <a:gd name="T97" fmla="*/ 282 h 679"/>
                <a:gd name="T98" fmla="*/ 1425 w 1593"/>
                <a:gd name="T99" fmla="*/ 216 h 679"/>
                <a:gd name="T100" fmla="*/ 1527 w 1593"/>
                <a:gd name="T101" fmla="*/ 153 h 679"/>
                <a:gd name="T102" fmla="*/ 251 w 1593"/>
                <a:gd name="T103" fmla="*/ 183 h 679"/>
                <a:gd name="T104" fmla="*/ 251 w 1593"/>
                <a:gd name="T105" fmla="*/ 247 h 679"/>
                <a:gd name="T106" fmla="*/ 186 w 1593"/>
                <a:gd name="T107" fmla="*/ 244 h 679"/>
                <a:gd name="T108" fmla="*/ 232 w 1593"/>
                <a:gd name="T109" fmla="*/ 191 h 679"/>
                <a:gd name="T110" fmla="*/ 293 w 1593"/>
                <a:gd name="T111" fmla="*/ 202 h 679"/>
                <a:gd name="T112" fmla="*/ 327 w 1593"/>
                <a:gd name="T113" fmla="*/ 92 h 679"/>
                <a:gd name="T114" fmla="*/ 395 w 1593"/>
                <a:gd name="T115" fmla="*/ 150 h 679"/>
                <a:gd name="T116" fmla="*/ 676 w 1593"/>
                <a:gd name="T117" fmla="*/ 106 h 679"/>
                <a:gd name="T118" fmla="*/ 923 w 1593"/>
                <a:gd name="T119" fmla="*/ 54 h 679"/>
                <a:gd name="T120" fmla="*/ 938 w 1593"/>
                <a:gd name="T121" fmla="*/ 45 h 679"/>
                <a:gd name="T122" fmla="*/ 1132 w 1593"/>
                <a:gd name="T123" fmla="*/ 395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3" h="679">
                  <a:moveTo>
                    <a:pt x="1592" y="136"/>
                  </a:moveTo>
                  <a:cubicBezTo>
                    <a:pt x="1582" y="133"/>
                    <a:pt x="1567" y="118"/>
                    <a:pt x="1558" y="131"/>
                  </a:cubicBezTo>
                  <a:cubicBezTo>
                    <a:pt x="1559" y="124"/>
                    <a:pt x="1557" y="120"/>
                    <a:pt x="1554" y="117"/>
                  </a:cubicBezTo>
                  <a:cubicBezTo>
                    <a:pt x="1533" y="112"/>
                    <a:pt x="1522" y="99"/>
                    <a:pt x="1489" y="103"/>
                  </a:cubicBezTo>
                  <a:cubicBezTo>
                    <a:pt x="1485" y="98"/>
                    <a:pt x="1475" y="97"/>
                    <a:pt x="1470" y="92"/>
                  </a:cubicBezTo>
                  <a:cubicBezTo>
                    <a:pt x="1446" y="95"/>
                    <a:pt x="1440" y="83"/>
                    <a:pt x="1413" y="87"/>
                  </a:cubicBezTo>
                  <a:cubicBezTo>
                    <a:pt x="1408" y="95"/>
                    <a:pt x="1424" y="101"/>
                    <a:pt x="1413" y="103"/>
                  </a:cubicBezTo>
                  <a:cubicBezTo>
                    <a:pt x="1402" y="102"/>
                    <a:pt x="1404" y="91"/>
                    <a:pt x="1394" y="90"/>
                  </a:cubicBezTo>
                  <a:cubicBezTo>
                    <a:pt x="1383" y="98"/>
                    <a:pt x="1363" y="90"/>
                    <a:pt x="1341" y="95"/>
                  </a:cubicBezTo>
                  <a:cubicBezTo>
                    <a:pt x="1327" y="89"/>
                    <a:pt x="1328" y="71"/>
                    <a:pt x="1299" y="76"/>
                  </a:cubicBezTo>
                  <a:cubicBezTo>
                    <a:pt x="1294" y="76"/>
                    <a:pt x="1298" y="84"/>
                    <a:pt x="1292" y="84"/>
                  </a:cubicBezTo>
                  <a:cubicBezTo>
                    <a:pt x="1276" y="79"/>
                    <a:pt x="1260" y="74"/>
                    <a:pt x="1246" y="68"/>
                  </a:cubicBezTo>
                  <a:cubicBezTo>
                    <a:pt x="1244" y="70"/>
                    <a:pt x="1243" y="72"/>
                    <a:pt x="1239" y="73"/>
                  </a:cubicBezTo>
                  <a:cubicBezTo>
                    <a:pt x="1243" y="62"/>
                    <a:pt x="1230" y="65"/>
                    <a:pt x="1220" y="65"/>
                  </a:cubicBezTo>
                  <a:cubicBezTo>
                    <a:pt x="1229" y="58"/>
                    <a:pt x="1215" y="59"/>
                    <a:pt x="1212" y="54"/>
                  </a:cubicBezTo>
                  <a:cubicBezTo>
                    <a:pt x="1194" y="59"/>
                    <a:pt x="1195" y="52"/>
                    <a:pt x="1178" y="51"/>
                  </a:cubicBezTo>
                  <a:cubicBezTo>
                    <a:pt x="1177" y="55"/>
                    <a:pt x="1168" y="53"/>
                    <a:pt x="1163" y="54"/>
                  </a:cubicBezTo>
                  <a:cubicBezTo>
                    <a:pt x="1159" y="59"/>
                    <a:pt x="1174" y="63"/>
                    <a:pt x="1163" y="65"/>
                  </a:cubicBezTo>
                  <a:cubicBezTo>
                    <a:pt x="1130" y="61"/>
                    <a:pt x="1089" y="70"/>
                    <a:pt x="1060" y="65"/>
                  </a:cubicBezTo>
                  <a:cubicBezTo>
                    <a:pt x="1050" y="63"/>
                    <a:pt x="1047" y="55"/>
                    <a:pt x="1037" y="57"/>
                  </a:cubicBezTo>
                  <a:cubicBezTo>
                    <a:pt x="1020" y="59"/>
                    <a:pt x="1008" y="54"/>
                    <a:pt x="995" y="51"/>
                  </a:cubicBezTo>
                  <a:cubicBezTo>
                    <a:pt x="991" y="50"/>
                    <a:pt x="985" y="52"/>
                    <a:pt x="980" y="51"/>
                  </a:cubicBezTo>
                  <a:cubicBezTo>
                    <a:pt x="971" y="50"/>
                    <a:pt x="964" y="42"/>
                    <a:pt x="942" y="45"/>
                  </a:cubicBezTo>
                  <a:cubicBezTo>
                    <a:pt x="944" y="38"/>
                    <a:pt x="954" y="37"/>
                    <a:pt x="954" y="29"/>
                  </a:cubicBezTo>
                  <a:cubicBezTo>
                    <a:pt x="948" y="21"/>
                    <a:pt x="936" y="18"/>
                    <a:pt x="931" y="10"/>
                  </a:cubicBezTo>
                  <a:cubicBezTo>
                    <a:pt x="919" y="13"/>
                    <a:pt x="902" y="12"/>
                    <a:pt x="885" y="12"/>
                  </a:cubicBezTo>
                  <a:cubicBezTo>
                    <a:pt x="876" y="10"/>
                    <a:pt x="877" y="0"/>
                    <a:pt x="862" y="1"/>
                  </a:cubicBezTo>
                  <a:cubicBezTo>
                    <a:pt x="854" y="4"/>
                    <a:pt x="850" y="11"/>
                    <a:pt x="851" y="21"/>
                  </a:cubicBezTo>
                  <a:cubicBezTo>
                    <a:pt x="832" y="16"/>
                    <a:pt x="839" y="30"/>
                    <a:pt x="825" y="29"/>
                  </a:cubicBezTo>
                  <a:cubicBezTo>
                    <a:pt x="817" y="28"/>
                    <a:pt x="821" y="18"/>
                    <a:pt x="809" y="21"/>
                  </a:cubicBezTo>
                  <a:cubicBezTo>
                    <a:pt x="799" y="28"/>
                    <a:pt x="786" y="33"/>
                    <a:pt x="764" y="32"/>
                  </a:cubicBezTo>
                  <a:cubicBezTo>
                    <a:pt x="757" y="35"/>
                    <a:pt x="754" y="41"/>
                    <a:pt x="741" y="40"/>
                  </a:cubicBezTo>
                  <a:cubicBezTo>
                    <a:pt x="736" y="43"/>
                    <a:pt x="739" y="53"/>
                    <a:pt x="729" y="54"/>
                  </a:cubicBezTo>
                  <a:cubicBezTo>
                    <a:pt x="722" y="55"/>
                    <a:pt x="703" y="49"/>
                    <a:pt x="707" y="59"/>
                  </a:cubicBezTo>
                  <a:cubicBezTo>
                    <a:pt x="707" y="69"/>
                    <a:pt x="729" y="63"/>
                    <a:pt x="726" y="76"/>
                  </a:cubicBezTo>
                  <a:cubicBezTo>
                    <a:pt x="712" y="73"/>
                    <a:pt x="708" y="63"/>
                    <a:pt x="688" y="65"/>
                  </a:cubicBezTo>
                  <a:cubicBezTo>
                    <a:pt x="688" y="72"/>
                    <a:pt x="690" y="81"/>
                    <a:pt x="680" y="81"/>
                  </a:cubicBezTo>
                  <a:cubicBezTo>
                    <a:pt x="676" y="78"/>
                    <a:pt x="676" y="71"/>
                    <a:pt x="676" y="65"/>
                  </a:cubicBezTo>
                  <a:cubicBezTo>
                    <a:pt x="661" y="62"/>
                    <a:pt x="670" y="77"/>
                    <a:pt x="654" y="73"/>
                  </a:cubicBezTo>
                  <a:cubicBezTo>
                    <a:pt x="648" y="68"/>
                    <a:pt x="648" y="58"/>
                    <a:pt x="631" y="62"/>
                  </a:cubicBezTo>
                  <a:cubicBezTo>
                    <a:pt x="620" y="74"/>
                    <a:pt x="606" y="82"/>
                    <a:pt x="593" y="92"/>
                  </a:cubicBezTo>
                  <a:cubicBezTo>
                    <a:pt x="568" y="94"/>
                    <a:pt x="570" y="87"/>
                    <a:pt x="543" y="87"/>
                  </a:cubicBezTo>
                  <a:cubicBezTo>
                    <a:pt x="537" y="100"/>
                    <a:pt x="563" y="91"/>
                    <a:pt x="559" y="103"/>
                  </a:cubicBezTo>
                  <a:cubicBezTo>
                    <a:pt x="543" y="101"/>
                    <a:pt x="526" y="105"/>
                    <a:pt x="502" y="103"/>
                  </a:cubicBezTo>
                  <a:cubicBezTo>
                    <a:pt x="484" y="108"/>
                    <a:pt x="475" y="119"/>
                    <a:pt x="456" y="123"/>
                  </a:cubicBezTo>
                  <a:cubicBezTo>
                    <a:pt x="456" y="117"/>
                    <a:pt x="456" y="112"/>
                    <a:pt x="456" y="106"/>
                  </a:cubicBezTo>
                  <a:cubicBezTo>
                    <a:pt x="447" y="106"/>
                    <a:pt x="438" y="106"/>
                    <a:pt x="433" y="103"/>
                  </a:cubicBezTo>
                  <a:cubicBezTo>
                    <a:pt x="434" y="119"/>
                    <a:pt x="433" y="133"/>
                    <a:pt x="410" y="131"/>
                  </a:cubicBezTo>
                  <a:cubicBezTo>
                    <a:pt x="412" y="141"/>
                    <a:pt x="396" y="139"/>
                    <a:pt x="388" y="142"/>
                  </a:cubicBezTo>
                  <a:cubicBezTo>
                    <a:pt x="378" y="146"/>
                    <a:pt x="394" y="150"/>
                    <a:pt x="384" y="153"/>
                  </a:cubicBezTo>
                  <a:cubicBezTo>
                    <a:pt x="361" y="156"/>
                    <a:pt x="360" y="133"/>
                    <a:pt x="361" y="128"/>
                  </a:cubicBezTo>
                  <a:cubicBezTo>
                    <a:pt x="379" y="128"/>
                    <a:pt x="398" y="127"/>
                    <a:pt x="410" y="131"/>
                  </a:cubicBezTo>
                  <a:cubicBezTo>
                    <a:pt x="421" y="114"/>
                    <a:pt x="389" y="105"/>
                    <a:pt x="365" y="103"/>
                  </a:cubicBezTo>
                  <a:cubicBezTo>
                    <a:pt x="359" y="97"/>
                    <a:pt x="349" y="93"/>
                    <a:pt x="334" y="92"/>
                  </a:cubicBezTo>
                  <a:cubicBezTo>
                    <a:pt x="329" y="86"/>
                    <a:pt x="324" y="80"/>
                    <a:pt x="315" y="76"/>
                  </a:cubicBezTo>
                  <a:cubicBezTo>
                    <a:pt x="304" y="76"/>
                    <a:pt x="293" y="76"/>
                    <a:pt x="281" y="76"/>
                  </a:cubicBezTo>
                  <a:cubicBezTo>
                    <a:pt x="271" y="81"/>
                    <a:pt x="261" y="87"/>
                    <a:pt x="251" y="92"/>
                  </a:cubicBezTo>
                  <a:cubicBezTo>
                    <a:pt x="249" y="88"/>
                    <a:pt x="246" y="93"/>
                    <a:pt x="239" y="92"/>
                  </a:cubicBezTo>
                  <a:cubicBezTo>
                    <a:pt x="226" y="103"/>
                    <a:pt x="209" y="110"/>
                    <a:pt x="194" y="120"/>
                  </a:cubicBezTo>
                  <a:cubicBezTo>
                    <a:pt x="190" y="132"/>
                    <a:pt x="182" y="143"/>
                    <a:pt x="171" y="150"/>
                  </a:cubicBezTo>
                  <a:cubicBezTo>
                    <a:pt x="170" y="147"/>
                    <a:pt x="164" y="148"/>
                    <a:pt x="160" y="147"/>
                  </a:cubicBezTo>
                  <a:cubicBezTo>
                    <a:pt x="160" y="151"/>
                    <a:pt x="160" y="155"/>
                    <a:pt x="160" y="158"/>
                  </a:cubicBezTo>
                  <a:cubicBezTo>
                    <a:pt x="136" y="159"/>
                    <a:pt x="133" y="176"/>
                    <a:pt x="125" y="189"/>
                  </a:cubicBezTo>
                  <a:cubicBezTo>
                    <a:pt x="133" y="195"/>
                    <a:pt x="134" y="206"/>
                    <a:pt x="133" y="219"/>
                  </a:cubicBezTo>
                  <a:cubicBezTo>
                    <a:pt x="137" y="226"/>
                    <a:pt x="157" y="222"/>
                    <a:pt x="163" y="227"/>
                  </a:cubicBezTo>
                  <a:cubicBezTo>
                    <a:pt x="155" y="235"/>
                    <a:pt x="148" y="238"/>
                    <a:pt x="148" y="247"/>
                  </a:cubicBezTo>
                  <a:cubicBezTo>
                    <a:pt x="156" y="245"/>
                    <a:pt x="155" y="250"/>
                    <a:pt x="156" y="255"/>
                  </a:cubicBezTo>
                  <a:cubicBezTo>
                    <a:pt x="142" y="255"/>
                    <a:pt x="134" y="259"/>
                    <a:pt x="122" y="260"/>
                  </a:cubicBezTo>
                  <a:cubicBezTo>
                    <a:pt x="118" y="265"/>
                    <a:pt x="111" y="267"/>
                    <a:pt x="114" y="277"/>
                  </a:cubicBezTo>
                  <a:cubicBezTo>
                    <a:pt x="92" y="272"/>
                    <a:pt x="105" y="293"/>
                    <a:pt x="87" y="291"/>
                  </a:cubicBezTo>
                  <a:cubicBezTo>
                    <a:pt x="88" y="294"/>
                    <a:pt x="87" y="295"/>
                    <a:pt x="83" y="296"/>
                  </a:cubicBezTo>
                  <a:cubicBezTo>
                    <a:pt x="67" y="295"/>
                    <a:pt x="63" y="304"/>
                    <a:pt x="53" y="307"/>
                  </a:cubicBezTo>
                  <a:cubicBezTo>
                    <a:pt x="44" y="309"/>
                    <a:pt x="34" y="310"/>
                    <a:pt x="34" y="318"/>
                  </a:cubicBezTo>
                  <a:cubicBezTo>
                    <a:pt x="39" y="322"/>
                    <a:pt x="51" y="321"/>
                    <a:pt x="61" y="321"/>
                  </a:cubicBezTo>
                  <a:cubicBezTo>
                    <a:pt x="59" y="333"/>
                    <a:pt x="78" y="330"/>
                    <a:pt x="76" y="343"/>
                  </a:cubicBezTo>
                  <a:cubicBezTo>
                    <a:pt x="72" y="347"/>
                    <a:pt x="72" y="353"/>
                    <a:pt x="65" y="354"/>
                  </a:cubicBezTo>
                  <a:cubicBezTo>
                    <a:pt x="47" y="347"/>
                    <a:pt x="31" y="356"/>
                    <a:pt x="8" y="354"/>
                  </a:cubicBezTo>
                  <a:cubicBezTo>
                    <a:pt x="4" y="363"/>
                    <a:pt x="16" y="384"/>
                    <a:pt x="0" y="384"/>
                  </a:cubicBezTo>
                  <a:cubicBezTo>
                    <a:pt x="3" y="392"/>
                    <a:pt x="11" y="396"/>
                    <a:pt x="8" y="409"/>
                  </a:cubicBezTo>
                  <a:cubicBezTo>
                    <a:pt x="25" y="406"/>
                    <a:pt x="31" y="413"/>
                    <a:pt x="42" y="415"/>
                  </a:cubicBezTo>
                  <a:cubicBezTo>
                    <a:pt x="56" y="409"/>
                    <a:pt x="58" y="409"/>
                    <a:pt x="72" y="415"/>
                  </a:cubicBezTo>
                  <a:cubicBezTo>
                    <a:pt x="81" y="403"/>
                    <a:pt x="94" y="395"/>
                    <a:pt x="91" y="376"/>
                  </a:cubicBezTo>
                  <a:cubicBezTo>
                    <a:pt x="108" y="372"/>
                    <a:pt x="105" y="355"/>
                    <a:pt x="125" y="354"/>
                  </a:cubicBezTo>
                  <a:cubicBezTo>
                    <a:pt x="141" y="361"/>
                    <a:pt x="148" y="352"/>
                    <a:pt x="163" y="351"/>
                  </a:cubicBezTo>
                  <a:cubicBezTo>
                    <a:pt x="153" y="362"/>
                    <a:pt x="158" y="379"/>
                    <a:pt x="163" y="393"/>
                  </a:cubicBezTo>
                  <a:cubicBezTo>
                    <a:pt x="188" y="391"/>
                    <a:pt x="173" y="377"/>
                    <a:pt x="175" y="362"/>
                  </a:cubicBezTo>
                  <a:cubicBezTo>
                    <a:pt x="171" y="362"/>
                    <a:pt x="170" y="357"/>
                    <a:pt x="175" y="357"/>
                  </a:cubicBezTo>
                  <a:cubicBezTo>
                    <a:pt x="175" y="359"/>
                    <a:pt x="175" y="360"/>
                    <a:pt x="175" y="362"/>
                  </a:cubicBezTo>
                  <a:cubicBezTo>
                    <a:pt x="183" y="363"/>
                    <a:pt x="182" y="370"/>
                    <a:pt x="186" y="373"/>
                  </a:cubicBezTo>
                  <a:cubicBezTo>
                    <a:pt x="205" y="374"/>
                    <a:pt x="216" y="379"/>
                    <a:pt x="220" y="390"/>
                  </a:cubicBezTo>
                  <a:cubicBezTo>
                    <a:pt x="220" y="396"/>
                    <a:pt x="211" y="396"/>
                    <a:pt x="201" y="395"/>
                  </a:cubicBezTo>
                  <a:cubicBezTo>
                    <a:pt x="201" y="405"/>
                    <a:pt x="215" y="404"/>
                    <a:pt x="220" y="409"/>
                  </a:cubicBezTo>
                  <a:cubicBezTo>
                    <a:pt x="219" y="397"/>
                    <a:pt x="231" y="394"/>
                    <a:pt x="239" y="390"/>
                  </a:cubicBezTo>
                  <a:cubicBezTo>
                    <a:pt x="241" y="384"/>
                    <a:pt x="232" y="386"/>
                    <a:pt x="232" y="381"/>
                  </a:cubicBezTo>
                  <a:cubicBezTo>
                    <a:pt x="239" y="373"/>
                    <a:pt x="245" y="391"/>
                    <a:pt x="251" y="381"/>
                  </a:cubicBezTo>
                  <a:cubicBezTo>
                    <a:pt x="240" y="367"/>
                    <a:pt x="193" y="364"/>
                    <a:pt x="205" y="343"/>
                  </a:cubicBezTo>
                  <a:cubicBezTo>
                    <a:pt x="217" y="356"/>
                    <a:pt x="238" y="362"/>
                    <a:pt x="251" y="373"/>
                  </a:cubicBezTo>
                  <a:cubicBezTo>
                    <a:pt x="253" y="375"/>
                    <a:pt x="256" y="382"/>
                    <a:pt x="258" y="384"/>
                  </a:cubicBezTo>
                  <a:cubicBezTo>
                    <a:pt x="261" y="388"/>
                    <a:pt x="268" y="391"/>
                    <a:pt x="266" y="395"/>
                  </a:cubicBezTo>
                  <a:cubicBezTo>
                    <a:pt x="266" y="401"/>
                    <a:pt x="266" y="406"/>
                    <a:pt x="266" y="412"/>
                  </a:cubicBezTo>
                  <a:cubicBezTo>
                    <a:pt x="271" y="416"/>
                    <a:pt x="283" y="415"/>
                    <a:pt x="293" y="415"/>
                  </a:cubicBezTo>
                  <a:cubicBezTo>
                    <a:pt x="299" y="405"/>
                    <a:pt x="286" y="392"/>
                    <a:pt x="296" y="381"/>
                  </a:cubicBezTo>
                  <a:cubicBezTo>
                    <a:pt x="300" y="381"/>
                    <a:pt x="304" y="381"/>
                    <a:pt x="308" y="381"/>
                  </a:cubicBezTo>
                  <a:cubicBezTo>
                    <a:pt x="303" y="392"/>
                    <a:pt x="307" y="392"/>
                    <a:pt x="304" y="403"/>
                  </a:cubicBezTo>
                  <a:cubicBezTo>
                    <a:pt x="313" y="403"/>
                    <a:pt x="309" y="411"/>
                    <a:pt x="315" y="415"/>
                  </a:cubicBezTo>
                  <a:cubicBezTo>
                    <a:pt x="329" y="422"/>
                    <a:pt x="355" y="419"/>
                    <a:pt x="365" y="415"/>
                  </a:cubicBezTo>
                  <a:cubicBezTo>
                    <a:pt x="376" y="419"/>
                    <a:pt x="355" y="429"/>
                    <a:pt x="372" y="428"/>
                  </a:cubicBezTo>
                  <a:cubicBezTo>
                    <a:pt x="388" y="430"/>
                    <a:pt x="373" y="411"/>
                    <a:pt x="391" y="415"/>
                  </a:cubicBezTo>
                  <a:cubicBezTo>
                    <a:pt x="391" y="420"/>
                    <a:pt x="391" y="426"/>
                    <a:pt x="391" y="431"/>
                  </a:cubicBezTo>
                  <a:cubicBezTo>
                    <a:pt x="382" y="435"/>
                    <a:pt x="386" y="449"/>
                    <a:pt x="378" y="454"/>
                  </a:cubicBezTo>
                  <a:cubicBezTo>
                    <a:pt x="385" y="466"/>
                    <a:pt x="400" y="495"/>
                    <a:pt x="403" y="500"/>
                  </a:cubicBezTo>
                  <a:cubicBezTo>
                    <a:pt x="403" y="500"/>
                    <a:pt x="403" y="500"/>
                    <a:pt x="403" y="500"/>
                  </a:cubicBezTo>
                  <a:cubicBezTo>
                    <a:pt x="411" y="506"/>
                    <a:pt x="418" y="517"/>
                    <a:pt x="414" y="522"/>
                  </a:cubicBezTo>
                  <a:cubicBezTo>
                    <a:pt x="430" y="534"/>
                    <a:pt x="441" y="549"/>
                    <a:pt x="456" y="561"/>
                  </a:cubicBezTo>
                  <a:cubicBezTo>
                    <a:pt x="465" y="572"/>
                    <a:pt x="464" y="589"/>
                    <a:pt x="483" y="599"/>
                  </a:cubicBezTo>
                  <a:cubicBezTo>
                    <a:pt x="509" y="593"/>
                    <a:pt x="528" y="581"/>
                    <a:pt x="559" y="577"/>
                  </a:cubicBezTo>
                  <a:cubicBezTo>
                    <a:pt x="564" y="575"/>
                    <a:pt x="559" y="567"/>
                    <a:pt x="566" y="566"/>
                  </a:cubicBezTo>
                  <a:cubicBezTo>
                    <a:pt x="583" y="564"/>
                    <a:pt x="589" y="555"/>
                    <a:pt x="604" y="552"/>
                  </a:cubicBezTo>
                  <a:cubicBezTo>
                    <a:pt x="601" y="540"/>
                    <a:pt x="615" y="540"/>
                    <a:pt x="616" y="530"/>
                  </a:cubicBezTo>
                  <a:cubicBezTo>
                    <a:pt x="609" y="520"/>
                    <a:pt x="589" y="520"/>
                    <a:pt x="593" y="503"/>
                  </a:cubicBezTo>
                  <a:cubicBezTo>
                    <a:pt x="578" y="501"/>
                    <a:pt x="568" y="504"/>
                    <a:pt x="562" y="508"/>
                  </a:cubicBezTo>
                  <a:cubicBezTo>
                    <a:pt x="559" y="498"/>
                    <a:pt x="545" y="495"/>
                    <a:pt x="547" y="481"/>
                  </a:cubicBezTo>
                  <a:cubicBezTo>
                    <a:pt x="535" y="481"/>
                    <a:pt x="536" y="472"/>
                    <a:pt x="528" y="470"/>
                  </a:cubicBezTo>
                  <a:cubicBezTo>
                    <a:pt x="534" y="468"/>
                    <a:pt x="538" y="466"/>
                    <a:pt x="543" y="464"/>
                  </a:cubicBezTo>
                  <a:cubicBezTo>
                    <a:pt x="564" y="474"/>
                    <a:pt x="558" y="503"/>
                    <a:pt x="597" y="500"/>
                  </a:cubicBezTo>
                  <a:cubicBezTo>
                    <a:pt x="598" y="505"/>
                    <a:pt x="607" y="505"/>
                    <a:pt x="604" y="514"/>
                  </a:cubicBezTo>
                  <a:cubicBezTo>
                    <a:pt x="622" y="515"/>
                    <a:pt x="625" y="505"/>
                    <a:pt x="642" y="506"/>
                  </a:cubicBezTo>
                  <a:cubicBezTo>
                    <a:pt x="646" y="507"/>
                    <a:pt x="646" y="512"/>
                    <a:pt x="654" y="511"/>
                  </a:cubicBezTo>
                  <a:cubicBezTo>
                    <a:pt x="680" y="508"/>
                    <a:pt x="687" y="520"/>
                    <a:pt x="703" y="525"/>
                  </a:cubicBezTo>
                  <a:cubicBezTo>
                    <a:pt x="696" y="524"/>
                    <a:pt x="696" y="527"/>
                    <a:pt x="695" y="530"/>
                  </a:cubicBezTo>
                  <a:cubicBezTo>
                    <a:pt x="699" y="536"/>
                    <a:pt x="713" y="534"/>
                    <a:pt x="718" y="539"/>
                  </a:cubicBezTo>
                  <a:cubicBezTo>
                    <a:pt x="716" y="547"/>
                    <a:pt x="725" y="548"/>
                    <a:pt x="722" y="558"/>
                  </a:cubicBezTo>
                  <a:cubicBezTo>
                    <a:pt x="733" y="567"/>
                    <a:pt x="738" y="581"/>
                    <a:pt x="745" y="594"/>
                  </a:cubicBezTo>
                  <a:cubicBezTo>
                    <a:pt x="753" y="599"/>
                    <a:pt x="760" y="604"/>
                    <a:pt x="764" y="613"/>
                  </a:cubicBezTo>
                  <a:cubicBezTo>
                    <a:pt x="764" y="618"/>
                    <a:pt x="764" y="624"/>
                    <a:pt x="764" y="630"/>
                  </a:cubicBezTo>
                  <a:cubicBezTo>
                    <a:pt x="769" y="633"/>
                    <a:pt x="780" y="632"/>
                    <a:pt x="790" y="632"/>
                  </a:cubicBezTo>
                  <a:cubicBezTo>
                    <a:pt x="795" y="615"/>
                    <a:pt x="809" y="604"/>
                    <a:pt x="805" y="580"/>
                  </a:cubicBezTo>
                  <a:cubicBezTo>
                    <a:pt x="811" y="580"/>
                    <a:pt x="816" y="580"/>
                    <a:pt x="821" y="580"/>
                  </a:cubicBezTo>
                  <a:cubicBezTo>
                    <a:pt x="821" y="576"/>
                    <a:pt x="821" y="573"/>
                    <a:pt x="821" y="569"/>
                  </a:cubicBezTo>
                  <a:cubicBezTo>
                    <a:pt x="835" y="573"/>
                    <a:pt x="828" y="561"/>
                    <a:pt x="840" y="563"/>
                  </a:cubicBezTo>
                  <a:cubicBezTo>
                    <a:pt x="839" y="551"/>
                    <a:pt x="854" y="550"/>
                    <a:pt x="859" y="541"/>
                  </a:cubicBezTo>
                  <a:cubicBezTo>
                    <a:pt x="868" y="536"/>
                    <a:pt x="879" y="532"/>
                    <a:pt x="893" y="530"/>
                  </a:cubicBezTo>
                  <a:cubicBezTo>
                    <a:pt x="901" y="538"/>
                    <a:pt x="902" y="552"/>
                    <a:pt x="916" y="555"/>
                  </a:cubicBezTo>
                  <a:cubicBezTo>
                    <a:pt x="917" y="562"/>
                    <a:pt x="909" y="561"/>
                    <a:pt x="912" y="569"/>
                  </a:cubicBezTo>
                  <a:cubicBezTo>
                    <a:pt x="916" y="578"/>
                    <a:pt x="942" y="571"/>
                    <a:pt x="950" y="577"/>
                  </a:cubicBezTo>
                  <a:cubicBezTo>
                    <a:pt x="945" y="583"/>
                    <a:pt x="952" y="585"/>
                    <a:pt x="946" y="594"/>
                  </a:cubicBezTo>
                  <a:cubicBezTo>
                    <a:pt x="956" y="597"/>
                    <a:pt x="963" y="602"/>
                    <a:pt x="965" y="610"/>
                  </a:cubicBezTo>
                  <a:cubicBezTo>
                    <a:pt x="964" y="615"/>
                    <a:pt x="954" y="615"/>
                    <a:pt x="957" y="624"/>
                  </a:cubicBezTo>
                  <a:cubicBezTo>
                    <a:pt x="959" y="632"/>
                    <a:pt x="969" y="634"/>
                    <a:pt x="965" y="646"/>
                  </a:cubicBezTo>
                  <a:cubicBezTo>
                    <a:pt x="983" y="658"/>
                    <a:pt x="1001" y="670"/>
                    <a:pt x="1022" y="679"/>
                  </a:cubicBezTo>
                  <a:cubicBezTo>
                    <a:pt x="1023" y="661"/>
                    <a:pt x="1004" y="657"/>
                    <a:pt x="1003" y="640"/>
                  </a:cubicBezTo>
                  <a:cubicBezTo>
                    <a:pt x="992" y="635"/>
                    <a:pt x="982" y="630"/>
                    <a:pt x="976" y="621"/>
                  </a:cubicBezTo>
                  <a:cubicBezTo>
                    <a:pt x="978" y="612"/>
                    <a:pt x="971" y="597"/>
                    <a:pt x="984" y="596"/>
                  </a:cubicBezTo>
                  <a:cubicBezTo>
                    <a:pt x="992" y="604"/>
                    <a:pt x="998" y="614"/>
                    <a:pt x="1015" y="616"/>
                  </a:cubicBezTo>
                  <a:cubicBezTo>
                    <a:pt x="1017" y="618"/>
                    <a:pt x="1019" y="622"/>
                    <a:pt x="1018" y="627"/>
                  </a:cubicBezTo>
                  <a:cubicBezTo>
                    <a:pt x="1055" y="623"/>
                    <a:pt x="1064" y="599"/>
                    <a:pt x="1060" y="566"/>
                  </a:cubicBezTo>
                  <a:cubicBezTo>
                    <a:pt x="1055" y="563"/>
                    <a:pt x="1046" y="563"/>
                    <a:pt x="1041" y="561"/>
                  </a:cubicBezTo>
                  <a:cubicBezTo>
                    <a:pt x="1046" y="549"/>
                    <a:pt x="1023" y="549"/>
                    <a:pt x="1033" y="541"/>
                  </a:cubicBezTo>
                  <a:cubicBezTo>
                    <a:pt x="1045" y="534"/>
                    <a:pt x="1043" y="550"/>
                    <a:pt x="1060" y="547"/>
                  </a:cubicBezTo>
                  <a:cubicBezTo>
                    <a:pt x="1063" y="535"/>
                    <a:pt x="1082" y="535"/>
                    <a:pt x="1102" y="536"/>
                  </a:cubicBezTo>
                  <a:cubicBezTo>
                    <a:pt x="1114" y="523"/>
                    <a:pt x="1130" y="512"/>
                    <a:pt x="1136" y="494"/>
                  </a:cubicBezTo>
                  <a:cubicBezTo>
                    <a:pt x="1142" y="495"/>
                    <a:pt x="1142" y="492"/>
                    <a:pt x="1147" y="492"/>
                  </a:cubicBezTo>
                  <a:cubicBezTo>
                    <a:pt x="1154" y="481"/>
                    <a:pt x="1146" y="460"/>
                    <a:pt x="1159" y="453"/>
                  </a:cubicBezTo>
                  <a:cubicBezTo>
                    <a:pt x="1151" y="451"/>
                    <a:pt x="1147" y="445"/>
                    <a:pt x="1147" y="437"/>
                  </a:cubicBezTo>
                  <a:cubicBezTo>
                    <a:pt x="1141" y="433"/>
                    <a:pt x="1133" y="431"/>
                    <a:pt x="1132" y="423"/>
                  </a:cubicBezTo>
                  <a:cubicBezTo>
                    <a:pt x="1131" y="416"/>
                    <a:pt x="1139" y="417"/>
                    <a:pt x="1136" y="409"/>
                  </a:cubicBezTo>
                  <a:cubicBezTo>
                    <a:pt x="1144" y="410"/>
                    <a:pt x="1148" y="409"/>
                    <a:pt x="1147" y="403"/>
                  </a:cubicBezTo>
                  <a:cubicBezTo>
                    <a:pt x="1158" y="400"/>
                    <a:pt x="1130" y="387"/>
                    <a:pt x="1155" y="387"/>
                  </a:cubicBezTo>
                  <a:cubicBezTo>
                    <a:pt x="1159" y="396"/>
                    <a:pt x="1172" y="398"/>
                    <a:pt x="1178" y="406"/>
                  </a:cubicBezTo>
                  <a:cubicBezTo>
                    <a:pt x="1174" y="421"/>
                    <a:pt x="1185" y="425"/>
                    <a:pt x="1197" y="428"/>
                  </a:cubicBezTo>
                  <a:cubicBezTo>
                    <a:pt x="1220" y="416"/>
                    <a:pt x="1196" y="386"/>
                    <a:pt x="1208" y="365"/>
                  </a:cubicBezTo>
                  <a:cubicBezTo>
                    <a:pt x="1216" y="360"/>
                    <a:pt x="1228" y="357"/>
                    <a:pt x="1239" y="354"/>
                  </a:cubicBezTo>
                  <a:cubicBezTo>
                    <a:pt x="1247" y="341"/>
                    <a:pt x="1255" y="328"/>
                    <a:pt x="1269" y="318"/>
                  </a:cubicBezTo>
                  <a:cubicBezTo>
                    <a:pt x="1274" y="296"/>
                    <a:pt x="1260" y="273"/>
                    <a:pt x="1269" y="258"/>
                  </a:cubicBezTo>
                  <a:cubicBezTo>
                    <a:pt x="1264" y="273"/>
                    <a:pt x="1278" y="275"/>
                    <a:pt x="1280" y="285"/>
                  </a:cubicBezTo>
                  <a:cubicBezTo>
                    <a:pt x="1281" y="302"/>
                    <a:pt x="1282" y="319"/>
                    <a:pt x="1299" y="324"/>
                  </a:cubicBezTo>
                  <a:cubicBezTo>
                    <a:pt x="1306" y="319"/>
                    <a:pt x="1296" y="317"/>
                    <a:pt x="1299" y="307"/>
                  </a:cubicBezTo>
                  <a:cubicBezTo>
                    <a:pt x="1310" y="307"/>
                    <a:pt x="1307" y="312"/>
                    <a:pt x="1315" y="307"/>
                  </a:cubicBezTo>
                  <a:cubicBezTo>
                    <a:pt x="1315" y="298"/>
                    <a:pt x="1304" y="298"/>
                    <a:pt x="1307" y="288"/>
                  </a:cubicBezTo>
                  <a:cubicBezTo>
                    <a:pt x="1293" y="286"/>
                    <a:pt x="1290" y="277"/>
                    <a:pt x="1284" y="269"/>
                  </a:cubicBezTo>
                  <a:cubicBezTo>
                    <a:pt x="1283" y="259"/>
                    <a:pt x="1286" y="246"/>
                    <a:pt x="1273" y="244"/>
                  </a:cubicBezTo>
                  <a:cubicBezTo>
                    <a:pt x="1265" y="244"/>
                    <a:pt x="1272" y="256"/>
                    <a:pt x="1262" y="255"/>
                  </a:cubicBezTo>
                  <a:cubicBezTo>
                    <a:pt x="1255" y="235"/>
                    <a:pt x="1229" y="268"/>
                    <a:pt x="1220" y="247"/>
                  </a:cubicBezTo>
                  <a:cubicBezTo>
                    <a:pt x="1222" y="240"/>
                    <a:pt x="1229" y="237"/>
                    <a:pt x="1235" y="233"/>
                  </a:cubicBezTo>
                  <a:cubicBezTo>
                    <a:pt x="1239" y="224"/>
                    <a:pt x="1238" y="211"/>
                    <a:pt x="1250" y="208"/>
                  </a:cubicBezTo>
                  <a:cubicBezTo>
                    <a:pt x="1259" y="215"/>
                    <a:pt x="1257" y="204"/>
                    <a:pt x="1269" y="205"/>
                  </a:cubicBezTo>
                  <a:cubicBezTo>
                    <a:pt x="1287" y="207"/>
                    <a:pt x="1303" y="212"/>
                    <a:pt x="1326" y="211"/>
                  </a:cubicBezTo>
                  <a:cubicBezTo>
                    <a:pt x="1325" y="215"/>
                    <a:pt x="1329" y="216"/>
                    <a:pt x="1334" y="216"/>
                  </a:cubicBezTo>
                  <a:cubicBezTo>
                    <a:pt x="1339" y="212"/>
                    <a:pt x="1350" y="214"/>
                    <a:pt x="1360" y="213"/>
                  </a:cubicBezTo>
                  <a:cubicBezTo>
                    <a:pt x="1362" y="205"/>
                    <a:pt x="1353" y="204"/>
                    <a:pt x="1356" y="194"/>
                  </a:cubicBezTo>
                  <a:cubicBezTo>
                    <a:pt x="1364" y="193"/>
                    <a:pt x="1364" y="187"/>
                    <a:pt x="1372" y="186"/>
                  </a:cubicBezTo>
                  <a:cubicBezTo>
                    <a:pt x="1379" y="187"/>
                    <a:pt x="1379" y="193"/>
                    <a:pt x="1387" y="194"/>
                  </a:cubicBezTo>
                  <a:cubicBezTo>
                    <a:pt x="1385" y="188"/>
                    <a:pt x="1398" y="179"/>
                    <a:pt x="1402" y="186"/>
                  </a:cubicBezTo>
                  <a:cubicBezTo>
                    <a:pt x="1390" y="204"/>
                    <a:pt x="1372" y="217"/>
                    <a:pt x="1368" y="241"/>
                  </a:cubicBezTo>
                  <a:cubicBezTo>
                    <a:pt x="1370" y="248"/>
                    <a:pt x="1379" y="252"/>
                    <a:pt x="1383" y="258"/>
                  </a:cubicBezTo>
                  <a:cubicBezTo>
                    <a:pt x="1385" y="268"/>
                    <a:pt x="1387" y="278"/>
                    <a:pt x="1398" y="282"/>
                  </a:cubicBezTo>
                  <a:cubicBezTo>
                    <a:pt x="1408" y="275"/>
                    <a:pt x="1413" y="266"/>
                    <a:pt x="1425" y="260"/>
                  </a:cubicBezTo>
                  <a:cubicBezTo>
                    <a:pt x="1421" y="247"/>
                    <a:pt x="1437" y="249"/>
                    <a:pt x="1429" y="238"/>
                  </a:cubicBezTo>
                  <a:cubicBezTo>
                    <a:pt x="1430" y="233"/>
                    <a:pt x="1439" y="233"/>
                    <a:pt x="1440" y="227"/>
                  </a:cubicBezTo>
                  <a:cubicBezTo>
                    <a:pt x="1434" y="224"/>
                    <a:pt x="1423" y="225"/>
                    <a:pt x="1425" y="216"/>
                  </a:cubicBezTo>
                  <a:cubicBezTo>
                    <a:pt x="1428" y="192"/>
                    <a:pt x="1453" y="197"/>
                    <a:pt x="1482" y="200"/>
                  </a:cubicBezTo>
                  <a:cubicBezTo>
                    <a:pt x="1487" y="195"/>
                    <a:pt x="1487" y="187"/>
                    <a:pt x="1493" y="183"/>
                  </a:cubicBezTo>
                  <a:cubicBezTo>
                    <a:pt x="1515" y="182"/>
                    <a:pt x="1532" y="174"/>
                    <a:pt x="1546" y="175"/>
                  </a:cubicBezTo>
                  <a:cubicBezTo>
                    <a:pt x="1546" y="163"/>
                    <a:pt x="1527" y="165"/>
                    <a:pt x="1527" y="153"/>
                  </a:cubicBezTo>
                  <a:cubicBezTo>
                    <a:pt x="1536" y="152"/>
                    <a:pt x="1535" y="143"/>
                    <a:pt x="1546" y="145"/>
                  </a:cubicBezTo>
                  <a:cubicBezTo>
                    <a:pt x="1566" y="145"/>
                    <a:pt x="1563" y="162"/>
                    <a:pt x="1588" y="158"/>
                  </a:cubicBezTo>
                  <a:cubicBezTo>
                    <a:pt x="1593" y="153"/>
                    <a:pt x="1585" y="144"/>
                    <a:pt x="1592" y="136"/>
                  </a:cubicBezTo>
                  <a:close/>
                  <a:moveTo>
                    <a:pt x="251" y="183"/>
                  </a:moveTo>
                  <a:cubicBezTo>
                    <a:pt x="258" y="189"/>
                    <a:pt x="268" y="193"/>
                    <a:pt x="281" y="194"/>
                  </a:cubicBezTo>
                  <a:cubicBezTo>
                    <a:pt x="281" y="203"/>
                    <a:pt x="281" y="213"/>
                    <a:pt x="281" y="222"/>
                  </a:cubicBezTo>
                  <a:cubicBezTo>
                    <a:pt x="273" y="221"/>
                    <a:pt x="283" y="206"/>
                    <a:pt x="266" y="211"/>
                  </a:cubicBezTo>
                  <a:cubicBezTo>
                    <a:pt x="258" y="220"/>
                    <a:pt x="263" y="240"/>
                    <a:pt x="251" y="247"/>
                  </a:cubicBezTo>
                  <a:cubicBezTo>
                    <a:pt x="238" y="247"/>
                    <a:pt x="229" y="245"/>
                    <a:pt x="220" y="247"/>
                  </a:cubicBezTo>
                  <a:cubicBezTo>
                    <a:pt x="210" y="248"/>
                    <a:pt x="208" y="255"/>
                    <a:pt x="198" y="255"/>
                  </a:cubicBezTo>
                  <a:cubicBezTo>
                    <a:pt x="199" y="251"/>
                    <a:pt x="187" y="245"/>
                    <a:pt x="186" y="252"/>
                  </a:cubicBezTo>
                  <a:cubicBezTo>
                    <a:pt x="177" y="251"/>
                    <a:pt x="177" y="245"/>
                    <a:pt x="186" y="244"/>
                  </a:cubicBezTo>
                  <a:cubicBezTo>
                    <a:pt x="178" y="237"/>
                    <a:pt x="172" y="229"/>
                    <a:pt x="171" y="216"/>
                  </a:cubicBezTo>
                  <a:cubicBezTo>
                    <a:pt x="190" y="217"/>
                    <a:pt x="183" y="255"/>
                    <a:pt x="217" y="244"/>
                  </a:cubicBezTo>
                  <a:cubicBezTo>
                    <a:pt x="225" y="233"/>
                    <a:pt x="231" y="219"/>
                    <a:pt x="239" y="208"/>
                  </a:cubicBezTo>
                  <a:cubicBezTo>
                    <a:pt x="238" y="202"/>
                    <a:pt x="235" y="197"/>
                    <a:pt x="232" y="191"/>
                  </a:cubicBezTo>
                  <a:cubicBezTo>
                    <a:pt x="234" y="165"/>
                    <a:pt x="261" y="158"/>
                    <a:pt x="273" y="139"/>
                  </a:cubicBezTo>
                  <a:cubicBezTo>
                    <a:pt x="278" y="139"/>
                    <a:pt x="280" y="140"/>
                    <a:pt x="281" y="142"/>
                  </a:cubicBezTo>
                  <a:cubicBezTo>
                    <a:pt x="278" y="161"/>
                    <a:pt x="247" y="160"/>
                    <a:pt x="251" y="183"/>
                  </a:cubicBezTo>
                  <a:close/>
                  <a:moveTo>
                    <a:pt x="293" y="202"/>
                  </a:moveTo>
                  <a:cubicBezTo>
                    <a:pt x="292" y="194"/>
                    <a:pt x="306" y="196"/>
                    <a:pt x="315" y="194"/>
                  </a:cubicBezTo>
                  <a:cubicBezTo>
                    <a:pt x="316" y="203"/>
                    <a:pt x="304" y="202"/>
                    <a:pt x="293" y="202"/>
                  </a:cubicBezTo>
                  <a:close/>
                  <a:moveTo>
                    <a:pt x="323" y="95"/>
                  </a:moveTo>
                  <a:cubicBezTo>
                    <a:pt x="321" y="94"/>
                    <a:pt x="326" y="91"/>
                    <a:pt x="327" y="92"/>
                  </a:cubicBezTo>
                  <a:cubicBezTo>
                    <a:pt x="329" y="94"/>
                    <a:pt x="324" y="96"/>
                    <a:pt x="323" y="95"/>
                  </a:cubicBezTo>
                  <a:close/>
                  <a:moveTo>
                    <a:pt x="395" y="150"/>
                  </a:moveTo>
                  <a:cubicBezTo>
                    <a:pt x="393" y="149"/>
                    <a:pt x="398" y="147"/>
                    <a:pt x="399" y="147"/>
                  </a:cubicBezTo>
                  <a:cubicBezTo>
                    <a:pt x="401" y="149"/>
                    <a:pt x="396" y="151"/>
                    <a:pt x="395" y="150"/>
                  </a:cubicBezTo>
                  <a:close/>
                  <a:moveTo>
                    <a:pt x="676" y="106"/>
                  </a:moveTo>
                  <a:cubicBezTo>
                    <a:pt x="669" y="105"/>
                    <a:pt x="660" y="105"/>
                    <a:pt x="661" y="98"/>
                  </a:cubicBezTo>
                  <a:cubicBezTo>
                    <a:pt x="650" y="97"/>
                    <a:pt x="665" y="86"/>
                    <a:pt x="661" y="98"/>
                  </a:cubicBezTo>
                  <a:cubicBezTo>
                    <a:pt x="664" y="102"/>
                    <a:pt x="680" y="97"/>
                    <a:pt x="676" y="106"/>
                  </a:cubicBezTo>
                  <a:close/>
                  <a:moveTo>
                    <a:pt x="912" y="57"/>
                  </a:moveTo>
                  <a:cubicBezTo>
                    <a:pt x="910" y="55"/>
                    <a:pt x="915" y="53"/>
                    <a:pt x="916" y="54"/>
                  </a:cubicBezTo>
                  <a:cubicBezTo>
                    <a:pt x="918" y="55"/>
                    <a:pt x="913" y="57"/>
                    <a:pt x="912" y="57"/>
                  </a:cubicBezTo>
                  <a:close/>
                  <a:moveTo>
                    <a:pt x="923" y="54"/>
                  </a:moveTo>
                  <a:cubicBezTo>
                    <a:pt x="921" y="52"/>
                    <a:pt x="926" y="50"/>
                    <a:pt x="927" y="51"/>
                  </a:cubicBezTo>
                  <a:cubicBezTo>
                    <a:pt x="929" y="52"/>
                    <a:pt x="924" y="54"/>
                    <a:pt x="923" y="54"/>
                  </a:cubicBezTo>
                  <a:close/>
                  <a:moveTo>
                    <a:pt x="935" y="48"/>
                  </a:moveTo>
                  <a:cubicBezTo>
                    <a:pt x="933" y="47"/>
                    <a:pt x="937" y="45"/>
                    <a:pt x="938" y="45"/>
                  </a:cubicBezTo>
                  <a:cubicBezTo>
                    <a:pt x="940" y="47"/>
                    <a:pt x="936" y="49"/>
                    <a:pt x="935" y="48"/>
                  </a:cubicBezTo>
                  <a:close/>
                  <a:moveTo>
                    <a:pt x="1106" y="395"/>
                  </a:moveTo>
                  <a:cubicBezTo>
                    <a:pt x="1111" y="390"/>
                    <a:pt x="1114" y="383"/>
                    <a:pt x="1129" y="384"/>
                  </a:cubicBezTo>
                  <a:cubicBezTo>
                    <a:pt x="1129" y="389"/>
                    <a:pt x="1127" y="395"/>
                    <a:pt x="1132" y="395"/>
                  </a:cubicBezTo>
                  <a:cubicBezTo>
                    <a:pt x="1127" y="404"/>
                    <a:pt x="1116" y="393"/>
                    <a:pt x="1106" y="39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Freeform 250"/>
            <p:cNvSpPr>
              <a:spLocks noEditPoints="1"/>
            </p:cNvSpPr>
            <p:nvPr/>
          </p:nvSpPr>
          <p:spPr bwMode="auto">
            <a:xfrm>
              <a:off x="6829425" y="3703638"/>
              <a:ext cx="1247775" cy="982663"/>
            </a:xfrm>
            <a:custGeom>
              <a:avLst/>
              <a:gdLst>
                <a:gd name="T0" fmla="*/ 395 w 434"/>
                <a:gd name="T1" fmla="*/ 195 h 342"/>
                <a:gd name="T2" fmla="*/ 332 w 434"/>
                <a:gd name="T3" fmla="*/ 159 h 342"/>
                <a:gd name="T4" fmla="*/ 330 w 434"/>
                <a:gd name="T5" fmla="*/ 99 h 342"/>
                <a:gd name="T6" fmla="*/ 335 w 434"/>
                <a:gd name="T7" fmla="*/ 16 h 342"/>
                <a:gd name="T8" fmla="*/ 315 w 434"/>
                <a:gd name="T9" fmla="*/ 0 h 342"/>
                <a:gd name="T10" fmla="*/ 251 w 434"/>
                <a:gd name="T11" fmla="*/ 16 h 342"/>
                <a:gd name="T12" fmla="*/ 194 w 434"/>
                <a:gd name="T13" fmla="*/ 44 h 342"/>
                <a:gd name="T14" fmla="*/ 160 w 434"/>
                <a:gd name="T15" fmla="*/ 71 h 342"/>
                <a:gd name="T16" fmla="*/ 125 w 434"/>
                <a:gd name="T17" fmla="*/ 113 h 342"/>
                <a:gd name="T18" fmla="*/ 163 w 434"/>
                <a:gd name="T19" fmla="*/ 151 h 342"/>
                <a:gd name="T20" fmla="*/ 156 w 434"/>
                <a:gd name="T21" fmla="*/ 179 h 342"/>
                <a:gd name="T22" fmla="*/ 114 w 434"/>
                <a:gd name="T23" fmla="*/ 201 h 342"/>
                <a:gd name="T24" fmla="*/ 83 w 434"/>
                <a:gd name="T25" fmla="*/ 220 h 342"/>
                <a:gd name="T26" fmla="*/ 34 w 434"/>
                <a:gd name="T27" fmla="*/ 242 h 342"/>
                <a:gd name="T28" fmla="*/ 76 w 434"/>
                <a:gd name="T29" fmla="*/ 267 h 342"/>
                <a:gd name="T30" fmla="*/ 8 w 434"/>
                <a:gd name="T31" fmla="*/ 278 h 342"/>
                <a:gd name="T32" fmla="*/ 8 w 434"/>
                <a:gd name="T33" fmla="*/ 333 h 342"/>
                <a:gd name="T34" fmla="*/ 72 w 434"/>
                <a:gd name="T35" fmla="*/ 339 h 342"/>
                <a:gd name="T36" fmla="*/ 125 w 434"/>
                <a:gd name="T37" fmla="*/ 278 h 342"/>
                <a:gd name="T38" fmla="*/ 163 w 434"/>
                <a:gd name="T39" fmla="*/ 317 h 342"/>
                <a:gd name="T40" fmla="*/ 175 w 434"/>
                <a:gd name="T41" fmla="*/ 281 h 342"/>
                <a:gd name="T42" fmla="*/ 186 w 434"/>
                <a:gd name="T43" fmla="*/ 297 h 342"/>
                <a:gd name="T44" fmla="*/ 201 w 434"/>
                <a:gd name="T45" fmla="*/ 319 h 342"/>
                <a:gd name="T46" fmla="*/ 239 w 434"/>
                <a:gd name="T47" fmla="*/ 314 h 342"/>
                <a:gd name="T48" fmla="*/ 251 w 434"/>
                <a:gd name="T49" fmla="*/ 305 h 342"/>
                <a:gd name="T50" fmla="*/ 251 w 434"/>
                <a:gd name="T51" fmla="*/ 297 h 342"/>
                <a:gd name="T52" fmla="*/ 266 w 434"/>
                <a:gd name="T53" fmla="*/ 319 h 342"/>
                <a:gd name="T54" fmla="*/ 293 w 434"/>
                <a:gd name="T55" fmla="*/ 339 h 342"/>
                <a:gd name="T56" fmla="*/ 308 w 434"/>
                <a:gd name="T57" fmla="*/ 305 h 342"/>
                <a:gd name="T58" fmla="*/ 315 w 434"/>
                <a:gd name="T59" fmla="*/ 339 h 342"/>
                <a:gd name="T60" fmla="*/ 330 w 434"/>
                <a:gd name="T61" fmla="*/ 273 h 342"/>
                <a:gd name="T62" fmla="*/ 433 w 434"/>
                <a:gd name="T63" fmla="*/ 202 h 342"/>
                <a:gd name="T64" fmla="*/ 323 w 434"/>
                <a:gd name="T65" fmla="*/ 19 h 342"/>
                <a:gd name="T66" fmla="*/ 251 w 434"/>
                <a:gd name="T67" fmla="*/ 107 h 342"/>
                <a:gd name="T68" fmla="*/ 281 w 434"/>
                <a:gd name="T69" fmla="*/ 146 h 342"/>
                <a:gd name="T70" fmla="*/ 251 w 434"/>
                <a:gd name="T71" fmla="*/ 171 h 342"/>
                <a:gd name="T72" fmla="*/ 198 w 434"/>
                <a:gd name="T73" fmla="*/ 179 h 342"/>
                <a:gd name="T74" fmla="*/ 186 w 434"/>
                <a:gd name="T75" fmla="*/ 168 h 342"/>
                <a:gd name="T76" fmla="*/ 217 w 434"/>
                <a:gd name="T77" fmla="*/ 168 h 342"/>
                <a:gd name="T78" fmla="*/ 232 w 434"/>
                <a:gd name="T79" fmla="*/ 115 h 342"/>
                <a:gd name="T80" fmla="*/ 281 w 434"/>
                <a:gd name="T81" fmla="*/ 66 h 342"/>
                <a:gd name="T82" fmla="*/ 293 w 434"/>
                <a:gd name="T83" fmla="*/ 126 h 342"/>
                <a:gd name="T84" fmla="*/ 293 w 434"/>
                <a:gd name="T85" fmla="*/ 12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4" h="342">
                  <a:moveTo>
                    <a:pt x="433" y="202"/>
                  </a:moveTo>
                  <a:cubicBezTo>
                    <a:pt x="433" y="202"/>
                    <a:pt x="408" y="200"/>
                    <a:pt x="395" y="195"/>
                  </a:cubicBezTo>
                  <a:cubicBezTo>
                    <a:pt x="390" y="189"/>
                    <a:pt x="375" y="180"/>
                    <a:pt x="359" y="186"/>
                  </a:cubicBezTo>
                  <a:cubicBezTo>
                    <a:pt x="361" y="172"/>
                    <a:pt x="352" y="159"/>
                    <a:pt x="332" y="159"/>
                  </a:cubicBezTo>
                  <a:cubicBezTo>
                    <a:pt x="312" y="159"/>
                    <a:pt x="316" y="127"/>
                    <a:pt x="330" y="119"/>
                  </a:cubicBezTo>
                  <a:cubicBezTo>
                    <a:pt x="344" y="111"/>
                    <a:pt x="341" y="107"/>
                    <a:pt x="330" y="99"/>
                  </a:cubicBezTo>
                  <a:cubicBezTo>
                    <a:pt x="319" y="91"/>
                    <a:pt x="315" y="61"/>
                    <a:pt x="315" y="61"/>
                  </a:cubicBezTo>
                  <a:cubicBezTo>
                    <a:pt x="335" y="16"/>
                    <a:pt x="335" y="16"/>
                    <a:pt x="335" y="16"/>
                  </a:cubicBezTo>
                  <a:cubicBezTo>
                    <a:pt x="335" y="16"/>
                    <a:pt x="335" y="16"/>
                    <a:pt x="334" y="16"/>
                  </a:cubicBezTo>
                  <a:cubicBezTo>
                    <a:pt x="329" y="10"/>
                    <a:pt x="324" y="4"/>
                    <a:pt x="315" y="0"/>
                  </a:cubicBezTo>
                  <a:cubicBezTo>
                    <a:pt x="304" y="0"/>
                    <a:pt x="293" y="0"/>
                    <a:pt x="281" y="0"/>
                  </a:cubicBezTo>
                  <a:cubicBezTo>
                    <a:pt x="271" y="5"/>
                    <a:pt x="261" y="11"/>
                    <a:pt x="251" y="16"/>
                  </a:cubicBezTo>
                  <a:cubicBezTo>
                    <a:pt x="249" y="12"/>
                    <a:pt x="246" y="17"/>
                    <a:pt x="239" y="16"/>
                  </a:cubicBezTo>
                  <a:cubicBezTo>
                    <a:pt x="226" y="27"/>
                    <a:pt x="209" y="34"/>
                    <a:pt x="194" y="44"/>
                  </a:cubicBezTo>
                  <a:cubicBezTo>
                    <a:pt x="190" y="56"/>
                    <a:pt x="182" y="67"/>
                    <a:pt x="171" y="74"/>
                  </a:cubicBezTo>
                  <a:cubicBezTo>
                    <a:pt x="170" y="71"/>
                    <a:pt x="164" y="72"/>
                    <a:pt x="160" y="71"/>
                  </a:cubicBezTo>
                  <a:cubicBezTo>
                    <a:pt x="160" y="75"/>
                    <a:pt x="160" y="79"/>
                    <a:pt x="160" y="82"/>
                  </a:cubicBezTo>
                  <a:cubicBezTo>
                    <a:pt x="136" y="83"/>
                    <a:pt x="133" y="100"/>
                    <a:pt x="125" y="113"/>
                  </a:cubicBezTo>
                  <a:cubicBezTo>
                    <a:pt x="133" y="119"/>
                    <a:pt x="134" y="130"/>
                    <a:pt x="133" y="143"/>
                  </a:cubicBezTo>
                  <a:cubicBezTo>
                    <a:pt x="137" y="150"/>
                    <a:pt x="157" y="146"/>
                    <a:pt x="163" y="151"/>
                  </a:cubicBezTo>
                  <a:cubicBezTo>
                    <a:pt x="155" y="159"/>
                    <a:pt x="148" y="162"/>
                    <a:pt x="148" y="171"/>
                  </a:cubicBezTo>
                  <a:cubicBezTo>
                    <a:pt x="156" y="169"/>
                    <a:pt x="155" y="174"/>
                    <a:pt x="156" y="179"/>
                  </a:cubicBezTo>
                  <a:cubicBezTo>
                    <a:pt x="142" y="179"/>
                    <a:pt x="134" y="183"/>
                    <a:pt x="122" y="184"/>
                  </a:cubicBezTo>
                  <a:cubicBezTo>
                    <a:pt x="118" y="189"/>
                    <a:pt x="111" y="191"/>
                    <a:pt x="114" y="201"/>
                  </a:cubicBezTo>
                  <a:cubicBezTo>
                    <a:pt x="92" y="196"/>
                    <a:pt x="105" y="217"/>
                    <a:pt x="87" y="215"/>
                  </a:cubicBezTo>
                  <a:cubicBezTo>
                    <a:pt x="88" y="218"/>
                    <a:pt x="87" y="219"/>
                    <a:pt x="83" y="220"/>
                  </a:cubicBezTo>
                  <a:cubicBezTo>
                    <a:pt x="67" y="219"/>
                    <a:pt x="63" y="228"/>
                    <a:pt x="53" y="231"/>
                  </a:cubicBezTo>
                  <a:cubicBezTo>
                    <a:pt x="44" y="233"/>
                    <a:pt x="34" y="234"/>
                    <a:pt x="34" y="242"/>
                  </a:cubicBezTo>
                  <a:cubicBezTo>
                    <a:pt x="39" y="246"/>
                    <a:pt x="51" y="245"/>
                    <a:pt x="61" y="245"/>
                  </a:cubicBezTo>
                  <a:cubicBezTo>
                    <a:pt x="59" y="257"/>
                    <a:pt x="78" y="254"/>
                    <a:pt x="76" y="267"/>
                  </a:cubicBezTo>
                  <a:cubicBezTo>
                    <a:pt x="72" y="271"/>
                    <a:pt x="72" y="277"/>
                    <a:pt x="65" y="278"/>
                  </a:cubicBezTo>
                  <a:cubicBezTo>
                    <a:pt x="47" y="271"/>
                    <a:pt x="31" y="280"/>
                    <a:pt x="8" y="278"/>
                  </a:cubicBezTo>
                  <a:cubicBezTo>
                    <a:pt x="4" y="287"/>
                    <a:pt x="16" y="308"/>
                    <a:pt x="0" y="308"/>
                  </a:cubicBezTo>
                  <a:cubicBezTo>
                    <a:pt x="3" y="316"/>
                    <a:pt x="11" y="320"/>
                    <a:pt x="8" y="333"/>
                  </a:cubicBezTo>
                  <a:cubicBezTo>
                    <a:pt x="25" y="330"/>
                    <a:pt x="31" y="337"/>
                    <a:pt x="42" y="339"/>
                  </a:cubicBezTo>
                  <a:cubicBezTo>
                    <a:pt x="56" y="333"/>
                    <a:pt x="58" y="333"/>
                    <a:pt x="72" y="339"/>
                  </a:cubicBezTo>
                  <a:cubicBezTo>
                    <a:pt x="81" y="327"/>
                    <a:pt x="94" y="319"/>
                    <a:pt x="91" y="300"/>
                  </a:cubicBezTo>
                  <a:cubicBezTo>
                    <a:pt x="108" y="296"/>
                    <a:pt x="105" y="279"/>
                    <a:pt x="125" y="278"/>
                  </a:cubicBezTo>
                  <a:cubicBezTo>
                    <a:pt x="141" y="285"/>
                    <a:pt x="148" y="276"/>
                    <a:pt x="163" y="275"/>
                  </a:cubicBezTo>
                  <a:cubicBezTo>
                    <a:pt x="153" y="286"/>
                    <a:pt x="158" y="303"/>
                    <a:pt x="163" y="317"/>
                  </a:cubicBezTo>
                  <a:cubicBezTo>
                    <a:pt x="188" y="315"/>
                    <a:pt x="173" y="301"/>
                    <a:pt x="175" y="286"/>
                  </a:cubicBezTo>
                  <a:cubicBezTo>
                    <a:pt x="171" y="286"/>
                    <a:pt x="170" y="281"/>
                    <a:pt x="175" y="281"/>
                  </a:cubicBezTo>
                  <a:cubicBezTo>
                    <a:pt x="175" y="283"/>
                    <a:pt x="175" y="284"/>
                    <a:pt x="175" y="286"/>
                  </a:cubicBezTo>
                  <a:cubicBezTo>
                    <a:pt x="183" y="287"/>
                    <a:pt x="182" y="294"/>
                    <a:pt x="186" y="297"/>
                  </a:cubicBezTo>
                  <a:cubicBezTo>
                    <a:pt x="205" y="298"/>
                    <a:pt x="216" y="303"/>
                    <a:pt x="220" y="314"/>
                  </a:cubicBezTo>
                  <a:cubicBezTo>
                    <a:pt x="220" y="320"/>
                    <a:pt x="211" y="320"/>
                    <a:pt x="201" y="319"/>
                  </a:cubicBezTo>
                  <a:cubicBezTo>
                    <a:pt x="201" y="329"/>
                    <a:pt x="215" y="328"/>
                    <a:pt x="220" y="333"/>
                  </a:cubicBezTo>
                  <a:cubicBezTo>
                    <a:pt x="219" y="321"/>
                    <a:pt x="231" y="318"/>
                    <a:pt x="239" y="314"/>
                  </a:cubicBezTo>
                  <a:cubicBezTo>
                    <a:pt x="241" y="308"/>
                    <a:pt x="232" y="310"/>
                    <a:pt x="232" y="305"/>
                  </a:cubicBezTo>
                  <a:cubicBezTo>
                    <a:pt x="239" y="297"/>
                    <a:pt x="245" y="315"/>
                    <a:pt x="251" y="305"/>
                  </a:cubicBezTo>
                  <a:cubicBezTo>
                    <a:pt x="240" y="291"/>
                    <a:pt x="193" y="288"/>
                    <a:pt x="205" y="267"/>
                  </a:cubicBezTo>
                  <a:cubicBezTo>
                    <a:pt x="217" y="280"/>
                    <a:pt x="238" y="286"/>
                    <a:pt x="251" y="297"/>
                  </a:cubicBezTo>
                  <a:cubicBezTo>
                    <a:pt x="253" y="299"/>
                    <a:pt x="256" y="306"/>
                    <a:pt x="258" y="308"/>
                  </a:cubicBezTo>
                  <a:cubicBezTo>
                    <a:pt x="261" y="312"/>
                    <a:pt x="268" y="315"/>
                    <a:pt x="266" y="319"/>
                  </a:cubicBezTo>
                  <a:cubicBezTo>
                    <a:pt x="266" y="325"/>
                    <a:pt x="266" y="330"/>
                    <a:pt x="266" y="336"/>
                  </a:cubicBezTo>
                  <a:cubicBezTo>
                    <a:pt x="271" y="340"/>
                    <a:pt x="283" y="339"/>
                    <a:pt x="293" y="339"/>
                  </a:cubicBezTo>
                  <a:cubicBezTo>
                    <a:pt x="299" y="329"/>
                    <a:pt x="286" y="316"/>
                    <a:pt x="296" y="305"/>
                  </a:cubicBezTo>
                  <a:cubicBezTo>
                    <a:pt x="300" y="305"/>
                    <a:pt x="304" y="305"/>
                    <a:pt x="308" y="305"/>
                  </a:cubicBezTo>
                  <a:cubicBezTo>
                    <a:pt x="303" y="316"/>
                    <a:pt x="307" y="316"/>
                    <a:pt x="304" y="327"/>
                  </a:cubicBezTo>
                  <a:cubicBezTo>
                    <a:pt x="313" y="327"/>
                    <a:pt x="309" y="335"/>
                    <a:pt x="315" y="339"/>
                  </a:cubicBezTo>
                  <a:cubicBezTo>
                    <a:pt x="318" y="340"/>
                    <a:pt x="321" y="341"/>
                    <a:pt x="325" y="342"/>
                  </a:cubicBezTo>
                  <a:cubicBezTo>
                    <a:pt x="330" y="273"/>
                    <a:pt x="330" y="273"/>
                    <a:pt x="330" y="273"/>
                  </a:cubicBezTo>
                  <a:cubicBezTo>
                    <a:pt x="330" y="273"/>
                    <a:pt x="364" y="261"/>
                    <a:pt x="419" y="233"/>
                  </a:cubicBezTo>
                  <a:cubicBezTo>
                    <a:pt x="434" y="215"/>
                    <a:pt x="433" y="202"/>
                    <a:pt x="433" y="202"/>
                  </a:cubicBezTo>
                  <a:close/>
                  <a:moveTo>
                    <a:pt x="327" y="16"/>
                  </a:moveTo>
                  <a:cubicBezTo>
                    <a:pt x="329" y="18"/>
                    <a:pt x="324" y="20"/>
                    <a:pt x="323" y="19"/>
                  </a:cubicBezTo>
                  <a:cubicBezTo>
                    <a:pt x="321" y="18"/>
                    <a:pt x="326" y="15"/>
                    <a:pt x="327" y="16"/>
                  </a:cubicBezTo>
                  <a:close/>
                  <a:moveTo>
                    <a:pt x="251" y="107"/>
                  </a:moveTo>
                  <a:cubicBezTo>
                    <a:pt x="258" y="113"/>
                    <a:pt x="268" y="117"/>
                    <a:pt x="281" y="118"/>
                  </a:cubicBezTo>
                  <a:cubicBezTo>
                    <a:pt x="281" y="127"/>
                    <a:pt x="281" y="137"/>
                    <a:pt x="281" y="146"/>
                  </a:cubicBezTo>
                  <a:cubicBezTo>
                    <a:pt x="273" y="145"/>
                    <a:pt x="283" y="130"/>
                    <a:pt x="266" y="135"/>
                  </a:cubicBezTo>
                  <a:cubicBezTo>
                    <a:pt x="258" y="144"/>
                    <a:pt x="263" y="164"/>
                    <a:pt x="251" y="171"/>
                  </a:cubicBezTo>
                  <a:cubicBezTo>
                    <a:pt x="238" y="171"/>
                    <a:pt x="229" y="169"/>
                    <a:pt x="220" y="171"/>
                  </a:cubicBezTo>
                  <a:cubicBezTo>
                    <a:pt x="210" y="172"/>
                    <a:pt x="208" y="179"/>
                    <a:pt x="198" y="179"/>
                  </a:cubicBezTo>
                  <a:cubicBezTo>
                    <a:pt x="199" y="175"/>
                    <a:pt x="187" y="169"/>
                    <a:pt x="186" y="176"/>
                  </a:cubicBezTo>
                  <a:cubicBezTo>
                    <a:pt x="177" y="175"/>
                    <a:pt x="177" y="169"/>
                    <a:pt x="186" y="168"/>
                  </a:cubicBezTo>
                  <a:cubicBezTo>
                    <a:pt x="178" y="161"/>
                    <a:pt x="172" y="153"/>
                    <a:pt x="171" y="140"/>
                  </a:cubicBezTo>
                  <a:cubicBezTo>
                    <a:pt x="190" y="141"/>
                    <a:pt x="183" y="179"/>
                    <a:pt x="217" y="168"/>
                  </a:cubicBezTo>
                  <a:cubicBezTo>
                    <a:pt x="225" y="157"/>
                    <a:pt x="231" y="143"/>
                    <a:pt x="239" y="132"/>
                  </a:cubicBezTo>
                  <a:cubicBezTo>
                    <a:pt x="238" y="126"/>
                    <a:pt x="235" y="121"/>
                    <a:pt x="232" y="115"/>
                  </a:cubicBezTo>
                  <a:cubicBezTo>
                    <a:pt x="234" y="89"/>
                    <a:pt x="261" y="82"/>
                    <a:pt x="273" y="63"/>
                  </a:cubicBezTo>
                  <a:cubicBezTo>
                    <a:pt x="278" y="63"/>
                    <a:pt x="280" y="64"/>
                    <a:pt x="281" y="66"/>
                  </a:cubicBezTo>
                  <a:cubicBezTo>
                    <a:pt x="278" y="85"/>
                    <a:pt x="247" y="84"/>
                    <a:pt x="251" y="107"/>
                  </a:cubicBezTo>
                  <a:close/>
                  <a:moveTo>
                    <a:pt x="293" y="126"/>
                  </a:moveTo>
                  <a:cubicBezTo>
                    <a:pt x="292" y="118"/>
                    <a:pt x="306" y="120"/>
                    <a:pt x="315" y="118"/>
                  </a:cubicBezTo>
                  <a:cubicBezTo>
                    <a:pt x="316" y="127"/>
                    <a:pt x="304" y="126"/>
                    <a:pt x="293" y="126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251"/>
            <p:cNvSpPr>
              <a:spLocks/>
            </p:cNvSpPr>
            <p:nvPr/>
          </p:nvSpPr>
          <p:spPr bwMode="auto">
            <a:xfrm>
              <a:off x="4941888" y="5184775"/>
              <a:ext cx="1212850" cy="1571625"/>
            </a:xfrm>
            <a:custGeom>
              <a:avLst/>
              <a:gdLst>
                <a:gd name="T0" fmla="*/ 421 w 422"/>
                <a:gd name="T1" fmla="*/ 154 h 547"/>
                <a:gd name="T2" fmla="*/ 414 w 422"/>
                <a:gd name="T3" fmla="*/ 129 h 547"/>
                <a:gd name="T4" fmla="*/ 395 w 422"/>
                <a:gd name="T5" fmla="*/ 132 h 547"/>
                <a:gd name="T6" fmla="*/ 361 w 422"/>
                <a:gd name="T7" fmla="*/ 116 h 547"/>
                <a:gd name="T8" fmla="*/ 334 w 422"/>
                <a:gd name="T9" fmla="*/ 116 h 547"/>
                <a:gd name="T10" fmla="*/ 300 w 422"/>
                <a:gd name="T11" fmla="*/ 102 h 547"/>
                <a:gd name="T12" fmla="*/ 277 w 422"/>
                <a:gd name="T13" fmla="*/ 96 h 547"/>
                <a:gd name="T14" fmla="*/ 232 w 422"/>
                <a:gd name="T15" fmla="*/ 61 h 547"/>
                <a:gd name="T16" fmla="*/ 209 w 422"/>
                <a:gd name="T17" fmla="*/ 36 h 547"/>
                <a:gd name="T18" fmla="*/ 155 w 422"/>
                <a:gd name="T19" fmla="*/ 19 h 547"/>
                <a:gd name="T20" fmla="*/ 144 w 422"/>
                <a:gd name="T21" fmla="*/ 25 h 547"/>
                <a:gd name="T22" fmla="*/ 117 w 422"/>
                <a:gd name="T23" fmla="*/ 3 h 547"/>
                <a:gd name="T24" fmla="*/ 102 w 422"/>
                <a:gd name="T25" fmla="*/ 11 h 547"/>
                <a:gd name="T26" fmla="*/ 83 w 422"/>
                <a:gd name="T27" fmla="*/ 0 h 547"/>
                <a:gd name="T28" fmla="*/ 64 w 422"/>
                <a:gd name="T29" fmla="*/ 8 h 547"/>
                <a:gd name="T30" fmla="*/ 34 w 422"/>
                <a:gd name="T31" fmla="*/ 33 h 547"/>
                <a:gd name="T32" fmla="*/ 22 w 422"/>
                <a:gd name="T33" fmla="*/ 48 h 547"/>
                <a:gd name="T34" fmla="*/ 30 w 422"/>
                <a:gd name="T35" fmla="*/ 63 h 547"/>
                <a:gd name="T36" fmla="*/ 23 w 422"/>
                <a:gd name="T37" fmla="*/ 74 h 547"/>
                <a:gd name="T38" fmla="*/ 7 w 422"/>
                <a:gd name="T39" fmla="*/ 102 h 547"/>
                <a:gd name="T40" fmla="*/ 7 w 422"/>
                <a:gd name="T41" fmla="*/ 140 h 547"/>
                <a:gd name="T42" fmla="*/ 34 w 422"/>
                <a:gd name="T43" fmla="*/ 152 h 547"/>
                <a:gd name="T44" fmla="*/ 15 w 422"/>
                <a:gd name="T45" fmla="*/ 157 h 547"/>
                <a:gd name="T46" fmla="*/ 49 w 422"/>
                <a:gd name="T47" fmla="*/ 193 h 547"/>
                <a:gd name="T48" fmla="*/ 45 w 422"/>
                <a:gd name="T49" fmla="*/ 207 h 547"/>
                <a:gd name="T50" fmla="*/ 87 w 422"/>
                <a:gd name="T51" fmla="*/ 231 h 547"/>
                <a:gd name="T52" fmla="*/ 106 w 422"/>
                <a:gd name="T53" fmla="*/ 270 h 547"/>
                <a:gd name="T54" fmla="*/ 99 w 422"/>
                <a:gd name="T55" fmla="*/ 284 h 547"/>
                <a:gd name="T56" fmla="*/ 106 w 422"/>
                <a:gd name="T57" fmla="*/ 295 h 547"/>
                <a:gd name="T58" fmla="*/ 106 w 422"/>
                <a:gd name="T59" fmla="*/ 339 h 547"/>
                <a:gd name="T60" fmla="*/ 87 w 422"/>
                <a:gd name="T61" fmla="*/ 397 h 547"/>
                <a:gd name="T62" fmla="*/ 106 w 422"/>
                <a:gd name="T63" fmla="*/ 399 h 547"/>
                <a:gd name="T64" fmla="*/ 87 w 422"/>
                <a:gd name="T65" fmla="*/ 419 h 547"/>
                <a:gd name="T66" fmla="*/ 95 w 422"/>
                <a:gd name="T67" fmla="*/ 430 h 547"/>
                <a:gd name="T68" fmla="*/ 91 w 422"/>
                <a:gd name="T69" fmla="*/ 452 h 547"/>
                <a:gd name="T70" fmla="*/ 99 w 422"/>
                <a:gd name="T71" fmla="*/ 496 h 547"/>
                <a:gd name="T72" fmla="*/ 121 w 422"/>
                <a:gd name="T73" fmla="*/ 523 h 547"/>
                <a:gd name="T74" fmla="*/ 125 w 422"/>
                <a:gd name="T75" fmla="*/ 534 h 547"/>
                <a:gd name="T76" fmla="*/ 148 w 422"/>
                <a:gd name="T77" fmla="*/ 543 h 547"/>
                <a:gd name="T78" fmla="*/ 190 w 422"/>
                <a:gd name="T79" fmla="*/ 537 h 547"/>
                <a:gd name="T80" fmla="*/ 167 w 422"/>
                <a:gd name="T81" fmla="*/ 526 h 547"/>
                <a:gd name="T82" fmla="*/ 155 w 422"/>
                <a:gd name="T83" fmla="*/ 512 h 547"/>
                <a:gd name="T84" fmla="*/ 167 w 422"/>
                <a:gd name="T85" fmla="*/ 488 h 547"/>
                <a:gd name="T86" fmla="*/ 182 w 422"/>
                <a:gd name="T87" fmla="*/ 477 h 547"/>
                <a:gd name="T88" fmla="*/ 171 w 422"/>
                <a:gd name="T89" fmla="*/ 460 h 547"/>
                <a:gd name="T90" fmla="*/ 171 w 422"/>
                <a:gd name="T91" fmla="*/ 421 h 547"/>
                <a:gd name="T92" fmla="*/ 201 w 422"/>
                <a:gd name="T93" fmla="*/ 402 h 547"/>
                <a:gd name="T94" fmla="*/ 243 w 422"/>
                <a:gd name="T95" fmla="*/ 391 h 547"/>
                <a:gd name="T96" fmla="*/ 235 w 422"/>
                <a:gd name="T97" fmla="*/ 364 h 547"/>
                <a:gd name="T98" fmla="*/ 266 w 422"/>
                <a:gd name="T99" fmla="*/ 364 h 547"/>
                <a:gd name="T100" fmla="*/ 273 w 422"/>
                <a:gd name="T101" fmla="*/ 361 h 547"/>
                <a:gd name="T102" fmla="*/ 289 w 422"/>
                <a:gd name="T103" fmla="*/ 347 h 547"/>
                <a:gd name="T104" fmla="*/ 311 w 422"/>
                <a:gd name="T105" fmla="*/ 319 h 547"/>
                <a:gd name="T106" fmla="*/ 311 w 422"/>
                <a:gd name="T107" fmla="*/ 300 h 547"/>
                <a:gd name="T108" fmla="*/ 330 w 422"/>
                <a:gd name="T109" fmla="*/ 284 h 547"/>
                <a:gd name="T110" fmla="*/ 364 w 422"/>
                <a:gd name="T111" fmla="*/ 275 h 547"/>
                <a:gd name="T112" fmla="*/ 372 w 422"/>
                <a:gd name="T113" fmla="*/ 223 h 547"/>
                <a:gd name="T114" fmla="*/ 380 w 422"/>
                <a:gd name="T115" fmla="*/ 209 h 547"/>
                <a:gd name="T116" fmla="*/ 391 w 422"/>
                <a:gd name="T117" fmla="*/ 207 h 547"/>
                <a:gd name="T118" fmla="*/ 406 w 422"/>
                <a:gd name="T119" fmla="*/ 187 h 547"/>
                <a:gd name="T120" fmla="*/ 418 w 422"/>
                <a:gd name="T121" fmla="*/ 171 h 547"/>
                <a:gd name="T122" fmla="*/ 421 w 422"/>
                <a:gd name="T123" fmla="*/ 154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2" h="547">
                  <a:moveTo>
                    <a:pt x="421" y="154"/>
                  </a:moveTo>
                  <a:cubicBezTo>
                    <a:pt x="422" y="144"/>
                    <a:pt x="418" y="137"/>
                    <a:pt x="414" y="129"/>
                  </a:cubicBezTo>
                  <a:cubicBezTo>
                    <a:pt x="407" y="124"/>
                    <a:pt x="403" y="131"/>
                    <a:pt x="395" y="132"/>
                  </a:cubicBezTo>
                  <a:cubicBezTo>
                    <a:pt x="389" y="123"/>
                    <a:pt x="374" y="120"/>
                    <a:pt x="361" y="116"/>
                  </a:cubicBezTo>
                  <a:cubicBezTo>
                    <a:pt x="352" y="116"/>
                    <a:pt x="343" y="116"/>
                    <a:pt x="334" y="116"/>
                  </a:cubicBezTo>
                  <a:cubicBezTo>
                    <a:pt x="327" y="108"/>
                    <a:pt x="302" y="113"/>
                    <a:pt x="300" y="102"/>
                  </a:cubicBezTo>
                  <a:cubicBezTo>
                    <a:pt x="290" y="102"/>
                    <a:pt x="277" y="103"/>
                    <a:pt x="277" y="96"/>
                  </a:cubicBezTo>
                  <a:cubicBezTo>
                    <a:pt x="288" y="83"/>
                    <a:pt x="266" y="48"/>
                    <a:pt x="232" y="61"/>
                  </a:cubicBezTo>
                  <a:cubicBezTo>
                    <a:pt x="220" y="55"/>
                    <a:pt x="211" y="48"/>
                    <a:pt x="209" y="36"/>
                  </a:cubicBezTo>
                  <a:cubicBezTo>
                    <a:pt x="189" y="32"/>
                    <a:pt x="175" y="24"/>
                    <a:pt x="155" y="19"/>
                  </a:cubicBezTo>
                  <a:cubicBezTo>
                    <a:pt x="151" y="20"/>
                    <a:pt x="150" y="24"/>
                    <a:pt x="144" y="25"/>
                  </a:cubicBezTo>
                  <a:cubicBezTo>
                    <a:pt x="139" y="15"/>
                    <a:pt x="121" y="14"/>
                    <a:pt x="117" y="3"/>
                  </a:cubicBezTo>
                  <a:cubicBezTo>
                    <a:pt x="105" y="0"/>
                    <a:pt x="110" y="10"/>
                    <a:pt x="102" y="11"/>
                  </a:cubicBezTo>
                  <a:cubicBezTo>
                    <a:pt x="93" y="9"/>
                    <a:pt x="92" y="2"/>
                    <a:pt x="83" y="0"/>
                  </a:cubicBezTo>
                  <a:cubicBezTo>
                    <a:pt x="80" y="5"/>
                    <a:pt x="76" y="9"/>
                    <a:pt x="64" y="8"/>
                  </a:cubicBezTo>
                  <a:cubicBezTo>
                    <a:pt x="59" y="20"/>
                    <a:pt x="43" y="24"/>
                    <a:pt x="34" y="33"/>
                  </a:cubicBezTo>
                  <a:cubicBezTo>
                    <a:pt x="31" y="38"/>
                    <a:pt x="25" y="44"/>
                    <a:pt x="22" y="48"/>
                  </a:cubicBezTo>
                  <a:cubicBezTo>
                    <a:pt x="24" y="53"/>
                    <a:pt x="28" y="58"/>
                    <a:pt x="30" y="63"/>
                  </a:cubicBezTo>
                  <a:cubicBezTo>
                    <a:pt x="30" y="69"/>
                    <a:pt x="20" y="67"/>
                    <a:pt x="23" y="74"/>
                  </a:cubicBezTo>
                  <a:cubicBezTo>
                    <a:pt x="24" y="88"/>
                    <a:pt x="10" y="91"/>
                    <a:pt x="7" y="102"/>
                  </a:cubicBezTo>
                  <a:cubicBezTo>
                    <a:pt x="0" y="121"/>
                    <a:pt x="23" y="132"/>
                    <a:pt x="7" y="140"/>
                  </a:cubicBezTo>
                  <a:cubicBezTo>
                    <a:pt x="14" y="146"/>
                    <a:pt x="26" y="147"/>
                    <a:pt x="34" y="152"/>
                  </a:cubicBezTo>
                  <a:cubicBezTo>
                    <a:pt x="31" y="155"/>
                    <a:pt x="22" y="155"/>
                    <a:pt x="15" y="157"/>
                  </a:cubicBezTo>
                  <a:cubicBezTo>
                    <a:pt x="12" y="179"/>
                    <a:pt x="29" y="187"/>
                    <a:pt x="49" y="193"/>
                  </a:cubicBezTo>
                  <a:cubicBezTo>
                    <a:pt x="51" y="199"/>
                    <a:pt x="42" y="199"/>
                    <a:pt x="45" y="207"/>
                  </a:cubicBezTo>
                  <a:cubicBezTo>
                    <a:pt x="60" y="215"/>
                    <a:pt x="65" y="229"/>
                    <a:pt x="87" y="231"/>
                  </a:cubicBezTo>
                  <a:cubicBezTo>
                    <a:pt x="94" y="244"/>
                    <a:pt x="106" y="252"/>
                    <a:pt x="106" y="270"/>
                  </a:cubicBezTo>
                  <a:cubicBezTo>
                    <a:pt x="102" y="274"/>
                    <a:pt x="103" y="280"/>
                    <a:pt x="99" y="284"/>
                  </a:cubicBezTo>
                  <a:cubicBezTo>
                    <a:pt x="104" y="285"/>
                    <a:pt x="106" y="290"/>
                    <a:pt x="106" y="295"/>
                  </a:cubicBezTo>
                  <a:cubicBezTo>
                    <a:pt x="96" y="307"/>
                    <a:pt x="111" y="322"/>
                    <a:pt x="106" y="339"/>
                  </a:cubicBezTo>
                  <a:cubicBezTo>
                    <a:pt x="86" y="348"/>
                    <a:pt x="95" y="379"/>
                    <a:pt x="87" y="397"/>
                  </a:cubicBezTo>
                  <a:cubicBezTo>
                    <a:pt x="93" y="404"/>
                    <a:pt x="103" y="392"/>
                    <a:pt x="106" y="399"/>
                  </a:cubicBezTo>
                  <a:cubicBezTo>
                    <a:pt x="110" y="413"/>
                    <a:pt x="93" y="412"/>
                    <a:pt x="87" y="419"/>
                  </a:cubicBezTo>
                  <a:cubicBezTo>
                    <a:pt x="82" y="428"/>
                    <a:pt x="99" y="421"/>
                    <a:pt x="95" y="430"/>
                  </a:cubicBezTo>
                  <a:cubicBezTo>
                    <a:pt x="87" y="436"/>
                    <a:pt x="99" y="443"/>
                    <a:pt x="91" y="452"/>
                  </a:cubicBezTo>
                  <a:cubicBezTo>
                    <a:pt x="95" y="470"/>
                    <a:pt x="107" y="480"/>
                    <a:pt x="99" y="496"/>
                  </a:cubicBezTo>
                  <a:cubicBezTo>
                    <a:pt x="110" y="502"/>
                    <a:pt x="109" y="518"/>
                    <a:pt x="121" y="523"/>
                  </a:cubicBezTo>
                  <a:cubicBezTo>
                    <a:pt x="121" y="528"/>
                    <a:pt x="126" y="529"/>
                    <a:pt x="125" y="534"/>
                  </a:cubicBezTo>
                  <a:cubicBezTo>
                    <a:pt x="135" y="536"/>
                    <a:pt x="141" y="540"/>
                    <a:pt x="148" y="543"/>
                  </a:cubicBezTo>
                  <a:cubicBezTo>
                    <a:pt x="162" y="541"/>
                    <a:pt x="187" y="547"/>
                    <a:pt x="190" y="537"/>
                  </a:cubicBezTo>
                  <a:cubicBezTo>
                    <a:pt x="179" y="535"/>
                    <a:pt x="172" y="532"/>
                    <a:pt x="167" y="526"/>
                  </a:cubicBezTo>
                  <a:cubicBezTo>
                    <a:pt x="170" y="517"/>
                    <a:pt x="152" y="523"/>
                    <a:pt x="155" y="512"/>
                  </a:cubicBezTo>
                  <a:cubicBezTo>
                    <a:pt x="154" y="500"/>
                    <a:pt x="166" y="498"/>
                    <a:pt x="167" y="488"/>
                  </a:cubicBezTo>
                  <a:cubicBezTo>
                    <a:pt x="177" y="487"/>
                    <a:pt x="182" y="484"/>
                    <a:pt x="182" y="477"/>
                  </a:cubicBezTo>
                  <a:cubicBezTo>
                    <a:pt x="184" y="467"/>
                    <a:pt x="169" y="470"/>
                    <a:pt x="171" y="460"/>
                  </a:cubicBezTo>
                  <a:cubicBezTo>
                    <a:pt x="181" y="451"/>
                    <a:pt x="197" y="424"/>
                    <a:pt x="171" y="421"/>
                  </a:cubicBezTo>
                  <a:cubicBezTo>
                    <a:pt x="196" y="426"/>
                    <a:pt x="195" y="412"/>
                    <a:pt x="201" y="402"/>
                  </a:cubicBezTo>
                  <a:cubicBezTo>
                    <a:pt x="222" y="403"/>
                    <a:pt x="229" y="394"/>
                    <a:pt x="243" y="391"/>
                  </a:cubicBezTo>
                  <a:cubicBezTo>
                    <a:pt x="245" y="378"/>
                    <a:pt x="237" y="373"/>
                    <a:pt x="235" y="364"/>
                  </a:cubicBezTo>
                  <a:cubicBezTo>
                    <a:pt x="245" y="364"/>
                    <a:pt x="256" y="364"/>
                    <a:pt x="266" y="364"/>
                  </a:cubicBezTo>
                  <a:cubicBezTo>
                    <a:pt x="266" y="361"/>
                    <a:pt x="270" y="361"/>
                    <a:pt x="273" y="361"/>
                  </a:cubicBezTo>
                  <a:cubicBezTo>
                    <a:pt x="275" y="354"/>
                    <a:pt x="277" y="347"/>
                    <a:pt x="289" y="347"/>
                  </a:cubicBezTo>
                  <a:cubicBezTo>
                    <a:pt x="287" y="331"/>
                    <a:pt x="303" y="328"/>
                    <a:pt x="311" y="319"/>
                  </a:cubicBezTo>
                  <a:cubicBezTo>
                    <a:pt x="311" y="313"/>
                    <a:pt x="311" y="307"/>
                    <a:pt x="311" y="300"/>
                  </a:cubicBezTo>
                  <a:cubicBezTo>
                    <a:pt x="319" y="295"/>
                    <a:pt x="323" y="289"/>
                    <a:pt x="330" y="284"/>
                  </a:cubicBezTo>
                  <a:cubicBezTo>
                    <a:pt x="348" y="280"/>
                    <a:pt x="348" y="280"/>
                    <a:pt x="364" y="275"/>
                  </a:cubicBezTo>
                  <a:cubicBezTo>
                    <a:pt x="366" y="258"/>
                    <a:pt x="385" y="242"/>
                    <a:pt x="372" y="223"/>
                  </a:cubicBezTo>
                  <a:cubicBezTo>
                    <a:pt x="378" y="221"/>
                    <a:pt x="380" y="216"/>
                    <a:pt x="380" y="209"/>
                  </a:cubicBezTo>
                  <a:cubicBezTo>
                    <a:pt x="386" y="210"/>
                    <a:pt x="386" y="207"/>
                    <a:pt x="391" y="207"/>
                  </a:cubicBezTo>
                  <a:cubicBezTo>
                    <a:pt x="393" y="197"/>
                    <a:pt x="402" y="194"/>
                    <a:pt x="406" y="187"/>
                  </a:cubicBezTo>
                  <a:cubicBezTo>
                    <a:pt x="416" y="180"/>
                    <a:pt x="406" y="174"/>
                    <a:pt x="418" y="171"/>
                  </a:cubicBezTo>
                  <a:cubicBezTo>
                    <a:pt x="415" y="162"/>
                    <a:pt x="421" y="161"/>
                    <a:pt x="421" y="154"/>
                  </a:cubicBezTo>
                  <a:close/>
                </a:path>
              </a:pathLst>
            </a:custGeom>
            <a:solidFill>
              <a:srgbClr val="40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252"/>
            <p:cNvSpPr>
              <a:spLocks noEditPoints="1"/>
            </p:cNvSpPr>
            <p:nvPr/>
          </p:nvSpPr>
          <p:spPr bwMode="auto">
            <a:xfrm>
              <a:off x="3073400" y="3490913"/>
              <a:ext cx="2687638" cy="1833563"/>
            </a:xfrm>
            <a:custGeom>
              <a:avLst/>
              <a:gdLst>
                <a:gd name="T0" fmla="*/ 684 w 935"/>
                <a:gd name="T1" fmla="*/ 616 h 638"/>
                <a:gd name="T2" fmla="*/ 597 w 935"/>
                <a:gd name="T3" fmla="*/ 564 h 638"/>
                <a:gd name="T4" fmla="*/ 524 w 935"/>
                <a:gd name="T5" fmla="*/ 481 h 638"/>
                <a:gd name="T6" fmla="*/ 654 w 935"/>
                <a:gd name="T7" fmla="*/ 479 h 638"/>
                <a:gd name="T8" fmla="*/ 718 w 935"/>
                <a:gd name="T9" fmla="*/ 429 h 638"/>
                <a:gd name="T10" fmla="*/ 783 w 935"/>
                <a:gd name="T11" fmla="*/ 369 h 638"/>
                <a:gd name="T12" fmla="*/ 863 w 935"/>
                <a:gd name="T13" fmla="*/ 330 h 638"/>
                <a:gd name="T14" fmla="*/ 908 w 935"/>
                <a:gd name="T15" fmla="*/ 283 h 638"/>
                <a:gd name="T16" fmla="*/ 935 w 935"/>
                <a:gd name="T17" fmla="*/ 330 h 638"/>
                <a:gd name="T18" fmla="*/ 893 w 935"/>
                <a:gd name="T19" fmla="*/ 258 h 638"/>
                <a:gd name="T20" fmla="*/ 843 w 935"/>
                <a:gd name="T21" fmla="*/ 209 h 638"/>
                <a:gd name="T22" fmla="*/ 764 w 935"/>
                <a:gd name="T23" fmla="*/ 167 h 638"/>
                <a:gd name="T24" fmla="*/ 733 w 935"/>
                <a:gd name="T25" fmla="*/ 239 h 638"/>
                <a:gd name="T26" fmla="*/ 669 w 935"/>
                <a:gd name="T27" fmla="*/ 239 h 638"/>
                <a:gd name="T28" fmla="*/ 654 w 935"/>
                <a:gd name="T29" fmla="*/ 173 h 638"/>
                <a:gd name="T30" fmla="*/ 745 w 935"/>
                <a:gd name="T31" fmla="*/ 101 h 638"/>
                <a:gd name="T32" fmla="*/ 805 w 935"/>
                <a:gd name="T33" fmla="*/ 118 h 638"/>
                <a:gd name="T34" fmla="*/ 863 w 935"/>
                <a:gd name="T35" fmla="*/ 154 h 638"/>
                <a:gd name="T36" fmla="*/ 897 w 935"/>
                <a:gd name="T37" fmla="*/ 121 h 638"/>
                <a:gd name="T38" fmla="*/ 847 w 935"/>
                <a:gd name="T39" fmla="*/ 74 h 638"/>
                <a:gd name="T40" fmla="*/ 730 w 935"/>
                <a:gd name="T41" fmla="*/ 60 h 638"/>
                <a:gd name="T42" fmla="*/ 695 w 935"/>
                <a:gd name="T43" fmla="*/ 118 h 638"/>
                <a:gd name="T44" fmla="*/ 634 w 935"/>
                <a:gd name="T45" fmla="*/ 85 h 638"/>
                <a:gd name="T46" fmla="*/ 555 w 935"/>
                <a:gd name="T47" fmla="*/ 96 h 638"/>
                <a:gd name="T48" fmla="*/ 634 w 935"/>
                <a:gd name="T49" fmla="*/ 41 h 638"/>
                <a:gd name="T50" fmla="*/ 521 w 935"/>
                <a:gd name="T51" fmla="*/ 41 h 638"/>
                <a:gd name="T52" fmla="*/ 581 w 935"/>
                <a:gd name="T53" fmla="*/ 21 h 638"/>
                <a:gd name="T54" fmla="*/ 498 w 935"/>
                <a:gd name="T55" fmla="*/ 35 h 638"/>
                <a:gd name="T56" fmla="*/ 410 w 935"/>
                <a:gd name="T57" fmla="*/ 57 h 638"/>
                <a:gd name="T58" fmla="*/ 467 w 935"/>
                <a:gd name="T59" fmla="*/ 85 h 638"/>
                <a:gd name="T60" fmla="*/ 551 w 935"/>
                <a:gd name="T61" fmla="*/ 101 h 638"/>
                <a:gd name="T62" fmla="*/ 445 w 935"/>
                <a:gd name="T63" fmla="*/ 101 h 638"/>
                <a:gd name="T64" fmla="*/ 361 w 935"/>
                <a:gd name="T65" fmla="*/ 96 h 638"/>
                <a:gd name="T66" fmla="*/ 293 w 935"/>
                <a:gd name="T67" fmla="*/ 96 h 638"/>
                <a:gd name="T68" fmla="*/ 126 w 935"/>
                <a:gd name="T69" fmla="*/ 118 h 638"/>
                <a:gd name="T70" fmla="*/ 57 w 935"/>
                <a:gd name="T71" fmla="*/ 159 h 638"/>
                <a:gd name="T72" fmla="*/ 46 w 935"/>
                <a:gd name="T73" fmla="*/ 223 h 638"/>
                <a:gd name="T74" fmla="*/ 53 w 935"/>
                <a:gd name="T75" fmla="*/ 269 h 638"/>
                <a:gd name="T76" fmla="*/ 72 w 935"/>
                <a:gd name="T77" fmla="*/ 286 h 638"/>
                <a:gd name="T78" fmla="*/ 156 w 935"/>
                <a:gd name="T79" fmla="*/ 231 h 638"/>
                <a:gd name="T80" fmla="*/ 198 w 935"/>
                <a:gd name="T81" fmla="*/ 211 h 638"/>
                <a:gd name="T82" fmla="*/ 316 w 935"/>
                <a:gd name="T83" fmla="*/ 247 h 638"/>
                <a:gd name="T84" fmla="*/ 319 w 935"/>
                <a:gd name="T85" fmla="*/ 421 h 638"/>
                <a:gd name="T86" fmla="*/ 392 w 935"/>
                <a:gd name="T87" fmla="*/ 512 h 638"/>
                <a:gd name="T88" fmla="*/ 407 w 935"/>
                <a:gd name="T89" fmla="*/ 490 h 638"/>
                <a:gd name="T90" fmla="*/ 547 w 935"/>
                <a:gd name="T91" fmla="*/ 575 h 638"/>
                <a:gd name="T92" fmla="*/ 612 w 935"/>
                <a:gd name="T93" fmla="*/ 619 h 638"/>
                <a:gd name="T94" fmla="*/ 889 w 935"/>
                <a:gd name="T95" fmla="*/ 261 h 638"/>
                <a:gd name="T96" fmla="*/ 581 w 935"/>
                <a:gd name="T97" fmla="*/ 60 h 638"/>
                <a:gd name="T98" fmla="*/ 464 w 935"/>
                <a:gd name="T99" fmla="*/ 66 h 638"/>
                <a:gd name="T100" fmla="*/ 388 w 935"/>
                <a:gd name="T101" fmla="*/ 462 h 638"/>
                <a:gd name="T102" fmla="*/ 388 w 935"/>
                <a:gd name="T103" fmla="*/ 46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35" h="638">
                  <a:moveTo>
                    <a:pt x="657" y="638"/>
                  </a:moveTo>
                  <a:cubicBezTo>
                    <a:pt x="661" y="635"/>
                    <a:pt x="661" y="628"/>
                    <a:pt x="669" y="628"/>
                  </a:cubicBezTo>
                  <a:cubicBezTo>
                    <a:pt x="669" y="629"/>
                    <a:pt x="669" y="630"/>
                    <a:pt x="669" y="631"/>
                  </a:cubicBezTo>
                  <a:cubicBezTo>
                    <a:pt x="674" y="626"/>
                    <a:pt x="680" y="619"/>
                    <a:pt x="684" y="616"/>
                  </a:cubicBezTo>
                  <a:cubicBezTo>
                    <a:pt x="682" y="611"/>
                    <a:pt x="677" y="609"/>
                    <a:pt x="669" y="608"/>
                  </a:cubicBezTo>
                  <a:cubicBezTo>
                    <a:pt x="659" y="611"/>
                    <a:pt x="655" y="618"/>
                    <a:pt x="642" y="619"/>
                  </a:cubicBezTo>
                  <a:cubicBezTo>
                    <a:pt x="633" y="606"/>
                    <a:pt x="646" y="593"/>
                    <a:pt x="642" y="575"/>
                  </a:cubicBezTo>
                  <a:cubicBezTo>
                    <a:pt x="635" y="566"/>
                    <a:pt x="610" y="569"/>
                    <a:pt x="597" y="564"/>
                  </a:cubicBezTo>
                  <a:cubicBezTo>
                    <a:pt x="600" y="552"/>
                    <a:pt x="611" y="546"/>
                    <a:pt x="608" y="528"/>
                  </a:cubicBezTo>
                  <a:cubicBezTo>
                    <a:pt x="590" y="530"/>
                    <a:pt x="589" y="530"/>
                    <a:pt x="570" y="528"/>
                  </a:cubicBezTo>
                  <a:cubicBezTo>
                    <a:pt x="563" y="534"/>
                    <a:pt x="566" y="548"/>
                    <a:pt x="555" y="550"/>
                  </a:cubicBezTo>
                  <a:cubicBezTo>
                    <a:pt x="504" y="552"/>
                    <a:pt x="536" y="503"/>
                    <a:pt x="524" y="481"/>
                  </a:cubicBezTo>
                  <a:cubicBezTo>
                    <a:pt x="538" y="479"/>
                    <a:pt x="546" y="473"/>
                    <a:pt x="559" y="470"/>
                  </a:cubicBezTo>
                  <a:cubicBezTo>
                    <a:pt x="579" y="469"/>
                    <a:pt x="584" y="479"/>
                    <a:pt x="604" y="479"/>
                  </a:cubicBezTo>
                  <a:cubicBezTo>
                    <a:pt x="604" y="475"/>
                    <a:pt x="603" y="471"/>
                    <a:pt x="608" y="470"/>
                  </a:cubicBezTo>
                  <a:cubicBezTo>
                    <a:pt x="626" y="471"/>
                    <a:pt x="651" y="467"/>
                    <a:pt x="654" y="479"/>
                  </a:cubicBezTo>
                  <a:cubicBezTo>
                    <a:pt x="652" y="495"/>
                    <a:pt x="662" y="502"/>
                    <a:pt x="680" y="504"/>
                  </a:cubicBezTo>
                  <a:cubicBezTo>
                    <a:pt x="676" y="489"/>
                    <a:pt x="678" y="485"/>
                    <a:pt x="680" y="476"/>
                  </a:cubicBezTo>
                  <a:cubicBezTo>
                    <a:pt x="676" y="472"/>
                    <a:pt x="669" y="469"/>
                    <a:pt x="669" y="462"/>
                  </a:cubicBezTo>
                  <a:cubicBezTo>
                    <a:pt x="675" y="444"/>
                    <a:pt x="692" y="433"/>
                    <a:pt x="718" y="429"/>
                  </a:cubicBezTo>
                  <a:cubicBezTo>
                    <a:pt x="722" y="421"/>
                    <a:pt x="722" y="421"/>
                    <a:pt x="718" y="413"/>
                  </a:cubicBezTo>
                  <a:cubicBezTo>
                    <a:pt x="727" y="413"/>
                    <a:pt x="733" y="412"/>
                    <a:pt x="737" y="410"/>
                  </a:cubicBezTo>
                  <a:cubicBezTo>
                    <a:pt x="728" y="395"/>
                    <a:pt x="750" y="398"/>
                    <a:pt x="745" y="379"/>
                  </a:cubicBezTo>
                  <a:cubicBezTo>
                    <a:pt x="757" y="376"/>
                    <a:pt x="769" y="372"/>
                    <a:pt x="783" y="369"/>
                  </a:cubicBezTo>
                  <a:cubicBezTo>
                    <a:pt x="785" y="360"/>
                    <a:pt x="771" y="362"/>
                    <a:pt x="775" y="352"/>
                  </a:cubicBezTo>
                  <a:cubicBezTo>
                    <a:pt x="789" y="344"/>
                    <a:pt x="810" y="341"/>
                    <a:pt x="828" y="335"/>
                  </a:cubicBezTo>
                  <a:cubicBezTo>
                    <a:pt x="831" y="343"/>
                    <a:pt x="821" y="341"/>
                    <a:pt x="821" y="346"/>
                  </a:cubicBezTo>
                  <a:cubicBezTo>
                    <a:pt x="836" y="342"/>
                    <a:pt x="852" y="338"/>
                    <a:pt x="863" y="330"/>
                  </a:cubicBezTo>
                  <a:cubicBezTo>
                    <a:pt x="853" y="326"/>
                    <a:pt x="834" y="328"/>
                    <a:pt x="836" y="316"/>
                  </a:cubicBezTo>
                  <a:cubicBezTo>
                    <a:pt x="838" y="309"/>
                    <a:pt x="851" y="309"/>
                    <a:pt x="859" y="305"/>
                  </a:cubicBezTo>
                  <a:cubicBezTo>
                    <a:pt x="860" y="299"/>
                    <a:pt x="852" y="299"/>
                    <a:pt x="855" y="291"/>
                  </a:cubicBezTo>
                  <a:cubicBezTo>
                    <a:pt x="873" y="300"/>
                    <a:pt x="895" y="278"/>
                    <a:pt x="908" y="283"/>
                  </a:cubicBezTo>
                  <a:cubicBezTo>
                    <a:pt x="899" y="298"/>
                    <a:pt x="881" y="306"/>
                    <a:pt x="874" y="322"/>
                  </a:cubicBezTo>
                  <a:cubicBezTo>
                    <a:pt x="888" y="324"/>
                    <a:pt x="890" y="317"/>
                    <a:pt x="904" y="319"/>
                  </a:cubicBezTo>
                  <a:cubicBezTo>
                    <a:pt x="905" y="323"/>
                    <a:pt x="903" y="329"/>
                    <a:pt x="908" y="330"/>
                  </a:cubicBezTo>
                  <a:cubicBezTo>
                    <a:pt x="912" y="323"/>
                    <a:pt x="923" y="334"/>
                    <a:pt x="935" y="330"/>
                  </a:cubicBezTo>
                  <a:cubicBezTo>
                    <a:pt x="933" y="324"/>
                    <a:pt x="927" y="316"/>
                    <a:pt x="935" y="311"/>
                  </a:cubicBezTo>
                  <a:cubicBezTo>
                    <a:pt x="921" y="310"/>
                    <a:pt x="917" y="301"/>
                    <a:pt x="912" y="294"/>
                  </a:cubicBezTo>
                  <a:cubicBezTo>
                    <a:pt x="913" y="277"/>
                    <a:pt x="913" y="276"/>
                    <a:pt x="912" y="258"/>
                  </a:cubicBezTo>
                  <a:cubicBezTo>
                    <a:pt x="905" y="253"/>
                    <a:pt x="902" y="258"/>
                    <a:pt x="893" y="258"/>
                  </a:cubicBezTo>
                  <a:cubicBezTo>
                    <a:pt x="893" y="245"/>
                    <a:pt x="875" y="245"/>
                    <a:pt x="874" y="234"/>
                  </a:cubicBezTo>
                  <a:cubicBezTo>
                    <a:pt x="877" y="231"/>
                    <a:pt x="878" y="227"/>
                    <a:pt x="878" y="223"/>
                  </a:cubicBezTo>
                  <a:cubicBezTo>
                    <a:pt x="863" y="216"/>
                    <a:pt x="868" y="196"/>
                    <a:pt x="847" y="195"/>
                  </a:cubicBezTo>
                  <a:cubicBezTo>
                    <a:pt x="845" y="199"/>
                    <a:pt x="852" y="209"/>
                    <a:pt x="843" y="209"/>
                  </a:cubicBezTo>
                  <a:cubicBezTo>
                    <a:pt x="836" y="207"/>
                    <a:pt x="819" y="212"/>
                    <a:pt x="817" y="206"/>
                  </a:cubicBezTo>
                  <a:cubicBezTo>
                    <a:pt x="817" y="197"/>
                    <a:pt x="817" y="188"/>
                    <a:pt x="817" y="178"/>
                  </a:cubicBezTo>
                  <a:cubicBezTo>
                    <a:pt x="797" y="185"/>
                    <a:pt x="800" y="172"/>
                    <a:pt x="783" y="170"/>
                  </a:cubicBezTo>
                  <a:cubicBezTo>
                    <a:pt x="773" y="178"/>
                    <a:pt x="774" y="167"/>
                    <a:pt x="764" y="167"/>
                  </a:cubicBezTo>
                  <a:cubicBezTo>
                    <a:pt x="755" y="166"/>
                    <a:pt x="756" y="172"/>
                    <a:pt x="745" y="170"/>
                  </a:cubicBezTo>
                  <a:cubicBezTo>
                    <a:pt x="750" y="198"/>
                    <a:pt x="734" y="213"/>
                    <a:pt x="741" y="234"/>
                  </a:cubicBezTo>
                  <a:cubicBezTo>
                    <a:pt x="734" y="234"/>
                    <a:pt x="722" y="226"/>
                    <a:pt x="718" y="234"/>
                  </a:cubicBezTo>
                  <a:cubicBezTo>
                    <a:pt x="722" y="241"/>
                    <a:pt x="731" y="235"/>
                    <a:pt x="733" y="239"/>
                  </a:cubicBezTo>
                  <a:cubicBezTo>
                    <a:pt x="720" y="245"/>
                    <a:pt x="720" y="260"/>
                    <a:pt x="714" y="272"/>
                  </a:cubicBezTo>
                  <a:cubicBezTo>
                    <a:pt x="706" y="264"/>
                    <a:pt x="704" y="250"/>
                    <a:pt x="699" y="239"/>
                  </a:cubicBezTo>
                  <a:cubicBezTo>
                    <a:pt x="691" y="234"/>
                    <a:pt x="692" y="240"/>
                    <a:pt x="684" y="242"/>
                  </a:cubicBezTo>
                  <a:cubicBezTo>
                    <a:pt x="681" y="234"/>
                    <a:pt x="678" y="239"/>
                    <a:pt x="669" y="239"/>
                  </a:cubicBezTo>
                  <a:cubicBezTo>
                    <a:pt x="657" y="231"/>
                    <a:pt x="645" y="224"/>
                    <a:pt x="627" y="220"/>
                  </a:cubicBezTo>
                  <a:cubicBezTo>
                    <a:pt x="633" y="206"/>
                    <a:pt x="614" y="211"/>
                    <a:pt x="615" y="200"/>
                  </a:cubicBezTo>
                  <a:cubicBezTo>
                    <a:pt x="624" y="202"/>
                    <a:pt x="623" y="197"/>
                    <a:pt x="623" y="192"/>
                  </a:cubicBezTo>
                  <a:cubicBezTo>
                    <a:pt x="636" y="187"/>
                    <a:pt x="641" y="178"/>
                    <a:pt x="654" y="173"/>
                  </a:cubicBezTo>
                  <a:cubicBezTo>
                    <a:pt x="662" y="163"/>
                    <a:pt x="668" y="152"/>
                    <a:pt x="688" y="151"/>
                  </a:cubicBezTo>
                  <a:cubicBezTo>
                    <a:pt x="688" y="146"/>
                    <a:pt x="683" y="145"/>
                    <a:pt x="684" y="140"/>
                  </a:cubicBezTo>
                  <a:cubicBezTo>
                    <a:pt x="710" y="136"/>
                    <a:pt x="724" y="134"/>
                    <a:pt x="741" y="129"/>
                  </a:cubicBezTo>
                  <a:cubicBezTo>
                    <a:pt x="740" y="118"/>
                    <a:pt x="741" y="108"/>
                    <a:pt x="745" y="101"/>
                  </a:cubicBezTo>
                  <a:cubicBezTo>
                    <a:pt x="740" y="97"/>
                    <a:pt x="730" y="97"/>
                    <a:pt x="726" y="93"/>
                  </a:cubicBezTo>
                  <a:cubicBezTo>
                    <a:pt x="741" y="92"/>
                    <a:pt x="754" y="93"/>
                    <a:pt x="760" y="98"/>
                  </a:cubicBezTo>
                  <a:cubicBezTo>
                    <a:pt x="767" y="90"/>
                    <a:pt x="778" y="102"/>
                    <a:pt x="790" y="98"/>
                  </a:cubicBezTo>
                  <a:cubicBezTo>
                    <a:pt x="785" y="113"/>
                    <a:pt x="808" y="106"/>
                    <a:pt x="805" y="118"/>
                  </a:cubicBezTo>
                  <a:cubicBezTo>
                    <a:pt x="802" y="138"/>
                    <a:pt x="760" y="131"/>
                    <a:pt x="756" y="151"/>
                  </a:cubicBezTo>
                  <a:cubicBezTo>
                    <a:pt x="762" y="157"/>
                    <a:pt x="778" y="157"/>
                    <a:pt x="794" y="156"/>
                  </a:cubicBezTo>
                  <a:cubicBezTo>
                    <a:pt x="818" y="164"/>
                    <a:pt x="827" y="182"/>
                    <a:pt x="859" y="184"/>
                  </a:cubicBezTo>
                  <a:cubicBezTo>
                    <a:pt x="850" y="170"/>
                    <a:pt x="865" y="170"/>
                    <a:pt x="863" y="154"/>
                  </a:cubicBezTo>
                  <a:cubicBezTo>
                    <a:pt x="861" y="146"/>
                    <a:pt x="851" y="145"/>
                    <a:pt x="851" y="137"/>
                  </a:cubicBezTo>
                  <a:cubicBezTo>
                    <a:pt x="866" y="138"/>
                    <a:pt x="870" y="146"/>
                    <a:pt x="882" y="148"/>
                  </a:cubicBezTo>
                  <a:cubicBezTo>
                    <a:pt x="880" y="141"/>
                    <a:pt x="880" y="134"/>
                    <a:pt x="893" y="137"/>
                  </a:cubicBezTo>
                  <a:cubicBezTo>
                    <a:pt x="890" y="129"/>
                    <a:pt x="897" y="127"/>
                    <a:pt x="897" y="121"/>
                  </a:cubicBezTo>
                  <a:cubicBezTo>
                    <a:pt x="886" y="122"/>
                    <a:pt x="889" y="115"/>
                    <a:pt x="885" y="112"/>
                  </a:cubicBezTo>
                  <a:cubicBezTo>
                    <a:pt x="872" y="111"/>
                    <a:pt x="862" y="107"/>
                    <a:pt x="851" y="104"/>
                  </a:cubicBezTo>
                  <a:cubicBezTo>
                    <a:pt x="852" y="98"/>
                    <a:pt x="861" y="99"/>
                    <a:pt x="863" y="93"/>
                  </a:cubicBezTo>
                  <a:cubicBezTo>
                    <a:pt x="858" y="86"/>
                    <a:pt x="846" y="85"/>
                    <a:pt x="847" y="74"/>
                  </a:cubicBezTo>
                  <a:cubicBezTo>
                    <a:pt x="836" y="74"/>
                    <a:pt x="824" y="74"/>
                    <a:pt x="813" y="74"/>
                  </a:cubicBezTo>
                  <a:cubicBezTo>
                    <a:pt x="815" y="65"/>
                    <a:pt x="803" y="67"/>
                    <a:pt x="802" y="60"/>
                  </a:cubicBezTo>
                  <a:cubicBezTo>
                    <a:pt x="786" y="58"/>
                    <a:pt x="777" y="62"/>
                    <a:pt x="764" y="63"/>
                  </a:cubicBezTo>
                  <a:cubicBezTo>
                    <a:pt x="766" y="46"/>
                    <a:pt x="734" y="51"/>
                    <a:pt x="730" y="60"/>
                  </a:cubicBezTo>
                  <a:cubicBezTo>
                    <a:pt x="731" y="50"/>
                    <a:pt x="726" y="44"/>
                    <a:pt x="714" y="43"/>
                  </a:cubicBezTo>
                  <a:cubicBezTo>
                    <a:pt x="695" y="52"/>
                    <a:pt x="672" y="80"/>
                    <a:pt x="695" y="96"/>
                  </a:cubicBezTo>
                  <a:cubicBezTo>
                    <a:pt x="701" y="97"/>
                    <a:pt x="715" y="93"/>
                    <a:pt x="714" y="98"/>
                  </a:cubicBezTo>
                  <a:cubicBezTo>
                    <a:pt x="710" y="107"/>
                    <a:pt x="702" y="112"/>
                    <a:pt x="695" y="118"/>
                  </a:cubicBezTo>
                  <a:cubicBezTo>
                    <a:pt x="686" y="111"/>
                    <a:pt x="703" y="112"/>
                    <a:pt x="699" y="101"/>
                  </a:cubicBezTo>
                  <a:cubicBezTo>
                    <a:pt x="686" y="95"/>
                    <a:pt x="674" y="88"/>
                    <a:pt x="669" y="76"/>
                  </a:cubicBezTo>
                  <a:cubicBezTo>
                    <a:pt x="654" y="78"/>
                    <a:pt x="657" y="67"/>
                    <a:pt x="638" y="71"/>
                  </a:cubicBezTo>
                  <a:cubicBezTo>
                    <a:pt x="640" y="78"/>
                    <a:pt x="631" y="77"/>
                    <a:pt x="634" y="85"/>
                  </a:cubicBezTo>
                  <a:cubicBezTo>
                    <a:pt x="648" y="88"/>
                    <a:pt x="643" y="110"/>
                    <a:pt x="634" y="115"/>
                  </a:cubicBezTo>
                  <a:cubicBezTo>
                    <a:pt x="629" y="113"/>
                    <a:pt x="626" y="108"/>
                    <a:pt x="627" y="101"/>
                  </a:cubicBezTo>
                  <a:cubicBezTo>
                    <a:pt x="608" y="99"/>
                    <a:pt x="608" y="111"/>
                    <a:pt x="593" y="112"/>
                  </a:cubicBezTo>
                  <a:cubicBezTo>
                    <a:pt x="579" y="108"/>
                    <a:pt x="563" y="104"/>
                    <a:pt x="555" y="96"/>
                  </a:cubicBezTo>
                  <a:cubicBezTo>
                    <a:pt x="572" y="94"/>
                    <a:pt x="578" y="99"/>
                    <a:pt x="593" y="98"/>
                  </a:cubicBezTo>
                  <a:cubicBezTo>
                    <a:pt x="601" y="93"/>
                    <a:pt x="591" y="91"/>
                    <a:pt x="593" y="82"/>
                  </a:cubicBezTo>
                  <a:cubicBezTo>
                    <a:pt x="614" y="79"/>
                    <a:pt x="622" y="67"/>
                    <a:pt x="642" y="63"/>
                  </a:cubicBezTo>
                  <a:cubicBezTo>
                    <a:pt x="635" y="54"/>
                    <a:pt x="636" y="48"/>
                    <a:pt x="634" y="41"/>
                  </a:cubicBezTo>
                  <a:cubicBezTo>
                    <a:pt x="615" y="41"/>
                    <a:pt x="597" y="41"/>
                    <a:pt x="578" y="41"/>
                  </a:cubicBezTo>
                  <a:cubicBezTo>
                    <a:pt x="569" y="48"/>
                    <a:pt x="550" y="48"/>
                    <a:pt x="547" y="60"/>
                  </a:cubicBezTo>
                  <a:cubicBezTo>
                    <a:pt x="545" y="56"/>
                    <a:pt x="542" y="53"/>
                    <a:pt x="540" y="49"/>
                  </a:cubicBezTo>
                  <a:cubicBezTo>
                    <a:pt x="530" y="49"/>
                    <a:pt x="516" y="52"/>
                    <a:pt x="521" y="41"/>
                  </a:cubicBezTo>
                  <a:cubicBezTo>
                    <a:pt x="549" y="45"/>
                    <a:pt x="582" y="31"/>
                    <a:pt x="608" y="24"/>
                  </a:cubicBezTo>
                  <a:cubicBezTo>
                    <a:pt x="608" y="37"/>
                    <a:pt x="640" y="34"/>
                    <a:pt x="646" y="27"/>
                  </a:cubicBezTo>
                  <a:cubicBezTo>
                    <a:pt x="643" y="21"/>
                    <a:pt x="643" y="13"/>
                    <a:pt x="638" y="8"/>
                  </a:cubicBezTo>
                  <a:cubicBezTo>
                    <a:pt x="616" y="10"/>
                    <a:pt x="605" y="20"/>
                    <a:pt x="581" y="21"/>
                  </a:cubicBezTo>
                  <a:cubicBezTo>
                    <a:pt x="581" y="16"/>
                    <a:pt x="581" y="10"/>
                    <a:pt x="581" y="5"/>
                  </a:cubicBezTo>
                  <a:cubicBezTo>
                    <a:pt x="561" y="0"/>
                    <a:pt x="557" y="18"/>
                    <a:pt x="570" y="21"/>
                  </a:cubicBezTo>
                  <a:cubicBezTo>
                    <a:pt x="548" y="23"/>
                    <a:pt x="536" y="18"/>
                    <a:pt x="517" y="19"/>
                  </a:cubicBezTo>
                  <a:cubicBezTo>
                    <a:pt x="523" y="33"/>
                    <a:pt x="499" y="26"/>
                    <a:pt x="498" y="35"/>
                  </a:cubicBezTo>
                  <a:cubicBezTo>
                    <a:pt x="507" y="39"/>
                    <a:pt x="510" y="34"/>
                    <a:pt x="513" y="38"/>
                  </a:cubicBezTo>
                  <a:cubicBezTo>
                    <a:pt x="511" y="42"/>
                    <a:pt x="505" y="43"/>
                    <a:pt x="498" y="43"/>
                  </a:cubicBezTo>
                  <a:cubicBezTo>
                    <a:pt x="492" y="28"/>
                    <a:pt x="462" y="29"/>
                    <a:pt x="433" y="30"/>
                  </a:cubicBezTo>
                  <a:cubicBezTo>
                    <a:pt x="431" y="43"/>
                    <a:pt x="422" y="51"/>
                    <a:pt x="410" y="57"/>
                  </a:cubicBezTo>
                  <a:cubicBezTo>
                    <a:pt x="410" y="66"/>
                    <a:pt x="420" y="67"/>
                    <a:pt x="418" y="76"/>
                  </a:cubicBezTo>
                  <a:cubicBezTo>
                    <a:pt x="437" y="77"/>
                    <a:pt x="446" y="71"/>
                    <a:pt x="460" y="68"/>
                  </a:cubicBezTo>
                  <a:cubicBezTo>
                    <a:pt x="452" y="83"/>
                    <a:pt x="481" y="72"/>
                    <a:pt x="483" y="79"/>
                  </a:cubicBezTo>
                  <a:cubicBezTo>
                    <a:pt x="485" y="87"/>
                    <a:pt x="465" y="77"/>
                    <a:pt x="467" y="85"/>
                  </a:cubicBezTo>
                  <a:cubicBezTo>
                    <a:pt x="467" y="100"/>
                    <a:pt x="509" y="84"/>
                    <a:pt x="502" y="104"/>
                  </a:cubicBezTo>
                  <a:cubicBezTo>
                    <a:pt x="516" y="98"/>
                    <a:pt x="520" y="100"/>
                    <a:pt x="536" y="104"/>
                  </a:cubicBezTo>
                  <a:cubicBezTo>
                    <a:pt x="537" y="104"/>
                    <a:pt x="538" y="104"/>
                    <a:pt x="540" y="104"/>
                  </a:cubicBezTo>
                  <a:cubicBezTo>
                    <a:pt x="538" y="101"/>
                    <a:pt x="551" y="95"/>
                    <a:pt x="551" y="101"/>
                  </a:cubicBezTo>
                  <a:cubicBezTo>
                    <a:pt x="550" y="105"/>
                    <a:pt x="545" y="104"/>
                    <a:pt x="540" y="104"/>
                  </a:cubicBezTo>
                  <a:cubicBezTo>
                    <a:pt x="541" y="111"/>
                    <a:pt x="556" y="120"/>
                    <a:pt x="540" y="123"/>
                  </a:cubicBezTo>
                  <a:cubicBezTo>
                    <a:pt x="535" y="123"/>
                    <a:pt x="536" y="118"/>
                    <a:pt x="536" y="115"/>
                  </a:cubicBezTo>
                  <a:cubicBezTo>
                    <a:pt x="502" y="113"/>
                    <a:pt x="485" y="99"/>
                    <a:pt x="445" y="101"/>
                  </a:cubicBezTo>
                  <a:cubicBezTo>
                    <a:pt x="433" y="99"/>
                    <a:pt x="433" y="88"/>
                    <a:pt x="418" y="88"/>
                  </a:cubicBezTo>
                  <a:cubicBezTo>
                    <a:pt x="416" y="95"/>
                    <a:pt x="406" y="97"/>
                    <a:pt x="395" y="98"/>
                  </a:cubicBezTo>
                  <a:cubicBezTo>
                    <a:pt x="396" y="92"/>
                    <a:pt x="395" y="88"/>
                    <a:pt x="392" y="85"/>
                  </a:cubicBezTo>
                  <a:cubicBezTo>
                    <a:pt x="377" y="85"/>
                    <a:pt x="377" y="96"/>
                    <a:pt x="361" y="96"/>
                  </a:cubicBezTo>
                  <a:cubicBezTo>
                    <a:pt x="347" y="98"/>
                    <a:pt x="343" y="92"/>
                    <a:pt x="331" y="93"/>
                  </a:cubicBezTo>
                  <a:cubicBezTo>
                    <a:pt x="326" y="94"/>
                    <a:pt x="328" y="98"/>
                    <a:pt x="323" y="98"/>
                  </a:cubicBezTo>
                  <a:cubicBezTo>
                    <a:pt x="319" y="98"/>
                    <a:pt x="320" y="95"/>
                    <a:pt x="319" y="93"/>
                  </a:cubicBezTo>
                  <a:cubicBezTo>
                    <a:pt x="310" y="94"/>
                    <a:pt x="305" y="97"/>
                    <a:pt x="293" y="96"/>
                  </a:cubicBezTo>
                  <a:cubicBezTo>
                    <a:pt x="262" y="82"/>
                    <a:pt x="204" y="89"/>
                    <a:pt x="171" y="76"/>
                  </a:cubicBezTo>
                  <a:cubicBezTo>
                    <a:pt x="143" y="85"/>
                    <a:pt x="106" y="88"/>
                    <a:pt x="88" y="90"/>
                  </a:cubicBezTo>
                  <a:cubicBezTo>
                    <a:pt x="79" y="101"/>
                    <a:pt x="94" y="101"/>
                    <a:pt x="99" y="110"/>
                  </a:cubicBezTo>
                  <a:cubicBezTo>
                    <a:pt x="113" y="108"/>
                    <a:pt x="123" y="111"/>
                    <a:pt x="126" y="118"/>
                  </a:cubicBezTo>
                  <a:cubicBezTo>
                    <a:pt x="110" y="114"/>
                    <a:pt x="112" y="123"/>
                    <a:pt x="106" y="126"/>
                  </a:cubicBezTo>
                  <a:cubicBezTo>
                    <a:pt x="100" y="124"/>
                    <a:pt x="96" y="119"/>
                    <a:pt x="88" y="118"/>
                  </a:cubicBezTo>
                  <a:cubicBezTo>
                    <a:pt x="73" y="128"/>
                    <a:pt x="38" y="125"/>
                    <a:pt x="27" y="137"/>
                  </a:cubicBezTo>
                  <a:cubicBezTo>
                    <a:pt x="48" y="137"/>
                    <a:pt x="55" y="146"/>
                    <a:pt x="57" y="159"/>
                  </a:cubicBezTo>
                  <a:cubicBezTo>
                    <a:pt x="77" y="154"/>
                    <a:pt x="92" y="160"/>
                    <a:pt x="110" y="156"/>
                  </a:cubicBezTo>
                  <a:cubicBezTo>
                    <a:pt x="92" y="181"/>
                    <a:pt x="13" y="161"/>
                    <a:pt x="19" y="203"/>
                  </a:cubicBezTo>
                  <a:cubicBezTo>
                    <a:pt x="32" y="210"/>
                    <a:pt x="35" y="211"/>
                    <a:pt x="31" y="225"/>
                  </a:cubicBezTo>
                  <a:cubicBezTo>
                    <a:pt x="37" y="226"/>
                    <a:pt x="38" y="222"/>
                    <a:pt x="46" y="223"/>
                  </a:cubicBezTo>
                  <a:cubicBezTo>
                    <a:pt x="46" y="227"/>
                    <a:pt x="44" y="233"/>
                    <a:pt x="49" y="234"/>
                  </a:cubicBezTo>
                  <a:cubicBezTo>
                    <a:pt x="55" y="225"/>
                    <a:pt x="51" y="245"/>
                    <a:pt x="61" y="242"/>
                  </a:cubicBezTo>
                  <a:cubicBezTo>
                    <a:pt x="66" y="231"/>
                    <a:pt x="83" y="229"/>
                    <a:pt x="95" y="236"/>
                  </a:cubicBezTo>
                  <a:cubicBezTo>
                    <a:pt x="79" y="246"/>
                    <a:pt x="73" y="262"/>
                    <a:pt x="53" y="269"/>
                  </a:cubicBezTo>
                  <a:cubicBezTo>
                    <a:pt x="36" y="273"/>
                    <a:pt x="30" y="285"/>
                    <a:pt x="8" y="286"/>
                  </a:cubicBezTo>
                  <a:cubicBezTo>
                    <a:pt x="11" y="295"/>
                    <a:pt x="2" y="294"/>
                    <a:pt x="0" y="300"/>
                  </a:cubicBezTo>
                  <a:cubicBezTo>
                    <a:pt x="18" y="301"/>
                    <a:pt x="24" y="295"/>
                    <a:pt x="42" y="297"/>
                  </a:cubicBezTo>
                  <a:cubicBezTo>
                    <a:pt x="46" y="289"/>
                    <a:pt x="58" y="287"/>
                    <a:pt x="72" y="286"/>
                  </a:cubicBezTo>
                  <a:cubicBezTo>
                    <a:pt x="87" y="267"/>
                    <a:pt x="111" y="255"/>
                    <a:pt x="133" y="242"/>
                  </a:cubicBezTo>
                  <a:cubicBezTo>
                    <a:pt x="136" y="242"/>
                    <a:pt x="138" y="242"/>
                    <a:pt x="141" y="242"/>
                  </a:cubicBezTo>
                  <a:cubicBezTo>
                    <a:pt x="145" y="239"/>
                    <a:pt x="142" y="232"/>
                    <a:pt x="152" y="234"/>
                  </a:cubicBezTo>
                  <a:cubicBezTo>
                    <a:pt x="152" y="232"/>
                    <a:pt x="153" y="230"/>
                    <a:pt x="156" y="231"/>
                  </a:cubicBezTo>
                  <a:cubicBezTo>
                    <a:pt x="156" y="232"/>
                    <a:pt x="155" y="234"/>
                    <a:pt x="152" y="234"/>
                  </a:cubicBezTo>
                  <a:cubicBezTo>
                    <a:pt x="154" y="246"/>
                    <a:pt x="142" y="248"/>
                    <a:pt x="137" y="256"/>
                  </a:cubicBezTo>
                  <a:cubicBezTo>
                    <a:pt x="168" y="258"/>
                    <a:pt x="176" y="243"/>
                    <a:pt x="202" y="242"/>
                  </a:cubicBezTo>
                  <a:cubicBezTo>
                    <a:pt x="203" y="229"/>
                    <a:pt x="200" y="221"/>
                    <a:pt x="198" y="211"/>
                  </a:cubicBezTo>
                  <a:cubicBezTo>
                    <a:pt x="215" y="214"/>
                    <a:pt x="216" y="205"/>
                    <a:pt x="232" y="206"/>
                  </a:cubicBezTo>
                  <a:cubicBezTo>
                    <a:pt x="242" y="211"/>
                    <a:pt x="251" y="218"/>
                    <a:pt x="258" y="225"/>
                  </a:cubicBezTo>
                  <a:cubicBezTo>
                    <a:pt x="283" y="231"/>
                    <a:pt x="303" y="239"/>
                    <a:pt x="300" y="264"/>
                  </a:cubicBezTo>
                  <a:cubicBezTo>
                    <a:pt x="319" y="262"/>
                    <a:pt x="301" y="249"/>
                    <a:pt x="316" y="247"/>
                  </a:cubicBezTo>
                  <a:cubicBezTo>
                    <a:pt x="316" y="271"/>
                    <a:pt x="314" y="296"/>
                    <a:pt x="327" y="311"/>
                  </a:cubicBezTo>
                  <a:cubicBezTo>
                    <a:pt x="315" y="318"/>
                    <a:pt x="323" y="321"/>
                    <a:pt x="327" y="330"/>
                  </a:cubicBezTo>
                  <a:cubicBezTo>
                    <a:pt x="327" y="335"/>
                    <a:pt x="316" y="333"/>
                    <a:pt x="319" y="341"/>
                  </a:cubicBezTo>
                  <a:cubicBezTo>
                    <a:pt x="318" y="371"/>
                    <a:pt x="315" y="391"/>
                    <a:pt x="319" y="421"/>
                  </a:cubicBezTo>
                  <a:cubicBezTo>
                    <a:pt x="329" y="425"/>
                    <a:pt x="336" y="433"/>
                    <a:pt x="346" y="437"/>
                  </a:cubicBezTo>
                  <a:cubicBezTo>
                    <a:pt x="356" y="448"/>
                    <a:pt x="356" y="467"/>
                    <a:pt x="369" y="476"/>
                  </a:cubicBezTo>
                  <a:cubicBezTo>
                    <a:pt x="364" y="476"/>
                    <a:pt x="365" y="481"/>
                    <a:pt x="365" y="484"/>
                  </a:cubicBezTo>
                  <a:cubicBezTo>
                    <a:pt x="381" y="488"/>
                    <a:pt x="384" y="501"/>
                    <a:pt x="392" y="512"/>
                  </a:cubicBezTo>
                  <a:cubicBezTo>
                    <a:pt x="403" y="510"/>
                    <a:pt x="402" y="517"/>
                    <a:pt x="414" y="514"/>
                  </a:cubicBezTo>
                  <a:cubicBezTo>
                    <a:pt x="415" y="503"/>
                    <a:pt x="407" y="505"/>
                    <a:pt x="407" y="490"/>
                  </a:cubicBezTo>
                  <a:cubicBezTo>
                    <a:pt x="404" y="490"/>
                    <a:pt x="402" y="487"/>
                    <a:pt x="407" y="487"/>
                  </a:cubicBezTo>
                  <a:cubicBezTo>
                    <a:pt x="407" y="488"/>
                    <a:pt x="407" y="489"/>
                    <a:pt x="407" y="490"/>
                  </a:cubicBezTo>
                  <a:cubicBezTo>
                    <a:pt x="415" y="488"/>
                    <a:pt x="414" y="494"/>
                    <a:pt x="414" y="498"/>
                  </a:cubicBezTo>
                  <a:cubicBezTo>
                    <a:pt x="426" y="504"/>
                    <a:pt x="436" y="511"/>
                    <a:pt x="445" y="520"/>
                  </a:cubicBezTo>
                  <a:cubicBezTo>
                    <a:pt x="442" y="539"/>
                    <a:pt x="452" y="550"/>
                    <a:pt x="460" y="561"/>
                  </a:cubicBezTo>
                  <a:cubicBezTo>
                    <a:pt x="491" y="567"/>
                    <a:pt x="510" y="581"/>
                    <a:pt x="547" y="575"/>
                  </a:cubicBezTo>
                  <a:cubicBezTo>
                    <a:pt x="551" y="582"/>
                    <a:pt x="557" y="589"/>
                    <a:pt x="562" y="594"/>
                  </a:cubicBezTo>
                  <a:cubicBezTo>
                    <a:pt x="577" y="592"/>
                    <a:pt x="581" y="598"/>
                    <a:pt x="593" y="597"/>
                  </a:cubicBezTo>
                  <a:cubicBezTo>
                    <a:pt x="596" y="604"/>
                    <a:pt x="604" y="607"/>
                    <a:pt x="612" y="611"/>
                  </a:cubicBezTo>
                  <a:cubicBezTo>
                    <a:pt x="612" y="614"/>
                    <a:pt x="612" y="616"/>
                    <a:pt x="612" y="619"/>
                  </a:cubicBezTo>
                  <a:cubicBezTo>
                    <a:pt x="634" y="621"/>
                    <a:pt x="638" y="635"/>
                    <a:pt x="657" y="638"/>
                  </a:cubicBezTo>
                  <a:close/>
                  <a:moveTo>
                    <a:pt x="889" y="261"/>
                  </a:moveTo>
                  <a:cubicBezTo>
                    <a:pt x="891" y="263"/>
                    <a:pt x="886" y="265"/>
                    <a:pt x="885" y="264"/>
                  </a:cubicBezTo>
                  <a:cubicBezTo>
                    <a:pt x="883" y="262"/>
                    <a:pt x="888" y="260"/>
                    <a:pt x="889" y="261"/>
                  </a:cubicBezTo>
                  <a:close/>
                  <a:moveTo>
                    <a:pt x="597" y="46"/>
                  </a:moveTo>
                  <a:cubicBezTo>
                    <a:pt x="608" y="49"/>
                    <a:pt x="592" y="54"/>
                    <a:pt x="593" y="57"/>
                  </a:cubicBezTo>
                  <a:cubicBezTo>
                    <a:pt x="581" y="55"/>
                    <a:pt x="594" y="48"/>
                    <a:pt x="597" y="46"/>
                  </a:cubicBezTo>
                  <a:close/>
                  <a:moveTo>
                    <a:pt x="581" y="60"/>
                  </a:moveTo>
                  <a:cubicBezTo>
                    <a:pt x="593" y="59"/>
                    <a:pt x="595" y="65"/>
                    <a:pt x="608" y="63"/>
                  </a:cubicBezTo>
                  <a:cubicBezTo>
                    <a:pt x="608" y="74"/>
                    <a:pt x="593" y="74"/>
                    <a:pt x="581" y="76"/>
                  </a:cubicBezTo>
                  <a:cubicBezTo>
                    <a:pt x="581" y="71"/>
                    <a:pt x="581" y="66"/>
                    <a:pt x="581" y="60"/>
                  </a:cubicBezTo>
                  <a:close/>
                  <a:moveTo>
                    <a:pt x="464" y="66"/>
                  </a:moveTo>
                  <a:cubicBezTo>
                    <a:pt x="462" y="64"/>
                    <a:pt x="466" y="62"/>
                    <a:pt x="467" y="63"/>
                  </a:cubicBezTo>
                  <a:cubicBezTo>
                    <a:pt x="469" y="64"/>
                    <a:pt x="465" y="66"/>
                    <a:pt x="464" y="66"/>
                  </a:cubicBezTo>
                  <a:close/>
                  <a:moveTo>
                    <a:pt x="384" y="462"/>
                  </a:moveTo>
                  <a:cubicBezTo>
                    <a:pt x="385" y="459"/>
                    <a:pt x="388" y="461"/>
                    <a:pt x="388" y="462"/>
                  </a:cubicBezTo>
                  <a:cubicBezTo>
                    <a:pt x="387" y="465"/>
                    <a:pt x="384" y="464"/>
                    <a:pt x="384" y="462"/>
                  </a:cubicBezTo>
                  <a:close/>
                  <a:moveTo>
                    <a:pt x="388" y="468"/>
                  </a:moveTo>
                  <a:cubicBezTo>
                    <a:pt x="397" y="469"/>
                    <a:pt x="396" y="476"/>
                    <a:pt x="403" y="479"/>
                  </a:cubicBezTo>
                  <a:cubicBezTo>
                    <a:pt x="398" y="486"/>
                    <a:pt x="384" y="476"/>
                    <a:pt x="388" y="468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Freeform 253"/>
            <p:cNvSpPr>
              <a:spLocks noEditPoints="1"/>
            </p:cNvSpPr>
            <p:nvPr/>
          </p:nvSpPr>
          <p:spPr bwMode="auto">
            <a:xfrm>
              <a:off x="5476875" y="3246438"/>
              <a:ext cx="1352550" cy="830263"/>
            </a:xfrm>
            <a:custGeom>
              <a:avLst/>
              <a:gdLst>
                <a:gd name="T0" fmla="*/ 319 w 471"/>
                <a:gd name="T1" fmla="*/ 167 h 289"/>
                <a:gd name="T2" fmla="*/ 334 w 471"/>
                <a:gd name="T3" fmla="*/ 161 h 289"/>
                <a:gd name="T4" fmla="*/ 376 w 471"/>
                <a:gd name="T5" fmla="*/ 173 h 289"/>
                <a:gd name="T6" fmla="*/ 368 w 471"/>
                <a:gd name="T7" fmla="*/ 156 h 289"/>
                <a:gd name="T8" fmla="*/ 384 w 471"/>
                <a:gd name="T9" fmla="*/ 161 h 289"/>
                <a:gd name="T10" fmla="*/ 376 w 471"/>
                <a:gd name="T11" fmla="*/ 145 h 289"/>
                <a:gd name="T12" fmla="*/ 391 w 471"/>
                <a:gd name="T13" fmla="*/ 101 h 289"/>
                <a:gd name="T14" fmla="*/ 425 w 471"/>
                <a:gd name="T15" fmla="*/ 98 h 289"/>
                <a:gd name="T16" fmla="*/ 395 w 471"/>
                <a:gd name="T17" fmla="*/ 82 h 289"/>
                <a:gd name="T18" fmla="*/ 418 w 471"/>
                <a:gd name="T19" fmla="*/ 76 h 289"/>
                <a:gd name="T20" fmla="*/ 414 w 471"/>
                <a:gd name="T21" fmla="*/ 60 h 289"/>
                <a:gd name="T22" fmla="*/ 437 w 471"/>
                <a:gd name="T23" fmla="*/ 51 h 289"/>
                <a:gd name="T24" fmla="*/ 467 w 471"/>
                <a:gd name="T25" fmla="*/ 46 h 289"/>
                <a:gd name="T26" fmla="*/ 448 w 471"/>
                <a:gd name="T27" fmla="*/ 37 h 289"/>
                <a:gd name="T28" fmla="*/ 429 w 471"/>
                <a:gd name="T29" fmla="*/ 29 h 289"/>
                <a:gd name="T30" fmla="*/ 387 w 471"/>
                <a:gd name="T31" fmla="*/ 35 h 289"/>
                <a:gd name="T32" fmla="*/ 425 w 471"/>
                <a:gd name="T33" fmla="*/ 15 h 289"/>
                <a:gd name="T34" fmla="*/ 380 w 471"/>
                <a:gd name="T35" fmla="*/ 7 h 289"/>
                <a:gd name="T36" fmla="*/ 346 w 471"/>
                <a:gd name="T37" fmla="*/ 7 h 289"/>
                <a:gd name="T38" fmla="*/ 327 w 471"/>
                <a:gd name="T39" fmla="*/ 2 h 289"/>
                <a:gd name="T40" fmla="*/ 258 w 471"/>
                <a:gd name="T41" fmla="*/ 7 h 289"/>
                <a:gd name="T42" fmla="*/ 213 w 471"/>
                <a:gd name="T43" fmla="*/ 13 h 289"/>
                <a:gd name="T44" fmla="*/ 216 w 471"/>
                <a:gd name="T45" fmla="*/ 32 h 289"/>
                <a:gd name="T46" fmla="*/ 148 w 471"/>
                <a:gd name="T47" fmla="*/ 29 h 289"/>
                <a:gd name="T48" fmla="*/ 53 w 471"/>
                <a:gd name="T49" fmla="*/ 54 h 289"/>
                <a:gd name="T50" fmla="*/ 68 w 471"/>
                <a:gd name="T51" fmla="*/ 65 h 289"/>
                <a:gd name="T52" fmla="*/ 27 w 471"/>
                <a:gd name="T53" fmla="*/ 79 h 289"/>
                <a:gd name="T54" fmla="*/ 0 w 471"/>
                <a:gd name="T55" fmla="*/ 87 h 289"/>
                <a:gd name="T56" fmla="*/ 19 w 471"/>
                <a:gd name="T57" fmla="*/ 93 h 289"/>
                <a:gd name="T58" fmla="*/ 38 w 471"/>
                <a:gd name="T59" fmla="*/ 93 h 289"/>
                <a:gd name="T60" fmla="*/ 65 w 471"/>
                <a:gd name="T61" fmla="*/ 95 h 289"/>
                <a:gd name="T62" fmla="*/ 15 w 471"/>
                <a:gd name="T63" fmla="*/ 98 h 289"/>
                <a:gd name="T64" fmla="*/ 46 w 471"/>
                <a:gd name="T65" fmla="*/ 115 h 289"/>
                <a:gd name="T66" fmla="*/ 65 w 471"/>
                <a:gd name="T67" fmla="*/ 109 h 289"/>
                <a:gd name="T68" fmla="*/ 110 w 471"/>
                <a:gd name="T69" fmla="*/ 117 h 289"/>
                <a:gd name="T70" fmla="*/ 118 w 471"/>
                <a:gd name="T71" fmla="*/ 142 h 289"/>
                <a:gd name="T72" fmla="*/ 114 w 471"/>
                <a:gd name="T73" fmla="*/ 161 h 289"/>
                <a:gd name="T74" fmla="*/ 141 w 471"/>
                <a:gd name="T75" fmla="*/ 159 h 289"/>
                <a:gd name="T76" fmla="*/ 118 w 471"/>
                <a:gd name="T77" fmla="*/ 167 h 289"/>
                <a:gd name="T78" fmla="*/ 152 w 471"/>
                <a:gd name="T79" fmla="*/ 186 h 289"/>
                <a:gd name="T80" fmla="*/ 125 w 471"/>
                <a:gd name="T81" fmla="*/ 200 h 289"/>
                <a:gd name="T82" fmla="*/ 118 w 471"/>
                <a:gd name="T83" fmla="*/ 214 h 289"/>
                <a:gd name="T84" fmla="*/ 144 w 471"/>
                <a:gd name="T85" fmla="*/ 277 h 289"/>
                <a:gd name="T86" fmla="*/ 171 w 471"/>
                <a:gd name="T87" fmla="*/ 277 h 289"/>
                <a:gd name="T88" fmla="*/ 190 w 471"/>
                <a:gd name="T89" fmla="*/ 288 h 289"/>
                <a:gd name="T90" fmla="*/ 205 w 471"/>
                <a:gd name="T91" fmla="*/ 274 h 289"/>
                <a:gd name="T92" fmla="*/ 220 w 471"/>
                <a:gd name="T93" fmla="*/ 233 h 289"/>
                <a:gd name="T94" fmla="*/ 235 w 471"/>
                <a:gd name="T95" fmla="*/ 222 h 289"/>
                <a:gd name="T96" fmla="*/ 266 w 471"/>
                <a:gd name="T97" fmla="*/ 222 h 289"/>
                <a:gd name="T98" fmla="*/ 285 w 471"/>
                <a:gd name="T99" fmla="*/ 211 h 289"/>
                <a:gd name="T100" fmla="*/ 330 w 471"/>
                <a:gd name="T101" fmla="*/ 195 h 289"/>
                <a:gd name="T102" fmla="*/ 353 w 471"/>
                <a:gd name="T103" fmla="*/ 173 h 289"/>
                <a:gd name="T104" fmla="*/ 319 w 471"/>
                <a:gd name="T105" fmla="*/ 167 h 289"/>
                <a:gd name="T106" fmla="*/ 357 w 471"/>
                <a:gd name="T107" fmla="*/ 156 h 289"/>
                <a:gd name="T108" fmla="*/ 368 w 471"/>
                <a:gd name="T109" fmla="*/ 140 h 289"/>
                <a:gd name="T110" fmla="*/ 357 w 471"/>
                <a:gd name="T111" fmla="*/ 156 h 289"/>
                <a:gd name="T112" fmla="*/ 384 w 471"/>
                <a:gd name="T113" fmla="*/ 24 h 289"/>
                <a:gd name="T114" fmla="*/ 368 w 471"/>
                <a:gd name="T115" fmla="*/ 37 h 289"/>
                <a:gd name="T116" fmla="*/ 319 w 471"/>
                <a:gd name="T117" fmla="*/ 32 h 289"/>
                <a:gd name="T118" fmla="*/ 384 w 471"/>
                <a:gd name="T119" fmla="*/ 24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71" h="289">
                  <a:moveTo>
                    <a:pt x="319" y="167"/>
                  </a:moveTo>
                  <a:cubicBezTo>
                    <a:pt x="327" y="167"/>
                    <a:pt x="324" y="160"/>
                    <a:pt x="334" y="161"/>
                  </a:cubicBezTo>
                  <a:cubicBezTo>
                    <a:pt x="348" y="165"/>
                    <a:pt x="356" y="173"/>
                    <a:pt x="376" y="173"/>
                  </a:cubicBezTo>
                  <a:cubicBezTo>
                    <a:pt x="389" y="166"/>
                    <a:pt x="358" y="160"/>
                    <a:pt x="368" y="156"/>
                  </a:cubicBezTo>
                  <a:cubicBezTo>
                    <a:pt x="374" y="157"/>
                    <a:pt x="378" y="160"/>
                    <a:pt x="384" y="161"/>
                  </a:cubicBezTo>
                  <a:cubicBezTo>
                    <a:pt x="387" y="152"/>
                    <a:pt x="379" y="150"/>
                    <a:pt x="376" y="145"/>
                  </a:cubicBezTo>
                  <a:cubicBezTo>
                    <a:pt x="407" y="144"/>
                    <a:pt x="397" y="116"/>
                    <a:pt x="391" y="101"/>
                  </a:cubicBezTo>
                  <a:cubicBezTo>
                    <a:pt x="401" y="99"/>
                    <a:pt x="412" y="97"/>
                    <a:pt x="425" y="98"/>
                  </a:cubicBezTo>
                  <a:cubicBezTo>
                    <a:pt x="424" y="86"/>
                    <a:pt x="405" y="87"/>
                    <a:pt x="395" y="82"/>
                  </a:cubicBezTo>
                  <a:cubicBezTo>
                    <a:pt x="407" y="83"/>
                    <a:pt x="404" y="73"/>
                    <a:pt x="418" y="76"/>
                  </a:cubicBezTo>
                  <a:cubicBezTo>
                    <a:pt x="421" y="68"/>
                    <a:pt x="411" y="68"/>
                    <a:pt x="414" y="60"/>
                  </a:cubicBezTo>
                  <a:cubicBezTo>
                    <a:pt x="428" y="61"/>
                    <a:pt x="423" y="50"/>
                    <a:pt x="437" y="51"/>
                  </a:cubicBezTo>
                  <a:cubicBezTo>
                    <a:pt x="446" y="49"/>
                    <a:pt x="470" y="57"/>
                    <a:pt x="467" y="46"/>
                  </a:cubicBezTo>
                  <a:cubicBezTo>
                    <a:pt x="471" y="36"/>
                    <a:pt x="451" y="43"/>
                    <a:pt x="448" y="37"/>
                  </a:cubicBezTo>
                  <a:cubicBezTo>
                    <a:pt x="439" y="37"/>
                    <a:pt x="441" y="28"/>
                    <a:pt x="429" y="29"/>
                  </a:cubicBezTo>
                  <a:cubicBezTo>
                    <a:pt x="413" y="28"/>
                    <a:pt x="395" y="39"/>
                    <a:pt x="387" y="35"/>
                  </a:cubicBezTo>
                  <a:cubicBezTo>
                    <a:pt x="390" y="21"/>
                    <a:pt x="421" y="28"/>
                    <a:pt x="425" y="15"/>
                  </a:cubicBezTo>
                  <a:cubicBezTo>
                    <a:pt x="418" y="7"/>
                    <a:pt x="401" y="6"/>
                    <a:pt x="380" y="7"/>
                  </a:cubicBezTo>
                  <a:cubicBezTo>
                    <a:pt x="368" y="4"/>
                    <a:pt x="352" y="0"/>
                    <a:pt x="346" y="7"/>
                  </a:cubicBezTo>
                  <a:cubicBezTo>
                    <a:pt x="342" y="3"/>
                    <a:pt x="333" y="3"/>
                    <a:pt x="327" y="2"/>
                  </a:cubicBezTo>
                  <a:cubicBezTo>
                    <a:pt x="311" y="9"/>
                    <a:pt x="274" y="0"/>
                    <a:pt x="258" y="7"/>
                  </a:cubicBezTo>
                  <a:cubicBezTo>
                    <a:pt x="241" y="7"/>
                    <a:pt x="220" y="5"/>
                    <a:pt x="213" y="13"/>
                  </a:cubicBezTo>
                  <a:cubicBezTo>
                    <a:pt x="212" y="19"/>
                    <a:pt x="223" y="31"/>
                    <a:pt x="216" y="32"/>
                  </a:cubicBezTo>
                  <a:cubicBezTo>
                    <a:pt x="189" y="29"/>
                    <a:pt x="173" y="34"/>
                    <a:pt x="148" y="29"/>
                  </a:cubicBezTo>
                  <a:cubicBezTo>
                    <a:pt x="110" y="33"/>
                    <a:pt x="92" y="51"/>
                    <a:pt x="53" y="54"/>
                  </a:cubicBezTo>
                  <a:cubicBezTo>
                    <a:pt x="50" y="64"/>
                    <a:pt x="70" y="56"/>
                    <a:pt x="68" y="65"/>
                  </a:cubicBezTo>
                  <a:cubicBezTo>
                    <a:pt x="57" y="72"/>
                    <a:pt x="37" y="72"/>
                    <a:pt x="27" y="79"/>
                  </a:cubicBezTo>
                  <a:cubicBezTo>
                    <a:pt x="17" y="75"/>
                    <a:pt x="5" y="76"/>
                    <a:pt x="0" y="87"/>
                  </a:cubicBezTo>
                  <a:cubicBezTo>
                    <a:pt x="12" y="85"/>
                    <a:pt x="12" y="91"/>
                    <a:pt x="19" y="93"/>
                  </a:cubicBezTo>
                  <a:cubicBezTo>
                    <a:pt x="19" y="85"/>
                    <a:pt x="38" y="85"/>
                    <a:pt x="38" y="93"/>
                  </a:cubicBezTo>
                  <a:cubicBezTo>
                    <a:pt x="47" y="91"/>
                    <a:pt x="64" y="80"/>
                    <a:pt x="65" y="95"/>
                  </a:cubicBezTo>
                  <a:cubicBezTo>
                    <a:pt x="48" y="96"/>
                    <a:pt x="25" y="93"/>
                    <a:pt x="15" y="98"/>
                  </a:cubicBezTo>
                  <a:cubicBezTo>
                    <a:pt x="19" y="108"/>
                    <a:pt x="33" y="111"/>
                    <a:pt x="46" y="115"/>
                  </a:cubicBezTo>
                  <a:cubicBezTo>
                    <a:pt x="57" y="117"/>
                    <a:pt x="53" y="107"/>
                    <a:pt x="65" y="109"/>
                  </a:cubicBezTo>
                  <a:cubicBezTo>
                    <a:pt x="76" y="115"/>
                    <a:pt x="88" y="120"/>
                    <a:pt x="110" y="117"/>
                  </a:cubicBezTo>
                  <a:cubicBezTo>
                    <a:pt x="107" y="130"/>
                    <a:pt x="113" y="136"/>
                    <a:pt x="118" y="142"/>
                  </a:cubicBezTo>
                  <a:cubicBezTo>
                    <a:pt x="116" y="149"/>
                    <a:pt x="112" y="153"/>
                    <a:pt x="114" y="161"/>
                  </a:cubicBezTo>
                  <a:cubicBezTo>
                    <a:pt x="129" y="167"/>
                    <a:pt x="131" y="149"/>
                    <a:pt x="141" y="159"/>
                  </a:cubicBezTo>
                  <a:cubicBezTo>
                    <a:pt x="143" y="169"/>
                    <a:pt x="129" y="167"/>
                    <a:pt x="118" y="167"/>
                  </a:cubicBezTo>
                  <a:cubicBezTo>
                    <a:pt x="121" y="179"/>
                    <a:pt x="147" y="175"/>
                    <a:pt x="152" y="186"/>
                  </a:cubicBezTo>
                  <a:cubicBezTo>
                    <a:pt x="143" y="191"/>
                    <a:pt x="133" y="194"/>
                    <a:pt x="125" y="200"/>
                  </a:cubicBezTo>
                  <a:cubicBezTo>
                    <a:pt x="136" y="204"/>
                    <a:pt x="113" y="206"/>
                    <a:pt x="118" y="214"/>
                  </a:cubicBezTo>
                  <a:cubicBezTo>
                    <a:pt x="145" y="227"/>
                    <a:pt x="124" y="259"/>
                    <a:pt x="144" y="277"/>
                  </a:cubicBezTo>
                  <a:cubicBezTo>
                    <a:pt x="153" y="277"/>
                    <a:pt x="162" y="277"/>
                    <a:pt x="171" y="277"/>
                  </a:cubicBezTo>
                  <a:cubicBezTo>
                    <a:pt x="182" y="278"/>
                    <a:pt x="178" y="289"/>
                    <a:pt x="190" y="288"/>
                  </a:cubicBezTo>
                  <a:cubicBezTo>
                    <a:pt x="194" y="283"/>
                    <a:pt x="196" y="276"/>
                    <a:pt x="205" y="274"/>
                  </a:cubicBezTo>
                  <a:cubicBezTo>
                    <a:pt x="201" y="254"/>
                    <a:pt x="224" y="253"/>
                    <a:pt x="220" y="233"/>
                  </a:cubicBezTo>
                  <a:cubicBezTo>
                    <a:pt x="230" y="233"/>
                    <a:pt x="226" y="222"/>
                    <a:pt x="235" y="222"/>
                  </a:cubicBezTo>
                  <a:cubicBezTo>
                    <a:pt x="250" y="228"/>
                    <a:pt x="250" y="216"/>
                    <a:pt x="266" y="222"/>
                  </a:cubicBezTo>
                  <a:cubicBezTo>
                    <a:pt x="272" y="218"/>
                    <a:pt x="278" y="214"/>
                    <a:pt x="285" y="211"/>
                  </a:cubicBezTo>
                  <a:cubicBezTo>
                    <a:pt x="303" y="208"/>
                    <a:pt x="311" y="197"/>
                    <a:pt x="330" y="195"/>
                  </a:cubicBezTo>
                  <a:cubicBezTo>
                    <a:pt x="332" y="185"/>
                    <a:pt x="364" y="182"/>
                    <a:pt x="353" y="173"/>
                  </a:cubicBezTo>
                  <a:cubicBezTo>
                    <a:pt x="346" y="179"/>
                    <a:pt x="330" y="168"/>
                    <a:pt x="319" y="167"/>
                  </a:cubicBezTo>
                  <a:close/>
                  <a:moveTo>
                    <a:pt x="357" y="156"/>
                  </a:moveTo>
                  <a:cubicBezTo>
                    <a:pt x="347" y="151"/>
                    <a:pt x="357" y="138"/>
                    <a:pt x="368" y="140"/>
                  </a:cubicBezTo>
                  <a:cubicBezTo>
                    <a:pt x="367" y="146"/>
                    <a:pt x="358" y="149"/>
                    <a:pt x="357" y="156"/>
                  </a:cubicBezTo>
                  <a:close/>
                  <a:moveTo>
                    <a:pt x="384" y="24"/>
                  </a:moveTo>
                  <a:cubicBezTo>
                    <a:pt x="383" y="32"/>
                    <a:pt x="375" y="34"/>
                    <a:pt x="368" y="37"/>
                  </a:cubicBezTo>
                  <a:cubicBezTo>
                    <a:pt x="357" y="32"/>
                    <a:pt x="340" y="31"/>
                    <a:pt x="319" y="32"/>
                  </a:cubicBezTo>
                  <a:cubicBezTo>
                    <a:pt x="332" y="21"/>
                    <a:pt x="368" y="25"/>
                    <a:pt x="384" y="24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Freeform 254"/>
            <p:cNvSpPr>
              <a:spLocks noEditPoints="1"/>
            </p:cNvSpPr>
            <p:nvPr/>
          </p:nvSpPr>
          <p:spPr bwMode="auto">
            <a:xfrm>
              <a:off x="4995863" y="3275013"/>
              <a:ext cx="776288" cy="368300"/>
            </a:xfrm>
            <a:custGeom>
              <a:avLst/>
              <a:gdLst>
                <a:gd name="T0" fmla="*/ 15 w 270"/>
                <a:gd name="T1" fmla="*/ 55 h 128"/>
                <a:gd name="T2" fmla="*/ 15 w 270"/>
                <a:gd name="T3" fmla="*/ 72 h 128"/>
                <a:gd name="T4" fmla="*/ 38 w 270"/>
                <a:gd name="T5" fmla="*/ 74 h 128"/>
                <a:gd name="T6" fmla="*/ 76 w 270"/>
                <a:gd name="T7" fmla="*/ 55 h 128"/>
                <a:gd name="T8" fmla="*/ 57 w 270"/>
                <a:gd name="T9" fmla="*/ 63 h 128"/>
                <a:gd name="T10" fmla="*/ 45 w 270"/>
                <a:gd name="T11" fmla="*/ 74 h 128"/>
                <a:gd name="T12" fmla="*/ 57 w 270"/>
                <a:gd name="T13" fmla="*/ 83 h 128"/>
                <a:gd name="T14" fmla="*/ 34 w 270"/>
                <a:gd name="T15" fmla="*/ 80 h 128"/>
                <a:gd name="T16" fmla="*/ 26 w 270"/>
                <a:gd name="T17" fmla="*/ 96 h 128"/>
                <a:gd name="T18" fmla="*/ 76 w 270"/>
                <a:gd name="T19" fmla="*/ 105 h 128"/>
                <a:gd name="T20" fmla="*/ 7 w 270"/>
                <a:gd name="T21" fmla="*/ 99 h 128"/>
                <a:gd name="T22" fmla="*/ 30 w 270"/>
                <a:gd name="T23" fmla="*/ 116 h 128"/>
                <a:gd name="T24" fmla="*/ 106 w 270"/>
                <a:gd name="T25" fmla="*/ 107 h 128"/>
                <a:gd name="T26" fmla="*/ 121 w 270"/>
                <a:gd name="T27" fmla="*/ 99 h 128"/>
                <a:gd name="T28" fmla="*/ 106 w 270"/>
                <a:gd name="T29" fmla="*/ 94 h 128"/>
                <a:gd name="T30" fmla="*/ 133 w 270"/>
                <a:gd name="T31" fmla="*/ 94 h 128"/>
                <a:gd name="T32" fmla="*/ 152 w 270"/>
                <a:gd name="T33" fmla="*/ 63 h 128"/>
                <a:gd name="T34" fmla="*/ 198 w 270"/>
                <a:gd name="T35" fmla="*/ 52 h 128"/>
                <a:gd name="T36" fmla="*/ 224 w 270"/>
                <a:gd name="T37" fmla="*/ 41 h 128"/>
                <a:gd name="T38" fmla="*/ 224 w 270"/>
                <a:gd name="T39" fmla="*/ 27 h 128"/>
                <a:gd name="T40" fmla="*/ 270 w 270"/>
                <a:gd name="T41" fmla="*/ 14 h 128"/>
                <a:gd name="T42" fmla="*/ 258 w 270"/>
                <a:gd name="T43" fmla="*/ 8 h 128"/>
                <a:gd name="T44" fmla="*/ 45 w 270"/>
                <a:gd name="T45" fmla="*/ 19 h 128"/>
                <a:gd name="T46" fmla="*/ 64 w 270"/>
                <a:gd name="T47" fmla="*/ 44 h 128"/>
                <a:gd name="T48" fmla="*/ 19 w 270"/>
                <a:gd name="T49" fmla="*/ 27 h 128"/>
                <a:gd name="T50" fmla="*/ 15 w 270"/>
                <a:gd name="T51" fmla="*/ 39 h 128"/>
                <a:gd name="T52" fmla="*/ 4 w 270"/>
                <a:gd name="T53" fmla="*/ 44 h 128"/>
                <a:gd name="T54" fmla="*/ 15 w 270"/>
                <a:gd name="T55" fmla="*/ 55 h 128"/>
                <a:gd name="T56" fmla="*/ 95 w 270"/>
                <a:gd name="T57" fmla="*/ 105 h 128"/>
                <a:gd name="T58" fmla="*/ 91 w 270"/>
                <a:gd name="T59" fmla="*/ 107 h 128"/>
                <a:gd name="T60" fmla="*/ 95 w 270"/>
                <a:gd name="T61" fmla="*/ 105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70" h="128">
                  <a:moveTo>
                    <a:pt x="15" y="55"/>
                  </a:moveTo>
                  <a:cubicBezTo>
                    <a:pt x="15" y="61"/>
                    <a:pt x="15" y="66"/>
                    <a:pt x="15" y="72"/>
                  </a:cubicBezTo>
                  <a:cubicBezTo>
                    <a:pt x="27" y="70"/>
                    <a:pt x="29" y="74"/>
                    <a:pt x="38" y="74"/>
                  </a:cubicBezTo>
                  <a:cubicBezTo>
                    <a:pt x="39" y="62"/>
                    <a:pt x="62" y="50"/>
                    <a:pt x="76" y="55"/>
                  </a:cubicBezTo>
                  <a:cubicBezTo>
                    <a:pt x="81" y="67"/>
                    <a:pt x="56" y="55"/>
                    <a:pt x="57" y="63"/>
                  </a:cubicBezTo>
                  <a:cubicBezTo>
                    <a:pt x="68" y="67"/>
                    <a:pt x="44" y="68"/>
                    <a:pt x="45" y="74"/>
                  </a:cubicBezTo>
                  <a:cubicBezTo>
                    <a:pt x="55" y="73"/>
                    <a:pt x="59" y="75"/>
                    <a:pt x="57" y="83"/>
                  </a:cubicBezTo>
                  <a:cubicBezTo>
                    <a:pt x="48" y="83"/>
                    <a:pt x="46" y="78"/>
                    <a:pt x="34" y="80"/>
                  </a:cubicBezTo>
                  <a:cubicBezTo>
                    <a:pt x="34" y="88"/>
                    <a:pt x="21" y="85"/>
                    <a:pt x="26" y="96"/>
                  </a:cubicBezTo>
                  <a:cubicBezTo>
                    <a:pt x="49" y="94"/>
                    <a:pt x="65" y="93"/>
                    <a:pt x="76" y="105"/>
                  </a:cubicBezTo>
                  <a:cubicBezTo>
                    <a:pt x="46" y="109"/>
                    <a:pt x="26" y="94"/>
                    <a:pt x="7" y="99"/>
                  </a:cubicBezTo>
                  <a:cubicBezTo>
                    <a:pt x="4" y="112"/>
                    <a:pt x="30" y="105"/>
                    <a:pt x="30" y="116"/>
                  </a:cubicBezTo>
                  <a:cubicBezTo>
                    <a:pt x="59" y="113"/>
                    <a:pt x="97" y="128"/>
                    <a:pt x="106" y="107"/>
                  </a:cubicBezTo>
                  <a:cubicBezTo>
                    <a:pt x="116" y="108"/>
                    <a:pt x="122" y="106"/>
                    <a:pt x="121" y="99"/>
                  </a:cubicBezTo>
                  <a:cubicBezTo>
                    <a:pt x="124" y="92"/>
                    <a:pt x="104" y="101"/>
                    <a:pt x="106" y="94"/>
                  </a:cubicBezTo>
                  <a:cubicBezTo>
                    <a:pt x="115" y="94"/>
                    <a:pt x="124" y="94"/>
                    <a:pt x="133" y="94"/>
                  </a:cubicBezTo>
                  <a:cubicBezTo>
                    <a:pt x="133" y="79"/>
                    <a:pt x="156" y="81"/>
                    <a:pt x="152" y="63"/>
                  </a:cubicBezTo>
                  <a:cubicBezTo>
                    <a:pt x="171" y="63"/>
                    <a:pt x="173" y="50"/>
                    <a:pt x="198" y="52"/>
                  </a:cubicBezTo>
                  <a:cubicBezTo>
                    <a:pt x="202" y="46"/>
                    <a:pt x="210" y="41"/>
                    <a:pt x="224" y="41"/>
                  </a:cubicBezTo>
                  <a:cubicBezTo>
                    <a:pt x="229" y="34"/>
                    <a:pt x="216" y="28"/>
                    <a:pt x="224" y="27"/>
                  </a:cubicBezTo>
                  <a:cubicBezTo>
                    <a:pt x="240" y="22"/>
                    <a:pt x="263" y="30"/>
                    <a:pt x="270" y="14"/>
                  </a:cubicBezTo>
                  <a:cubicBezTo>
                    <a:pt x="270" y="9"/>
                    <a:pt x="259" y="12"/>
                    <a:pt x="258" y="8"/>
                  </a:cubicBezTo>
                  <a:cubicBezTo>
                    <a:pt x="196" y="14"/>
                    <a:pt x="111" y="0"/>
                    <a:pt x="45" y="19"/>
                  </a:cubicBezTo>
                  <a:cubicBezTo>
                    <a:pt x="40" y="36"/>
                    <a:pt x="62" y="33"/>
                    <a:pt x="64" y="44"/>
                  </a:cubicBezTo>
                  <a:cubicBezTo>
                    <a:pt x="40" y="45"/>
                    <a:pt x="47" y="23"/>
                    <a:pt x="19" y="27"/>
                  </a:cubicBezTo>
                  <a:cubicBezTo>
                    <a:pt x="18" y="31"/>
                    <a:pt x="13" y="33"/>
                    <a:pt x="15" y="39"/>
                  </a:cubicBezTo>
                  <a:cubicBezTo>
                    <a:pt x="9" y="39"/>
                    <a:pt x="2" y="38"/>
                    <a:pt x="4" y="44"/>
                  </a:cubicBezTo>
                  <a:cubicBezTo>
                    <a:pt x="0" y="53"/>
                    <a:pt x="13" y="50"/>
                    <a:pt x="15" y="55"/>
                  </a:cubicBezTo>
                  <a:close/>
                  <a:moveTo>
                    <a:pt x="95" y="105"/>
                  </a:moveTo>
                  <a:cubicBezTo>
                    <a:pt x="97" y="106"/>
                    <a:pt x="92" y="108"/>
                    <a:pt x="91" y="107"/>
                  </a:cubicBezTo>
                  <a:cubicBezTo>
                    <a:pt x="89" y="106"/>
                    <a:pt x="94" y="104"/>
                    <a:pt x="95" y="105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255"/>
            <p:cNvSpPr>
              <a:spLocks/>
            </p:cNvSpPr>
            <p:nvPr/>
          </p:nvSpPr>
          <p:spPr bwMode="auto">
            <a:xfrm>
              <a:off x="7485063" y="3352800"/>
              <a:ext cx="295275" cy="74613"/>
            </a:xfrm>
            <a:custGeom>
              <a:avLst/>
              <a:gdLst>
                <a:gd name="T0" fmla="*/ 84 w 103"/>
                <a:gd name="T1" fmla="*/ 23 h 26"/>
                <a:gd name="T2" fmla="*/ 99 w 103"/>
                <a:gd name="T3" fmla="*/ 6 h 26"/>
                <a:gd name="T4" fmla="*/ 0 w 103"/>
                <a:gd name="T5" fmla="*/ 0 h 26"/>
                <a:gd name="T6" fmla="*/ 4 w 103"/>
                <a:gd name="T7" fmla="*/ 12 h 26"/>
                <a:gd name="T8" fmla="*/ 84 w 103"/>
                <a:gd name="T9" fmla="*/ 2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3" h="26">
                  <a:moveTo>
                    <a:pt x="84" y="23"/>
                  </a:moveTo>
                  <a:cubicBezTo>
                    <a:pt x="85" y="15"/>
                    <a:pt x="103" y="19"/>
                    <a:pt x="99" y="6"/>
                  </a:cubicBezTo>
                  <a:cubicBezTo>
                    <a:pt x="64" y="2"/>
                    <a:pt x="31" y="1"/>
                    <a:pt x="0" y="0"/>
                  </a:cubicBezTo>
                  <a:cubicBezTo>
                    <a:pt x="0" y="5"/>
                    <a:pt x="1" y="9"/>
                    <a:pt x="4" y="12"/>
                  </a:cubicBezTo>
                  <a:cubicBezTo>
                    <a:pt x="28" y="17"/>
                    <a:pt x="47" y="26"/>
                    <a:pt x="84" y="23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256"/>
            <p:cNvSpPr>
              <a:spLocks/>
            </p:cNvSpPr>
            <p:nvPr/>
          </p:nvSpPr>
          <p:spPr bwMode="auto">
            <a:xfrm>
              <a:off x="7243763" y="3343275"/>
              <a:ext cx="393700" cy="233363"/>
            </a:xfrm>
            <a:custGeom>
              <a:avLst/>
              <a:gdLst>
                <a:gd name="T0" fmla="*/ 19 w 137"/>
                <a:gd name="T1" fmla="*/ 39 h 81"/>
                <a:gd name="T2" fmla="*/ 19 w 137"/>
                <a:gd name="T3" fmla="*/ 53 h 81"/>
                <a:gd name="T4" fmla="*/ 54 w 137"/>
                <a:gd name="T5" fmla="*/ 42 h 81"/>
                <a:gd name="T6" fmla="*/ 35 w 137"/>
                <a:gd name="T7" fmla="*/ 67 h 81"/>
                <a:gd name="T8" fmla="*/ 61 w 137"/>
                <a:gd name="T9" fmla="*/ 72 h 81"/>
                <a:gd name="T10" fmla="*/ 80 w 137"/>
                <a:gd name="T11" fmla="*/ 81 h 81"/>
                <a:gd name="T12" fmla="*/ 92 w 137"/>
                <a:gd name="T13" fmla="*/ 50 h 81"/>
                <a:gd name="T14" fmla="*/ 133 w 137"/>
                <a:gd name="T15" fmla="*/ 64 h 81"/>
                <a:gd name="T16" fmla="*/ 103 w 137"/>
                <a:gd name="T17" fmla="*/ 31 h 81"/>
                <a:gd name="T18" fmla="*/ 88 w 137"/>
                <a:gd name="T19" fmla="*/ 28 h 81"/>
                <a:gd name="T20" fmla="*/ 69 w 137"/>
                <a:gd name="T21" fmla="*/ 23 h 81"/>
                <a:gd name="T22" fmla="*/ 50 w 137"/>
                <a:gd name="T23" fmla="*/ 9 h 81"/>
                <a:gd name="T24" fmla="*/ 46 w 137"/>
                <a:gd name="T25" fmla="*/ 26 h 81"/>
                <a:gd name="T26" fmla="*/ 0 w 137"/>
                <a:gd name="T27" fmla="*/ 26 h 81"/>
                <a:gd name="T28" fmla="*/ 19 w 137"/>
                <a:gd name="T29" fmla="*/ 39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7" h="81">
                  <a:moveTo>
                    <a:pt x="19" y="39"/>
                  </a:moveTo>
                  <a:cubicBezTo>
                    <a:pt x="19" y="46"/>
                    <a:pt x="12" y="48"/>
                    <a:pt x="19" y="53"/>
                  </a:cubicBezTo>
                  <a:cubicBezTo>
                    <a:pt x="35" y="53"/>
                    <a:pt x="36" y="41"/>
                    <a:pt x="54" y="42"/>
                  </a:cubicBezTo>
                  <a:cubicBezTo>
                    <a:pt x="53" y="54"/>
                    <a:pt x="35" y="54"/>
                    <a:pt x="35" y="67"/>
                  </a:cubicBezTo>
                  <a:cubicBezTo>
                    <a:pt x="41" y="71"/>
                    <a:pt x="47" y="74"/>
                    <a:pt x="61" y="72"/>
                  </a:cubicBezTo>
                  <a:cubicBezTo>
                    <a:pt x="59" y="81"/>
                    <a:pt x="69" y="81"/>
                    <a:pt x="80" y="81"/>
                  </a:cubicBezTo>
                  <a:cubicBezTo>
                    <a:pt x="84" y="70"/>
                    <a:pt x="87" y="60"/>
                    <a:pt x="92" y="50"/>
                  </a:cubicBezTo>
                  <a:cubicBezTo>
                    <a:pt x="102" y="58"/>
                    <a:pt x="107" y="68"/>
                    <a:pt x="133" y="64"/>
                  </a:cubicBezTo>
                  <a:cubicBezTo>
                    <a:pt x="137" y="43"/>
                    <a:pt x="113" y="42"/>
                    <a:pt x="103" y="31"/>
                  </a:cubicBezTo>
                  <a:cubicBezTo>
                    <a:pt x="102" y="38"/>
                    <a:pt x="93" y="28"/>
                    <a:pt x="88" y="28"/>
                  </a:cubicBezTo>
                  <a:cubicBezTo>
                    <a:pt x="78" y="29"/>
                    <a:pt x="72" y="27"/>
                    <a:pt x="69" y="23"/>
                  </a:cubicBezTo>
                  <a:cubicBezTo>
                    <a:pt x="78" y="15"/>
                    <a:pt x="66" y="7"/>
                    <a:pt x="50" y="9"/>
                  </a:cubicBezTo>
                  <a:cubicBezTo>
                    <a:pt x="39" y="13"/>
                    <a:pt x="56" y="23"/>
                    <a:pt x="46" y="26"/>
                  </a:cubicBezTo>
                  <a:cubicBezTo>
                    <a:pt x="38" y="12"/>
                    <a:pt x="2" y="0"/>
                    <a:pt x="0" y="26"/>
                  </a:cubicBezTo>
                  <a:cubicBezTo>
                    <a:pt x="2" y="34"/>
                    <a:pt x="17" y="32"/>
                    <a:pt x="19" y="39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257"/>
            <p:cNvSpPr>
              <a:spLocks/>
            </p:cNvSpPr>
            <p:nvPr/>
          </p:nvSpPr>
          <p:spPr bwMode="auto">
            <a:xfrm>
              <a:off x="8301038" y="3352800"/>
              <a:ext cx="100013" cy="79375"/>
            </a:xfrm>
            <a:custGeom>
              <a:avLst/>
              <a:gdLst>
                <a:gd name="T0" fmla="*/ 35 w 35"/>
                <a:gd name="T1" fmla="*/ 17 h 28"/>
                <a:gd name="T2" fmla="*/ 1 w 35"/>
                <a:gd name="T3" fmla="*/ 20 h 28"/>
                <a:gd name="T4" fmla="*/ 35 w 35"/>
                <a:gd name="T5" fmla="*/ 1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35" h="28">
                  <a:moveTo>
                    <a:pt x="35" y="17"/>
                  </a:moveTo>
                  <a:cubicBezTo>
                    <a:pt x="35" y="0"/>
                    <a:pt x="0" y="6"/>
                    <a:pt x="1" y="20"/>
                  </a:cubicBezTo>
                  <a:cubicBezTo>
                    <a:pt x="14" y="28"/>
                    <a:pt x="21" y="16"/>
                    <a:pt x="35" y="1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Freeform 258"/>
            <p:cNvSpPr>
              <a:spLocks/>
            </p:cNvSpPr>
            <p:nvPr/>
          </p:nvSpPr>
          <p:spPr bwMode="auto">
            <a:xfrm>
              <a:off x="8999538" y="3381375"/>
              <a:ext cx="209550" cy="95250"/>
            </a:xfrm>
            <a:custGeom>
              <a:avLst/>
              <a:gdLst>
                <a:gd name="T0" fmla="*/ 5 w 73"/>
                <a:gd name="T1" fmla="*/ 24 h 33"/>
                <a:gd name="T2" fmla="*/ 73 w 73"/>
                <a:gd name="T3" fmla="*/ 15 h 33"/>
                <a:gd name="T4" fmla="*/ 9 w 73"/>
                <a:gd name="T5" fmla="*/ 7 h 33"/>
                <a:gd name="T6" fmla="*/ 5 w 73"/>
                <a:gd name="T7" fmla="*/ 2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3" h="33">
                  <a:moveTo>
                    <a:pt x="5" y="24"/>
                  </a:moveTo>
                  <a:cubicBezTo>
                    <a:pt x="35" y="20"/>
                    <a:pt x="66" y="33"/>
                    <a:pt x="73" y="15"/>
                  </a:cubicBezTo>
                  <a:cubicBezTo>
                    <a:pt x="64" y="5"/>
                    <a:pt x="30" y="0"/>
                    <a:pt x="9" y="7"/>
                  </a:cubicBezTo>
                  <a:cubicBezTo>
                    <a:pt x="0" y="7"/>
                    <a:pt x="7" y="19"/>
                    <a:pt x="5" y="2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Freeform 259"/>
            <p:cNvSpPr>
              <a:spLocks/>
            </p:cNvSpPr>
            <p:nvPr/>
          </p:nvSpPr>
          <p:spPr bwMode="auto">
            <a:xfrm>
              <a:off x="8218488" y="3519488"/>
              <a:ext cx="358775" cy="238125"/>
            </a:xfrm>
            <a:custGeom>
              <a:avLst/>
              <a:gdLst>
                <a:gd name="T0" fmla="*/ 49 w 125"/>
                <a:gd name="T1" fmla="*/ 78 h 83"/>
                <a:gd name="T2" fmla="*/ 30 w 125"/>
                <a:gd name="T3" fmla="*/ 42 h 83"/>
                <a:gd name="T4" fmla="*/ 87 w 125"/>
                <a:gd name="T5" fmla="*/ 20 h 83"/>
                <a:gd name="T6" fmla="*/ 125 w 125"/>
                <a:gd name="T7" fmla="*/ 0 h 83"/>
                <a:gd name="T8" fmla="*/ 106 w 125"/>
                <a:gd name="T9" fmla="*/ 0 h 83"/>
                <a:gd name="T10" fmla="*/ 102 w 125"/>
                <a:gd name="T11" fmla="*/ 6 h 83"/>
                <a:gd name="T12" fmla="*/ 30 w 125"/>
                <a:gd name="T13" fmla="*/ 22 h 83"/>
                <a:gd name="T14" fmla="*/ 15 w 125"/>
                <a:gd name="T15" fmla="*/ 50 h 83"/>
                <a:gd name="T16" fmla="*/ 0 w 125"/>
                <a:gd name="T17" fmla="*/ 66 h 83"/>
                <a:gd name="T18" fmla="*/ 37 w 125"/>
                <a:gd name="T19" fmla="*/ 83 h 83"/>
                <a:gd name="T20" fmla="*/ 49 w 125"/>
                <a:gd name="T21" fmla="*/ 78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5" h="83">
                  <a:moveTo>
                    <a:pt x="49" y="78"/>
                  </a:moveTo>
                  <a:cubicBezTo>
                    <a:pt x="44" y="65"/>
                    <a:pt x="26" y="61"/>
                    <a:pt x="30" y="42"/>
                  </a:cubicBezTo>
                  <a:cubicBezTo>
                    <a:pt x="57" y="40"/>
                    <a:pt x="67" y="26"/>
                    <a:pt x="87" y="20"/>
                  </a:cubicBezTo>
                  <a:cubicBezTo>
                    <a:pt x="111" y="21"/>
                    <a:pt x="123" y="15"/>
                    <a:pt x="125" y="0"/>
                  </a:cubicBezTo>
                  <a:cubicBezTo>
                    <a:pt x="118" y="0"/>
                    <a:pt x="112" y="0"/>
                    <a:pt x="106" y="0"/>
                  </a:cubicBezTo>
                  <a:cubicBezTo>
                    <a:pt x="105" y="3"/>
                    <a:pt x="106" y="6"/>
                    <a:pt x="102" y="6"/>
                  </a:cubicBezTo>
                  <a:cubicBezTo>
                    <a:pt x="74" y="8"/>
                    <a:pt x="52" y="16"/>
                    <a:pt x="30" y="22"/>
                  </a:cubicBezTo>
                  <a:cubicBezTo>
                    <a:pt x="32" y="37"/>
                    <a:pt x="12" y="35"/>
                    <a:pt x="15" y="50"/>
                  </a:cubicBezTo>
                  <a:cubicBezTo>
                    <a:pt x="10" y="56"/>
                    <a:pt x="1" y="58"/>
                    <a:pt x="0" y="66"/>
                  </a:cubicBezTo>
                  <a:cubicBezTo>
                    <a:pt x="12" y="72"/>
                    <a:pt x="24" y="78"/>
                    <a:pt x="37" y="83"/>
                  </a:cubicBezTo>
                  <a:cubicBezTo>
                    <a:pt x="39" y="80"/>
                    <a:pt x="42" y="77"/>
                    <a:pt x="49" y="78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Freeform 260"/>
            <p:cNvSpPr>
              <a:spLocks/>
            </p:cNvSpPr>
            <p:nvPr/>
          </p:nvSpPr>
          <p:spPr bwMode="auto">
            <a:xfrm>
              <a:off x="10056813" y="3516313"/>
              <a:ext cx="190500" cy="82550"/>
            </a:xfrm>
            <a:custGeom>
              <a:avLst/>
              <a:gdLst>
                <a:gd name="T0" fmla="*/ 43 w 66"/>
                <a:gd name="T1" fmla="*/ 29 h 29"/>
                <a:gd name="T2" fmla="*/ 66 w 66"/>
                <a:gd name="T3" fmla="*/ 12 h 29"/>
                <a:gd name="T4" fmla="*/ 36 w 66"/>
                <a:gd name="T5" fmla="*/ 1 h 29"/>
                <a:gd name="T6" fmla="*/ 28 w 66"/>
                <a:gd name="T7" fmla="*/ 7 h 29"/>
                <a:gd name="T8" fmla="*/ 6 w 66"/>
                <a:gd name="T9" fmla="*/ 7 h 29"/>
                <a:gd name="T10" fmla="*/ 43 w 66"/>
                <a:gd name="T11" fmla="*/ 29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6" h="29">
                  <a:moveTo>
                    <a:pt x="43" y="29"/>
                  </a:moveTo>
                  <a:cubicBezTo>
                    <a:pt x="53" y="25"/>
                    <a:pt x="57" y="17"/>
                    <a:pt x="66" y="12"/>
                  </a:cubicBezTo>
                  <a:cubicBezTo>
                    <a:pt x="52" y="11"/>
                    <a:pt x="49" y="0"/>
                    <a:pt x="36" y="1"/>
                  </a:cubicBezTo>
                  <a:cubicBezTo>
                    <a:pt x="34" y="2"/>
                    <a:pt x="32" y="8"/>
                    <a:pt x="28" y="7"/>
                  </a:cubicBezTo>
                  <a:cubicBezTo>
                    <a:pt x="21" y="7"/>
                    <a:pt x="13" y="7"/>
                    <a:pt x="6" y="7"/>
                  </a:cubicBezTo>
                  <a:cubicBezTo>
                    <a:pt x="0" y="27"/>
                    <a:pt x="33" y="20"/>
                    <a:pt x="43" y="29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Freeform 261"/>
            <p:cNvSpPr>
              <a:spLocks/>
            </p:cNvSpPr>
            <p:nvPr/>
          </p:nvSpPr>
          <p:spPr bwMode="auto">
            <a:xfrm>
              <a:off x="6513513" y="3827463"/>
              <a:ext cx="250825" cy="128588"/>
            </a:xfrm>
            <a:custGeom>
              <a:avLst/>
              <a:gdLst>
                <a:gd name="T0" fmla="*/ 64 w 87"/>
                <a:gd name="T1" fmla="*/ 45 h 45"/>
                <a:gd name="T2" fmla="*/ 83 w 87"/>
                <a:gd name="T3" fmla="*/ 37 h 45"/>
                <a:gd name="T4" fmla="*/ 76 w 87"/>
                <a:gd name="T5" fmla="*/ 9 h 45"/>
                <a:gd name="T6" fmla="*/ 38 w 87"/>
                <a:gd name="T7" fmla="*/ 12 h 45"/>
                <a:gd name="T8" fmla="*/ 15 w 87"/>
                <a:gd name="T9" fmla="*/ 1 h 45"/>
                <a:gd name="T10" fmla="*/ 0 w 87"/>
                <a:gd name="T11" fmla="*/ 20 h 45"/>
                <a:gd name="T12" fmla="*/ 19 w 87"/>
                <a:gd name="T13" fmla="*/ 17 h 45"/>
                <a:gd name="T14" fmla="*/ 7 w 87"/>
                <a:gd name="T15" fmla="*/ 34 h 45"/>
                <a:gd name="T16" fmla="*/ 34 w 87"/>
                <a:gd name="T17" fmla="*/ 45 h 45"/>
                <a:gd name="T18" fmla="*/ 64 w 87"/>
                <a:gd name="T19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7" h="45">
                  <a:moveTo>
                    <a:pt x="64" y="45"/>
                  </a:moveTo>
                  <a:cubicBezTo>
                    <a:pt x="65" y="38"/>
                    <a:pt x="79" y="41"/>
                    <a:pt x="83" y="37"/>
                  </a:cubicBezTo>
                  <a:cubicBezTo>
                    <a:pt x="87" y="23"/>
                    <a:pt x="75" y="21"/>
                    <a:pt x="76" y="9"/>
                  </a:cubicBezTo>
                  <a:cubicBezTo>
                    <a:pt x="59" y="13"/>
                    <a:pt x="54" y="7"/>
                    <a:pt x="38" y="12"/>
                  </a:cubicBezTo>
                  <a:cubicBezTo>
                    <a:pt x="28" y="10"/>
                    <a:pt x="28" y="0"/>
                    <a:pt x="15" y="1"/>
                  </a:cubicBezTo>
                  <a:cubicBezTo>
                    <a:pt x="20" y="14"/>
                    <a:pt x="0" y="10"/>
                    <a:pt x="0" y="20"/>
                  </a:cubicBezTo>
                  <a:cubicBezTo>
                    <a:pt x="11" y="22"/>
                    <a:pt x="10" y="16"/>
                    <a:pt x="19" y="17"/>
                  </a:cubicBezTo>
                  <a:cubicBezTo>
                    <a:pt x="17" y="24"/>
                    <a:pt x="4" y="23"/>
                    <a:pt x="7" y="34"/>
                  </a:cubicBezTo>
                  <a:cubicBezTo>
                    <a:pt x="26" y="30"/>
                    <a:pt x="22" y="43"/>
                    <a:pt x="34" y="45"/>
                  </a:cubicBezTo>
                  <a:cubicBezTo>
                    <a:pt x="37" y="39"/>
                    <a:pt x="61" y="42"/>
                    <a:pt x="64" y="45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Freeform 262"/>
            <p:cNvSpPr>
              <a:spLocks/>
            </p:cNvSpPr>
            <p:nvPr/>
          </p:nvSpPr>
          <p:spPr bwMode="auto">
            <a:xfrm>
              <a:off x="5038725" y="3902075"/>
              <a:ext cx="165100" cy="103188"/>
            </a:xfrm>
            <a:custGeom>
              <a:avLst/>
              <a:gdLst>
                <a:gd name="T0" fmla="*/ 57 w 57"/>
                <a:gd name="T1" fmla="*/ 19 h 36"/>
                <a:gd name="T2" fmla="*/ 42 w 57"/>
                <a:gd name="T3" fmla="*/ 5 h 36"/>
                <a:gd name="T4" fmla="*/ 19 w 57"/>
                <a:gd name="T5" fmla="*/ 2 h 36"/>
                <a:gd name="T6" fmla="*/ 0 w 57"/>
                <a:gd name="T7" fmla="*/ 16 h 36"/>
                <a:gd name="T8" fmla="*/ 26 w 57"/>
                <a:gd name="T9" fmla="*/ 27 h 36"/>
                <a:gd name="T10" fmla="*/ 57 w 57"/>
                <a:gd name="T11" fmla="*/ 19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6">
                  <a:moveTo>
                    <a:pt x="57" y="19"/>
                  </a:moveTo>
                  <a:cubicBezTo>
                    <a:pt x="42" y="16"/>
                    <a:pt x="52" y="12"/>
                    <a:pt x="42" y="5"/>
                  </a:cubicBezTo>
                  <a:cubicBezTo>
                    <a:pt x="30" y="7"/>
                    <a:pt x="31" y="0"/>
                    <a:pt x="19" y="2"/>
                  </a:cubicBezTo>
                  <a:cubicBezTo>
                    <a:pt x="14" y="8"/>
                    <a:pt x="17" y="19"/>
                    <a:pt x="0" y="16"/>
                  </a:cubicBezTo>
                  <a:cubicBezTo>
                    <a:pt x="0" y="26"/>
                    <a:pt x="12" y="27"/>
                    <a:pt x="26" y="27"/>
                  </a:cubicBezTo>
                  <a:cubicBezTo>
                    <a:pt x="25" y="6"/>
                    <a:pt x="52" y="36"/>
                    <a:pt x="57" y="19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Freeform 263"/>
            <p:cNvSpPr>
              <a:spLocks/>
            </p:cNvSpPr>
            <p:nvPr/>
          </p:nvSpPr>
          <p:spPr bwMode="auto">
            <a:xfrm>
              <a:off x="6900863" y="4065588"/>
              <a:ext cx="225425" cy="261938"/>
            </a:xfrm>
            <a:custGeom>
              <a:avLst/>
              <a:gdLst>
                <a:gd name="T0" fmla="*/ 78 w 78"/>
                <a:gd name="T1" fmla="*/ 61 h 91"/>
                <a:gd name="T2" fmla="*/ 62 w 78"/>
                <a:gd name="T3" fmla="*/ 53 h 91"/>
                <a:gd name="T4" fmla="*/ 51 w 78"/>
                <a:gd name="T5" fmla="*/ 20 h 91"/>
                <a:gd name="T6" fmla="*/ 36 w 78"/>
                <a:gd name="T7" fmla="*/ 11 h 91"/>
                <a:gd name="T8" fmla="*/ 47 w 78"/>
                <a:gd name="T9" fmla="*/ 0 h 91"/>
                <a:gd name="T10" fmla="*/ 17 w 78"/>
                <a:gd name="T11" fmla="*/ 6 h 91"/>
                <a:gd name="T12" fmla="*/ 13 w 78"/>
                <a:gd name="T13" fmla="*/ 42 h 91"/>
                <a:gd name="T14" fmla="*/ 32 w 78"/>
                <a:gd name="T15" fmla="*/ 47 h 91"/>
                <a:gd name="T16" fmla="*/ 13 w 78"/>
                <a:gd name="T17" fmla="*/ 58 h 91"/>
                <a:gd name="T18" fmla="*/ 21 w 78"/>
                <a:gd name="T19" fmla="*/ 83 h 91"/>
                <a:gd name="T20" fmla="*/ 2 w 78"/>
                <a:gd name="T21" fmla="*/ 91 h 91"/>
                <a:gd name="T22" fmla="*/ 62 w 78"/>
                <a:gd name="T23" fmla="*/ 89 h 91"/>
                <a:gd name="T24" fmla="*/ 78 w 78"/>
                <a:gd name="T25" fmla="*/ 6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8" h="91">
                  <a:moveTo>
                    <a:pt x="78" y="61"/>
                  </a:moveTo>
                  <a:cubicBezTo>
                    <a:pt x="73" y="58"/>
                    <a:pt x="66" y="57"/>
                    <a:pt x="62" y="53"/>
                  </a:cubicBezTo>
                  <a:cubicBezTo>
                    <a:pt x="67" y="37"/>
                    <a:pt x="37" y="34"/>
                    <a:pt x="51" y="20"/>
                  </a:cubicBezTo>
                  <a:cubicBezTo>
                    <a:pt x="46" y="17"/>
                    <a:pt x="40" y="15"/>
                    <a:pt x="36" y="11"/>
                  </a:cubicBezTo>
                  <a:cubicBezTo>
                    <a:pt x="41" y="9"/>
                    <a:pt x="48" y="7"/>
                    <a:pt x="47" y="0"/>
                  </a:cubicBezTo>
                  <a:cubicBezTo>
                    <a:pt x="33" y="0"/>
                    <a:pt x="26" y="4"/>
                    <a:pt x="17" y="6"/>
                  </a:cubicBezTo>
                  <a:cubicBezTo>
                    <a:pt x="20" y="21"/>
                    <a:pt x="11" y="27"/>
                    <a:pt x="13" y="42"/>
                  </a:cubicBezTo>
                  <a:cubicBezTo>
                    <a:pt x="22" y="46"/>
                    <a:pt x="27" y="46"/>
                    <a:pt x="32" y="47"/>
                  </a:cubicBezTo>
                  <a:cubicBezTo>
                    <a:pt x="34" y="57"/>
                    <a:pt x="19" y="62"/>
                    <a:pt x="13" y="58"/>
                  </a:cubicBezTo>
                  <a:cubicBezTo>
                    <a:pt x="10" y="71"/>
                    <a:pt x="16" y="77"/>
                    <a:pt x="21" y="83"/>
                  </a:cubicBezTo>
                  <a:cubicBezTo>
                    <a:pt x="14" y="86"/>
                    <a:pt x="0" y="83"/>
                    <a:pt x="2" y="91"/>
                  </a:cubicBezTo>
                  <a:cubicBezTo>
                    <a:pt x="20" y="89"/>
                    <a:pt x="39" y="88"/>
                    <a:pt x="62" y="89"/>
                  </a:cubicBezTo>
                  <a:cubicBezTo>
                    <a:pt x="66" y="77"/>
                    <a:pt x="63" y="69"/>
                    <a:pt x="78" y="61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Freeform 264"/>
            <p:cNvSpPr>
              <a:spLocks/>
            </p:cNvSpPr>
            <p:nvPr/>
          </p:nvSpPr>
          <p:spPr bwMode="auto">
            <a:xfrm>
              <a:off x="6811963" y="4186238"/>
              <a:ext cx="104775" cy="85725"/>
            </a:xfrm>
            <a:custGeom>
              <a:avLst/>
              <a:gdLst>
                <a:gd name="T0" fmla="*/ 6 w 36"/>
                <a:gd name="T1" fmla="*/ 30 h 30"/>
                <a:gd name="T2" fmla="*/ 36 w 36"/>
                <a:gd name="T3" fmla="*/ 25 h 30"/>
                <a:gd name="T4" fmla="*/ 36 w 36"/>
                <a:gd name="T5" fmla="*/ 0 h 30"/>
                <a:gd name="T6" fmla="*/ 17 w 36"/>
                <a:gd name="T7" fmla="*/ 0 h 30"/>
                <a:gd name="T8" fmla="*/ 2 w 36"/>
                <a:gd name="T9" fmla="*/ 8 h 30"/>
                <a:gd name="T10" fmla="*/ 6 w 36"/>
                <a:gd name="T11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" h="30">
                  <a:moveTo>
                    <a:pt x="6" y="30"/>
                  </a:moveTo>
                  <a:cubicBezTo>
                    <a:pt x="15" y="27"/>
                    <a:pt x="29" y="28"/>
                    <a:pt x="36" y="25"/>
                  </a:cubicBezTo>
                  <a:cubicBezTo>
                    <a:pt x="32" y="13"/>
                    <a:pt x="35" y="12"/>
                    <a:pt x="36" y="0"/>
                  </a:cubicBezTo>
                  <a:cubicBezTo>
                    <a:pt x="30" y="0"/>
                    <a:pt x="24" y="0"/>
                    <a:pt x="17" y="0"/>
                  </a:cubicBezTo>
                  <a:cubicBezTo>
                    <a:pt x="17" y="12"/>
                    <a:pt x="9" y="3"/>
                    <a:pt x="2" y="8"/>
                  </a:cubicBezTo>
                  <a:cubicBezTo>
                    <a:pt x="3" y="16"/>
                    <a:pt x="0" y="26"/>
                    <a:pt x="6" y="30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Freeform 265"/>
            <p:cNvSpPr>
              <a:spLocks/>
            </p:cNvSpPr>
            <p:nvPr/>
          </p:nvSpPr>
          <p:spPr bwMode="auto">
            <a:xfrm>
              <a:off x="10507663" y="4430713"/>
              <a:ext cx="165100" cy="109538"/>
            </a:xfrm>
            <a:custGeom>
              <a:avLst/>
              <a:gdLst>
                <a:gd name="T0" fmla="*/ 23 w 57"/>
                <a:gd name="T1" fmla="*/ 25 h 38"/>
                <a:gd name="T2" fmla="*/ 35 w 57"/>
                <a:gd name="T3" fmla="*/ 33 h 38"/>
                <a:gd name="T4" fmla="*/ 57 w 57"/>
                <a:gd name="T5" fmla="*/ 11 h 38"/>
                <a:gd name="T6" fmla="*/ 4 w 57"/>
                <a:gd name="T7" fmla="*/ 0 h 38"/>
                <a:gd name="T8" fmla="*/ 0 w 57"/>
                <a:gd name="T9" fmla="*/ 31 h 38"/>
                <a:gd name="T10" fmla="*/ 23 w 57"/>
                <a:gd name="T11" fmla="*/ 2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" h="38">
                  <a:moveTo>
                    <a:pt x="23" y="25"/>
                  </a:moveTo>
                  <a:cubicBezTo>
                    <a:pt x="30" y="25"/>
                    <a:pt x="26" y="34"/>
                    <a:pt x="35" y="33"/>
                  </a:cubicBezTo>
                  <a:cubicBezTo>
                    <a:pt x="43" y="26"/>
                    <a:pt x="42" y="13"/>
                    <a:pt x="57" y="11"/>
                  </a:cubicBezTo>
                  <a:cubicBezTo>
                    <a:pt x="37" y="9"/>
                    <a:pt x="25" y="2"/>
                    <a:pt x="4" y="0"/>
                  </a:cubicBezTo>
                  <a:cubicBezTo>
                    <a:pt x="7" y="13"/>
                    <a:pt x="0" y="19"/>
                    <a:pt x="0" y="31"/>
                  </a:cubicBezTo>
                  <a:cubicBezTo>
                    <a:pt x="11" y="38"/>
                    <a:pt x="10" y="23"/>
                    <a:pt x="23" y="2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Freeform 266"/>
            <p:cNvSpPr>
              <a:spLocks/>
            </p:cNvSpPr>
            <p:nvPr/>
          </p:nvSpPr>
          <p:spPr bwMode="auto">
            <a:xfrm>
              <a:off x="10321925" y="4525963"/>
              <a:ext cx="287338" cy="269875"/>
            </a:xfrm>
            <a:custGeom>
              <a:avLst/>
              <a:gdLst>
                <a:gd name="T0" fmla="*/ 1 w 100"/>
                <a:gd name="T1" fmla="*/ 77 h 94"/>
                <a:gd name="T2" fmla="*/ 16 w 100"/>
                <a:gd name="T3" fmla="*/ 94 h 94"/>
                <a:gd name="T4" fmla="*/ 39 w 100"/>
                <a:gd name="T5" fmla="*/ 75 h 94"/>
                <a:gd name="T6" fmla="*/ 50 w 100"/>
                <a:gd name="T7" fmla="*/ 77 h 94"/>
                <a:gd name="T8" fmla="*/ 100 w 100"/>
                <a:gd name="T9" fmla="*/ 55 h 94"/>
                <a:gd name="T10" fmla="*/ 92 w 100"/>
                <a:gd name="T11" fmla="*/ 0 h 94"/>
                <a:gd name="T12" fmla="*/ 77 w 100"/>
                <a:gd name="T13" fmla="*/ 0 h 94"/>
                <a:gd name="T14" fmla="*/ 81 w 100"/>
                <a:gd name="T15" fmla="*/ 33 h 94"/>
                <a:gd name="T16" fmla="*/ 77 w 100"/>
                <a:gd name="T17" fmla="*/ 39 h 94"/>
                <a:gd name="T18" fmla="*/ 43 w 100"/>
                <a:gd name="T19" fmla="*/ 55 h 94"/>
                <a:gd name="T20" fmla="*/ 5 w 100"/>
                <a:gd name="T21" fmla="*/ 72 h 94"/>
                <a:gd name="T22" fmla="*/ 24 w 100"/>
                <a:gd name="T23" fmla="*/ 77 h 94"/>
                <a:gd name="T24" fmla="*/ 1 w 100"/>
                <a:gd name="T25" fmla="*/ 7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0" h="94">
                  <a:moveTo>
                    <a:pt x="1" y="77"/>
                  </a:moveTo>
                  <a:cubicBezTo>
                    <a:pt x="0" y="87"/>
                    <a:pt x="10" y="89"/>
                    <a:pt x="16" y="94"/>
                  </a:cubicBezTo>
                  <a:cubicBezTo>
                    <a:pt x="19" y="84"/>
                    <a:pt x="28" y="79"/>
                    <a:pt x="39" y="75"/>
                  </a:cubicBezTo>
                  <a:cubicBezTo>
                    <a:pt x="44" y="75"/>
                    <a:pt x="47" y="76"/>
                    <a:pt x="50" y="77"/>
                  </a:cubicBezTo>
                  <a:cubicBezTo>
                    <a:pt x="62" y="67"/>
                    <a:pt x="87" y="66"/>
                    <a:pt x="100" y="55"/>
                  </a:cubicBezTo>
                  <a:cubicBezTo>
                    <a:pt x="99" y="36"/>
                    <a:pt x="91" y="21"/>
                    <a:pt x="92" y="0"/>
                  </a:cubicBezTo>
                  <a:cubicBezTo>
                    <a:pt x="87" y="0"/>
                    <a:pt x="82" y="0"/>
                    <a:pt x="77" y="0"/>
                  </a:cubicBezTo>
                  <a:cubicBezTo>
                    <a:pt x="81" y="13"/>
                    <a:pt x="75" y="19"/>
                    <a:pt x="81" y="33"/>
                  </a:cubicBezTo>
                  <a:cubicBezTo>
                    <a:pt x="78" y="34"/>
                    <a:pt x="76" y="36"/>
                    <a:pt x="77" y="39"/>
                  </a:cubicBezTo>
                  <a:cubicBezTo>
                    <a:pt x="63" y="43"/>
                    <a:pt x="56" y="46"/>
                    <a:pt x="43" y="55"/>
                  </a:cubicBezTo>
                  <a:cubicBezTo>
                    <a:pt x="29" y="60"/>
                    <a:pt x="5" y="57"/>
                    <a:pt x="5" y="72"/>
                  </a:cubicBezTo>
                  <a:cubicBezTo>
                    <a:pt x="3" y="80"/>
                    <a:pt x="25" y="70"/>
                    <a:pt x="24" y="77"/>
                  </a:cubicBezTo>
                  <a:cubicBezTo>
                    <a:pt x="16" y="77"/>
                    <a:pt x="8" y="77"/>
                    <a:pt x="1" y="7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Freeform 267"/>
            <p:cNvSpPr>
              <a:spLocks/>
            </p:cNvSpPr>
            <p:nvPr/>
          </p:nvSpPr>
          <p:spPr bwMode="auto">
            <a:xfrm>
              <a:off x="7659688" y="4672013"/>
              <a:ext cx="73025" cy="38100"/>
            </a:xfrm>
            <a:custGeom>
              <a:avLst/>
              <a:gdLst>
                <a:gd name="T0" fmla="*/ 0 w 25"/>
                <a:gd name="T1" fmla="*/ 4 h 13"/>
                <a:gd name="T2" fmla="*/ 23 w 25"/>
                <a:gd name="T3" fmla="*/ 13 h 13"/>
                <a:gd name="T4" fmla="*/ 4 w 25"/>
                <a:gd name="T5" fmla="*/ 2 h 13"/>
                <a:gd name="T6" fmla="*/ 0 w 25"/>
                <a:gd name="T7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3">
                  <a:moveTo>
                    <a:pt x="0" y="4"/>
                  </a:moveTo>
                  <a:cubicBezTo>
                    <a:pt x="1" y="12"/>
                    <a:pt x="12" y="7"/>
                    <a:pt x="23" y="13"/>
                  </a:cubicBezTo>
                  <a:cubicBezTo>
                    <a:pt x="25" y="2"/>
                    <a:pt x="17" y="0"/>
                    <a:pt x="4" y="2"/>
                  </a:cubicBezTo>
                  <a:cubicBezTo>
                    <a:pt x="4" y="4"/>
                    <a:pt x="2" y="4"/>
                    <a:pt x="0" y="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Freeform 268"/>
            <p:cNvSpPr>
              <a:spLocks/>
            </p:cNvSpPr>
            <p:nvPr/>
          </p:nvSpPr>
          <p:spPr bwMode="auto">
            <a:xfrm>
              <a:off x="10094913" y="4913313"/>
              <a:ext cx="77788" cy="88900"/>
            </a:xfrm>
            <a:custGeom>
              <a:avLst/>
              <a:gdLst>
                <a:gd name="T0" fmla="*/ 0 w 27"/>
                <a:gd name="T1" fmla="*/ 14 h 31"/>
                <a:gd name="T2" fmla="*/ 11 w 27"/>
                <a:gd name="T3" fmla="*/ 31 h 31"/>
                <a:gd name="T4" fmla="*/ 27 w 27"/>
                <a:gd name="T5" fmla="*/ 6 h 31"/>
                <a:gd name="T6" fmla="*/ 0 w 27"/>
                <a:gd name="T7" fmla="*/ 14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1">
                  <a:moveTo>
                    <a:pt x="0" y="14"/>
                  </a:moveTo>
                  <a:cubicBezTo>
                    <a:pt x="6" y="18"/>
                    <a:pt x="10" y="23"/>
                    <a:pt x="11" y="31"/>
                  </a:cubicBezTo>
                  <a:cubicBezTo>
                    <a:pt x="27" y="30"/>
                    <a:pt x="26" y="17"/>
                    <a:pt x="27" y="6"/>
                  </a:cubicBezTo>
                  <a:cubicBezTo>
                    <a:pt x="17" y="0"/>
                    <a:pt x="4" y="8"/>
                    <a:pt x="0" y="14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Freeform 269"/>
            <p:cNvSpPr>
              <a:spLocks/>
            </p:cNvSpPr>
            <p:nvPr/>
          </p:nvSpPr>
          <p:spPr bwMode="auto">
            <a:xfrm>
              <a:off x="5038725" y="4930775"/>
              <a:ext cx="44450" cy="31750"/>
            </a:xfrm>
            <a:custGeom>
              <a:avLst/>
              <a:gdLst>
                <a:gd name="T0" fmla="*/ 0 w 15"/>
                <a:gd name="T1" fmla="*/ 0 h 11"/>
                <a:gd name="T2" fmla="*/ 0 w 15"/>
                <a:gd name="T3" fmla="*/ 11 h 11"/>
                <a:gd name="T4" fmla="*/ 15 w 15"/>
                <a:gd name="T5" fmla="*/ 11 h 11"/>
                <a:gd name="T6" fmla="*/ 0 w 15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1">
                  <a:moveTo>
                    <a:pt x="0" y="0"/>
                  </a:moveTo>
                  <a:cubicBezTo>
                    <a:pt x="0" y="3"/>
                    <a:pt x="0" y="7"/>
                    <a:pt x="0" y="11"/>
                  </a:cubicBezTo>
                  <a:cubicBezTo>
                    <a:pt x="5" y="11"/>
                    <a:pt x="10" y="11"/>
                    <a:pt x="15" y="11"/>
                  </a:cubicBezTo>
                  <a:cubicBezTo>
                    <a:pt x="15" y="4"/>
                    <a:pt x="10" y="0"/>
                    <a:pt x="0" y="0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Freeform 270"/>
            <p:cNvSpPr>
              <a:spLocks/>
            </p:cNvSpPr>
            <p:nvPr/>
          </p:nvSpPr>
          <p:spPr bwMode="auto">
            <a:xfrm>
              <a:off x="5111750" y="4930775"/>
              <a:ext cx="50800" cy="42863"/>
            </a:xfrm>
            <a:custGeom>
              <a:avLst/>
              <a:gdLst>
                <a:gd name="T0" fmla="*/ 17 w 18"/>
                <a:gd name="T1" fmla="*/ 13 h 15"/>
                <a:gd name="T2" fmla="*/ 13 w 18"/>
                <a:gd name="T3" fmla="*/ 0 h 15"/>
                <a:gd name="T4" fmla="*/ 1 w 18"/>
                <a:gd name="T5" fmla="*/ 0 h 15"/>
                <a:gd name="T6" fmla="*/ 17 w 18"/>
                <a:gd name="T7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15">
                  <a:moveTo>
                    <a:pt x="17" y="13"/>
                  </a:moveTo>
                  <a:cubicBezTo>
                    <a:pt x="18" y="7"/>
                    <a:pt x="16" y="3"/>
                    <a:pt x="13" y="0"/>
                  </a:cubicBezTo>
                  <a:cubicBezTo>
                    <a:pt x="9" y="0"/>
                    <a:pt x="5" y="0"/>
                    <a:pt x="1" y="0"/>
                  </a:cubicBezTo>
                  <a:cubicBezTo>
                    <a:pt x="0" y="9"/>
                    <a:pt x="3" y="15"/>
                    <a:pt x="17" y="13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271"/>
            <p:cNvSpPr>
              <a:spLocks/>
            </p:cNvSpPr>
            <p:nvPr/>
          </p:nvSpPr>
          <p:spPr bwMode="auto">
            <a:xfrm>
              <a:off x="5172075" y="4962525"/>
              <a:ext cx="42863" cy="42863"/>
            </a:xfrm>
            <a:custGeom>
              <a:avLst/>
              <a:gdLst>
                <a:gd name="T0" fmla="*/ 0 w 15"/>
                <a:gd name="T1" fmla="*/ 0 h 15"/>
                <a:gd name="T2" fmla="*/ 0 w 15"/>
                <a:gd name="T3" fmla="*/ 14 h 15"/>
                <a:gd name="T4" fmla="*/ 15 w 15"/>
                <a:gd name="T5" fmla="*/ 11 h 15"/>
                <a:gd name="T6" fmla="*/ 0 w 15"/>
                <a:gd name="T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0"/>
                  </a:moveTo>
                  <a:cubicBezTo>
                    <a:pt x="0" y="4"/>
                    <a:pt x="0" y="9"/>
                    <a:pt x="0" y="14"/>
                  </a:cubicBezTo>
                  <a:cubicBezTo>
                    <a:pt x="7" y="15"/>
                    <a:pt x="10" y="12"/>
                    <a:pt x="15" y="11"/>
                  </a:cubicBezTo>
                  <a:cubicBezTo>
                    <a:pt x="14" y="4"/>
                    <a:pt x="9" y="0"/>
                    <a:pt x="0" y="0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272"/>
            <p:cNvSpPr>
              <a:spLocks/>
            </p:cNvSpPr>
            <p:nvPr/>
          </p:nvSpPr>
          <p:spPr bwMode="auto">
            <a:xfrm>
              <a:off x="4884738" y="4976813"/>
              <a:ext cx="415925" cy="127000"/>
            </a:xfrm>
            <a:custGeom>
              <a:avLst/>
              <a:gdLst>
                <a:gd name="T0" fmla="*/ 92 w 145"/>
                <a:gd name="T1" fmla="*/ 39 h 44"/>
                <a:gd name="T2" fmla="*/ 119 w 145"/>
                <a:gd name="T3" fmla="*/ 44 h 44"/>
                <a:gd name="T4" fmla="*/ 145 w 145"/>
                <a:gd name="T5" fmla="*/ 39 h 44"/>
                <a:gd name="T6" fmla="*/ 96 w 145"/>
                <a:gd name="T7" fmla="*/ 22 h 44"/>
                <a:gd name="T8" fmla="*/ 88 w 145"/>
                <a:gd name="T9" fmla="*/ 11 h 44"/>
                <a:gd name="T10" fmla="*/ 65 w 145"/>
                <a:gd name="T11" fmla="*/ 0 h 44"/>
                <a:gd name="T12" fmla="*/ 8 w 145"/>
                <a:gd name="T13" fmla="*/ 0 h 44"/>
                <a:gd name="T14" fmla="*/ 1 w 145"/>
                <a:gd name="T15" fmla="*/ 14 h 44"/>
                <a:gd name="T16" fmla="*/ 35 w 145"/>
                <a:gd name="T17" fmla="*/ 9 h 44"/>
                <a:gd name="T18" fmla="*/ 69 w 145"/>
                <a:gd name="T19" fmla="*/ 25 h 44"/>
                <a:gd name="T20" fmla="*/ 100 w 145"/>
                <a:gd name="T21" fmla="*/ 28 h 44"/>
                <a:gd name="T22" fmla="*/ 92 w 145"/>
                <a:gd name="T23" fmla="*/ 39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45" h="44">
                  <a:moveTo>
                    <a:pt x="92" y="39"/>
                  </a:moveTo>
                  <a:cubicBezTo>
                    <a:pt x="106" y="37"/>
                    <a:pt x="110" y="42"/>
                    <a:pt x="119" y="44"/>
                  </a:cubicBezTo>
                  <a:cubicBezTo>
                    <a:pt x="119" y="36"/>
                    <a:pt x="134" y="39"/>
                    <a:pt x="145" y="39"/>
                  </a:cubicBezTo>
                  <a:cubicBezTo>
                    <a:pt x="140" y="21"/>
                    <a:pt x="119" y="23"/>
                    <a:pt x="96" y="22"/>
                  </a:cubicBezTo>
                  <a:cubicBezTo>
                    <a:pt x="99" y="15"/>
                    <a:pt x="88" y="17"/>
                    <a:pt x="88" y="11"/>
                  </a:cubicBezTo>
                  <a:cubicBezTo>
                    <a:pt x="80" y="8"/>
                    <a:pt x="67" y="8"/>
                    <a:pt x="65" y="0"/>
                  </a:cubicBezTo>
                  <a:cubicBezTo>
                    <a:pt x="46" y="0"/>
                    <a:pt x="27" y="0"/>
                    <a:pt x="8" y="0"/>
                  </a:cubicBezTo>
                  <a:cubicBezTo>
                    <a:pt x="7" y="6"/>
                    <a:pt x="0" y="7"/>
                    <a:pt x="1" y="14"/>
                  </a:cubicBezTo>
                  <a:cubicBezTo>
                    <a:pt x="16" y="15"/>
                    <a:pt x="16" y="5"/>
                    <a:pt x="35" y="9"/>
                  </a:cubicBezTo>
                  <a:cubicBezTo>
                    <a:pt x="51" y="11"/>
                    <a:pt x="53" y="23"/>
                    <a:pt x="69" y="25"/>
                  </a:cubicBezTo>
                  <a:cubicBezTo>
                    <a:pt x="78" y="27"/>
                    <a:pt x="97" y="22"/>
                    <a:pt x="100" y="28"/>
                  </a:cubicBezTo>
                  <a:cubicBezTo>
                    <a:pt x="86" y="28"/>
                    <a:pt x="90" y="32"/>
                    <a:pt x="92" y="39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273"/>
            <p:cNvSpPr>
              <a:spLocks/>
            </p:cNvSpPr>
            <p:nvPr/>
          </p:nvSpPr>
          <p:spPr bwMode="auto">
            <a:xfrm>
              <a:off x="5191125" y="4991100"/>
              <a:ext cx="77788" cy="38100"/>
            </a:xfrm>
            <a:custGeom>
              <a:avLst/>
              <a:gdLst>
                <a:gd name="T0" fmla="*/ 23 w 27"/>
                <a:gd name="T1" fmla="*/ 4 h 13"/>
                <a:gd name="T2" fmla="*/ 8 w 27"/>
                <a:gd name="T3" fmla="*/ 1 h 13"/>
                <a:gd name="T4" fmla="*/ 23 w 27"/>
                <a:gd name="T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13">
                  <a:moveTo>
                    <a:pt x="23" y="4"/>
                  </a:moveTo>
                  <a:cubicBezTo>
                    <a:pt x="22" y="0"/>
                    <a:pt x="13" y="1"/>
                    <a:pt x="8" y="1"/>
                  </a:cubicBezTo>
                  <a:cubicBezTo>
                    <a:pt x="0" y="11"/>
                    <a:pt x="27" y="13"/>
                    <a:pt x="23" y="4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274"/>
            <p:cNvSpPr>
              <a:spLocks/>
            </p:cNvSpPr>
            <p:nvPr/>
          </p:nvSpPr>
          <p:spPr bwMode="auto">
            <a:xfrm>
              <a:off x="10137775" y="5037138"/>
              <a:ext cx="117475" cy="98425"/>
            </a:xfrm>
            <a:custGeom>
              <a:avLst/>
              <a:gdLst>
                <a:gd name="T0" fmla="*/ 0 w 41"/>
                <a:gd name="T1" fmla="*/ 18 h 34"/>
                <a:gd name="T2" fmla="*/ 23 w 41"/>
                <a:gd name="T3" fmla="*/ 34 h 34"/>
                <a:gd name="T4" fmla="*/ 38 w 41"/>
                <a:gd name="T5" fmla="*/ 10 h 34"/>
                <a:gd name="T6" fmla="*/ 0 w 41"/>
                <a:gd name="T7" fmla="*/ 1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1" h="34">
                  <a:moveTo>
                    <a:pt x="0" y="18"/>
                  </a:moveTo>
                  <a:cubicBezTo>
                    <a:pt x="6" y="25"/>
                    <a:pt x="14" y="30"/>
                    <a:pt x="23" y="34"/>
                  </a:cubicBezTo>
                  <a:cubicBezTo>
                    <a:pt x="28" y="26"/>
                    <a:pt x="41" y="23"/>
                    <a:pt x="38" y="10"/>
                  </a:cubicBezTo>
                  <a:cubicBezTo>
                    <a:pt x="28" y="0"/>
                    <a:pt x="0" y="4"/>
                    <a:pt x="0" y="18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275"/>
            <p:cNvSpPr>
              <a:spLocks/>
            </p:cNvSpPr>
            <p:nvPr/>
          </p:nvSpPr>
          <p:spPr bwMode="auto">
            <a:xfrm>
              <a:off x="9855200" y="5057775"/>
              <a:ext cx="63500" cy="53975"/>
            </a:xfrm>
            <a:custGeom>
              <a:avLst/>
              <a:gdLst>
                <a:gd name="T0" fmla="*/ 7 w 22"/>
                <a:gd name="T1" fmla="*/ 19 h 19"/>
                <a:gd name="T2" fmla="*/ 22 w 22"/>
                <a:gd name="T3" fmla="*/ 3 h 19"/>
                <a:gd name="T4" fmla="*/ 7 w 22"/>
                <a:gd name="T5" fmla="*/ 0 h 19"/>
                <a:gd name="T6" fmla="*/ 7 w 22"/>
                <a:gd name="T7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19">
                  <a:moveTo>
                    <a:pt x="7" y="19"/>
                  </a:moveTo>
                  <a:cubicBezTo>
                    <a:pt x="18" y="18"/>
                    <a:pt x="18" y="8"/>
                    <a:pt x="22" y="3"/>
                  </a:cubicBezTo>
                  <a:cubicBezTo>
                    <a:pt x="19" y="0"/>
                    <a:pt x="14" y="0"/>
                    <a:pt x="7" y="0"/>
                  </a:cubicBezTo>
                  <a:cubicBezTo>
                    <a:pt x="0" y="11"/>
                    <a:pt x="2" y="2"/>
                    <a:pt x="7" y="19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276"/>
            <p:cNvSpPr>
              <a:spLocks/>
            </p:cNvSpPr>
            <p:nvPr/>
          </p:nvSpPr>
          <p:spPr bwMode="auto">
            <a:xfrm>
              <a:off x="5027613" y="5065713"/>
              <a:ext cx="84138" cy="41275"/>
            </a:xfrm>
            <a:custGeom>
              <a:avLst/>
              <a:gdLst>
                <a:gd name="T0" fmla="*/ 0 w 29"/>
                <a:gd name="T1" fmla="*/ 2 h 14"/>
                <a:gd name="T2" fmla="*/ 0 w 29"/>
                <a:gd name="T3" fmla="*/ 13 h 14"/>
                <a:gd name="T4" fmla="*/ 27 w 29"/>
                <a:gd name="T5" fmla="*/ 11 h 14"/>
                <a:gd name="T6" fmla="*/ 0 w 29"/>
                <a:gd name="T7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9" h="14">
                  <a:moveTo>
                    <a:pt x="0" y="2"/>
                  </a:moveTo>
                  <a:cubicBezTo>
                    <a:pt x="0" y="6"/>
                    <a:pt x="0" y="10"/>
                    <a:pt x="0" y="13"/>
                  </a:cubicBezTo>
                  <a:cubicBezTo>
                    <a:pt x="13" y="10"/>
                    <a:pt x="13" y="14"/>
                    <a:pt x="27" y="11"/>
                  </a:cubicBezTo>
                  <a:cubicBezTo>
                    <a:pt x="29" y="0"/>
                    <a:pt x="12" y="3"/>
                    <a:pt x="0" y="2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277"/>
            <p:cNvSpPr>
              <a:spLocks/>
            </p:cNvSpPr>
            <p:nvPr/>
          </p:nvSpPr>
          <p:spPr bwMode="auto">
            <a:xfrm>
              <a:off x="5324475" y="5072063"/>
              <a:ext cx="74613" cy="34925"/>
            </a:xfrm>
            <a:custGeom>
              <a:avLst/>
              <a:gdLst>
                <a:gd name="T0" fmla="*/ 0 w 26"/>
                <a:gd name="T1" fmla="*/ 11 h 12"/>
                <a:gd name="T2" fmla="*/ 22 w 26"/>
                <a:gd name="T3" fmla="*/ 0 h 12"/>
                <a:gd name="T4" fmla="*/ 0 w 26"/>
                <a:gd name="T5" fmla="*/ 0 h 12"/>
                <a:gd name="T6" fmla="*/ 0 w 26"/>
                <a:gd name="T7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6" h="12">
                  <a:moveTo>
                    <a:pt x="0" y="11"/>
                  </a:moveTo>
                  <a:cubicBezTo>
                    <a:pt x="13" y="12"/>
                    <a:pt x="26" y="12"/>
                    <a:pt x="22" y="0"/>
                  </a:cubicBezTo>
                  <a:cubicBezTo>
                    <a:pt x="15" y="0"/>
                    <a:pt x="7" y="0"/>
                    <a:pt x="0" y="0"/>
                  </a:cubicBezTo>
                  <a:cubicBezTo>
                    <a:pt x="0" y="4"/>
                    <a:pt x="0" y="8"/>
                    <a:pt x="0" y="11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278"/>
            <p:cNvSpPr>
              <a:spLocks/>
            </p:cNvSpPr>
            <p:nvPr/>
          </p:nvSpPr>
          <p:spPr bwMode="auto">
            <a:xfrm>
              <a:off x="6438900" y="5103813"/>
              <a:ext cx="53975" cy="31750"/>
            </a:xfrm>
            <a:custGeom>
              <a:avLst/>
              <a:gdLst>
                <a:gd name="T0" fmla="*/ 11 w 19"/>
                <a:gd name="T1" fmla="*/ 0 h 11"/>
                <a:gd name="T2" fmla="*/ 3 w 19"/>
                <a:gd name="T3" fmla="*/ 11 h 11"/>
                <a:gd name="T4" fmla="*/ 18 w 19"/>
                <a:gd name="T5" fmla="*/ 11 h 11"/>
                <a:gd name="T6" fmla="*/ 11 w 19"/>
                <a:gd name="T7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1">
                  <a:moveTo>
                    <a:pt x="11" y="0"/>
                  </a:moveTo>
                  <a:cubicBezTo>
                    <a:pt x="11" y="6"/>
                    <a:pt x="0" y="4"/>
                    <a:pt x="3" y="11"/>
                  </a:cubicBezTo>
                  <a:cubicBezTo>
                    <a:pt x="8" y="11"/>
                    <a:pt x="13" y="11"/>
                    <a:pt x="18" y="11"/>
                  </a:cubicBezTo>
                  <a:cubicBezTo>
                    <a:pt x="19" y="5"/>
                    <a:pt x="17" y="1"/>
                    <a:pt x="11" y="0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279"/>
            <p:cNvSpPr>
              <a:spLocks/>
            </p:cNvSpPr>
            <p:nvPr/>
          </p:nvSpPr>
          <p:spPr bwMode="auto">
            <a:xfrm>
              <a:off x="10226675" y="5153025"/>
              <a:ext cx="184150" cy="117475"/>
            </a:xfrm>
            <a:custGeom>
              <a:avLst/>
              <a:gdLst>
                <a:gd name="T0" fmla="*/ 0 w 64"/>
                <a:gd name="T1" fmla="*/ 27 h 41"/>
                <a:gd name="T2" fmla="*/ 22 w 64"/>
                <a:gd name="T3" fmla="*/ 27 h 41"/>
                <a:gd name="T4" fmla="*/ 26 w 64"/>
                <a:gd name="T5" fmla="*/ 41 h 41"/>
                <a:gd name="T6" fmla="*/ 60 w 64"/>
                <a:gd name="T7" fmla="*/ 30 h 41"/>
                <a:gd name="T8" fmla="*/ 41 w 64"/>
                <a:gd name="T9" fmla="*/ 14 h 41"/>
                <a:gd name="T10" fmla="*/ 26 w 64"/>
                <a:gd name="T11" fmla="*/ 0 h 41"/>
                <a:gd name="T12" fmla="*/ 22 w 64"/>
                <a:gd name="T13" fmla="*/ 19 h 41"/>
                <a:gd name="T14" fmla="*/ 0 w 64"/>
                <a:gd name="T15" fmla="*/ 27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41">
                  <a:moveTo>
                    <a:pt x="0" y="27"/>
                  </a:moveTo>
                  <a:cubicBezTo>
                    <a:pt x="8" y="33"/>
                    <a:pt x="10" y="26"/>
                    <a:pt x="22" y="27"/>
                  </a:cubicBezTo>
                  <a:cubicBezTo>
                    <a:pt x="21" y="34"/>
                    <a:pt x="14" y="39"/>
                    <a:pt x="26" y="41"/>
                  </a:cubicBezTo>
                  <a:cubicBezTo>
                    <a:pt x="32" y="33"/>
                    <a:pt x="42" y="29"/>
                    <a:pt x="60" y="30"/>
                  </a:cubicBezTo>
                  <a:cubicBezTo>
                    <a:pt x="64" y="18"/>
                    <a:pt x="48" y="19"/>
                    <a:pt x="41" y="14"/>
                  </a:cubicBezTo>
                  <a:cubicBezTo>
                    <a:pt x="42" y="5"/>
                    <a:pt x="37" y="0"/>
                    <a:pt x="26" y="0"/>
                  </a:cubicBezTo>
                  <a:cubicBezTo>
                    <a:pt x="21" y="3"/>
                    <a:pt x="22" y="12"/>
                    <a:pt x="22" y="19"/>
                  </a:cubicBezTo>
                  <a:cubicBezTo>
                    <a:pt x="10" y="14"/>
                    <a:pt x="6" y="21"/>
                    <a:pt x="0" y="2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280"/>
            <p:cNvSpPr>
              <a:spLocks/>
            </p:cNvSpPr>
            <p:nvPr/>
          </p:nvSpPr>
          <p:spPr bwMode="auto">
            <a:xfrm>
              <a:off x="9102725" y="5256213"/>
              <a:ext cx="98425" cy="82550"/>
            </a:xfrm>
            <a:custGeom>
              <a:avLst/>
              <a:gdLst>
                <a:gd name="T0" fmla="*/ 14 w 34"/>
                <a:gd name="T1" fmla="*/ 0 h 29"/>
                <a:gd name="T2" fmla="*/ 14 w 34"/>
                <a:gd name="T3" fmla="*/ 27 h 29"/>
                <a:gd name="T4" fmla="*/ 34 w 34"/>
                <a:gd name="T5" fmla="*/ 19 h 29"/>
                <a:gd name="T6" fmla="*/ 14 w 34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29">
                  <a:moveTo>
                    <a:pt x="14" y="0"/>
                  </a:moveTo>
                  <a:cubicBezTo>
                    <a:pt x="20" y="16"/>
                    <a:pt x="0" y="19"/>
                    <a:pt x="14" y="27"/>
                  </a:cubicBezTo>
                  <a:cubicBezTo>
                    <a:pt x="26" y="29"/>
                    <a:pt x="25" y="20"/>
                    <a:pt x="34" y="19"/>
                  </a:cubicBezTo>
                  <a:cubicBezTo>
                    <a:pt x="30" y="10"/>
                    <a:pt x="22" y="5"/>
                    <a:pt x="14" y="0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281"/>
            <p:cNvSpPr>
              <a:spLocks/>
            </p:cNvSpPr>
            <p:nvPr/>
          </p:nvSpPr>
          <p:spPr bwMode="auto">
            <a:xfrm>
              <a:off x="9864725" y="5324475"/>
              <a:ext cx="279400" cy="258763"/>
            </a:xfrm>
            <a:custGeom>
              <a:avLst/>
              <a:gdLst>
                <a:gd name="T0" fmla="*/ 0 w 97"/>
                <a:gd name="T1" fmla="*/ 50 h 90"/>
                <a:gd name="T2" fmla="*/ 19 w 97"/>
                <a:gd name="T3" fmla="*/ 78 h 90"/>
                <a:gd name="T4" fmla="*/ 65 w 97"/>
                <a:gd name="T5" fmla="*/ 86 h 90"/>
                <a:gd name="T6" fmla="*/ 76 w 97"/>
                <a:gd name="T7" fmla="*/ 78 h 90"/>
                <a:gd name="T8" fmla="*/ 69 w 97"/>
                <a:gd name="T9" fmla="*/ 75 h 90"/>
                <a:gd name="T10" fmla="*/ 88 w 97"/>
                <a:gd name="T11" fmla="*/ 50 h 90"/>
                <a:gd name="T12" fmla="*/ 84 w 97"/>
                <a:gd name="T13" fmla="*/ 25 h 90"/>
                <a:gd name="T14" fmla="*/ 95 w 97"/>
                <a:gd name="T15" fmla="*/ 12 h 90"/>
                <a:gd name="T16" fmla="*/ 61 w 97"/>
                <a:gd name="T17" fmla="*/ 0 h 90"/>
                <a:gd name="T18" fmla="*/ 0 w 97"/>
                <a:gd name="T19" fmla="*/ 5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90">
                  <a:moveTo>
                    <a:pt x="0" y="50"/>
                  </a:moveTo>
                  <a:cubicBezTo>
                    <a:pt x="4" y="61"/>
                    <a:pt x="20" y="63"/>
                    <a:pt x="19" y="78"/>
                  </a:cubicBezTo>
                  <a:cubicBezTo>
                    <a:pt x="44" y="74"/>
                    <a:pt x="40" y="90"/>
                    <a:pt x="65" y="86"/>
                  </a:cubicBezTo>
                  <a:cubicBezTo>
                    <a:pt x="64" y="80"/>
                    <a:pt x="76" y="83"/>
                    <a:pt x="76" y="78"/>
                  </a:cubicBezTo>
                  <a:cubicBezTo>
                    <a:pt x="73" y="77"/>
                    <a:pt x="69" y="78"/>
                    <a:pt x="69" y="75"/>
                  </a:cubicBezTo>
                  <a:cubicBezTo>
                    <a:pt x="81" y="71"/>
                    <a:pt x="75" y="54"/>
                    <a:pt x="88" y="50"/>
                  </a:cubicBezTo>
                  <a:cubicBezTo>
                    <a:pt x="79" y="41"/>
                    <a:pt x="91" y="32"/>
                    <a:pt x="84" y="25"/>
                  </a:cubicBezTo>
                  <a:cubicBezTo>
                    <a:pt x="90" y="23"/>
                    <a:pt x="97" y="20"/>
                    <a:pt x="95" y="12"/>
                  </a:cubicBezTo>
                  <a:cubicBezTo>
                    <a:pt x="86" y="6"/>
                    <a:pt x="79" y="0"/>
                    <a:pt x="61" y="0"/>
                  </a:cubicBezTo>
                  <a:cubicBezTo>
                    <a:pt x="57" y="29"/>
                    <a:pt x="7" y="24"/>
                    <a:pt x="0" y="50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Freeform 282"/>
            <p:cNvSpPr>
              <a:spLocks/>
            </p:cNvSpPr>
            <p:nvPr/>
          </p:nvSpPr>
          <p:spPr bwMode="auto">
            <a:xfrm>
              <a:off x="9517063" y="5341938"/>
              <a:ext cx="276225" cy="247650"/>
            </a:xfrm>
            <a:custGeom>
              <a:avLst/>
              <a:gdLst>
                <a:gd name="T0" fmla="*/ 49 w 96"/>
                <a:gd name="T1" fmla="*/ 25 h 86"/>
                <a:gd name="T2" fmla="*/ 34 w 96"/>
                <a:gd name="T3" fmla="*/ 6 h 86"/>
                <a:gd name="T4" fmla="*/ 19 w 96"/>
                <a:gd name="T5" fmla="*/ 0 h 86"/>
                <a:gd name="T6" fmla="*/ 0 w 96"/>
                <a:gd name="T7" fmla="*/ 3 h 86"/>
                <a:gd name="T8" fmla="*/ 45 w 96"/>
                <a:gd name="T9" fmla="*/ 66 h 86"/>
                <a:gd name="T10" fmla="*/ 87 w 96"/>
                <a:gd name="T11" fmla="*/ 80 h 86"/>
                <a:gd name="T12" fmla="*/ 80 w 96"/>
                <a:gd name="T13" fmla="*/ 44 h 86"/>
                <a:gd name="T14" fmla="*/ 49 w 96"/>
                <a:gd name="T15" fmla="*/ 2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6" h="86">
                  <a:moveTo>
                    <a:pt x="49" y="25"/>
                  </a:moveTo>
                  <a:cubicBezTo>
                    <a:pt x="43" y="18"/>
                    <a:pt x="31" y="14"/>
                    <a:pt x="34" y="6"/>
                  </a:cubicBezTo>
                  <a:cubicBezTo>
                    <a:pt x="24" y="8"/>
                    <a:pt x="26" y="0"/>
                    <a:pt x="19" y="0"/>
                  </a:cubicBezTo>
                  <a:cubicBezTo>
                    <a:pt x="19" y="12"/>
                    <a:pt x="9" y="0"/>
                    <a:pt x="0" y="3"/>
                  </a:cubicBezTo>
                  <a:cubicBezTo>
                    <a:pt x="0" y="35"/>
                    <a:pt x="53" y="28"/>
                    <a:pt x="45" y="66"/>
                  </a:cubicBezTo>
                  <a:cubicBezTo>
                    <a:pt x="64" y="68"/>
                    <a:pt x="69" y="86"/>
                    <a:pt x="87" y="80"/>
                  </a:cubicBezTo>
                  <a:cubicBezTo>
                    <a:pt x="96" y="69"/>
                    <a:pt x="79" y="57"/>
                    <a:pt x="80" y="44"/>
                  </a:cubicBezTo>
                  <a:cubicBezTo>
                    <a:pt x="68" y="38"/>
                    <a:pt x="54" y="31"/>
                    <a:pt x="49" y="2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Freeform 283"/>
            <p:cNvSpPr>
              <a:spLocks/>
            </p:cNvSpPr>
            <p:nvPr/>
          </p:nvSpPr>
          <p:spPr bwMode="auto">
            <a:xfrm>
              <a:off x="10085388" y="5427663"/>
              <a:ext cx="184150" cy="152400"/>
            </a:xfrm>
            <a:custGeom>
              <a:avLst/>
              <a:gdLst>
                <a:gd name="T0" fmla="*/ 64 w 64"/>
                <a:gd name="T1" fmla="*/ 17 h 53"/>
                <a:gd name="T2" fmla="*/ 33 w 64"/>
                <a:gd name="T3" fmla="*/ 0 h 53"/>
                <a:gd name="T4" fmla="*/ 30 w 64"/>
                <a:gd name="T5" fmla="*/ 53 h 53"/>
                <a:gd name="T6" fmla="*/ 37 w 64"/>
                <a:gd name="T7" fmla="*/ 36 h 53"/>
                <a:gd name="T8" fmla="*/ 60 w 64"/>
                <a:gd name="T9" fmla="*/ 44 h 53"/>
                <a:gd name="T10" fmla="*/ 45 w 64"/>
                <a:gd name="T11" fmla="*/ 17 h 53"/>
                <a:gd name="T12" fmla="*/ 64 w 64"/>
                <a:gd name="T13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53">
                  <a:moveTo>
                    <a:pt x="64" y="17"/>
                  </a:moveTo>
                  <a:cubicBezTo>
                    <a:pt x="63" y="5"/>
                    <a:pt x="40" y="8"/>
                    <a:pt x="33" y="0"/>
                  </a:cubicBezTo>
                  <a:cubicBezTo>
                    <a:pt x="14" y="12"/>
                    <a:pt x="0" y="42"/>
                    <a:pt x="30" y="53"/>
                  </a:cubicBezTo>
                  <a:cubicBezTo>
                    <a:pt x="29" y="45"/>
                    <a:pt x="31" y="39"/>
                    <a:pt x="37" y="36"/>
                  </a:cubicBezTo>
                  <a:cubicBezTo>
                    <a:pt x="46" y="41"/>
                    <a:pt x="46" y="50"/>
                    <a:pt x="60" y="44"/>
                  </a:cubicBezTo>
                  <a:cubicBezTo>
                    <a:pt x="58" y="33"/>
                    <a:pt x="45" y="29"/>
                    <a:pt x="45" y="17"/>
                  </a:cubicBezTo>
                  <a:cubicBezTo>
                    <a:pt x="50" y="20"/>
                    <a:pt x="59" y="20"/>
                    <a:pt x="64" y="1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284"/>
            <p:cNvSpPr>
              <a:spLocks/>
            </p:cNvSpPr>
            <p:nvPr/>
          </p:nvSpPr>
          <p:spPr bwMode="auto">
            <a:xfrm>
              <a:off x="10387013" y="5427663"/>
              <a:ext cx="120650" cy="58738"/>
            </a:xfrm>
            <a:custGeom>
              <a:avLst/>
              <a:gdLst>
                <a:gd name="T0" fmla="*/ 42 w 42"/>
                <a:gd name="T1" fmla="*/ 6 h 20"/>
                <a:gd name="T2" fmla="*/ 1 w 42"/>
                <a:gd name="T3" fmla="*/ 14 h 20"/>
                <a:gd name="T4" fmla="*/ 42 w 42"/>
                <a:gd name="T5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2" h="20">
                  <a:moveTo>
                    <a:pt x="42" y="6"/>
                  </a:moveTo>
                  <a:cubicBezTo>
                    <a:pt x="30" y="0"/>
                    <a:pt x="0" y="1"/>
                    <a:pt x="1" y="14"/>
                  </a:cubicBezTo>
                  <a:cubicBezTo>
                    <a:pt x="14" y="20"/>
                    <a:pt x="41" y="17"/>
                    <a:pt x="42" y="6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Freeform 285"/>
            <p:cNvSpPr>
              <a:spLocks/>
            </p:cNvSpPr>
            <p:nvPr/>
          </p:nvSpPr>
          <p:spPr bwMode="auto">
            <a:xfrm>
              <a:off x="10414000" y="5476875"/>
              <a:ext cx="511175" cy="219075"/>
            </a:xfrm>
            <a:custGeom>
              <a:avLst/>
              <a:gdLst>
                <a:gd name="T0" fmla="*/ 75 w 178"/>
                <a:gd name="T1" fmla="*/ 0 h 76"/>
                <a:gd name="T2" fmla="*/ 49 w 178"/>
                <a:gd name="T3" fmla="*/ 0 h 76"/>
                <a:gd name="T4" fmla="*/ 33 w 178"/>
                <a:gd name="T5" fmla="*/ 8 h 76"/>
                <a:gd name="T6" fmla="*/ 15 w 178"/>
                <a:gd name="T7" fmla="*/ 3 h 76"/>
                <a:gd name="T8" fmla="*/ 3 w 178"/>
                <a:gd name="T9" fmla="*/ 14 h 76"/>
                <a:gd name="T10" fmla="*/ 22 w 178"/>
                <a:gd name="T11" fmla="*/ 14 h 76"/>
                <a:gd name="T12" fmla="*/ 75 w 178"/>
                <a:gd name="T13" fmla="*/ 41 h 76"/>
                <a:gd name="T14" fmla="*/ 75 w 178"/>
                <a:gd name="T15" fmla="*/ 58 h 76"/>
                <a:gd name="T16" fmla="*/ 117 w 178"/>
                <a:gd name="T17" fmla="*/ 66 h 76"/>
                <a:gd name="T18" fmla="*/ 144 w 178"/>
                <a:gd name="T19" fmla="*/ 55 h 76"/>
                <a:gd name="T20" fmla="*/ 178 w 178"/>
                <a:gd name="T21" fmla="*/ 66 h 76"/>
                <a:gd name="T22" fmla="*/ 166 w 178"/>
                <a:gd name="T23" fmla="*/ 50 h 76"/>
                <a:gd name="T24" fmla="*/ 136 w 178"/>
                <a:gd name="T25" fmla="*/ 30 h 76"/>
                <a:gd name="T26" fmla="*/ 136 w 178"/>
                <a:gd name="T27" fmla="*/ 22 h 76"/>
                <a:gd name="T28" fmla="*/ 75 w 178"/>
                <a:gd name="T29" fmla="*/ 0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8" h="76">
                  <a:moveTo>
                    <a:pt x="75" y="0"/>
                  </a:moveTo>
                  <a:cubicBezTo>
                    <a:pt x="66" y="0"/>
                    <a:pt x="57" y="0"/>
                    <a:pt x="49" y="0"/>
                  </a:cubicBezTo>
                  <a:cubicBezTo>
                    <a:pt x="45" y="4"/>
                    <a:pt x="43" y="9"/>
                    <a:pt x="33" y="8"/>
                  </a:cubicBezTo>
                  <a:cubicBezTo>
                    <a:pt x="22" y="10"/>
                    <a:pt x="26" y="0"/>
                    <a:pt x="15" y="3"/>
                  </a:cubicBezTo>
                  <a:cubicBezTo>
                    <a:pt x="16" y="10"/>
                    <a:pt x="0" y="5"/>
                    <a:pt x="3" y="14"/>
                  </a:cubicBezTo>
                  <a:cubicBezTo>
                    <a:pt x="4" y="20"/>
                    <a:pt x="13" y="10"/>
                    <a:pt x="22" y="14"/>
                  </a:cubicBezTo>
                  <a:cubicBezTo>
                    <a:pt x="39" y="23"/>
                    <a:pt x="61" y="29"/>
                    <a:pt x="75" y="41"/>
                  </a:cubicBezTo>
                  <a:cubicBezTo>
                    <a:pt x="75" y="47"/>
                    <a:pt x="75" y="52"/>
                    <a:pt x="75" y="58"/>
                  </a:cubicBezTo>
                  <a:cubicBezTo>
                    <a:pt x="96" y="49"/>
                    <a:pt x="102" y="63"/>
                    <a:pt x="117" y="66"/>
                  </a:cubicBezTo>
                  <a:cubicBezTo>
                    <a:pt x="130" y="66"/>
                    <a:pt x="126" y="52"/>
                    <a:pt x="144" y="55"/>
                  </a:cubicBezTo>
                  <a:cubicBezTo>
                    <a:pt x="152" y="59"/>
                    <a:pt x="163" y="76"/>
                    <a:pt x="178" y="66"/>
                  </a:cubicBezTo>
                  <a:cubicBezTo>
                    <a:pt x="170" y="64"/>
                    <a:pt x="166" y="58"/>
                    <a:pt x="166" y="50"/>
                  </a:cubicBezTo>
                  <a:cubicBezTo>
                    <a:pt x="156" y="43"/>
                    <a:pt x="142" y="39"/>
                    <a:pt x="136" y="30"/>
                  </a:cubicBezTo>
                  <a:cubicBezTo>
                    <a:pt x="136" y="27"/>
                    <a:pt x="136" y="25"/>
                    <a:pt x="136" y="22"/>
                  </a:cubicBezTo>
                  <a:cubicBezTo>
                    <a:pt x="107" y="21"/>
                    <a:pt x="99" y="5"/>
                    <a:pt x="75" y="0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7" name="Freeform 286"/>
            <p:cNvSpPr>
              <a:spLocks/>
            </p:cNvSpPr>
            <p:nvPr/>
          </p:nvSpPr>
          <p:spPr bwMode="auto">
            <a:xfrm>
              <a:off x="9769475" y="5580063"/>
              <a:ext cx="287338" cy="90488"/>
            </a:xfrm>
            <a:custGeom>
              <a:avLst/>
              <a:gdLst>
                <a:gd name="T0" fmla="*/ 98 w 100"/>
                <a:gd name="T1" fmla="*/ 27 h 31"/>
                <a:gd name="T2" fmla="*/ 86 w 100"/>
                <a:gd name="T3" fmla="*/ 11 h 31"/>
                <a:gd name="T4" fmla="*/ 10 w 100"/>
                <a:gd name="T5" fmla="*/ 0 h 31"/>
                <a:gd name="T6" fmla="*/ 3 w 100"/>
                <a:gd name="T7" fmla="*/ 16 h 31"/>
                <a:gd name="T8" fmla="*/ 98 w 100"/>
                <a:gd name="T9" fmla="*/ 2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0" h="31">
                  <a:moveTo>
                    <a:pt x="98" y="27"/>
                  </a:moveTo>
                  <a:cubicBezTo>
                    <a:pt x="100" y="17"/>
                    <a:pt x="85" y="20"/>
                    <a:pt x="86" y="11"/>
                  </a:cubicBezTo>
                  <a:cubicBezTo>
                    <a:pt x="55" y="11"/>
                    <a:pt x="33" y="5"/>
                    <a:pt x="10" y="0"/>
                  </a:cubicBezTo>
                  <a:cubicBezTo>
                    <a:pt x="7" y="5"/>
                    <a:pt x="0" y="7"/>
                    <a:pt x="3" y="16"/>
                  </a:cubicBezTo>
                  <a:cubicBezTo>
                    <a:pt x="39" y="16"/>
                    <a:pt x="56" y="31"/>
                    <a:pt x="98" y="27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8" name="Freeform 287"/>
            <p:cNvSpPr>
              <a:spLocks/>
            </p:cNvSpPr>
            <p:nvPr/>
          </p:nvSpPr>
          <p:spPr bwMode="auto">
            <a:xfrm>
              <a:off x="9918700" y="5689600"/>
              <a:ext cx="1031875" cy="650875"/>
            </a:xfrm>
            <a:custGeom>
              <a:avLst/>
              <a:gdLst>
                <a:gd name="T0" fmla="*/ 327 w 359"/>
                <a:gd name="T1" fmla="*/ 97 h 226"/>
                <a:gd name="T2" fmla="*/ 323 w 359"/>
                <a:gd name="T3" fmla="*/ 64 h 226"/>
                <a:gd name="T4" fmla="*/ 308 w 359"/>
                <a:gd name="T5" fmla="*/ 53 h 226"/>
                <a:gd name="T6" fmla="*/ 285 w 359"/>
                <a:gd name="T7" fmla="*/ 3 h 226"/>
                <a:gd name="T8" fmla="*/ 270 w 359"/>
                <a:gd name="T9" fmla="*/ 0 h 226"/>
                <a:gd name="T10" fmla="*/ 259 w 359"/>
                <a:gd name="T11" fmla="*/ 47 h 226"/>
                <a:gd name="T12" fmla="*/ 236 w 359"/>
                <a:gd name="T13" fmla="*/ 42 h 226"/>
                <a:gd name="T14" fmla="*/ 221 w 359"/>
                <a:gd name="T15" fmla="*/ 28 h 226"/>
                <a:gd name="T16" fmla="*/ 236 w 359"/>
                <a:gd name="T17" fmla="*/ 17 h 226"/>
                <a:gd name="T18" fmla="*/ 164 w 359"/>
                <a:gd name="T19" fmla="*/ 9 h 226"/>
                <a:gd name="T20" fmla="*/ 156 w 359"/>
                <a:gd name="T21" fmla="*/ 22 h 226"/>
                <a:gd name="T22" fmla="*/ 118 w 359"/>
                <a:gd name="T23" fmla="*/ 31 h 226"/>
                <a:gd name="T24" fmla="*/ 103 w 359"/>
                <a:gd name="T25" fmla="*/ 55 h 226"/>
                <a:gd name="T26" fmla="*/ 72 w 359"/>
                <a:gd name="T27" fmla="*/ 55 h 226"/>
                <a:gd name="T28" fmla="*/ 65 w 359"/>
                <a:gd name="T29" fmla="*/ 72 h 226"/>
                <a:gd name="T30" fmla="*/ 50 w 359"/>
                <a:gd name="T31" fmla="*/ 69 h 226"/>
                <a:gd name="T32" fmla="*/ 31 w 359"/>
                <a:gd name="T33" fmla="*/ 97 h 226"/>
                <a:gd name="T34" fmla="*/ 0 w 359"/>
                <a:gd name="T35" fmla="*/ 105 h 226"/>
                <a:gd name="T36" fmla="*/ 4 w 359"/>
                <a:gd name="T37" fmla="*/ 146 h 226"/>
                <a:gd name="T38" fmla="*/ 15 w 359"/>
                <a:gd name="T39" fmla="*/ 160 h 226"/>
                <a:gd name="T40" fmla="*/ 11 w 359"/>
                <a:gd name="T41" fmla="*/ 190 h 226"/>
                <a:gd name="T42" fmla="*/ 34 w 359"/>
                <a:gd name="T43" fmla="*/ 196 h 226"/>
                <a:gd name="T44" fmla="*/ 88 w 359"/>
                <a:gd name="T45" fmla="*/ 185 h 226"/>
                <a:gd name="T46" fmla="*/ 160 w 359"/>
                <a:gd name="T47" fmla="*/ 171 h 226"/>
                <a:gd name="T48" fmla="*/ 183 w 359"/>
                <a:gd name="T49" fmla="*/ 196 h 226"/>
                <a:gd name="T50" fmla="*/ 209 w 359"/>
                <a:gd name="T51" fmla="*/ 196 h 226"/>
                <a:gd name="T52" fmla="*/ 205 w 359"/>
                <a:gd name="T53" fmla="*/ 215 h 226"/>
                <a:gd name="T54" fmla="*/ 281 w 359"/>
                <a:gd name="T55" fmla="*/ 226 h 226"/>
                <a:gd name="T56" fmla="*/ 312 w 359"/>
                <a:gd name="T57" fmla="*/ 212 h 226"/>
                <a:gd name="T58" fmla="*/ 327 w 359"/>
                <a:gd name="T59" fmla="*/ 185 h 226"/>
                <a:gd name="T60" fmla="*/ 350 w 359"/>
                <a:gd name="T61" fmla="*/ 171 h 226"/>
                <a:gd name="T62" fmla="*/ 357 w 359"/>
                <a:gd name="T63" fmla="*/ 146 h 226"/>
                <a:gd name="T64" fmla="*/ 346 w 359"/>
                <a:gd name="T65" fmla="*/ 97 h 226"/>
                <a:gd name="T66" fmla="*/ 327 w 359"/>
                <a:gd name="T67" fmla="*/ 97 h 2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59" h="226">
                  <a:moveTo>
                    <a:pt x="327" y="97"/>
                  </a:moveTo>
                  <a:cubicBezTo>
                    <a:pt x="328" y="84"/>
                    <a:pt x="320" y="78"/>
                    <a:pt x="323" y="64"/>
                  </a:cubicBezTo>
                  <a:cubicBezTo>
                    <a:pt x="316" y="62"/>
                    <a:pt x="314" y="55"/>
                    <a:pt x="308" y="53"/>
                  </a:cubicBezTo>
                  <a:cubicBezTo>
                    <a:pt x="307" y="31"/>
                    <a:pt x="281" y="28"/>
                    <a:pt x="285" y="3"/>
                  </a:cubicBezTo>
                  <a:cubicBezTo>
                    <a:pt x="278" y="4"/>
                    <a:pt x="277" y="0"/>
                    <a:pt x="270" y="0"/>
                  </a:cubicBezTo>
                  <a:cubicBezTo>
                    <a:pt x="260" y="12"/>
                    <a:pt x="274" y="40"/>
                    <a:pt x="259" y="47"/>
                  </a:cubicBezTo>
                  <a:cubicBezTo>
                    <a:pt x="244" y="51"/>
                    <a:pt x="251" y="38"/>
                    <a:pt x="236" y="42"/>
                  </a:cubicBezTo>
                  <a:cubicBezTo>
                    <a:pt x="235" y="34"/>
                    <a:pt x="218" y="38"/>
                    <a:pt x="221" y="28"/>
                  </a:cubicBezTo>
                  <a:cubicBezTo>
                    <a:pt x="219" y="19"/>
                    <a:pt x="239" y="27"/>
                    <a:pt x="236" y="17"/>
                  </a:cubicBezTo>
                  <a:cubicBezTo>
                    <a:pt x="223" y="6"/>
                    <a:pt x="184" y="14"/>
                    <a:pt x="164" y="9"/>
                  </a:cubicBezTo>
                  <a:cubicBezTo>
                    <a:pt x="157" y="10"/>
                    <a:pt x="164" y="22"/>
                    <a:pt x="156" y="22"/>
                  </a:cubicBezTo>
                  <a:cubicBezTo>
                    <a:pt x="142" y="24"/>
                    <a:pt x="129" y="27"/>
                    <a:pt x="118" y="31"/>
                  </a:cubicBezTo>
                  <a:cubicBezTo>
                    <a:pt x="113" y="39"/>
                    <a:pt x="117" y="54"/>
                    <a:pt x="103" y="55"/>
                  </a:cubicBezTo>
                  <a:cubicBezTo>
                    <a:pt x="94" y="49"/>
                    <a:pt x="84" y="56"/>
                    <a:pt x="72" y="55"/>
                  </a:cubicBezTo>
                  <a:cubicBezTo>
                    <a:pt x="65" y="57"/>
                    <a:pt x="73" y="71"/>
                    <a:pt x="65" y="72"/>
                  </a:cubicBezTo>
                  <a:cubicBezTo>
                    <a:pt x="57" y="70"/>
                    <a:pt x="57" y="64"/>
                    <a:pt x="50" y="69"/>
                  </a:cubicBezTo>
                  <a:cubicBezTo>
                    <a:pt x="40" y="76"/>
                    <a:pt x="45" y="93"/>
                    <a:pt x="31" y="97"/>
                  </a:cubicBezTo>
                  <a:cubicBezTo>
                    <a:pt x="22" y="101"/>
                    <a:pt x="5" y="98"/>
                    <a:pt x="0" y="105"/>
                  </a:cubicBezTo>
                  <a:cubicBezTo>
                    <a:pt x="4" y="117"/>
                    <a:pt x="14" y="132"/>
                    <a:pt x="4" y="146"/>
                  </a:cubicBezTo>
                  <a:cubicBezTo>
                    <a:pt x="11" y="148"/>
                    <a:pt x="14" y="154"/>
                    <a:pt x="15" y="160"/>
                  </a:cubicBezTo>
                  <a:cubicBezTo>
                    <a:pt x="18" y="173"/>
                    <a:pt x="9" y="177"/>
                    <a:pt x="11" y="190"/>
                  </a:cubicBezTo>
                  <a:cubicBezTo>
                    <a:pt x="23" y="190"/>
                    <a:pt x="23" y="197"/>
                    <a:pt x="34" y="196"/>
                  </a:cubicBezTo>
                  <a:cubicBezTo>
                    <a:pt x="50" y="191"/>
                    <a:pt x="60" y="181"/>
                    <a:pt x="88" y="185"/>
                  </a:cubicBezTo>
                  <a:cubicBezTo>
                    <a:pt x="101" y="173"/>
                    <a:pt x="128" y="170"/>
                    <a:pt x="160" y="171"/>
                  </a:cubicBezTo>
                  <a:cubicBezTo>
                    <a:pt x="171" y="177"/>
                    <a:pt x="178" y="186"/>
                    <a:pt x="183" y="196"/>
                  </a:cubicBezTo>
                  <a:cubicBezTo>
                    <a:pt x="197" y="191"/>
                    <a:pt x="193" y="202"/>
                    <a:pt x="209" y="196"/>
                  </a:cubicBezTo>
                  <a:cubicBezTo>
                    <a:pt x="209" y="203"/>
                    <a:pt x="211" y="212"/>
                    <a:pt x="205" y="215"/>
                  </a:cubicBezTo>
                  <a:cubicBezTo>
                    <a:pt x="230" y="225"/>
                    <a:pt x="244" y="226"/>
                    <a:pt x="281" y="226"/>
                  </a:cubicBezTo>
                  <a:cubicBezTo>
                    <a:pt x="291" y="221"/>
                    <a:pt x="298" y="214"/>
                    <a:pt x="312" y="212"/>
                  </a:cubicBezTo>
                  <a:cubicBezTo>
                    <a:pt x="310" y="198"/>
                    <a:pt x="330" y="200"/>
                    <a:pt x="327" y="185"/>
                  </a:cubicBezTo>
                  <a:cubicBezTo>
                    <a:pt x="340" y="184"/>
                    <a:pt x="337" y="172"/>
                    <a:pt x="350" y="171"/>
                  </a:cubicBezTo>
                  <a:cubicBezTo>
                    <a:pt x="345" y="161"/>
                    <a:pt x="356" y="155"/>
                    <a:pt x="357" y="146"/>
                  </a:cubicBezTo>
                  <a:cubicBezTo>
                    <a:pt x="359" y="129"/>
                    <a:pt x="350" y="112"/>
                    <a:pt x="346" y="97"/>
                  </a:cubicBezTo>
                  <a:cubicBezTo>
                    <a:pt x="336" y="93"/>
                    <a:pt x="330" y="105"/>
                    <a:pt x="327" y="97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9" name="Freeform 288"/>
            <p:cNvSpPr>
              <a:spLocks/>
            </p:cNvSpPr>
            <p:nvPr/>
          </p:nvSpPr>
          <p:spPr bwMode="auto">
            <a:xfrm>
              <a:off x="8143875" y="5710238"/>
              <a:ext cx="214313" cy="339725"/>
            </a:xfrm>
            <a:custGeom>
              <a:avLst/>
              <a:gdLst>
                <a:gd name="T0" fmla="*/ 60 w 75"/>
                <a:gd name="T1" fmla="*/ 2 h 118"/>
                <a:gd name="T2" fmla="*/ 45 w 75"/>
                <a:gd name="T3" fmla="*/ 29 h 118"/>
                <a:gd name="T4" fmla="*/ 10 w 75"/>
                <a:gd name="T5" fmla="*/ 48 h 118"/>
                <a:gd name="T6" fmla="*/ 14 w 75"/>
                <a:gd name="T7" fmla="*/ 68 h 118"/>
                <a:gd name="T8" fmla="*/ 3 w 75"/>
                <a:gd name="T9" fmla="*/ 84 h 118"/>
                <a:gd name="T10" fmla="*/ 14 w 75"/>
                <a:gd name="T11" fmla="*/ 117 h 118"/>
                <a:gd name="T12" fmla="*/ 45 w 75"/>
                <a:gd name="T13" fmla="*/ 114 h 118"/>
                <a:gd name="T14" fmla="*/ 60 w 75"/>
                <a:gd name="T15" fmla="*/ 84 h 118"/>
                <a:gd name="T16" fmla="*/ 60 w 75"/>
                <a:gd name="T17" fmla="*/ 70 h 118"/>
                <a:gd name="T18" fmla="*/ 67 w 75"/>
                <a:gd name="T19" fmla="*/ 65 h 118"/>
                <a:gd name="T20" fmla="*/ 75 w 75"/>
                <a:gd name="T21" fmla="*/ 21 h 118"/>
                <a:gd name="T22" fmla="*/ 60 w 75"/>
                <a:gd name="T23" fmla="*/ 2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5" h="118">
                  <a:moveTo>
                    <a:pt x="60" y="2"/>
                  </a:moveTo>
                  <a:cubicBezTo>
                    <a:pt x="53" y="10"/>
                    <a:pt x="47" y="18"/>
                    <a:pt x="45" y="29"/>
                  </a:cubicBezTo>
                  <a:cubicBezTo>
                    <a:pt x="28" y="32"/>
                    <a:pt x="20" y="40"/>
                    <a:pt x="10" y="48"/>
                  </a:cubicBezTo>
                  <a:cubicBezTo>
                    <a:pt x="7" y="58"/>
                    <a:pt x="16" y="59"/>
                    <a:pt x="14" y="68"/>
                  </a:cubicBezTo>
                  <a:cubicBezTo>
                    <a:pt x="11" y="73"/>
                    <a:pt x="8" y="80"/>
                    <a:pt x="3" y="84"/>
                  </a:cubicBezTo>
                  <a:cubicBezTo>
                    <a:pt x="11" y="97"/>
                    <a:pt x="0" y="108"/>
                    <a:pt x="14" y="117"/>
                  </a:cubicBezTo>
                  <a:cubicBezTo>
                    <a:pt x="26" y="118"/>
                    <a:pt x="30" y="112"/>
                    <a:pt x="45" y="114"/>
                  </a:cubicBezTo>
                  <a:cubicBezTo>
                    <a:pt x="53" y="102"/>
                    <a:pt x="50" y="97"/>
                    <a:pt x="60" y="84"/>
                  </a:cubicBezTo>
                  <a:cubicBezTo>
                    <a:pt x="60" y="80"/>
                    <a:pt x="60" y="75"/>
                    <a:pt x="60" y="70"/>
                  </a:cubicBezTo>
                  <a:cubicBezTo>
                    <a:pt x="61" y="67"/>
                    <a:pt x="64" y="66"/>
                    <a:pt x="67" y="65"/>
                  </a:cubicBezTo>
                  <a:cubicBezTo>
                    <a:pt x="60" y="53"/>
                    <a:pt x="74" y="41"/>
                    <a:pt x="75" y="21"/>
                  </a:cubicBezTo>
                  <a:cubicBezTo>
                    <a:pt x="61" y="21"/>
                    <a:pt x="75" y="0"/>
                    <a:pt x="60" y="2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0" name="Freeform 289"/>
            <p:cNvSpPr>
              <a:spLocks/>
            </p:cNvSpPr>
            <p:nvPr/>
          </p:nvSpPr>
          <p:spPr bwMode="auto">
            <a:xfrm>
              <a:off x="11376025" y="6210300"/>
              <a:ext cx="180975" cy="169863"/>
            </a:xfrm>
            <a:custGeom>
              <a:avLst/>
              <a:gdLst>
                <a:gd name="T0" fmla="*/ 29 w 63"/>
                <a:gd name="T1" fmla="*/ 15 h 59"/>
                <a:gd name="T2" fmla="*/ 18 w 63"/>
                <a:gd name="T3" fmla="*/ 1 h 59"/>
                <a:gd name="T4" fmla="*/ 18 w 63"/>
                <a:gd name="T5" fmla="*/ 23 h 59"/>
                <a:gd name="T6" fmla="*/ 2 w 63"/>
                <a:gd name="T7" fmla="*/ 42 h 59"/>
                <a:gd name="T8" fmla="*/ 10 w 63"/>
                <a:gd name="T9" fmla="*/ 59 h 59"/>
                <a:gd name="T10" fmla="*/ 44 w 63"/>
                <a:gd name="T11" fmla="*/ 29 h 59"/>
                <a:gd name="T12" fmla="*/ 63 w 63"/>
                <a:gd name="T13" fmla="*/ 18 h 59"/>
                <a:gd name="T14" fmla="*/ 29 w 63"/>
                <a:gd name="T15" fmla="*/ 1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59">
                  <a:moveTo>
                    <a:pt x="29" y="15"/>
                  </a:moveTo>
                  <a:cubicBezTo>
                    <a:pt x="30" y="7"/>
                    <a:pt x="29" y="0"/>
                    <a:pt x="18" y="1"/>
                  </a:cubicBezTo>
                  <a:cubicBezTo>
                    <a:pt x="18" y="8"/>
                    <a:pt x="18" y="16"/>
                    <a:pt x="18" y="23"/>
                  </a:cubicBezTo>
                  <a:cubicBezTo>
                    <a:pt x="15" y="31"/>
                    <a:pt x="0" y="30"/>
                    <a:pt x="2" y="42"/>
                  </a:cubicBezTo>
                  <a:cubicBezTo>
                    <a:pt x="28" y="40"/>
                    <a:pt x="11" y="51"/>
                    <a:pt x="10" y="59"/>
                  </a:cubicBezTo>
                  <a:cubicBezTo>
                    <a:pt x="34" y="58"/>
                    <a:pt x="35" y="40"/>
                    <a:pt x="44" y="29"/>
                  </a:cubicBezTo>
                  <a:cubicBezTo>
                    <a:pt x="50" y="24"/>
                    <a:pt x="60" y="24"/>
                    <a:pt x="63" y="18"/>
                  </a:cubicBezTo>
                  <a:cubicBezTo>
                    <a:pt x="54" y="9"/>
                    <a:pt x="47" y="16"/>
                    <a:pt x="29" y="15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290"/>
            <p:cNvSpPr>
              <a:spLocks/>
            </p:cNvSpPr>
            <p:nvPr/>
          </p:nvSpPr>
          <p:spPr bwMode="auto">
            <a:xfrm>
              <a:off x="11131550" y="6348413"/>
              <a:ext cx="261938" cy="180975"/>
            </a:xfrm>
            <a:custGeom>
              <a:avLst/>
              <a:gdLst>
                <a:gd name="T0" fmla="*/ 72 w 91"/>
                <a:gd name="T1" fmla="*/ 0 h 63"/>
                <a:gd name="T2" fmla="*/ 61 w 91"/>
                <a:gd name="T3" fmla="*/ 16 h 63"/>
                <a:gd name="T4" fmla="*/ 45 w 91"/>
                <a:gd name="T5" fmla="*/ 19 h 63"/>
                <a:gd name="T6" fmla="*/ 27 w 91"/>
                <a:gd name="T7" fmla="*/ 36 h 63"/>
                <a:gd name="T8" fmla="*/ 0 w 91"/>
                <a:gd name="T9" fmla="*/ 63 h 63"/>
                <a:gd name="T10" fmla="*/ 34 w 91"/>
                <a:gd name="T11" fmla="*/ 63 h 63"/>
                <a:gd name="T12" fmla="*/ 45 w 91"/>
                <a:gd name="T13" fmla="*/ 44 h 63"/>
                <a:gd name="T14" fmla="*/ 61 w 91"/>
                <a:gd name="T15" fmla="*/ 44 h 63"/>
                <a:gd name="T16" fmla="*/ 91 w 91"/>
                <a:gd name="T17" fmla="*/ 16 h 63"/>
                <a:gd name="T18" fmla="*/ 72 w 91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" h="63">
                  <a:moveTo>
                    <a:pt x="72" y="0"/>
                  </a:moveTo>
                  <a:cubicBezTo>
                    <a:pt x="69" y="6"/>
                    <a:pt x="61" y="8"/>
                    <a:pt x="61" y="16"/>
                  </a:cubicBezTo>
                  <a:cubicBezTo>
                    <a:pt x="54" y="16"/>
                    <a:pt x="49" y="17"/>
                    <a:pt x="45" y="19"/>
                  </a:cubicBezTo>
                  <a:cubicBezTo>
                    <a:pt x="39" y="25"/>
                    <a:pt x="37" y="33"/>
                    <a:pt x="27" y="36"/>
                  </a:cubicBezTo>
                  <a:cubicBezTo>
                    <a:pt x="11" y="40"/>
                    <a:pt x="6" y="52"/>
                    <a:pt x="0" y="63"/>
                  </a:cubicBezTo>
                  <a:cubicBezTo>
                    <a:pt x="12" y="59"/>
                    <a:pt x="20" y="62"/>
                    <a:pt x="34" y="63"/>
                  </a:cubicBezTo>
                  <a:cubicBezTo>
                    <a:pt x="38" y="57"/>
                    <a:pt x="49" y="56"/>
                    <a:pt x="45" y="44"/>
                  </a:cubicBezTo>
                  <a:cubicBezTo>
                    <a:pt x="51" y="44"/>
                    <a:pt x="56" y="44"/>
                    <a:pt x="61" y="44"/>
                  </a:cubicBezTo>
                  <a:cubicBezTo>
                    <a:pt x="62" y="28"/>
                    <a:pt x="91" y="33"/>
                    <a:pt x="91" y="16"/>
                  </a:cubicBezTo>
                  <a:cubicBezTo>
                    <a:pt x="90" y="7"/>
                    <a:pt x="80" y="5"/>
                    <a:pt x="72" y="0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2" name="Freeform 291"/>
            <p:cNvSpPr>
              <a:spLocks/>
            </p:cNvSpPr>
            <p:nvPr/>
          </p:nvSpPr>
          <p:spPr bwMode="auto">
            <a:xfrm>
              <a:off x="10582275" y="6362700"/>
              <a:ext cx="144463" cy="80963"/>
            </a:xfrm>
            <a:custGeom>
              <a:avLst/>
              <a:gdLst>
                <a:gd name="T0" fmla="*/ 5 w 50"/>
                <a:gd name="T1" fmla="*/ 3 h 28"/>
                <a:gd name="T2" fmla="*/ 20 w 50"/>
                <a:gd name="T3" fmla="*/ 28 h 28"/>
                <a:gd name="T4" fmla="*/ 47 w 50"/>
                <a:gd name="T5" fmla="*/ 3 h 28"/>
                <a:gd name="T6" fmla="*/ 5 w 50"/>
                <a:gd name="T7" fmla="*/ 3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0" h="28">
                  <a:moveTo>
                    <a:pt x="5" y="3"/>
                  </a:moveTo>
                  <a:cubicBezTo>
                    <a:pt x="0" y="7"/>
                    <a:pt x="17" y="20"/>
                    <a:pt x="20" y="28"/>
                  </a:cubicBezTo>
                  <a:cubicBezTo>
                    <a:pt x="39" y="27"/>
                    <a:pt x="50" y="21"/>
                    <a:pt x="47" y="3"/>
                  </a:cubicBezTo>
                  <a:cubicBezTo>
                    <a:pt x="30" y="5"/>
                    <a:pt x="11" y="0"/>
                    <a:pt x="5" y="3"/>
                  </a:cubicBezTo>
                  <a:close/>
                </a:path>
              </a:pathLst>
            </a:custGeom>
            <a:solidFill>
              <a:srgbClr val="EAAD5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3" name="Freeform 292"/>
            <p:cNvSpPr>
              <a:spLocks/>
            </p:cNvSpPr>
            <p:nvPr/>
          </p:nvSpPr>
          <p:spPr bwMode="auto">
            <a:xfrm>
              <a:off x="5648325" y="6586538"/>
              <a:ext cx="52388" cy="31750"/>
            </a:xfrm>
            <a:custGeom>
              <a:avLst/>
              <a:gdLst>
                <a:gd name="T0" fmla="*/ 1 w 18"/>
                <a:gd name="T1" fmla="*/ 11 h 11"/>
                <a:gd name="T2" fmla="*/ 16 w 18"/>
                <a:gd name="T3" fmla="*/ 11 h 11"/>
                <a:gd name="T4" fmla="*/ 1 w 18"/>
                <a:gd name="T5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" h="11">
                  <a:moveTo>
                    <a:pt x="1" y="11"/>
                  </a:moveTo>
                  <a:cubicBezTo>
                    <a:pt x="6" y="11"/>
                    <a:pt x="11" y="11"/>
                    <a:pt x="16" y="11"/>
                  </a:cubicBezTo>
                  <a:cubicBezTo>
                    <a:pt x="18" y="0"/>
                    <a:pt x="0" y="2"/>
                    <a:pt x="1" y="11"/>
                  </a:cubicBezTo>
                  <a:close/>
                </a:path>
              </a:pathLst>
            </a:custGeom>
            <a:solidFill>
              <a:srgbClr val="40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4" name="Freeform 293"/>
            <p:cNvSpPr>
              <a:spLocks/>
            </p:cNvSpPr>
            <p:nvPr/>
          </p:nvSpPr>
          <p:spPr bwMode="auto">
            <a:xfrm>
              <a:off x="6643688" y="4651375"/>
              <a:ext cx="1760538" cy="1601788"/>
            </a:xfrm>
            <a:custGeom>
              <a:avLst/>
              <a:gdLst>
                <a:gd name="T0" fmla="*/ 601 w 613"/>
                <a:gd name="T1" fmla="*/ 193 h 557"/>
                <a:gd name="T2" fmla="*/ 570 w 613"/>
                <a:gd name="T3" fmla="*/ 201 h 557"/>
                <a:gd name="T4" fmla="*/ 536 w 613"/>
                <a:gd name="T5" fmla="*/ 201 h 557"/>
                <a:gd name="T6" fmla="*/ 502 w 613"/>
                <a:gd name="T7" fmla="*/ 166 h 557"/>
                <a:gd name="T8" fmla="*/ 487 w 613"/>
                <a:gd name="T9" fmla="*/ 130 h 557"/>
                <a:gd name="T10" fmla="*/ 464 w 613"/>
                <a:gd name="T11" fmla="*/ 113 h 557"/>
                <a:gd name="T12" fmla="*/ 463 w 613"/>
                <a:gd name="T13" fmla="*/ 92 h 557"/>
                <a:gd name="T14" fmla="*/ 460 w 613"/>
                <a:gd name="T15" fmla="*/ 85 h 557"/>
                <a:gd name="T16" fmla="*/ 456 w 613"/>
                <a:gd name="T17" fmla="*/ 86 h 557"/>
                <a:gd name="T18" fmla="*/ 458 w 613"/>
                <a:gd name="T19" fmla="*/ 83 h 557"/>
                <a:gd name="T20" fmla="*/ 438 w 613"/>
                <a:gd name="T21" fmla="*/ 50 h 557"/>
                <a:gd name="T22" fmla="*/ 437 w 613"/>
                <a:gd name="T23" fmla="*/ 50 h 557"/>
                <a:gd name="T24" fmla="*/ 338 w 613"/>
                <a:gd name="T25" fmla="*/ 39 h 557"/>
                <a:gd name="T26" fmla="*/ 320 w 613"/>
                <a:gd name="T27" fmla="*/ 56 h 557"/>
                <a:gd name="T28" fmla="*/ 251 w 613"/>
                <a:gd name="T29" fmla="*/ 28 h 557"/>
                <a:gd name="T30" fmla="*/ 244 w 613"/>
                <a:gd name="T31" fmla="*/ 11 h 557"/>
                <a:gd name="T32" fmla="*/ 247 w 613"/>
                <a:gd name="T33" fmla="*/ 0 h 557"/>
                <a:gd name="T34" fmla="*/ 190 w 613"/>
                <a:gd name="T35" fmla="*/ 9 h 557"/>
                <a:gd name="T36" fmla="*/ 118 w 613"/>
                <a:gd name="T37" fmla="*/ 20 h 557"/>
                <a:gd name="T38" fmla="*/ 95 w 613"/>
                <a:gd name="T39" fmla="*/ 11 h 557"/>
                <a:gd name="T40" fmla="*/ 69 w 613"/>
                <a:gd name="T41" fmla="*/ 28 h 557"/>
                <a:gd name="T42" fmla="*/ 54 w 613"/>
                <a:gd name="T43" fmla="*/ 69 h 557"/>
                <a:gd name="T44" fmla="*/ 19 w 613"/>
                <a:gd name="T45" fmla="*/ 91 h 557"/>
                <a:gd name="T46" fmla="*/ 0 w 613"/>
                <a:gd name="T47" fmla="*/ 127 h 557"/>
                <a:gd name="T48" fmla="*/ 0 w 613"/>
                <a:gd name="T49" fmla="*/ 199 h 557"/>
                <a:gd name="T50" fmla="*/ 31 w 613"/>
                <a:gd name="T51" fmla="*/ 237 h 557"/>
                <a:gd name="T52" fmla="*/ 84 w 613"/>
                <a:gd name="T53" fmla="*/ 259 h 557"/>
                <a:gd name="T54" fmla="*/ 137 w 613"/>
                <a:gd name="T55" fmla="*/ 257 h 557"/>
                <a:gd name="T56" fmla="*/ 160 w 613"/>
                <a:gd name="T57" fmla="*/ 243 h 557"/>
                <a:gd name="T58" fmla="*/ 168 w 613"/>
                <a:gd name="T59" fmla="*/ 254 h 557"/>
                <a:gd name="T60" fmla="*/ 206 w 613"/>
                <a:gd name="T61" fmla="*/ 259 h 557"/>
                <a:gd name="T62" fmla="*/ 228 w 613"/>
                <a:gd name="T63" fmla="*/ 254 h 557"/>
                <a:gd name="T64" fmla="*/ 221 w 613"/>
                <a:gd name="T65" fmla="*/ 303 h 557"/>
                <a:gd name="T66" fmla="*/ 244 w 613"/>
                <a:gd name="T67" fmla="*/ 347 h 557"/>
                <a:gd name="T68" fmla="*/ 259 w 613"/>
                <a:gd name="T69" fmla="*/ 386 h 557"/>
                <a:gd name="T70" fmla="*/ 244 w 613"/>
                <a:gd name="T71" fmla="*/ 433 h 557"/>
                <a:gd name="T72" fmla="*/ 278 w 613"/>
                <a:gd name="T73" fmla="*/ 477 h 557"/>
                <a:gd name="T74" fmla="*/ 278 w 613"/>
                <a:gd name="T75" fmla="*/ 502 h 557"/>
                <a:gd name="T76" fmla="*/ 312 w 613"/>
                <a:gd name="T77" fmla="*/ 557 h 557"/>
                <a:gd name="T78" fmla="*/ 399 w 613"/>
                <a:gd name="T79" fmla="*/ 535 h 557"/>
                <a:gd name="T80" fmla="*/ 434 w 613"/>
                <a:gd name="T81" fmla="*/ 502 h 557"/>
                <a:gd name="T82" fmla="*/ 437 w 613"/>
                <a:gd name="T83" fmla="*/ 477 h 557"/>
                <a:gd name="T84" fmla="*/ 460 w 613"/>
                <a:gd name="T85" fmla="*/ 471 h 557"/>
                <a:gd name="T86" fmla="*/ 506 w 613"/>
                <a:gd name="T87" fmla="*/ 408 h 557"/>
                <a:gd name="T88" fmla="*/ 506 w 613"/>
                <a:gd name="T89" fmla="*/ 331 h 557"/>
                <a:gd name="T90" fmla="*/ 525 w 613"/>
                <a:gd name="T91" fmla="*/ 295 h 557"/>
                <a:gd name="T92" fmla="*/ 551 w 613"/>
                <a:gd name="T93" fmla="*/ 281 h 557"/>
                <a:gd name="T94" fmla="*/ 605 w 613"/>
                <a:gd name="T95" fmla="*/ 224 h 557"/>
                <a:gd name="T96" fmla="*/ 601 w 613"/>
                <a:gd name="T97" fmla="*/ 193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13" h="557">
                  <a:moveTo>
                    <a:pt x="601" y="193"/>
                  </a:moveTo>
                  <a:cubicBezTo>
                    <a:pt x="584" y="192"/>
                    <a:pt x="585" y="202"/>
                    <a:pt x="570" y="201"/>
                  </a:cubicBezTo>
                  <a:cubicBezTo>
                    <a:pt x="559" y="201"/>
                    <a:pt x="548" y="201"/>
                    <a:pt x="536" y="201"/>
                  </a:cubicBezTo>
                  <a:cubicBezTo>
                    <a:pt x="534" y="183"/>
                    <a:pt x="515" y="176"/>
                    <a:pt x="502" y="166"/>
                  </a:cubicBezTo>
                  <a:cubicBezTo>
                    <a:pt x="505" y="148"/>
                    <a:pt x="479" y="151"/>
                    <a:pt x="487" y="130"/>
                  </a:cubicBezTo>
                  <a:cubicBezTo>
                    <a:pt x="480" y="124"/>
                    <a:pt x="468" y="121"/>
                    <a:pt x="464" y="113"/>
                  </a:cubicBezTo>
                  <a:cubicBezTo>
                    <a:pt x="467" y="106"/>
                    <a:pt x="460" y="94"/>
                    <a:pt x="463" y="92"/>
                  </a:cubicBezTo>
                  <a:cubicBezTo>
                    <a:pt x="462" y="90"/>
                    <a:pt x="461" y="87"/>
                    <a:pt x="460" y="85"/>
                  </a:cubicBezTo>
                  <a:cubicBezTo>
                    <a:pt x="459" y="86"/>
                    <a:pt x="457" y="86"/>
                    <a:pt x="456" y="86"/>
                  </a:cubicBezTo>
                  <a:cubicBezTo>
                    <a:pt x="455" y="85"/>
                    <a:pt x="457" y="83"/>
                    <a:pt x="458" y="83"/>
                  </a:cubicBezTo>
                  <a:cubicBezTo>
                    <a:pt x="452" y="71"/>
                    <a:pt x="442" y="56"/>
                    <a:pt x="438" y="50"/>
                  </a:cubicBezTo>
                  <a:cubicBezTo>
                    <a:pt x="438" y="50"/>
                    <a:pt x="438" y="50"/>
                    <a:pt x="437" y="50"/>
                  </a:cubicBezTo>
                  <a:cubicBezTo>
                    <a:pt x="410" y="43"/>
                    <a:pt x="375" y="40"/>
                    <a:pt x="338" y="39"/>
                  </a:cubicBezTo>
                  <a:cubicBezTo>
                    <a:pt x="328" y="41"/>
                    <a:pt x="329" y="53"/>
                    <a:pt x="320" y="56"/>
                  </a:cubicBezTo>
                  <a:cubicBezTo>
                    <a:pt x="302" y="42"/>
                    <a:pt x="267" y="42"/>
                    <a:pt x="251" y="28"/>
                  </a:cubicBezTo>
                  <a:cubicBezTo>
                    <a:pt x="254" y="18"/>
                    <a:pt x="247" y="16"/>
                    <a:pt x="244" y="11"/>
                  </a:cubicBezTo>
                  <a:cubicBezTo>
                    <a:pt x="253" y="11"/>
                    <a:pt x="252" y="4"/>
                    <a:pt x="247" y="0"/>
                  </a:cubicBezTo>
                  <a:cubicBezTo>
                    <a:pt x="224" y="0"/>
                    <a:pt x="206" y="3"/>
                    <a:pt x="190" y="9"/>
                  </a:cubicBezTo>
                  <a:cubicBezTo>
                    <a:pt x="160" y="7"/>
                    <a:pt x="133" y="9"/>
                    <a:pt x="118" y="20"/>
                  </a:cubicBezTo>
                  <a:cubicBezTo>
                    <a:pt x="115" y="14"/>
                    <a:pt x="107" y="11"/>
                    <a:pt x="95" y="11"/>
                  </a:cubicBezTo>
                  <a:cubicBezTo>
                    <a:pt x="92" y="21"/>
                    <a:pt x="79" y="23"/>
                    <a:pt x="69" y="28"/>
                  </a:cubicBezTo>
                  <a:cubicBezTo>
                    <a:pt x="59" y="41"/>
                    <a:pt x="62" y="58"/>
                    <a:pt x="54" y="69"/>
                  </a:cubicBezTo>
                  <a:cubicBezTo>
                    <a:pt x="48" y="76"/>
                    <a:pt x="28" y="84"/>
                    <a:pt x="19" y="91"/>
                  </a:cubicBezTo>
                  <a:cubicBezTo>
                    <a:pt x="19" y="107"/>
                    <a:pt x="10" y="118"/>
                    <a:pt x="0" y="127"/>
                  </a:cubicBezTo>
                  <a:cubicBezTo>
                    <a:pt x="0" y="151"/>
                    <a:pt x="0" y="175"/>
                    <a:pt x="0" y="199"/>
                  </a:cubicBezTo>
                  <a:cubicBezTo>
                    <a:pt x="14" y="209"/>
                    <a:pt x="25" y="221"/>
                    <a:pt x="31" y="237"/>
                  </a:cubicBezTo>
                  <a:cubicBezTo>
                    <a:pt x="48" y="245"/>
                    <a:pt x="60" y="257"/>
                    <a:pt x="84" y="259"/>
                  </a:cubicBezTo>
                  <a:cubicBezTo>
                    <a:pt x="99" y="257"/>
                    <a:pt x="117" y="256"/>
                    <a:pt x="137" y="257"/>
                  </a:cubicBezTo>
                  <a:cubicBezTo>
                    <a:pt x="145" y="252"/>
                    <a:pt x="145" y="242"/>
                    <a:pt x="160" y="243"/>
                  </a:cubicBezTo>
                  <a:cubicBezTo>
                    <a:pt x="167" y="243"/>
                    <a:pt x="162" y="252"/>
                    <a:pt x="168" y="254"/>
                  </a:cubicBezTo>
                  <a:cubicBezTo>
                    <a:pt x="185" y="252"/>
                    <a:pt x="192" y="258"/>
                    <a:pt x="206" y="259"/>
                  </a:cubicBezTo>
                  <a:cubicBezTo>
                    <a:pt x="212" y="257"/>
                    <a:pt x="215" y="252"/>
                    <a:pt x="228" y="254"/>
                  </a:cubicBezTo>
                  <a:cubicBezTo>
                    <a:pt x="232" y="275"/>
                    <a:pt x="220" y="285"/>
                    <a:pt x="221" y="303"/>
                  </a:cubicBezTo>
                  <a:cubicBezTo>
                    <a:pt x="232" y="318"/>
                    <a:pt x="250" y="328"/>
                    <a:pt x="244" y="347"/>
                  </a:cubicBezTo>
                  <a:cubicBezTo>
                    <a:pt x="254" y="357"/>
                    <a:pt x="254" y="373"/>
                    <a:pt x="259" y="386"/>
                  </a:cubicBezTo>
                  <a:cubicBezTo>
                    <a:pt x="249" y="399"/>
                    <a:pt x="252" y="419"/>
                    <a:pt x="244" y="433"/>
                  </a:cubicBezTo>
                  <a:cubicBezTo>
                    <a:pt x="260" y="444"/>
                    <a:pt x="272" y="458"/>
                    <a:pt x="278" y="477"/>
                  </a:cubicBezTo>
                  <a:cubicBezTo>
                    <a:pt x="278" y="485"/>
                    <a:pt x="278" y="493"/>
                    <a:pt x="278" y="502"/>
                  </a:cubicBezTo>
                  <a:cubicBezTo>
                    <a:pt x="295" y="516"/>
                    <a:pt x="294" y="543"/>
                    <a:pt x="312" y="557"/>
                  </a:cubicBezTo>
                  <a:cubicBezTo>
                    <a:pt x="349" y="555"/>
                    <a:pt x="367" y="540"/>
                    <a:pt x="399" y="535"/>
                  </a:cubicBezTo>
                  <a:cubicBezTo>
                    <a:pt x="405" y="520"/>
                    <a:pt x="417" y="509"/>
                    <a:pt x="434" y="502"/>
                  </a:cubicBezTo>
                  <a:cubicBezTo>
                    <a:pt x="432" y="491"/>
                    <a:pt x="440" y="488"/>
                    <a:pt x="437" y="477"/>
                  </a:cubicBezTo>
                  <a:cubicBezTo>
                    <a:pt x="444" y="474"/>
                    <a:pt x="447" y="469"/>
                    <a:pt x="460" y="471"/>
                  </a:cubicBezTo>
                  <a:cubicBezTo>
                    <a:pt x="461" y="440"/>
                    <a:pt x="476" y="419"/>
                    <a:pt x="506" y="408"/>
                  </a:cubicBezTo>
                  <a:cubicBezTo>
                    <a:pt x="511" y="386"/>
                    <a:pt x="511" y="353"/>
                    <a:pt x="506" y="331"/>
                  </a:cubicBezTo>
                  <a:cubicBezTo>
                    <a:pt x="514" y="320"/>
                    <a:pt x="520" y="309"/>
                    <a:pt x="525" y="295"/>
                  </a:cubicBezTo>
                  <a:cubicBezTo>
                    <a:pt x="534" y="291"/>
                    <a:pt x="541" y="285"/>
                    <a:pt x="551" y="281"/>
                  </a:cubicBezTo>
                  <a:cubicBezTo>
                    <a:pt x="569" y="262"/>
                    <a:pt x="586" y="242"/>
                    <a:pt x="605" y="224"/>
                  </a:cubicBezTo>
                  <a:cubicBezTo>
                    <a:pt x="607" y="213"/>
                    <a:pt x="613" y="199"/>
                    <a:pt x="601" y="193"/>
                  </a:cubicBezTo>
                  <a:close/>
                </a:path>
              </a:pathLst>
            </a:cu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5" name="Freeform 294"/>
            <p:cNvSpPr>
              <a:spLocks noEditPoints="1"/>
            </p:cNvSpPr>
            <p:nvPr/>
          </p:nvSpPr>
          <p:spPr bwMode="auto">
            <a:xfrm>
              <a:off x="6829425" y="3484563"/>
              <a:ext cx="4578350" cy="1952625"/>
            </a:xfrm>
            <a:custGeom>
              <a:avLst/>
              <a:gdLst>
                <a:gd name="T0" fmla="*/ 1489 w 1593"/>
                <a:gd name="T1" fmla="*/ 103 h 679"/>
                <a:gd name="T2" fmla="*/ 1394 w 1593"/>
                <a:gd name="T3" fmla="*/ 90 h 679"/>
                <a:gd name="T4" fmla="*/ 1246 w 1593"/>
                <a:gd name="T5" fmla="*/ 68 h 679"/>
                <a:gd name="T6" fmla="*/ 1178 w 1593"/>
                <a:gd name="T7" fmla="*/ 51 h 679"/>
                <a:gd name="T8" fmla="*/ 1037 w 1593"/>
                <a:gd name="T9" fmla="*/ 57 h 679"/>
                <a:gd name="T10" fmla="*/ 954 w 1593"/>
                <a:gd name="T11" fmla="*/ 29 h 679"/>
                <a:gd name="T12" fmla="*/ 851 w 1593"/>
                <a:gd name="T13" fmla="*/ 21 h 679"/>
                <a:gd name="T14" fmla="*/ 741 w 1593"/>
                <a:gd name="T15" fmla="*/ 40 h 679"/>
                <a:gd name="T16" fmla="*/ 688 w 1593"/>
                <a:gd name="T17" fmla="*/ 65 h 679"/>
                <a:gd name="T18" fmla="*/ 631 w 1593"/>
                <a:gd name="T19" fmla="*/ 62 h 679"/>
                <a:gd name="T20" fmla="*/ 502 w 1593"/>
                <a:gd name="T21" fmla="*/ 103 h 679"/>
                <a:gd name="T22" fmla="*/ 410 w 1593"/>
                <a:gd name="T23" fmla="*/ 131 h 679"/>
                <a:gd name="T24" fmla="*/ 410 w 1593"/>
                <a:gd name="T25" fmla="*/ 131 h 679"/>
                <a:gd name="T26" fmla="*/ 281 w 1593"/>
                <a:gd name="T27" fmla="*/ 76 h 679"/>
                <a:gd name="T28" fmla="*/ 171 w 1593"/>
                <a:gd name="T29" fmla="*/ 150 h 679"/>
                <a:gd name="T30" fmla="*/ 133 w 1593"/>
                <a:gd name="T31" fmla="*/ 219 h 679"/>
                <a:gd name="T32" fmla="*/ 122 w 1593"/>
                <a:gd name="T33" fmla="*/ 260 h 679"/>
                <a:gd name="T34" fmla="*/ 53 w 1593"/>
                <a:gd name="T35" fmla="*/ 307 h 679"/>
                <a:gd name="T36" fmla="*/ 65 w 1593"/>
                <a:gd name="T37" fmla="*/ 354 h 679"/>
                <a:gd name="T38" fmla="*/ 42 w 1593"/>
                <a:gd name="T39" fmla="*/ 415 h 679"/>
                <a:gd name="T40" fmla="*/ 163 w 1593"/>
                <a:gd name="T41" fmla="*/ 351 h 679"/>
                <a:gd name="T42" fmla="*/ 175 w 1593"/>
                <a:gd name="T43" fmla="*/ 362 h 679"/>
                <a:gd name="T44" fmla="*/ 220 w 1593"/>
                <a:gd name="T45" fmla="*/ 409 h 679"/>
                <a:gd name="T46" fmla="*/ 205 w 1593"/>
                <a:gd name="T47" fmla="*/ 343 h 679"/>
                <a:gd name="T48" fmla="*/ 266 w 1593"/>
                <a:gd name="T49" fmla="*/ 412 h 679"/>
                <a:gd name="T50" fmla="*/ 304 w 1593"/>
                <a:gd name="T51" fmla="*/ 403 h 679"/>
                <a:gd name="T52" fmla="*/ 391 w 1593"/>
                <a:gd name="T53" fmla="*/ 415 h 679"/>
                <a:gd name="T54" fmla="*/ 403 w 1593"/>
                <a:gd name="T55" fmla="*/ 500 h 679"/>
                <a:gd name="T56" fmla="*/ 559 w 1593"/>
                <a:gd name="T57" fmla="*/ 577 h 679"/>
                <a:gd name="T58" fmla="*/ 593 w 1593"/>
                <a:gd name="T59" fmla="*/ 503 h 679"/>
                <a:gd name="T60" fmla="*/ 543 w 1593"/>
                <a:gd name="T61" fmla="*/ 464 h 679"/>
                <a:gd name="T62" fmla="*/ 654 w 1593"/>
                <a:gd name="T63" fmla="*/ 511 h 679"/>
                <a:gd name="T64" fmla="*/ 722 w 1593"/>
                <a:gd name="T65" fmla="*/ 558 h 679"/>
                <a:gd name="T66" fmla="*/ 790 w 1593"/>
                <a:gd name="T67" fmla="*/ 632 h 679"/>
                <a:gd name="T68" fmla="*/ 840 w 1593"/>
                <a:gd name="T69" fmla="*/ 563 h 679"/>
                <a:gd name="T70" fmla="*/ 912 w 1593"/>
                <a:gd name="T71" fmla="*/ 569 h 679"/>
                <a:gd name="T72" fmla="*/ 957 w 1593"/>
                <a:gd name="T73" fmla="*/ 624 h 679"/>
                <a:gd name="T74" fmla="*/ 976 w 1593"/>
                <a:gd name="T75" fmla="*/ 621 h 679"/>
                <a:gd name="T76" fmla="*/ 1060 w 1593"/>
                <a:gd name="T77" fmla="*/ 566 h 679"/>
                <a:gd name="T78" fmla="*/ 1102 w 1593"/>
                <a:gd name="T79" fmla="*/ 536 h 679"/>
                <a:gd name="T80" fmla="*/ 1147 w 1593"/>
                <a:gd name="T81" fmla="*/ 437 h 679"/>
                <a:gd name="T82" fmla="*/ 1155 w 1593"/>
                <a:gd name="T83" fmla="*/ 387 h 679"/>
                <a:gd name="T84" fmla="*/ 1239 w 1593"/>
                <a:gd name="T85" fmla="*/ 354 h 679"/>
                <a:gd name="T86" fmla="*/ 1299 w 1593"/>
                <a:gd name="T87" fmla="*/ 324 h 679"/>
                <a:gd name="T88" fmla="*/ 1284 w 1593"/>
                <a:gd name="T89" fmla="*/ 269 h 679"/>
                <a:gd name="T90" fmla="*/ 1235 w 1593"/>
                <a:gd name="T91" fmla="*/ 233 h 679"/>
                <a:gd name="T92" fmla="*/ 1334 w 1593"/>
                <a:gd name="T93" fmla="*/ 216 h 679"/>
                <a:gd name="T94" fmla="*/ 1387 w 1593"/>
                <a:gd name="T95" fmla="*/ 194 h 679"/>
                <a:gd name="T96" fmla="*/ 1398 w 1593"/>
                <a:gd name="T97" fmla="*/ 282 h 679"/>
                <a:gd name="T98" fmla="*/ 1425 w 1593"/>
                <a:gd name="T99" fmla="*/ 216 h 679"/>
                <a:gd name="T100" fmla="*/ 1527 w 1593"/>
                <a:gd name="T101" fmla="*/ 153 h 679"/>
                <a:gd name="T102" fmla="*/ 251 w 1593"/>
                <a:gd name="T103" fmla="*/ 183 h 679"/>
                <a:gd name="T104" fmla="*/ 251 w 1593"/>
                <a:gd name="T105" fmla="*/ 247 h 679"/>
                <a:gd name="T106" fmla="*/ 186 w 1593"/>
                <a:gd name="T107" fmla="*/ 244 h 679"/>
                <a:gd name="T108" fmla="*/ 232 w 1593"/>
                <a:gd name="T109" fmla="*/ 191 h 679"/>
                <a:gd name="T110" fmla="*/ 293 w 1593"/>
                <a:gd name="T111" fmla="*/ 202 h 679"/>
                <a:gd name="T112" fmla="*/ 327 w 1593"/>
                <a:gd name="T113" fmla="*/ 92 h 679"/>
                <a:gd name="T114" fmla="*/ 395 w 1593"/>
                <a:gd name="T115" fmla="*/ 150 h 679"/>
                <a:gd name="T116" fmla="*/ 676 w 1593"/>
                <a:gd name="T117" fmla="*/ 106 h 679"/>
                <a:gd name="T118" fmla="*/ 923 w 1593"/>
                <a:gd name="T119" fmla="*/ 54 h 679"/>
                <a:gd name="T120" fmla="*/ 938 w 1593"/>
                <a:gd name="T121" fmla="*/ 45 h 679"/>
                <a:gd name="T122" fmla="*/ 1132 w 1593"/>
                <a:gd name="T123" fmla="*/ 395 h 6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93" h="679">
                  <a:moveTo>
                    <a:pt x="1592" y="136"/>
                  </a:moveTo>
                  <a:cubicBezTo>
                    <a:pt x="1582" y="133"/>
                    <a:pt x="1567" y="118"/>
                    <a:pt x="1558" y="131"/>
                  </a:cubicBezTo>
                  <a:cubicBezTo>
                    <a:pt x="1559" y="124"/>
                    <a:pt x="1557" y="120"/>
                    <a:pt x="1554" y="117"/>
                  </a:cubicBezTo>
                  <a:cubicBezTo>
                    <a:pt x="1533" y="112"/>
                    <a:pt x="1522" y="99"/>
                    <a:pt x="1489" y="103"/>
                  </a:cubicBezTo>
                  <a:cubicBezTo>
                    <a:pt x="1485" y="98"/>
                    <a:pt x="1475" y="97"/>
                    <a:pt x="1470" y="92"/>
                  </a:cubicBezTo>
                  <a:cubicBezTo>
                    <a:pt x="1446" y="95"/>
                    <a:pt x="1440" y="83"/>
                    <a:pt x="1413" y="87"/>
                  </a:cubicBezTo>
                  <a:cubicBezTo>
                    <a:pt x="1408" y="95"/>
                    <a:pt x="1424" y="101"/>
                    <a:pt x="1413" y="103"/>
                  </a:cubicBezTo>
                  <a:cubicBezTo>
                    <a:pt x="1402" y="102"/>
                    <a:pt x="1404" y="91"/>
                    <a:pt x="1394" y="90"/>
                  </a:cubicBezTo>
                  <a:cubicBezTo>
                    <a:pt x="1383" y="98"/>
                    <a:pt x="1363" y="90"/>
                    <a:pt x="1341" y="95"/>
                  </a:cubicBezTo>
                  <a:cubicBezTo>
                    <a:pt x="1327" y="89"/>
                    <a:pt x="1328" y="71"/>
                    <a:pt x="1299" y="76"/>
                  </a:cubicBezTo>
                  <a:cubicBezTo>
                    <a:pt x="1294" y="76"/>
                    <a:pt x="1298" y="84"/>
                    <a:pt x="1292" y="84"/>
                  </a:cubicBezTo>
                  <a:cubicBezTo>
                    <a:pt x="1276" y="79"/>
                    <a:pt x="1260" y="74"/>
                    <a:pt x="1246" y="68"/>
                  </a:cubicBezTo>
                  <a:cubicBezTo>
                    <a:pt x="1244" y="70"/>
                    <a:pt x="1243" y="72"/>
                    <a:pt x="1239" y="73"/>
                  </a:cubicBezTo>
                  <a:cubicBezTo>
                    <a:pt x="1243" y="62"/>
                    <a:pt x="1230" y="65"/>
                    <a:pt x="1220" y="65"/>
                  </a:cubicBezTo>
                  <a:cubicBezTo>
                    <a:pt x="1229" y="58"/>
                    <a:pt x="1215" y="59"/>
                    <a:pt x="1212" y="54"/>
                  </a:cubicBezTo>
                  <a:cubicBezTo>
                    <a:pt x="1194" y="59"/>
                    <a:pt x="1195" y="52"/>
                    <a:pt x="1178" y="51"/>
                  </a:cubicBezTo>
                  <a:cubicBezTo>
                    <a:pt x="1177" y="55"/>
                    <a:pt x="1168" y="53"/>
                    <a:pt x="1163" y="54"/>
                  </a:cubicBezTo>
                  <a:cubicBezTo>
                    <a:pt x="1159" y="59"/>
                    <a:pt x="1174" y="63"/>
                    <a:pt x="1163" y="65"/>
                  </a:cubicBezTo>
                  <a:cubicBezTo>
                    <a:pt x="1130" y="61"/>
                    <a:pt x="1089" y="70"/>
                    <a:pt x="1060" y="65"/>
                  </a:cubicBezTo>
                  <a:cubicBezTo>
                    <a:pt x="1050" y="63"/>
                    <a:pt x="1047" y="55"/>
                    <a:pt x="1037" y="57"/>
                  </a:cubicBezTo>
                  <a:cubicBezTo>
                    <a:pt x="1020" y="59"/>
                    <a:pt x="1008" y="54"/>
                    <a:pt x="995" y="51"/>
                  </a:cubicBezTo>
                  <a:cubicBezTo>
                    <a:pt x="991" y="50"/>
                    <a:pt x="985" y="52"/>
                    <a:pt x="980" y="51"/>
                  </a:cubicBezTo>
                  <a:cubicBezTo>
                    <a:pt x="971" y="50"/>
                    <a:pt x="964" y="42"/>
                    <a:pt x="942" y="45"/>
                  </a:cubicBezTo>
                  <a:cubicBezTo>
                    <a:pt x="944" y="38"/>
                    <a:pt x="954" y="37"/>
                    <a:pt x="954" y="29"/>
                  </a:cubicBezTo>
                  <a:cubicBezTo>
                    <a:pt x="948" y="21"/>
                    <a:pt x="936" y="18"/>
                    <a:pt x="931" y="10"/>
                  </a:cubicBezTo>
                  <a:cubicBezTo>
                    <a:pt x="919" y="13"/>
                    <a:pt x="902" y="12"/>
                    <a:pt x="885" y="12"/>
                  </a:cubicBezTo>
                  <a:cubicBezTo>
                    <a:pt x="876" y="10"/>
                    <a:pt x="877" y="0"/>
                    <a:pt x="862" y="1"/>
                  </a:cubicBezTo>
                  <a:cubicBezTo>
                    <a:pt x="854" y="4"/>
                    <a:pt x="850" y="11"/>
                    <a:pt x="851" y="21"/>
                  </a:cubicBezTo>
                  <a:cubicBezTo>
                    <a:pt x="832" y="16"/>
                    <a:pt x="839" y="30"/>
                    <a:pt x="825" y="29"/>
                  </a:cubicBezTo>
                  <a:cubicBezTo>
                    <a:pt x="817" y="28"/>
                    <a:pt x="821" y="18"/>
                    <a:pt x="809" y="21"/>
                  </a:cubicBezTo>
                  <a:cubicBezTo>
                    <a:pt x="799" y="28"/>
                    <a:pt x="786" y="33"/>
                    <a:pt x="764" y="32"/>
                  </a:cubicBezTo>
                  <a:cubicBezTo>
                    <a:pt x="757" y="35"/>
                    <a:pt x="754" y="41"/>
                    <a:pt x="741" y="40"/>
                  </a:cubicBezTo>
                  <a:cubicBezTo>
                    <a:pt x="736" y="43"/>
                    <a:pt x="739" y="53"/>
                    <a:pt x="729" y="54"/>
                  </a:cubicBezTo>
                  <a:cubicBezTo>
                    <a:pt x="722" y="55"/>
                    <a:pt x="703" y="49"/>
                    <a:pt x="707" y="59"/>
                  </a:cubicBezTo>
                  <a:cubicBezTo>
                    <a:pt x="707" y="69"/>
                    <a:pt x="729" y="63"/>
                    <a:pt x="726" y="76"/>
                  </a:cubicBezTo>
                  <a:cubicBezTo>
                    <a:pt x="712" y="73"/>
                    <a:pt x="708" y="63"/>
                    <a:pt x="688" y="65"/>
                  </a:cubicBezTo>
                  <a:cubicBezTo>
                    <a:pt x="688" y="72"/>
                    <a:pt x="690" y="81"/>
                    <a:pt x="680" y="81"/>
                  </a:cubicBezTo>
                  <a:cubicBezTo>
                    <a:pt x="676" y="78"/>
                    <a:pt x="676" y="71"/>
                    <a:pt x="676" y="65"/>
                  </a:cubicBezTo>
                  <a:cubicBezTo>
                    <a:pt x="661" y="62"/>
                    <a:pt x="670" y="77"/>
                    <a:pt x="654" y="73"/>
                  </a:cubicBezTo>
                  <a:cubicBezTo>
                    <a:pt x="648" y="68"/>
                    <a:pt x="648" y="58"/>
                    <a:pt x="631" y="62"/>
                  </a:cubicBezTo>
                  <a:cubicBezTo>
                    <a:pt x="620" y="74"/>
                    <a:pt x="606" y="82"/>
                    <a:pt x="593" y="92"/>
                  </a:cubicBezTo>
                  <a:cubicBezTo>
                    <a:pt x="568" y="94"/>
                    <a:pt x="570" y="87"/>
                    <a:pt x="543" y="87"/>
                  </a:cubicBezTo>
                  <a:cubicBezTo>
                    <a:pt x="537" y="100"/>
                    <a:pt x="563" y="91"/>
                    <a:pt x="559" y="103"/>
                  </a:cubicBezTo>
                  <a:cubicBezTo>
                    <a:pt x="543" y="101"/>
                    <a:pt x="526" y="105"/>
                    <a:pt x="502" y="103"/>
                  </a:cubicBezTo>
                  <a:cubicBezTo>
                    <a:pt x="484" y="108"/>
                    <a:pt x="475" y="119"/>
                    <a:pt x="456" y="123"/>
                  </a:cubicBezTo>
                  <a:cubicBezTo>
                    <a:pt x="456" y="117"/>
                    <a:pt x="456" y="112"/>
                    <a:pt x="456" y="106"/>
                  </a:cubicBezTo>
                  <a:cubicBezTo>
                    <a:pt x="447" y="106"/>
                    <a:pt x="438" y="106"/>
                    <a:pt x="433" y="103"/>
                  </a:cubicBezTo>
                  <a:cubicBezTo>
                    <a:pt x="434" y="119"/>
                    <a:pt x="433" y="133"/>
                    <a:pt x="410" y="131"/>
                  </a:cubicBezTo>
                  <a:cubicBezTo>
                    <a:pt x="412" y="141"/>
                    <a:pt x="396" y="139"/>
                    <a:pt x="388" y="142"/>
                  </a:cubicBezTo>
                  <a:cubicBezTo>
                    <a:pt x="378" y="146"/>
                    <a:pt x="394" y="150"/>
                    <a:pt x="384" y="153"/>
                  </a:cubicBezTo>
                  <a:cubicBezTo>
                    <a:pt x="361" y="156"/>
                    <a:pt x="360" y="133"/>
                    <a:pt x="361" y="128"/>
                  </a:cubicBezTo>
                  <a:cubicBezTo>
                    <a:pt x="379" y="128"/>
                    <a:pt x="398" y="127"/>
                    <a:pt x="410" y="131"/>
                  </a:cubicBezTo>
                  <a:cubicBezTo>
                    <a:pt x="421" y="114"/>
                    <a:pt x="389" y="105"/>
                    <a:pt x="365" y="103"/>
                  </a:cubicBezTo>
                  <a:cubicBezTo>
                    <a:pt x="359" y="97"/>
                    <a:pt x="349" y="93"/>
                    <a:pt x="334" y="92"/>
                  </a:cubicBezTo>
                  <a:cubicBezTo>
                    <a:pt x="329" y="86"/>
                    <a:pt x="324" y="80"/>
                    <a:pt x="315" y="76"/>
                  </a:cubicBezTo>
                  <a:cubicBezTo>
                    <a:pt x="304" y="76"/>
                    <a:pt x="293" y="76"/>
                    <a:pt x="281" y="76"/>
                  </a:cubicBezTo>
                  <a:cubicBezTo>
                    <a:pt x="271" y="81"/>
                    <a:pt x="261" y="87"/>
                    <a:pt x="251" y="92"/>
                  </a:cubicBezTo>
                  <a:cubicBezTo>
                    <a:pt x="249" y="88"/>
                    <a:pt x="246" y="93"/>
                    <a:pt x="239" y="92"/>
                  </a:cubicBezTo>
                  <a:cubicBezTo>
                    <a:pt x="226" y="103"/>
                    <a:pt x="209" y="110"/>
                    <a:pt x="194" y="120"/>
                  </a:cubicBezTo>
                  <a:cubicBezTo>
                    <a:pt x="190" y="132"/>
                    <a:pt x="182" y="143"/>
                    <a:pt x="171" y="150"/>
                  </a:cubicBezTo>
                  <a:cubicBezTo>
                    <a:pt x="170" y="147"/>
                    <a:pt x="164" y="148"/>
                    <a:pt x="160" y="147"/>
                  </a:cubicBezTo>
                  <a:cubicBezTo>
                    <a:pt x="160" y="151"/>
                    <a:pt x="160" y="155"/>
                    <a:pt x="160" y="158"/>
                  </a:cubicBezTo>
                  <a:cubicBezTo>
                    <a:pt x="136" y="159"/>
                    <a:pt x="133" y="176"/>
                    <a:pt x="125" y="189"/>
                  </a:cubicBezTo>
                  <a:cubicBezTo>
                    <a:pt x="133" y="195"/>
                    <a:pt x="134" y="206"/>
                    <a:pt x="133" y="219"/>
                  </a:cubicBezTo>
                  <a:cubicBezTo>
                    <a:pt x="137" y="226"/>
                    <a:pt x="157" y="222"/>
                    <a:pt x="163" y="227"/>
                  </a:cubicBezTo>
                  <a:cubicBezTo>
                    <a:pt x="155" y="235"/>
                    <a:pt x="148" y="238"/>
                    <a:pt x="148" y="247"/>
                  </a:cubicBezTo>
                  <a:cubicBezTo>
                    <a:pt x="156" y="245"/>
                    <a:pt x="155" y="250"/>
                    <a:pt x="156" y="255"/>
                  </a:cubicBezTo>
                  <a:cubicBezTo>
                    <a:pt x="142" y="255"/>
                    <a:pt x="134" y="259"/>
                    <a:pt x="122" y="260"/>
                  </a:cubicBezTo>
                  <a:cubicBezTo>
                    <a:pt x="118" y="265"/>
                    <a:pt x="111" y="267"/>
                    <a:pt x="114" y="277"/>
                  </a:cubicBezTo>
                  <a:cubicBezTo>
                    <a:pt x="92" y="272"/>
                    <a:pt x="105" y="293"/>
                    <a:pt x="87" y="291"/>
                  </a:cubicBezTo>
                  <a:cubicBezTo>
                    <a:pt x="88" y="294"/>
                    <a:pt x="87" y="295"/>
                    <a:pt x="83" y="296"/>
                  </a:cubicBezTo>
                  <a:cubicBezTo>
                    <a:pt x="67" y="295"/>
                    <a:pt x="63" y="304"/>
                    <a:pt x="53" y="307"/>
                  </a:cubicBezTo>
                  <a:cubicBezTo>
                    <a:pt x="44" y="309"/>
                    <a:pt x="34" y="310"/>
                    <a:pt x="34" y="318"/>
                  </a:cubicBezTo>
                  <a:cubicBezTo>
                    <a:pt x="39" y="322"/>
                    <a:pt x="51" y="321"/>
                    <a:pt x="61" y="321"/>
                  </a:cubicBezTo>
                  <a:cubicBezTo>
                    <a:pt x="59" y="333"/>
                    <a:pt x="78" y="330"/>
                    <a:pt x="76" y="343"/>
                  </a:cubicBezTo>
                  <a:cubicBezTo>
                    <a:pt x="72" y="347"/>
                    <a:pt x="72" y="353"/>
                    <a:pt x="65" y="354"/>
                  </a:cubicBezTo>
                  <a:cubicBezTo>
                    <a:pt x="47" y="347"/>
                    <a:pt x="31" y="356"/>
                    <a:pt x="8" y="354"/>
                  </a:cubicBezTo>
                  <a:cubicBezTo>
                    <a:pt x="4" y="363"/>
                    <a:pt x="16" y="384"/>
                    <a:pt x="0" y="384"/>
                  </a:cubicBezTo>
                  <a:cubicBezTo>
                    <a:pt x="3" y="392"/>
                    <a:pt x="11" y="396"/>
                    <a:pt x="8" y="409"/>
                  </a:cubicBezTo>
                  <a:cubicBezTo>
                    <a:pt x="25" y="406"/>
                    <a:pt x="31" y="413"/>
                    <a:pt x="42" y="415"/>
                  </a:cubicBezTo>
                  <a:cubicBezTo>
                    <a:pt x="56" y="409"/>
                    <a:pt x="58" y="409"/>
                    <a:pt x="72" y="415"/>
                  </a:cubicBezTo>
                  <a:cubicBezTo>
                    <a:pt x="81" y="403"/>
                    <a:pt x="94" y="395"/>
                    <a:pt x="91" y="376"/>
                  </a:cubicBezTo>
                  <a:cubicBezTo>
                    <a:pt x="108" y="372"/>
                    <a:pt x="105" y="355"/>
                    <a:pt x="125" y="354"/>
                  </a:cubicBezTo>
                  <a:cubicBezTo>
                    <a:pt x="141" y="361"/>
                    <a:pt x="148" y="352"/>
                    <a:pt x="163" y="351"/>
                  </a:cubicBezTo>
                  <a:cubicBezTo>
                    <a:pt x="153" y="362"/>
                    <a:pt x="158" y="379"/>
                    <a:pt x="163" y="393"/>
                  </a:cubicBezTo>
                  <a:cubicBezTo>
                    <a:pt x="188" y="391"/>
                    <a:pt x="173" y="377"/>
                    <a:pt x="175" y="362"/>
                  </a:cubicBezTo>
                  <a:cubicBezTo>
                    <a:pt x="171" y="362"/>
                    <a:pt x="170" y="357"/>
                    <a:pt x="175" y="357"/>
                  </a:cubicBezTo>
                  <a:cubicBezTo>
                    <a:pt x="175" y="359"/>
                    <a:pt x="175" y="360"/>
                    <a:pt x="175" y="362"/>
                  </a:cubicBezTo>
                  <a:cubicBezTo>
                    <a:pt x="183" y="363"/>
                    <a:pt x="182" y="370"/>
                    <a:pt x="186" y="373"/>
                  </a:cubicBezTo>
                  <a:cubicBezTo>
                    <a:pt x="205" y="374"/>
                    <a:pt x="216" y="379"/>
                    <a:pt x="220" y="390"/>
                  </a:cubicBezTo>
                  <a:cubicBezTo>
                    <a:pt x="220" y="396"/>
                    <a:pt x="211" y="396"/>
                    <a:pt x="201" y="395"/>
                  </a:cubicBezTo>
                  <a:cubicBezTo>
                    <a:pt x="201" y="405"/>
                    <a:pt x="215" y="404"/>
                    <a:pt x="220" y="409"/>
                  </a:cubicBezTo>
                  <a:cubicBezTo>
                    <a:pt x="219" y="397"/>
                    <a:pt x="231" y="394"/>
                    <a:pt x="239" y="390"/>
                  </a:cubicBezTo>
                  <a:cubicBezTo>
                    <a:pt x="241" y="384"/>
                    <a:pt x="232" y="386"/>
                    <a:pt x="232" y="381"/>
                  </a:cubicBezTo>
                  <a:cubicBezTo>
                    <a:pt x="239" y="373"/>
                    <a:pt x="245" y="391"/>
                    <a:pt x="251" y="381"/>
                  </a:cubicBezTo>
                  <a:cubicBezTo>
                    <a:pt x="240" y="367"/>
                    <a:pt x="193" y="364"/>
                    <a:pt x="205" y="343"/>
                  </a:cubicBezTo>
                  <a:cubicBezTo>
                    <a:pt x="217" y="356"/>
                    <a:pt x="238" y="362"/>
                    <a:pt x="251" y="373"/>
                  </a:cubicBezTo>
                  <a:cubicBezTo>
                    <a:pt x="253" y="375"/>
                    <a:pt x="256" y="382"/>
                    <a:pt x="258" y="384"/>
                  </a:cubicBezTo>
                  <a:cubicBezTo>
                    <a:pt x="261" y="388"/>
                    <a:pt x="268" y="391"/>
                    <a:pt x="266" y="395"/>
                  </a:cubicBezTo>
                  <a:cubicBezTo>
                    <a:pt x="266" y="401"/>
                    <a:pt x="266" y="406"/>
                    <a:pt x="266" y="412"/>
                  </a:cubicBezTo>
                  <a:cubicBezTo>
                    <a:pt x="271" y="416"/>
                    <a:pt x="283" y="415"/>
                    <a:pt x="293" y="415"/>
                  </a:cubicBezTo>
                  <a:cubicBezTo>
                    <a:pt x="299" y="405"/>
                    <a:pt x="286" y="392"/>
                    <a:pt x="296" y="381"/>
                  </a:cubicBezTo>
                  <a:cubicBezTo>
                    <a:pt x="300" y="381"/>
                    <a:pt x="304" y="381"/>
                    <a:pt x="308" y="381"/>
                  </a:cubicBezTo>
                  <a:cubicBezTo>
                    <a:pt x="303" y="392"/>
                    <a:pt x="307" y="392"/>
                    <a:pt x="304" y="403"/>
                  </a:cubicBezTo>
                  <a:cubicBezTo>
                    <a:pt x="313" y="403"/>
                    <a:pt x="309" y="411"/>
                    <a:pt x="315" y="415"/>
                  </a:cubicBezTo>
                  <a:cubicBezTo>
                    <a:pt x="329" y="422"/>
                    <a:pt x="355" y="419"/>
                    <a:pt x="365" y="415"/>
                  </a:cubicBezTo>
                  <a:cubicBezTo>
                    <a:pt x="376" y="419"/>
                    <a:pt x="355" y="429"/>
                    <a:pt x="372" y="428"/>
                  </a:cubicBezTo>
                  <a:cubicBezTo>
                    <a:pt x="388" y="430"/>
                    <a:pt x="373" y="411"/>
                    <a:pt x="391" y="415"/>
                  </a:cubicBezTo>
                  <a:cubicBezTo>
                    <a:pt x="391" y="420"/>
                    <a:pt x="391" y="426"/>
                    <a:pt x="391" y="431"/>
                  </a:cubicBezTo>
                  <a:cubicBezTo>
                    <a:pt x="382" y="435"/>
                    <a:pt x="386" y="449"/>
                    <a:pt x="378" y="454"/>
                  </a:cubicBezTo>
                  <a:cubicBezTo>
                    <a:pt x="385" y="466"/>
                    <a:pt x="400" y="495"/>
                    <a:pt x="403" y="500"/>
                  </a:cubicBezTo>
                  <a:cubicBezTo>
                    <a:pt x="403" y="500"/>
                    <a:pt x="403" y="500"/>
                    <a:pt x="403" y="500"/>
                  </a:cubicBezTo>
                  <a:cubicBezTo>
                    <a:pt x="411" y="506"/>
                    <a:pt x="418" y="517"/>
                    <a:pt x="414" y="522"/>
                  </a:cubicBezTo>
                  <a:cubicBezTo>
                    <a:pt x="430" y="534"/>
                    <a:pt x="441" y="549"/>
                    <a:pt x="456" y="561"/>
                  </a:cubicBezTo>
                  <a:cubicBezTo>
                    <a:pt x="465" y="572"/>
                    <a:pt x="464" y="589"/>
                    <a:pt x="483" y="599"/>
                  </a:cubicBezTo>
                  <a:cubicBezTo>
                    <a:pt x="509" y="593"/>
                    <a:pt x="528" y="581"/>
                    <a:pt x="559" y="577"/>
                  </a:cubicBezTo>
                  <a:cubicBezTo>
                    <a:pt x="564" y="575"/>
                    <a:pt x="559" y="567"/>
                    <a:pt x="566" y="566"/>
                  </a:cubicBezTo>
                  <a:cubicBezTo>
                    <a:pt x="583" y="564"/>
                    <a:pt x="589" y="555"/>
                    <a:pt x="604" y="552"/>
                  </a:cubicBezTo>
                  <a:cubicBezTo>
                    <a:pt x="601" y="540"/>
                    <a:pt x="615" y="540"/>
                    <a:pt x="616" y="530"/>
                  </a:cubicBezTo>
                  <a:cubicBezTo>
                    <a:pt x="609" y="520"/>
                    <a:pt x="589" y="520"/>
                    <a:pt x="593" y="503"/>
                  </a:cubicBezTo>
                  <a:cubicBezTo>
                    <a:pt x="578" y="501"/>
                    <a:pt x="568" y="504"/>
                    <a:pt x="562" y="508"/>
                  </a:cubicBezTo>
                  <a:cubicBezTo>
                    <a:pt x="559" y="498"/>
                    <a:pt x="545" y="495"/>
                    <a:pt x="547" y="481"/>
                  </a:cubicBezTo>
                  <a:cubicBezTo>
                    <a:pt x="535" y="481"/>
                    <a:pt x="536" y="472"/>
                    <a:pt x="528" y="470"/>
                  </a:cubicBezTo>
                  <a:cubicBezTo>
                    <a:pt x="534" y="468"/>
                    <a:pt x="538" y="466"/>
                    <a:pt x="543" y="464"/>
                  </a:cubicBezTo>
                  <a:cubicBezTo>
                    <a:pt x="564" y="474"/>
                    <a:pt x="558" y="503"/>
                    <a:pt x="597" y="500"/>
                  </a:cubicBezTo>
                  <a:cubicBezTo>
                    <a:pt x="598" y="505"/>
                    <a:pt x="607" y="505"/>
                    <a:pt x="604" y="514"/>
                  </a:cubicBezTo>
                  <a:cubicBezTo>
                    <a:pt x="622" y="515"/>
                    <a:pt x="625" y="505"/>
                    <a:pt x="642" y="506"/>
                  </a:cubicBezTo>
                  <a:cubicBezTo>
                    <a:pt x="646" y="507"/>
                    <a:pt x="646" y="512"/>
                    <a:pt x="654" y="511"/>
                  </a:cubicBezTo>
                  <a:cubicBezTo>
                    <a:pt x="680" y="508"/>
                    <a:pt x="687" y="520"/>
                    <a:pt x="703" y="525"/>
                  </a:cubicBezTo>
                  <a:cubicBezTo>
                    <a:pt x="696" y="524"/>
                    <a:pt x="696" y="527"/>
                    <a:pt x="695" y="530"/>
                  </a:cubicBezTo>
                  <a:cubicBezTo>
                    <a:pt x="699" y="536"/>
                    <a:pt x="713" y="534"/>
                    <a:pt x="718" y="539"/>
                  </a:cubicBezTo>
                  <a:cubicBezTo>
                    <a:pt x="716" y="547"/>
                    <a:pt x="725" y="548"/>
                    <a:pt x="722" y="558"/>
                  </a:cubicBezTo>
                  <a:cubicBezTo>
                    <a:pt x="733" y="567"/>
                    <a:pt x="738" y="581"/>
                    <a:pt x="745" y="594"/>
                  </a:cubicBezTo>
                  <a:cubicBezTo>
                    <a:pt x="753" y="599"/>
                    <a:pt x="760" y="604"/>
                    <a:pt x="764" y="613"/>
                  </a:cubicBezTo>
                  <a:cubicBezTo>
                    <a:pt x="764" y="618"/>
                    <a:pt x="764" y="624"/>
                    <a:pt x="764" y="630"/>
                  </a:cubicBezTo>
                  <a:cubicBezTo>
                    <a:pt x="769" y="633"/>
                    <a:pt x="780" y="632"/>
                    <a:pt x="790" y="632"/>
                  </a:cubicBezTo>
                  <a:cubicBezTo>
                    <a:pt x="795" y="615"/>
                    <a:pt x="809" y="604"/>
                    <a:pt x="805" y="580"/>
                  </a:cubicBezTo>
                  <a:cubicBezTo>
                    <a:pt x="811" y="580"/>
                    <a:pt x="816" y="580"/>
                    <a:pt x="821" y="580"/>
                  </a:cubicBezTo>
                  <a:cubicBezTo>
                    <a:pt x="821" y="576"/>
                    <a:pt x="821" y="573"/>
                    <a:pt x="821" y="569"/>
                  </a:cubicBezTo>
                  <a:cubicBezTo>
                    <a:pt x="835" y="573"/>
                    <a:pt x="828" y="561"/>
                    <a:pt x="840" y="563"/>
                  </a:cubicBezTo>
                  <a:cubicBezTo>
                    <a:pt x="839" y="551"/>
                    <a:pt x="854" y="550"/>
                    <a:pt x="859" y="541"/>
                  </a:cubicBezTo>
                  <a:cubicBezTo>
                    <a:pt x="868" y="536"/>
                    <a:pt x="879" y="532"/>
                    <a:pt x="893" y="530"/>
                  </a:cubicBezTo>
                  <a:cubicBezTo>
                    <a:pt x="901" y="538"/>
                    <a:pt x="902" y="552"/>
                    <a:pt x="916" y="555"/>
                  </a:cubicBezTo>
                  <a:cubicBezTo>
                    <a:pt x="917" y="562"/>
                    <a:pt x="909" y="561"/>
                    <a:pt x="912" y="569"/>
                  </a:cubicBezTo>
                  <a:cubicBezTo>
                    <a:pt x="916" y="578"/>
                    <a:pt x="942" y="571"/>
                    <a:pt x="950" y="577"/>
                  </a:cubicBezTo>
                  <a:cubicBezTo>
                    <a:pt x="945" y="583"/>
                    <a:pt x="952" y="585"/>
                    <a:pt x="946" y="594"/>
                  </a:cubicBezTo>
                  <a:cubicBezTo>
                    <a:pt x="956" y="597"/>
                    <a:pt x="963" y="602"/>
                    <a:pt x="965" y="610"/>
                  </a:cubicBezTo>
                  <a:cubicBezTo>
                    <a:pt x="964" y="615"/>
                    <a:pt x="954" y="615"/>
                    <a:pt x="957" y="624"/>
                  </a:cubicBezTo>
                  <a:cubicBezTo>
                    <a:pt x="959" y="632"/>
                    <a:pt x="969" y="634"/>
                    <a:pt x="965" y="646"/>
                  </a:cubicBezTo>
                  <a:cubicBezTo>
                    <a:pt x="983" y="658"/>
                    <a:pt x="1001" y="670"/>
                    <a:pt x="1022" y="679"/>
                  </a:cubicBezTo>
                  <a:cubicBezTo>
                    <a:pt x="1023" y="661"/>
                    <a:pt x="1004" y="657"/>
                    <a:pt x="1003" y="640"/>
                  </a:cubicBezTo>
                  <a:cubicBezTo>
                    <a:pt x="992" y="635"/>
                    <a:pt x="982" y="630"/>
                    <a:pt x="976" y="621"/>
                  </a:cubicBezTo>
                  <a:cubicBezTo>
                    <a:pt x="978" y="612"/>
                    <a:pt x="971" y="597"/>
                    <a:pt x="984" y="596"/>
                  </a:cubicBezTo>
                  <a:cubicBezTo>
                    <a:pt x="992" y="604"/>
                    <a:pt x="998" y="614"/>
                    <a:pt x="1015" y="616"/>
                  </a:cubicBezTo>
                  <a:cubicBezTo>
                    <a:pt x="1017" y="618"/>
                    <a:pt x="1019" y="622"/>
                    <a:pt x="1018" y="627"/>
                  </a:cubicBezTo>
                  <a:cubicBezTo>
                    <a:pt x="1055" y="623"/>
                    <a:pt x="1064" y="599"/>
                    <a:pt x="1060" y="566"/>
                  </a:cubicBezTo>
                  <a:cubicBezTo>
                    <a:pt x="1055" y="563"/>
                    <a:pt x="1046" y="563"/>
                    <a:pt x="1041" y="561"/>
                  </a:cubicBezTo>
                  <a:cubicBezTo>
                    <a:pt x="1046" y="549"/>
                    <a:pt x="1023" y="549"/>
                    <a:pt x="1033" y="541"/>
                  </a:cubicBezTo>
                  <a:cubicBezTo>
                    <a:pt x="1045" y="534"/>
                    <a:pt x="1043" y="550"/>
                    <a:pt x="1060" y="547"/>
                  </a:cubicBezTo>
                  <a:cubicBezTo>
                    <a:pt x="1063" y="535"/>
                    <a:pt x="1082" y="535"/>
                    <a:pt x="1102" y="536"/>
                  </a:cubicBezTo>
                  <a:cubicBezTo>
                    <a:pt x="1114" y="523"/>
                    <a:pt x="1130" y="512"/>
                    <a:pt x="1136" y="494"/>
                  </a:cubicBezTo>
                  <a:cubicBezTo>
                    <a:pt x="1142" y="495"/>
                    <a:pt x="1142" y="492"/>
                    <a:pt x="1147" y="492"/>
                  </a:cubicBezTo>
                  <a:cubicBezTo>
                    <a:pt x="1154" y="481"/>
                    <a:pt x="1146" y="460"/>
                    <a:pt x="1159" y="453"/>
                  </a:cubicBezTo>
                  <a:cubicBezTo>
                    <a:pt x="1151" y="451"/>
                    <a:pt x="1147" y="445"/>
                    <a:pt x="1147" y="437"/>
                  </a:cubicBezTo>
                  <a:cubicBezTo>
                    <a:pt x="1141" y="433"/>
                    <a:pt x="1133" y="431"/>
                    <a:pt x="1132" y="423"/>
                  </a:cubicBezTo>
                  <a:cubicBezTo>
                    <a:pt x="1131" y="416"/>
                    <a:pt x="1139" y="417"/>
                    <a:pt x="1136" y="409"/>
                  </a:cubicBezTo>
                  <a:cubicBezTo>
                    <a:pt x="1144" y="410"/>
                    <a:pt x="1148" y="409"/>
                    <a:pt x="1147" y="403"/>
                  </a:cubicBezTo>
                  <a:cubicBezTo>
                    <a:pt x="1158" y="400"/>
                    <a:pt x="1130" y="387"/>
                    <a:pt x="1155" y="387"/>
                  </a:cubicBezTo>
                  <a:cubicBezTo>
                    <a:pt x="1159" y="396"/>
                    <a:pt x="1172" y="398"/>
                    <a:pt x="1178" y="406"/>
                  </a:cubicBezTo>
                  <a:cubicBezTo>
                    <a:pt x="1174" y="421"/>
                    <a:pt x="1185" y="425"/>
                    <a:pt x="1197" y="428"/>
                  </a:cubicBezTo>
                  <a:cubicBezTo>
                    <a:pt x="1220" y="416"/>
                    <a:pt x="1196" y="386"/>
                    <a:pt x="1208" y="365"/>
                  </a:cubicBezTo>
                  <a:cubicBezTo>
                    <a:pt x="1216" y="360"/>
                    <a:pt x="1228" y="357"/>
                    <a:pt x="1239" y="354"/>
                  </a:cubicBezTo>
                  <a:cubicBezTo>
                    <a:pt x="1247" y="341"/>
                    <a:pt x="1255" y="328"/>
                    <a:pt x="1269" y="318"/>
                  </a:cubicBezTo>
                  <a:cubicBezTo>
                    <a:pt x="1274" y="296"/>
                    <a:pt x="1260" y="273"/>
                    <a:pt x="1269" y="258"/>
                  </a:cubicBezTo>
                  <a:cubicBezTo>
                    <a:pt x="1264" y="273"/>
                    <a:pt x="1278" y="275"/>
                    <a:pt x="1280" y="285"/>
                  </a:cubicBezTo>
                  <a:cubicBezTo>
                    <a:pt x="1281" y="302"/>
                    <a:pt x="1282" y="319"/>
                    <a:pt x="1299" y="324"/>
                  </a:cubicBezTo>
                  <a:cubicBezTo>
                    <a:pt x="1306" y="319"/>
                    <a:pt x="1296" y="317"/>
                    <a:pt x="1299" y="307"/>
                  </a:cubicBezTo>
                  <a:cubicBezTo>
                    <a:pt x="1310" y="307"/>
                    <a:pt x="1307" y="312"/>
                    <a:pt x="1315" y="307"/>
                  </a:cubicBezTo>
                  <a:cubicBezTo>
                    <a:pt x="1315" y="298"/>
                    <a:pt x="1304" y="298"/>
                    <a:pt x="1307" y="288"/>
                  </a:cubicBezTo>
                  <a:cubicBezTo>
                    <a:pt x="1293" y="286"/>
                    <a:pt x="1290" y="277"/>
                    <a:pt x="1284" y="269"/>
                  </a:cubicBezTo>
                  <a:cubicBezTo>
                    <a:pt x="1283" y="259"/>
                    <a:pt x="1286" y="246"/>
                    <a:pt x="1273" y="244"/>
                  </a:cubicBezTo>
                  <a:cubicBezTo>
                    <a:pt x="1265" y="244"/>
                    <a:pt x="1272" y="256"/>
                    <a:pt x="1262" y="255"/>
                  </a:cubicBezTo>
                  <a:cubicBezTo>
                    <a:pt x="1255" y="235"/>
                    <a:pt x="1229" y="268"/>
                    <a:pt x="1220" y="247"/>
                  </a:cubicBezTo>
                  <a:cubicBezTo>
                    <a:pt x="1222" y="240"/>
                    <a:pt x="1229" y="237"/>
                    <a:pt x="1235" y="233"/>
                  </a:cubicBezTo>
                  <a:cubicBezTo>
                    <a:pt x="1239" y="224"/>
                    <a:pt x="1238" y="211"/>
                    <a:pt x="1250" y="208"/>
                  </a:cubicBezTo>
                  <a:cubicBezTo>
                    <a:pt x="1259" y="215"/>
                    <a:pt x="1257" y="204"/>
                    <a:pt x="1269" y="205"/>
                  </a:cubicBezTo>
                  <a:cubicBezTo>
                    <a:pt x="1287" y="207"/>
                    <a:pt x="1303" y="212"/>
                    <a:pt x="1326" y="211"/>
                  </a:cubicBezTo>
                  <a:cubicBezTo>
                    <a:pt x="1325" y="215"/>
                    <a:pt x="1329" y="216"/>
                    <a:pt x="1334" y="216"/>
                  </a:cubicBezTo>
                  <a:cubicBezTo>
                    <a:pt x="1339" y="212"/>
                    <a:pt x="1350" y="214"/>
                    <a:pt x="1360" y="213"/>
                  </a:cubicBezTo>
                  <a:cubicBezTo>
                    <a:pt x="1362" y="205"/>
                    <a:pt x="1353" y="204"/>
                    <a:pt x="1356" y="194"/>
                  </a:cubicBezTo>
                  <a:cubicBezTo>
                    <a:pt x="1364" y="193"/>
                    <a:pt x="1364" y="187"/>
                    <a:pt x="1372" y="186"/>
                  </a:cubicBezTo>
                  <a:cubicBezTo>
                    <a:pt x="1379" y="187"/>
                    <a:pt x="1379" y="193"/>
                    <a:pt x="1387" y="194"/>
                  </a:cubicBezTo>
                  <a:cubicBezTo>
                    <a:pt x="1385" y="188"/>
                    <a:pt x="1398" y="179"/>
                    <a:pt x="1402" y="186"/>
                  </a:cubicBezTo>
                  <a:cubicBezTo>
                    <a:pt x="1390" y="204"/>
                    <a:pt x="1372" y="217"/>
                    <a:pt x="1368" y="241"/>
                  </a:cubicBezTo>
                  <a:cubicBezTo>
                    <a:pt x="1370" y="248"/>
                    <a:pt x="1379" y="252"/>
                    <a:pt x="1383" y="258"/>
                  </a:cubicBezTo>
                  <a:cubicBezTo>
                    <a:pt x="1385" y="268"/>
                    <a:pt x="1387" y="278"/>
                    <a:pt x="1398" y="282"/>
                  </a:cubicBezTo>
                  <a:cubicBezTo>
                    <a:pt x="1408" y="275"/>
                    <a:pt x="1413" y="266"/>
                    <a:pt x="1425" y="260"/>
                  </a:cubicBezTo>
                  <a:cubicBezTo>
                    <a:pt x="1421" y="247"/>
                    <a:pt x="1437" y="249"/>
                    <a:pt x="1429" y="238"/>
                  </a:cubicBezTo>
                  <a:cubicBezTo>
                    <a:pt x="1430" y="233"/>
                    <a:pt x="1439" y="233"/>
                    <a:pt x="1440" y="227"/>
                  </a:cubicBezTo>
                  <a:cubicBezTo>
                    <a:pt x="1434" y="224"/>
                    <a:pt x="1423" y="225"/>
                    <a:pt x="1425" y="216"/>
                  </a:cubicBezTo>
                  <a:cubicBezTo>
                    <a:pt x="1428" y="192"/>
                    <a:pt x="1453" y="197"/>
                    <a:pt x="1482" y="200"/>
                  </a:cubicBezTo>
                  <a:cubicBezTo>
                    <a:pt x="1487" y="195"/>
                    <a:pt x="1487" y="187"/>
                    <a:pt x="1493" y="183"/>
                  </a:cubicBezTo>
                  <a:cubicBezTo>
                    <a:pt x="1515" y="182"/>
                    <a:pt x="1532" y="174"/>
                    <a:pt x="1546" y="175"/>
                  </a:cubicBezTo>
                  <a:cubicBezTo>
                    <a:pt x="1546" y="163"/>
                    <a:pt x="1527" y="165"/>
                    <a:pt x="1527" y="153"/>
                  </a:cubicBezTo>
                  <a:cubicBezTo>
                    <a:pt x="1536" y="152"/>
                    <a:pt x="1535" y="143"/>
                    <a:pt x="1546" y="145"/>
                  </a:cubicBezTo>
                  <a:cubicBezTo>
                    <a:pt x="1566" y="145"/>
                    <a:pt x="1563" y="162"/>
                    <a:pt x="1588" y="158"/>
                  </a:cubicBezTo>
                  <a:cubicBezTo>
                    <a:pt x="1593" y="153"/>
                    <a:pt x="1585" y="144"/>
                    <a:pt x="1592" y="136"/>
                  </a:cubicBezTo>
                  <a:close/>
                  <a:moveTo>
                    <a:pt x="251" y="183"/>
                  </a:moveTo>
                  <a:cubicBezTo>
                    <a:pt x="258" y="189"/>
                    <a:pt x="268" y="193"/>
                    <a:pt x="281" y="194"/>
                  </a:cubicBezTo>
                  <a:cubicBezTo>
                    <a:pt x="281" y="203"/>
                    <a:pt x="281" y="213"/>
                    <a:pt x="281" y="222"/>
                  </a:cubicBezTo>
                  <a:cubicBezTo>
                    <a:pt x="273" y="221"/>
                    <a:pt x="283" y="206"/>
                    <a:pt x="266" y="211"/>
                  </a:cubicBezTo>
                  <a:cubicBezTo>
                    <a:pt x="258" y="220"/>
                    <a:pt x="263" y="240"/>
                    <a:pt x="251" y="247"/>
                  </a:cubicBezTo>
                  <a:cubicBezTo>
                    <a:pt x="238" y="247"/>
                    <a:pt x="229" y="245"/>
                    <a:pt x="220" y="247"/>
                  </a:cubicBezTo>
                  <a:cubicBezTo>
                    <a:pt x="210" y="248"/>
                    <a:pt x="208" y="255"/>
                    <a:pt x="198" y="255"/>
                  </a:cubicBezTo>
                  <a:cubicBezTo>
                    <a:pt x="199" y="251"/>
                    <a:pt x="187" y="245"/>
                    <a:pt x="186" y="252"/>
                  </a:cubicBezTo>
                  <a:cubicBezTo>
                    <a:pt x="177" y="251"/>
                    <a:pt x="177" y="245"/>
                    <a:pt x="186" y="244"/>
                  </a:cubicBezTo>
                  <a:cubicBezTo>
                    <a:pt x="178" y="237"/>
                    <a:pt x="172" y="229"/>
                    <a:pt x="171" y="216"/>
                  </a:cubicBezTo>
                  <a:cubicBezTo>
                    <a:pt x="190" y="217"/>
                    <a:pt x="183" y="255"/>
                    <a:pt x="217" y="244"/>
                  </a:cubicBezTo>
                  <a:cubicBezTo>
                    <a:pt x="225" y="233"/>
                    <a:pt x="231" y="219"/>
                    <a:pt x="239" y="208"/>
                  </a:cubicBezTo>
                  <a:cubicBezTo>
                    <a:pt x="238" y="202"/>
                    <a:pt x="235" y="197"/>
                    <a:pt x="232" y="191"/>
                  </a:cubicBezTo>
                  <a:cubicBezTo>
                    <a:pt x="234" y="165"/>
                    <a:pt x="261" y="158"/>
                    <a:pt x="273" y="139"/>
                  </a:cubicBezTo>
                  <a:cubicBezTo>
                    <a:pt x="278" y="139"/>
                    <a:pt x="280" y="140"/>
                    <a:pt x="281" y="142"/>
                  </a:cubicBezTo>
                  <a:cubicBezTo>
                    <a:pt x="278" y="161"/>
                    <a:pt x="247" y="160"/>
                    <a:pt x="251" y="183"/>
                  </a:cubicBezTo>
                  <a:close/>
                  <a:moveTo>
                    <a:pt x="293" y="202"/>
                  </a:moveTo>
                  <a:cubicBezTo>
                    <a:pt x="292" y="194"/>
                    <a:pt x="306" y="196"/>
                    <a:pt x="315" y="194"/>
                  </a:cubicBezTo>
                  <a:cubicBezTo>
                    <a:pt x="316" y="203"/>
                    <a:pt x="304" y="202"/>
                    <a:pt x="293" y="202"/>
                  </a:cubicBezTo>
                  <a:close/>
                  <a:moveTo>
                    <a:pt x="323" y="95"/>
                  </a:moveTo>
                  <a:cubicBezTo>
                    <a:pt x="321" y="94"/>
                    <a:pt x="326" y="91"/>
                    <a:pt x="327" y="92"/>
                  </a:cubicBezTo>
                  <a:cubicBezTo>
                    <a:pt x="329" y="94"/>
                    <a:pt x="324" y="96"/>
                    <a:pt x="323" y="95"/>
                  </a:cubicBezTo>
                  <a:close/>
                  <a:moveTo>
                    <a:pt x="395" y="150"/>
                  </a:moveTo>
                  <a:cubicBezTo>
                    <a:pt x="393" y="149"/>
                    <a:pt x="398" y="147"/>
                    <a:pt x="399" y="147"/>
                  </a:cubicBezTo>
                  <a:cubicBezTo>
                    <a:pt x="401" y="149"/>
                    <a:pt x="396" y="151"/>
                    <a:pt x="395" y="150"/>
                  </a:cubicBezTo>
                  <a:close/>
                  <a:moveTo>
                    <a:pt x="676" y="106"/>
                  </a:moveTo>
                  <a:cubicBezTo>
                    <a:pt x="669" y="105"/>
                    <a:pt x="660" y="105"/>
                    <a:pt x="661" y="98"/>
                  </a:cubicBezTo>
                  <a:cubicBezTo>
                    <a:pt x="650" y="97"/>
                    <a:pt x="665" y="86"/>
                    <a:pt x="661" y="98"/>
                  </a:cubicBezTo>
                  <a:cubicBezTo>
                    <a:pt x="664" y="102"/>
                    <a:pt x="680" y="97"/>
                    <a:pt x="676" y="106"/>
                  </a:cubicBezTo>
                  <a:close/>
                  <a:moveTo>
                    <a:pt x="912" y="57"/>
                  </a:moveTo>
                  <a:cubicBezTo>
                    <a:pt x="910" y="55"/>
                    <a:pt x="915" y="53"/>
                    <a:pt x="916" y="54"/>
                  </a:cubicBezTo>
                  <a:cubicBezTo>
                    <a:pt x="918" y="55"/>
                    <a:pt x="913" y="57"/>
                    <a:pt x="912" y="57"/>
                  </a:cubicBezTo>
                  <a:close/>
                  <a:moveTo>
                    <a:pt x="923" y="54"/>
                  </a:moveTo>
                  <a:cubicBezTo>
                    <a:pt x="921" y="52"/>
                    <a:pt x="926" y="50"/>
                    <a:pt x="927" y="51"/>
                  </a:cubicBezTo>
                  <a:cubicBezTo>
                    <a:pt x="929" y="52"/>
                    <a:pt x="924" y="54"/>
                    <a:pt x="923" y="54"/>
                  </a:cubicBezTo>
                  <a:close/>
                  <a:moveTo>
                    <a:pt x="935" y="48"/>
                  </a:moveTo>
                  <a:cubicBezTo>
                    <a:pt x="933" y="47"/>
                    <a:pt x="937" y="45"/>
                    <a:pt x="938" y="45"/>
                  </a:cubicBezTo>
                  <a:cubicBezTo>
                    <a:pt x="940" y="47"/>
                    <a:pt x="936" y="49"/>
                    <a:pt x="935" y="48"/>
                  </a:cubicBezTo>
                  <a:close/>
                  <a:moveTo>
                    <a:pt x="1106" y="395"/>
                  </a:moveTo>
                  <a:cubicBezTo>
                    <a:pt x="1111" y="390"/>
                    <a:pt x="1114" y="383"/>
                    <a:pt x="1129" y="384"/>
                  </a:cubicBezTo>
                  <a:cubicBezTo>
                    <a:pt x="1129" y="389"/>
                    <a:pt x="1127" y="395"/>
                    <a:pt x="1132" y="395"/>
                  </a:cubicBezTo>
                  <a:cubicBezTo>
                    <a:pt x="1127" y="404"/>
                    <a:pt x="1116" y="393"/>
                    <a:pt x="1106" y="395"/>
                  </a:cubicBezTo>
                  <a:close/>
                </a:path>
              </a:pathLst>
            </a:cu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6" name="Freeform 295"/>
            <p:cNvSpPr>
              <a:spLocks noEditPoints="1"/>
            </p:cNvSpPr>
            <p:nvPr/>
          </p:nvSpPr>
          <p:spPr bwMode="auto">
            <a:xfrm>
              <a:off x="6829425" y="3703638"/>
              <a:ext cx="1247775" cy="982663"/>
            </a:xfrm>
            <a:custGeom>
              <a:avLst/>
              <a:gdLst>
                <a:gd name="T0" fmla="*/ 395 w 434"/>
                <a:gd name="T1" fmla="*/ 195 h 342"/>
                <a:gd name="T2" fmla="*/ 332 w 434"/>
                <a:gd name="T3" fmla="*/ 159 h 342"/>
                <a:gd name="T4" fmla="*/ 330 w 434"/>
                <a:gd name="T5" fmla="*/ 99 h 342"/>
                <a:gd name="T6" fmla="*/ 335 w 434"/>
                <a:gd name="T7" fmla="*/ 16 h 342"/>
                <a:gd name="T8" fmla="*/ 315 w 434"/>
                <a:gd name="T9" fmla="*/ 0 h 342"/>
                <a:gd name="T10" fmla="*/ 251 w 434"/>
                <a:gd name="T11" fmla="*/ 16 h 342"/>
                <a:gd name="T12" fmla="*/ 194 w 434"/>
                <a:gd name="T13" fmla="*/ 44 h 342"/>
                <a:gd name="T14" fmla="*/ 160 w 434"/>
                <a:gd name="T15" fmla="*/ 71 h 342"/>
                <a:gd name="T16" fmla="*/ 125 w 434"/>
                <a:gd name="T17" fmla="*/ 113 h 342"/>
                <a:gd name="T18" fmla="*/ 163 w 434"/>
                <a:gd name="T19" fmla="*/ 151 h 342"/>
                <a:gd name="T20" fmla="*/ 156 w 434"/>
                <a:gd name="T21" fmla="*/ 179 h 342"/>
                <a:gd name="T22" fmla="*/ 114 w 434"/>
                <a:gd name="T23" fmla="*/ 201 h 342"/>
                <a:gd name="T24" fmla="*/ 83 w 434"/>
                <a:gd name="T25" fmla="*/ 220 h 342"/>
                <a:gd name="T26" fmla="*/ 34 w 434"/>
                <a:gd name="T27" fmla="*/ 242 h 342"/>
                <a:gd name="T28" fmla="*/ 76 w 434"/>
                <a:gd name="T29" fmla="*/ 267 h 342"/>
                <a:gd name="T30" fmla="*/ 8 w 434"/>
                <a:gd name="T31" fmla="*/ 278 h 342"/>
                <a:gd name="T32" fmla="*/ 8 w 434"/>
                <a:gd name="T33" fmla="*/ 333 h 342"/>
                <a:gd name="T34" fmla="*/ 72 w 434"/>
                <a:gd name="T35" fmla="*/ 339 h 342"/>
                <a:gd name="T36" fmla="*/ 125 w 434"/>
                <a:gd name="T37" fmla="*/ 278 h 342"/>
                <a:gd name="T38" fmla="*/ 163 w 434"/>
                <a:gd name="T39" fmla="*/ 317 h 342"/>
                <a:gd name="T40" fmla="*/ 175 w 434"/>
                <a:gd name="T41" fmla="*/ 281 h 342"/>
                <a:gd name="T42" fmla="*/ 186 w 434"/>
                <a:gd name="T43" fmla="*/ 297 h 342"/>
                <a:gd name="T44" fmla="*/ 201 w 434"/>
                <a:gd name="T45" fmla="*/ 319 h 342"/>
                <a:gd name="T46" fmla="*/ 239 w 434"/>
                <a:gd name="T47" fmla="*/ 314 h 342"/>
                <a:gd name="T48" fmla="*/ 251 w 434"/>
                <a:gd name="T49" fmla="*/ 305 h 342"/>
                <a:gd name="T50" fmla="*/ 251 w 434"/>
                <a:gd name="T51" fmla="*/ 297 h 342"/>
                <a:gd name="T52" fmla="*/ 266 w 434"/>
                <a:gd name="T53" fmla="*/ 319 h 342"/>
                <a:gd name="T54" fmla="*/ 293 w 434"/>
                <a:gd name="T55" fmla="*/ 339 h 342"/>
                <a:gd name="T56" fmla="*/ 308 w 434"/>
                <a:gd name="T57" fmla="*/ 305 h 342"/>
                <a:gd name="T58" fmla="*/ 315 w 434"/>
                <a:gd name="T59" fmla="*/ 339 h 342"/>
                <a:gd name="T60" fmla="*/ 330 w 434"/>
                <a:gd name="T61" fmla="*/ 273 h 342"/>
                <a:gd name="T62" fmla="*/ 433 w 434"/>
                <a:gd name="T63" fmla="*/ 202 h 342"/>
                <a:gd name="T64" fmla="*/ 323 w 434"/>
                <a:gd name="T65" fmla="*/ 19 h 342"/>
                <a:gd name="T66" fmla="*/ 251 w 434"/>
                <a:gd name="T67" fmla="*/ 107 h 342"/>
                <a:gd name="T68" fmla="*/ 281 w 434"/>
                <a:gd name="T69" fmla="*/ 146 h 342"/>
                <a:gd name="T70" fmla="*/ 251 w 434"/>
                <a:gd name="T71" fmla="*/ 171 h 342"/>
                <a:gd name="T72" fmla="*/ 198 w 434"/>
                <a:gd name="T73" fmla="*/ 179 h 342"/>
                <a:gd name="T74" fmla="*/ 186 w 434"/>
                <a:gd name="T75" fmla="*/ 168 h 342"/>
                <a:gd name="T76" fmla="*/ 217 w 434"/>
                <a:gd name="T77" fmla="*/ 168 h 342"/>
                <a:gd name="T78" fmla="*/ 232 w 434"/>
                <a:gd name="T79" fmla="*/ 115 h 342"/>
                <a:gd name="T80" fmla="*/ 281 w 434"/>
                <a:gd name="T81" fmla="*/ 66 h 342"/>
                <a:gd name="T82" fmla="*/ 293 w 434"/>
                <a:gd name="T83" fmla="*/ 126 h 342"/>
                <a:gd name="T84" fmla="*/ 293 w 434"/>
                <a:gd name="T85" fmla="*/ 126 h 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34" h="342">
                  <a:moveTo>
                    <a:pt x="433" y="202"/>
                  </a:moveTo>
                  <a:cubicBezTo>
                    <a:pt x="433" y="202"/>
                    <a:pt x="408" y="200"/>
                    <a:pt x="395" y="195"/>
                  </a:cubicBezTo>
                  <a:cubicBezTo>
                    <a:pt x="390" y="189"/>
                    <a:pt x="375" y="180"/>
                    <a:pt x="359" y="186"/>
                  </a:cubicBezTo>
                  <a:cubicBezTo>
                    <a:pt x="361" y="172"/>
                    <a:pt x="352" y="159"/>
                    <a:pt x="332" y="159"/>
                  </a:cubicBezTo>
                  <a:cubicBezTo>
                    <a:pt x="312" y="159"/>
                    <a:pt x="316" y="127"/>
                    <a:pt x="330" y="119"/>
                  </a:cubicBezTo>
                  <a:cubicBezTo>
                    <a:pt x="344" y="111"/>
                    <a:pt x="341" y="107"/>
                    <a:pt x="330" y="99"/>
                  </a:cubicBezTo>
                  <a:cubicBezTo>
                    <a:pt x="319" y="91"/>
                    <a:pt x="315" y="61"/>
                    <a:pt x="315" y="61"/>
                  </a:cubicBezTo>
                  <a:cubicBezTo>
                    <a:pt x="335" y="16"/>
                    <a:pt x="335" y="16"/>
                    <a:pt x="335" y="16"/>
                  </a:cubicBezTo>
                  <a:cubicBezTo>
                    <a:pt x="335" y="16"/>
                    <a:pt x="335" y="16"/>
                    <a:pt x="334" y="16"/>
                  </a:cubicBezTo>
                  <a:cubicBezTo>
                    <a:pt x="329" y="10"/>
                    <a:pt x="324" y="4"/>
                    <a:pt x="315" y="0"/>
                  </a:cubicBezTo>
                  <a:cubicBezTo>
                    <a:pt x="304" y="0"/>
                    <a:pt x="293" y="0"/>
                    <a:pt x="281" y="0"/>
                  </a:cubicBezTo>
                  <a:cubicBezTo>
                    <a:pt x="271" y="5"/>
                    <a:pt x="261" y="11"/>
                    <a:pt x="251" y="16"/>
                  </a:cubicBezTo>
                  <a:cubicBezTo>
                    <a:pt x="249" y="12"/>
                    <a:pt x="246" y="17"/>
                    <a:pt x="239" y="16"/>
                  </a:cubicBezTo>
                  <a:cubicBezTo>
                    <a:pt x="226" y="27"/>
                    <a:pt x="209" y="34"/>
                    <a:pt x="194" y="44"/>
                  </a:cubicBezTo>
                  <a:cubicBezTo>
                    <a:pt x="190" y="56"/>
                    <a:pt x="182" y="67"/>
                    <a:pt x="171" y="74"/>
                  </a:cubicBezTo>
                  <a:cubicBezTo>
                    <a:pt x="170" y="71"/>
                    <a:pt x="164" y="72"/>
                    <a:pt x="160" y="71"/>
                  </a:cubicBezTo>
                  <a:cubicBezTo>
                    <a:pt x="160" y="75"/>
                    <a:pt x="160" y="79"/>
                    <a:pt x="160" y="82"/>
                  </a:cubicBezTo>
                  <a:cubicBezTo>
                    <a:pt x="136" y="83"/>
                    <a:pt x="133" y="100"/>
                    <a:pt x="125" y="113"/>
                  </a:cubicBezTo>
                  <a:cubicBezTo>
                    <a:pt x="133" y="119"/>
                    <a:pt x="134" y="130"/>
                    <a:pt x="133" y="143"/>
                  </a:cubicBezTo>
                  <a:cubicBezTo>
                    <a:pt x="137" y="150"/>
                    <a:pt x="157" y="146"/>
                    <a:pt x="163" y="151"/>
                  </a:cubicBezTo>
                  <a:cubicBezTo>
                    <a:pt x="155" y="159"/>
                    <a:pt x="148" y="162"/>
                    <a:pt x="148" y="171"/>
                  </a:cubicBezTo>
                  <a:cubicBezTo>
                    <a:pt x="156" y="169"/>
                    <a:pt x="155" y="174"/>
                    <a:pt x="156" y="179"/>
                  </a:cubicBezTo>
                  <a:cubicBezTo>
                    <a:pt x="142" y="179"/>
                    <a:pt x="134" y="183"/>
                    <a:pt x="122" y="184"/>
                  </a:cubicBezTo>
                  <a:cubicBezTo>
                    <a:pt x="118" y="189"/>
                    <a:pt x="111" y="191"/>
                    <a:pt x="114" y="201"/>
                  </a:cubicBezTo>
                  <a:cubicBezTo>
                    <a:pt x="92" y="196"/>
                    <a:pt x="105" y="217"/>
                    <a:pt x="87" y="215"/>
                  </a:cubicBezTo>
                  <a:cubicBezTo>
                    <a:pt x="88" y="218"/>
                    <a:pt x="87" y="219"/>
                    <a:pt x="83" y="220"/>
                  </a:cubicBezTo>
                  <a:cubicBezTo>
                    <a:pt x="67" y="219"/>
                    <a:pt x="63" y="228"/>
                    <a:pt x="53" y="231"/>
                  </a:cubicBezTo>
                  <a:cubicBezTo>
                    <a:pt x="44" y="233"/>
                    <a:pt x="34" y="234"/>
                    <a:pt x="34" y="242"/>
                  </a:cubicBezTo>
                  <a:cubicBezTo>
                    <a:pt x="39" y="246"/>
                    <a:pt x="51" y="245"/>
                    <a:pt x="61" y="245"/>
                  </a:cubicBezTo>
                  <a:cubicBezTo>
                    <a:pt x="59" y="257"/>
                    <a:pt x="78" y="254"/>
                    <a:pt x="76" y="267"/>
                  </a:cubicBezTo>
                  <a:cubicBezTo>
                    <a:pt x="72" y="271"/>
                    <a:pt x="72" y="277"/>
                    <a:pt x="65" y="278"/>
                  </a:cubicBezTo>
                  <a:cubicBezTo>
                    <a:pt x="47" y="271"/>
                    <a:pt x="31" y="280"/>
                    <a:pt x="8" y="278"/>
                  </a:cubicBezTo>
                  <a:cubicBezTo>
                    <a:pt x="4" y="287"/>
                    <a:pt x="16" y="308"/>
                    <a:pt x="0" y="308"/>
                  </a:cubicBezTo>
                  <a:cubicBezTo>
                    <a:pt x="3" y="316"/>
                    <a:pt x="11" y="320"/>
                    <a:pt x="8" y="333"/>
                  </a:cubicBezTo>
                  <a:cubicBezTo>
                    <a:pt x="25" y="330"/>
                    <a:pt x="31" y="337"/>
                    <a:pt x="42" y="339"/>
                  </a:cubicBezTo>
                  <a:cubicBezTo>
                    <a:pt x="56" y="333"/>
                    <a:pt x="58" y="333"/>
                    <a:pt x="72" y="339"/>
                  </a:cubicBezTo>
                  <a:cubicBezTo>
                    <a:pt x="81" y="327"/>
                    <a:pt x="94" y="319"/>
                    <a:pt x="91" y="300"/>
                  </a:cubicBezTo>
                  <a:cubicBezTo>
                    <a:pt x="108" y="296"/>
                    <a:pt x="105" y="279"/>
                    <a:pt x="125" y="278"/>
                  </a:cubicBezTo>
                  <a:cubicBezTo>
                    <a:pt x="141" y="285"/>
                    <a:pt x="148" y="276"/>
                    <a:pt x="163" y="275"/>
                  </a:cubicBezTo>
                  <a:cubicBezTo>
                    <a:pt x="153" y="286"/>
                    <a:pt x="158" y="303"/>
                    <a:pt x="163" y="317"/>
                  </a:cubicBezTo>
                  <a:cubicBezTo>
                    <a:pt x="188" y="315"/>
                    <a:pt x="173" y="301"/>
                    <a:pt x="175" y="286"/>
                  </a:cubicBezTo>
                  <a:cubicBezTo>
                    <a:pt x="171" y="286"/>
                    <a:pt x="170" y="281"/>
                    <a:pt x="175" y="281"/>
                  </a:cubicBezTo>
                  <a:cubicBezTo>
                    <a:pt x="175" y="283"/>
                    <a:pt x="175" y="284"/>
                    <a:pt x="175" y="286"/>
                  </a:cubicBezTo>
                  <a:cubicBezTo>
                    <a:pt x="183" y="287"/>
                    <a:pt x="182" y="294"/>
                    <a:pt x="186" y="297"/>
                  </a:cubicBezTo>
                  <a:cubicBezTo>
                    <a:pt x="205" y="298"/>
                    <a:pt x="216" y="303"/>
                    <a:pt x="220" y="314"/>
                  </a:cubicBezTo>
                  <a:cubicBezTo>
                    <a:pt x="220" y="320"/>
                    <a:pt x="211" y="320"/>
                    <a:pt x="201" y="319"/>
                  </a:cubicBezTo>
                  <a:cubicBezTo>
                    <a:pt x="201" y="329"/>
                    <a:pt x="215" y="328"/>
                    <a:pt x="220" y="333"/>
                  </a:cubicBezTo>
                  <a:cubicBezTo>
                    <a:pt x="219" y="321"/>
                    <a:pt x="231" y="318"/>
                    <a:pt x="239" y="314"/>
                  </a:cubicBezTo>
                  <a:cubicBezTo>
                    <a:pt x="241" y="308"/>
                    <a:pt x="232" y="310"/>
                    <a:pt x="232" y="305"/>
                  </a:cubicBezTo>
                  <a:cubicBezTo>
                    <a:pt x="239" y="297"/>
                    <a:pt x="245" y="315"/>
                    <a:pt x="251" y="305"/>
                  </a:cubicBezTo>
                  <a:cubicBezTo>
                    <a:pt x="240" y="291"/>
                    <a:pt x="193" y="288"/>
                    <a:pt x="205" y="267"/>
                  </a:cubicBezTo>
                  <a:cubicBezTo>
                    <a:pt x="217" y="280"/>
                    <a:pt x="238" y="286"/>
                    <a:pt x="251" y="297"/>
                  </a:cubicBezTo>
                  <a:cubicBezTo>
                    <a:pt x="253" y="299"/>
                    <a:pt x="256" y="306"/>
                    <a:pt x="258" y="308"/>
                  </a:cubicBezTo>
                  <a:cubicBezTo>
                    <a:pt x="261" y="312"/>
                    <a:pt x="268" y="315"/>
                    <a:pt x="266" y="319"/>
                  </a:cubicBezTo>
                  <a:cubicBezTo>
                    <a:pt x="266" y="325"/>
                    <a:pt x="266" y="330"/>
                    <a:pt x="266" y="336"/>
                  </a:cubicBezTo>
                  <a:cubicBezTo>
                    <a:pt x="271" y="340"/>
                    <a:pt x="283" y="339"/>
                    <a:pt x="293" y="339"/>
                  </a:cubicBezTo>
                  <a:cubicBezTo>
                    <a:pt x="299" y="329"/>
                    <a:pt x="286" y="316"/>
                    <a:pt x="296" y="305"/>
                  </a:cubicBezTo>
                  <a:cubicBezTo>
                    <a:pt x="300" y="305"/>
                    <a:pt x="304" y="305"/>
                    <a:pt x="308" y="305"/>
                  </a:cubicBezTo>
                  <a:cubicBezTo>
                    <a:pt x="303" y="316"/>
                    <a:pt x="307" y="316"/>
                    <a:pt x="304" y="327"/>
                  </a:cubicBezTo>
                  <a:cubicBezTo>
                    <a:pt x="313" y="327"/>
                    <a:pt x="309" y="335"/>
                    <a:pt x="315" y="339"/>
                  </a:cubicBezTo>
                  <a:cubicBezTo>
                    <a:pt x="318" y="340"/>
                    <a:pt x="321" y="341"/>
                    <a:pt x="325" y="342"/>
                  </a:cubicBezTo>
                  <a:cubicBezTo>
                    <a:pt x="330" y="273"/>
                    <a:pt x="330" y="273"/>
                    <a:pt x="330" y="273"/>
                  </a:cubicBezTo>
                  <a:cubicBezTo>
                    <a:pt x="330" y="273"/>
                    <a:pt x="364" y="261"/>
                    <a:pt x="419" y="233"/>
                  </a:cubicBezTo>
                  <a:cubicBezTo>
                    <a:pt x="434" y="215"/>
                    <a:pt x="433" y="202"/>
                    <a:pt x="433" y="202"/>
                  </a:cubicBezTo>
                  <a:close/>
                  <a:moveTo>
                    <a:pt x="327" y="16"/>
                  </a:moveTo>
                  <a:cubicBezTo>
                    <a:pt x="329" y="18"/>
                    <a:pt x="324" y="20"/>
                    <a:pt x="323" y="19"/>
                  </a:cubicBezTo>
                  <a:cubicBezTo>
                    <a:pt x="321" y="18"/>
                    <a:pt x="326" y="15"/>
                    <a:pt x="327" y="16"/>
                  </a:cubicBezTo>
                  <a:close/>
                  <a:moveTo>
                    <a:pt x="251" y="107"/>
                  </a:moveTo>
                  <a:cubicBezTo>
                    <a:pt x="258" y="113"/>
                    <a:pt x="268" y="117"/>
                    <a:pt x="281" y="118"/>
                  </a:cubicBezTo>
                  <a:cubicBezTo>
                    <a:pt x="281" y="127"/>
                    <a:pt x="281" y="137"/>
                    <a:pt x="281" y="146"/>
                  </a:cubicBezTo>
                  <a:cubicBezTo>
                    <a:pt x="273" y="145"/>
                    <a:pt x="283" y="130"/>
                    <a:pt x="266" y="135"/>
                  </a:cubicBezTo>
                  <a:cubicBezTo>
                    <a:pt x="258" y="144"/>
                    <a:pt x="263" y="164"/>
                    <a:pt x="251" y="171"/>
                  </a:cubicBezTo>
                  <a:cubicBezTo>
                    <a:pt x="238" y="171"/>
                    <a:pt x="229" y="169"/>
                    <a:pt x="220" y="171"/>
                  </a:cubicBezTo>
                  <a:cubicBezTo>
                    <a:pt x="210" y="172"/>
                    <a:pt x="208" y="179"/>
                    <a:pt x="198" y="179"/>
                  </a:cubicBezTo>
                  <a:cubicBezTo>
                    <a:pt x="199" y="175"/>
                    <a:pt x="187" y="169"/>
                    <a:pt x="186" y="176"/>
                  </a:cubicBezTo>
                  <a:cubicBezTo>
                    <a:pt x="177" y="175"/>
                    <a:pt x="177" y="169"/>
                    <a:pt x="186" y="168"/>
                  </a:cubicBezTo>
                  <a:cubicBezTo>
                    <a:pt x="178" y="161"/>
                    <a:pt x="172" y="153"/>
                    <a:pt x="171" y="140"/>
                  </a:cubicBezTo>
                  <a:cubicBezTo>
                    <a:pt x="190" y="141"/>
                    <a:pt x="183" y="179"/>
                    <a:pt x="217" y="168"/>
                  </a:cubicBezTo>
                  <a:cubicBezTo>
                    <a:pt x="225" y="157"/>
                    <a:pt x="231" y="143"/>
                    <a:pt x="239" y="132"/>
                  </a:cubicBezTo>
                  <a:cubicBezTo>
                    <a:pt x="238" y="126"/>
                    <a:pt x="235" y="121"/>
                    <a:pt x="232" y="115"/>
                  </a:cubicBezTo>
                  <a:cubicBezTo>
                    <a:pt x="234" y="89"/>
                    <a:pt x="261" y="82"/>
                    <a:pt x="273" y="63"/>
                  </a:cubicBezTo>
                  <a:cubicBezTo>
                    <a:pt x="278" y="63"/>
                    <a:pt x="280" y="64"/>
                    <a:pt x="281" y="66"/>
                  </a:cubicBezTo>
                  <a:cubicBezTo>
                    <a:pt x="278" y="85"/>
                    <a:pt x="247" y="84"/>
                    <a:pt x="251" y="107"/>
                  </a:cubicBezTo>
                  <a:close/>
                  <a:moveTo>
                    <a:pt x="293" y="126"/>
                  </a:moveTo>
                  <a:cubicBezTo>
                    <a:pt x="292" y="118"/>
                    <a:pt x="306" y="120"/>
                    <a:pt x="315" y="118"/>
                  </a:cubicBezTo>
                  <a:cubicBezTo>
                    <a:pt x="316" y="127"/>
                    <a:pt x="304" y="126"/>
                    <a:pt x="293" y="126"/>
                  </a:cubicBezTo>
                  <a:close/>
                </a:path>
              </a:pathLst>
            </a:cu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7" name="Freeform 296"/>
            <p:cNvSpPr>
              <a:spLocks/>
            </p:cNvSpPr>
            <p:nvPr/>
          </p:nvSpPr>
          <p:spPr bwMode="auto">
            <a:xfrm>
              <a:off x="4941888" y="5184775"/>
              <a:ext cx="1212850" cy="1571625"/>
            </a:xfrm>
            <a:custGeom>
              <a:avLst/>
              <a:gdLst>
                <a:gd name="T0" fmla="*/ 421 w 422"/>
                <a:gd name="T1" fmla="*/ 154 h 547"/>
                <a:gd name="T2" fmla="*/ 414 w 422"/>
                <a:gd name="T3" fmla="*/ 129 h 547"/>
                <a:gd name="T4" fmla="*/ 395 w 422"/>
                <a:gd name="T5" fmla="*/ 132 h 547"/>
                <a:gd name="T6" fmla="*/ 361 w 422"/>
                <a:gd name="T7" fmla="*/ 116 h 547"/>
                <a:gd name="T8" fmla="*/ 334 w 422"/>
                <a:gd name="T9" fmla="*/ 116 h 547"/>
                <a:gd name="T10" fmla="*/ 300 w 422"/>
                <a:gd name="T11" fmla="*/ 102 h 547"/>
                <a:gd name="T12" fmla="*/ 277 w 422"/>
                <a:gd name="T13" fmla="*/ 96 h 547"/>
                <a:gd name="T14" fmla="*/ 232 w 422"/>
                <a:gd name="T15" fmla="*/ 61 h 547"/>
                <a:gd name="T16" fmla="*/ 209 w 422"/>
                <a:gd name="T17" fmla="*/ 36 h 547"/>
                <a:gd name="T18" fmla="*/ 155 w 422"/>
                <a:gd name="T19" fmla="*/ 19 h 547"/>
                <a:gd name="T20" fmla="*/ 144 w 422"/>
                <a:gd name="T21" fmla="*/ 25 h 547"/>
                <a:gd name="T22" fmla="*/ 117 w 422"/>
                <a:gd name="T23" fmla="*/ 3 h 547"/>
                <a:gd name="T24" fmla="*/ 102 w 422"/>
                <a:gd name="T25" fmla="*/ 11 h 547"/>
                <a:gd name="T26" fmla="*/ 83 w 422"/>
                <a:gd name="T27" fmla="*/ 0 h 547"/>
                <a:gd name="T28" fmla="*/ 64 w 422"/>
                <a:gd name="T29" fmla="*/ 8 h 547"/>
                <a:gd name="T30" fmla="*/ 34 w 422"/>
                <a:gd name="T31" fmla="*/ 33 h 547"/>
                <a:gd name="T32" fmla="*/ 22 w 422"/>
                <a:gd name="T33" fmla="*/ 48 h 547"/>
                <a:gd name="T34" fmla="*/ 30 w 422"/>
                <a:gd name="T35" fmla="*/ 63 h 547"/>
                <a:gd name="T36" fmla="*/ 23 w 422"/>
                <a:gd name="T37" fmla="*/ 74 h 547"/>
                <a:gd name="T38" fmla="*/ 7 w 422"/>
                <a:gd name="T39" fmla="*/ 102 h 547"/>
                <a:gd name="T40" fmla="*/ 7 w 422"/>
                <a:gd name="T41" fmla="*/ 140 h 547"/>
                <a:gd name="T42" fmla="*/ 34 w 422"/>
                <a:gd name="T43" fmla="*/ 152 h 547"/>
                <a:gd name="T44" fmla="*/ 15 w 422"/>
                <a:gd name="T45" fmla="*/ 157 h 547"/>
                <a:gd name="T46" fmla="*/ 49 w 422"/>
                <a:gd name="T47" fmla="*/ 193 h 547"/>
                <a:gd name="T48" fmla="*/ 45 w 422"/>
                <a:gd name="T49" fmla="*/ 207 h 547"/>
                <a:gd name="T50" fmla="*/ 87 w 422"/>
                <a:gd name="T51" fmla="*/ 231 h 547"/>
                <a:gd name="T52" fmla="*/ 106 w 422"/>
                <a:gd name="T53" fmla="*/ 270 h 547"/>
                <a:gd name="T54" fmla="*/ 99 w 422"/>
                <a:gd name="T55" fmla="*/ 284 h 547"/>
                <a:gd name="T56" fmla="*/ 106 w 422"/>
                <a:gd name="T57" fmla="*/ 295 h 547"/>
                <a:gd name="T58" fmla="*/ 106 w 422"/>
                <a:gd name="T59" fmla="*/ 339 h 547"/>
                <a:gd name="T60" fmla="*/ 87 w 422"/>
                <a:gd name="T61" fmla="*/ 397 h 547"/>
                <a:gd name="T62" fmla="*/ 106 w 422"/>
                <a:gd name="T63" fmla="*/ 399 h 547"/>
                <a:gd name="T64" fmla="*/ 87 w 422"/>
                <a:gd name="T65" fmla="*/ 419 h 547"/>
                <a:gd name="T66" fmla="*/ 95 w 422"/>
                <a:gd name="T67" fmla="*/ 430 h 547"/>
                <a:gd name="T68" fmla="*/ 91 w 422"/>
                <a:gd name="T69" fmla="*/ 452 h 547"/>
                <a:gd name="T70" fmla="*/ 99 w 422"/>
                <a:gd name="T71" fmla="*/ 496 h 547"/>
                <a:gd name="T72" fmla="*/ 121 w 422"/>
                <a:gd name="T73" fmla="*/ 523 h 547"/>
                <a:gd name="T74" fmla="*/ 125 w 422"/>
                <a:gd name="T75" fmla="*/ 534 h 547"/>
                <a:gd name="T76" fmla="*/ 148 w 422"/>
                <a:gd name="T77" fmla="*/ 543 h 547"/>
                <a:gd name="T78" fmla="*/ 190 w 422"/>
                <a:gd name="T79" fmla="*/ 537 h 547"/>
                <a:gd name="T80" fmla="*/ 167 w 422"/>
                <a:gd name="T81" fmla="*/ 526 h 547"/>
                <a:gd name="T82" fmla="*/ 155 w 422"/>
                <a:gd name="T83" fmla="*/ 512 h 547"/>
                <a:gd name="T84" fmla="*/ 167 w 422"/>
                <a:gd name="T85" fmla="*/ 488 h 547"/>
                <a:gd name="T86" fmla="*/ 182 w 422"/>
                <a:gd name="T87" fmla="*/ 477 h 547"/>
                <a:gd name="T88" fmla="*/ 171 w 422"/>
                <a:gd name="T89" fmla="*/ 460 h 547"/>
                <a:gd name="T90" fmla="*/ 171 w 422"/>
                <a:gd name="T91" fmla="*/ 421 h 547"/>
                <a:gd name="T92" fmla="*/ 201 w 422"/>
                <a:gd name="T93" fmla="*/ 402 h 547"/>
                <a:gd name="T94" fmla="*/ 243 w 422"/>
                <a:gd name="T95" fmla="*/ 391 h 547"/>
                <a:gd name="T96" fmla="*/ 235 w 422"/>
                <a:gd name="T97" fmla="*/ 364 h 547"/>
                <a:gd name="T98" fmla="*/ 266 w 422"/>
                <a:gd name="T99" fmla="*/ 364 h 547"/>
                <a:gd name="T100" fmla="*/ 273 w 422"/>
                <a:gd name="T101" fmla="*/ 361 h 547"/>
                <a:gd name="T102" fmla="*/ 289 w 422"/>
                <a:gd name="T103" fmla="*/ 347 h 547"/>
                <a:gd name="T104" fmla="*/ 311 w 422"/>
                <a:gd name="T105" fmla="*/ 319 h 547"/>
                <a:gd name="T106" fmla="*/ 311 w 422"/>
                <a:gd name="T107" fmla="*/ 300 h 547"/>
                <a:gd name="T108" fmla="*/ 330 w 422"/>
                <a:gd name="T109" fmla="*/ 284 h 547"/>
                <a:gd name="T110" fmla="*/ 364 w 422"/>
                <a:gd name="T111" fmla="*/ 275 h 547"/>
                <a:gd name="T112" fmla="*/ 372 w 422"/>
                <a:gd name="T113" fmla="*/ 223 h 547"/>
                <a:gd name="T114" fmla="*/ 380 w 422"/>
                <a:gd name="T115" fmla="*/ 209 h 547"/>
                <a:gd name="T116" fmla="*/ 391 w 422"/>
                <a:gd name="T117" fmla="*/ 207 h 547"/>
                <a:gd name="T118" fmla="*/ 406 w 422"/>
                <a:gd name="T119" fmla="*/ 187 h 547"/>
                <a:gd name="T120" fmla="*/ 418 w 422"/>
                <a:gd name="T121" fmla="*/ 171 h 547"/>
                <a:gd name="T122" fmla="*/ 421 w 422"/>
                <a:gd name="T123" fmla="*/ 154 h 5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22" h="547">
                  <a:moveTo>
                    <a:pt x="421" y="154"/>
                  </a:moveTo>
                  <a:cubicBezTo>
                    <a:pt x="422" y="144"/>
                    <a:pt x="418" y="137"/>
                    <a:pt x="414" y="129"/>
                  </a:cubicBezTo>
                  <a:cubicBezTo>
                    <a:pt x="407" y="124"/>
                    <a:pt x="403" y="131"/>
                    <a:pt x="395" y="132"/>
                  </a:cubicBezTo>
                  <a:cubicBezTo>
                    <a:pt x="389" y="123"/>
                    <a:pt x="374" y="120"/>
                    <a:pt x="361" y="116"/>
                  </a:cubicBezTo>
                  <a:cubicBezTo>
                    <a:pt x="352" y="116"/>
                    <a:pt x="343" y="116"/>
                    <a:pt x="334" y="116"/>
                  </a:cubicBezTo>
                  <a:cubicBezTo>
                    <a:pt x="327" y="108"/>
                    <a:pt x="302" y="113"/>
                    <a:pt x="300" y="102"/>
                  </a:cubicBezTo>
                  <a:cubicBezTo>
                    <a:pt x="290" y="102"/>
                    <a:pt x="277" y="103"/>
                    <a:pt x="277" y="96"/>
                  </a:cubicBezTo>
                  <a:cubicBezTo>
                    <a:pt x="288" y="83"/>
                    <a:pt x="266" y="48"/>
                    <a:pt x="232" y="61"/>
                  </a:cubicBezTo>
                  <a:cubicBezTo>
                    <a:pt x="220" y="55"/>
                    <a:pt x="211" y="48"/>
                    <a:pt x="209" y="36"/>
                  </a:cubicBezTo>
                  <a:cubicBezTo>
                    <a:pt x="189" y="32"/>
                    <a:pt x="175" y="24"/>
                    <a:pt x="155" y="19"/>
                  </a:cubicBezTo>
                  <a:cubicBezTo>
                    <a:pt x="151" y="20"/>
                    <a:pt x="150" y="24"/>
                    <a:pt x="144" y="25"/>
                  </a:cubicBezTo>
                  <a:cubicBezTo>
                    <a:pt x="139" y="15"/>
                    <a:pt x="121" y="14"/>
                    <a:pt x="117" y="3"/>
                  </a:cubicBezTo>
                  <a:cubicBezTo>
                    <a:pt x="105" y="0"/>
                    <a:pt x="110" y="10"/>
                    <a:pt x="102" y="11"/>
                  </a:cubicBezTo>
                  <a:cubicBezTo>
                    <a:pt x="93" y="9"/>
                    <a:pt x="92" y="2"/>
                    <a:pt x="83" y="0"/>
                  </a:cubicBezTo>
                  <a:cubicBezTo>
                    <a:pt x="80" y="5"/>
                    <a:pt x="76" y="9"/>
                    <a:pt x="64" y="8"/>
                  </a:cubicBezTo>
                  <a:cubicBezTo>
                    <a:pt x="59" y="20"/>
                    <a:pt x="43" y="24"/>
                    <a:pt x="34" y="33"/>
                  </a:cubicBezTo>
                  <a:cubicBezTo>
                    <a:pt x="31" y="38"/>
                    <a:pt x="25" y="44"/>
                    <a:pt x="22" y="48"/>
                  </a:cubicBezTo>
                  <a:cubicBezTo>
                    <a:pt x="24" y="53"/>
                    <a:pt x="28" y="58"/>
                    <a:pt x="30" y="63"/>
                  </a:cubicBezTo>
                  <a:cubicBezTo>
                    <a:pt x="30" y="69"/>
                    <a:pt x="20" y="67"/>
                    <a:pt x="23" y="74"/>
                  </a:cubicBezTo>
                  <a:cubicBezTo>
                    <a:pt x="24" y="88"/>
                    <a:pt x="10" y="91"/>
                    <a:pt x="7" y="102"/>
                  </a:cubicBezTo>
                  <a:cubicBezTo>
                    <a:pt x="0" y="121"/>
                    <a:pt x="23" y="132"/>
                    <a:pt x="7" y="140"/>
                  </a:cubicBezTo>
                  <a:cubicBezTo>
                    <a:pt x="14" y="146"/>
                    <a:pt x="26" y="147"/>
                    <a:pt x="34" y="152"/>
                  </a:cubicBezTo>
                  <a:cubicBezTo>
                    <a:pt x="31" y="155"/>
                    <a:pt x="22" y="155"/>
                    <a:pt x="15" y="157"/>
                  </a:cubicBezTo>
                  <a:cubicBezTo>
                    <a:pt x="12" y="179"/>
                    <a:pt x="29" y="187"/>
                    <a:pt x="49" y="193"/>
                  </a:cubicBezTo>
                  <a:cubicBezTo>
                    <a:pt x="51" y="199"/>
                    <a:pt x="42" y="199"/>
                    <a:pt x="45" y="207"/>
                  </a:cubicBezTo>
                  <a:cubicBezTo>
                    <a:pt x="60" y="215"/>
                    <a:pt x="65" y="229"/>
                    <a:pt x="87" y="231"/>
                  </a:cubicBezTo>
                  <a:cubicBezTo>
                    <a:pt x="94" y="244"/>
                    <a:pt x="106" y="252"/>
                    <a:pt x="106" y="270"/>
                  </a:cubicBezTo>
                  <a:cubicBezTo>
                    <a:pt x="102" y="274"/>
                    <a:pt x="103" y="280"/>
                    <a:pt x="99" y="284"/>
                  </a:cubicBezTo>
                  <a:cubicBezTo>
                    <a:pt x="104" y="285"/>
                    <a:pt x="106" y="290"/>
                    <a:pt x="106" y="295"/>
                  </a:cubicBezTo>
                  <a:cubicBezTo>
                    <a:pt x="96" y="307"/>
                    <a:pt x="111" y="322"/>
                    <a:pt x="106" y="339"/>
                  </a:cubicBezTo>
                  <a:cubicBezTo>
                    <a:pt x="86" y="348"/>
                    <a:pt x="95" y="379"/>
                    <a:pt x="87" y="397"/>
                  </a:cubicBezTo>
                  <a:cubicBezTo>
                    <a:pt x="93" y="404"/>
                    <a:pt x="103" y="392"/>
                    <a:pt x="106" y="399"/>
                  </a:cubicBezTo>
                  <a:cubicBezTo>
                    <a:pt x="110" y="413"/>
                    <a:pt x="93" y="412"/>
                    <a:pt x="87" y="419"/>
                  </a:cubicBezTo>
                  <a:cubicBezTo>
                    <a:pt x="82" y="428"/>
                    <a:pt x="99" y="421"/>
                    <a:pt x="95" y="430"/>
                  </a:cubicBezTo>
                  <a:cubicBezTo>
                    <a:pt x="87" y="436"/>
                    <a:pt x="99" y="443"/>
                    <a:pt x="91" y="452"/>
                  </a:cubicBezTo>
                  <a:cubicBezTo>
                    <a:pt x="95" y="470"/>
                    <a:pt x="107" y="480"/>
                    <a:pt x="99" y="496"/>
                  </a:cubicBezTo>
                  <a:cubicBezTo>
                    <a:pt x="110" y="502"/>
                    <a:pt x="109" y="518"/>
                    <a:pt x="121" y="523"/>
                  </a:cubicBezTo>
                  <a:cubicBezTo>
                    <a:pt x="121" y="528"/>
                    <a:pt x="126" y="529"/>
                    <a:pt x="125" y="534"/>
                  </a:cubicBezTo>
                  <a:cubicBezTo>
                    <a:pt x="135" y="536"/>
                    <a:pt x="141" y="540"/>
                    <a:pt x="148" y="543"/>
                  </a:cubicBezTo>
                  <a:cubicBezTo>
                    <a:pt x="162" y="541"/>
                    <a:pt x="187" y="547"/>
                    <a:pt x="190" y="537"/>
                  </a:cubicBezTo>
                  <a:cubicBezTo>
                    <a:pt x="179" y="535"/>
                    <a:pt x="172" y="532"/>
                    <a:pt x="167" y="526"/>
                  </a:cubicBezTo>
                  <a:cubicBezTo>
                    <a:pt x="170" y="517"/>
                    <a:pt x="152" y="523"/>
                    <a:pt x="155" y="512"/>
                  </a:cubicBezTo>
                  <a:cubicBezTo>
                    <a:pt x="154" y="500"/>
                    <a:pt x="166" y="498"/>
                    <a:pt x="167" y="488"/>
                  </a:cubicBezTo>
                  <a:cubicBezTo>
                    <a:pt x="177" y="487"/>
                    <a:pt x="182" y="484"/>
                    <a:pt x="182" y="477"/>
                  </a:cubicBezTo>
                  <a:cubicBezTo>
                    <a:pt x="184" y="467"/>
                    <a:pt x="169" y="470"/>
                    <a:pt x="171" y="460"/>
                  </a:cubicBezTo>
                  <a:cubicBezTo>
                    <a:pt x="181" y="451"/>
                    <a:pt x="197" y="424"/>
                    <a:pt x="171" y="421"/>
                  </a:cubicBezTo>
                  <a:cubicBezTo>
                    <a:pt x="196" y="426"/>
                    <a:pt x="195" y="412"/>
                    <a:pt x="201" y="402"/>
                  </a:cubicBezTo>
                  <a:cubicBezTo>
                    <a:pt x="222" y="403"/>
                    <a:pt x="229" y="394"/>
                    <a:pt x="243" y="391"/>
                  </a:cubicBezTo>
                  <a:cubicBezTo>
                    <a:pt x="245" y="378"/>
                    <a:pt x="237" y="373"/>
                    <a:pt x="235" y="364"/>
                  </a:cubicBezTo>
                  <a:cubicBezTo>
                    <a:pt x="245" y="364"/>
                    <a:pt x="256" y="364"/>
                    <a:pt x="266" y="364"/>
                  </a:cubicBezTo>
                  <a:cubicBezTo>
                    <a:pt x="266" y="361"/>
                    <a:pt x="270" y="361"/>
                    <a:pt x="273" y="361"/>
                  </a:cubicBezTo>
                  <a:cubicBezTo>
                    <a:pt x="275" y="354"/>
                    <a:pt x="277" y="347"/>
                    <a:pt x="289" y="347"/>
                  </a:cubicBezTo>
                  <a:cubicBezTo>
                    <a:pt x="287" y="331"/>
                    <a:pt x="303" y="328"/>
                    <a:pt x="311" y="319"/>
                  </a:cubicBezTo>
                  <a:cubicBezTo>
                    <a:pt x="311" y="313"/>
                    <a:pt x="311" y="307"/>
                    <a:pt x="311" y="300"/>
                  </a:cubicBezTo>
                  <a:cubicBezTo>
                    <a:pt x="319" y="295"/>
                    <a:pt x="323" y="289"/>
                    <a:pt x="330" y="284"/>
                  </a:cubicBezTo>
                  <a:cubicBezTo>
                    <a:pt x="348" y="280"/>
                    <a:pt x="348" y="280"/>
                    <a:pt x="364" y="275"/>
                  </a:cubicBezTo>
                  <a:cubicBezTo>
                    <a:pt x="366" y="258"/>
                    <a:pt x="385" y="242"/>
                    <a:pt x="372" y="223"/>
                  </a:cubicBezTo>
                  <a:cubicBezTo>
                    <a:pt x="378" y="221"/>
                    <a:pt x="380" y="216"/>
                    <a:pt x="380" y="209"/>
                  </a:cubicBezTo>
                  <a:cubicBezTo>
                    <a:pt x="386" y="210"/>
                    <a:pt x="386" y="207"/>
                    <a:pt x="391" y="207"/>
                  </a:cubicBezTo>
                  <a:cubicBezTo>
                    <a:pt x="393" y="197"/>
                    <a:pt x="402" y="194"/>
                    <a:pt x="406" y="187"/>
                  </a:cubicBezTo>
                  <a:cubicBezTo>
                    <a:pt x="416" y="180"/>
                    <a:pt x="406" y="174"/>
                    <a:pt x="418" y="171"/>
                  </a:cubicBezTo>
                  <a:cubicBezTo>
                    <a:pt x="415" y="162"/>
                    <a:pt x="421" y="161"/>
                    <a:pt x="421" y="154"/>
                  </a:cubicBezTo>
                  <a:close/>
                </a:path>
              </a:pathLst>
            </a:custGeom>
            <a:solidFill>
              <a:srgbClr val="40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Freeform 297"/>
            <p:cNvSpPr>
              <a:spLocks noEditPoints="1"/>
            </p:cNvSpPr>
            <p:nvPr/>
          </p:nvSpPr>
          <p:spPr bwMode="auto">
            <a:xfrm>
              <a:off x="3073400" y="3490913"/>
              <a:ext cx="2687638" cy="1833563"/>
            </a:xfrm>
            <a:custGeom>
              <a:avLst/>
              <a:gdLst>
                <a:gd name="T0" fmla="*/ 684 w 935"/>
                <a:gd name="T1" fmla="*/ 616 h 638"/>
                <a:gd name="T2" fmla="*/ 597 w 935"/>
                <a:gd name="T3" fmla="*/ 564 h 638"/>
                <a:gd name="T4" fmla="*/ 524 w 935"/>
                <a:gd name="T5" fmla="*/ 481 h 638"/>
                <a:gd name="T6" fmla="*/ 654 w 935"/>
                <a:gd name="T7" fmla="*/ 479 h 638"/>
                <a:gd name="T8" fmla="*/ 718 w 935"/>
                <a:gd name="T9" fmla="*/ 429 h 638"/>
                <a:gd name="T10" fmla="*/ 783 w 935"/>
                <a:gd name="T11" fmla="*/ 369 h 638"/>
                <a:gd name="T12" fmla="*/ 863 w 935"/>
                <a:gd name="T13" fmla="*/ 330 h 638"/>
                <a:gd name="T14" fmla="*/ 908 w 935"/>
                <a:gd name="T15" fmla="*/ 283 h 638"/>
                <a:gd name="T16" fmla="*/ 935 w 935"/>
                <a:gd name="T17" fmla="*/ 330 h 638"/>
                <a:gd name="T18" fmla="*/ 893 w 935"/>
                <a:gd name="T19" fmla="*/ 258 h 638"/>
                <a:gd name="T20" fmla="*/ 843 w 935"/>
                <a:gd name="T21" fmla="*/ 209 h 638"/>
                <a:gd name="T22" fmla="*/ 764 w 935"/>
                <a:gd name="T23" fmla="*/ 167 h 638"/>
                <a:gd name="T24" fmla="*/ 733 w 935"/>
                <a:gd name="T25" fmla="*/ 239 h 638"/>
                <a:gd name="T26" fmla="*/ 669 w 935"/>
                <a:gd name="T27" fmla="*/ 239 h 638"/>
                <a:gd name="T28" fmla="*/ 654 w 935"/>
                <a:gd name="T29" fmla="*/ 173 h 638"/>
                <a:gd name="T30" fmla="*/ 745 w 935"/>
                <a:gd name="T31" fmla="*/ 101 h 638"/>
                <a:gd name="T32" fmla="*/ 805 w 935"/>
                <a:gd name="T33" fmla="*/ 118 h 638"/>
                <a:gd name="T34" fmla="*/ 863 w 935"/>
                <a:gd name="T35" fmla="*/ 154 h 638"/>
                <a:gd name="T36" fmla="*/ 897 w 935"/>
                <a:gd name="T37" fmla="*/ 121 h 638"/>
                <a:gd name="T38" fmla="*/ 847 w 935"/>
                <a:gd name="T39" fmla="*/ 74 h 638"/>
                <a:gd name="T40" fmla="*/ 730 w 935"/>
                <a:gd name="T41" fmla="*/ 60 h 638"/>
                <a:gd name="T42" fmla="*/ 695 w 935"/>
                <a:gd name="T43" fmla="*/ 118 h 638"/>
                <a:gd name="T44" fmla="*/ 634 w 935"/>
                <a:gd name="T45" fmla="*/ 85 h 638"/>
                <a:gd name="T46" fmla="*/ 555 w 935"/>
                <a:gd name="T47" fmla="*/ 96 h 638"/>
                <a:gd name="T48" fmla="*/ 634 w 935"/>
                <a:gd name="T49" fmla="*/ 41 h 638"/>
                <a:gd name="T50" fmla="*/ 521 w 935"/>
                <a:gd name="T51" fmla="*/ 41 h 638"/>
                <a:gd name="T52" fmla="*/ 581 w 935"/>
                <a:gd name="T53" fmla="*/ 21 h 638"/>
                <a:gd name="T54" fmla="*/ 498 w 935"/>
                <a:gd name="T55" fmla="*/ 35 h 638"/>
                <a:gd name="T56" fmla="*/ 410 w 935"/>
                <a:gd name="T57" fmla="*/ 57 h 638"/>
                <a:gd name="T58" fmla="*/ 467 w 935"/>
                <a:gd name="T59" fmla="*/ 85 h 638"/>
                <a:gd name="T60" fmla="*/ 551 w 935"/>
                <a:gd name="T61" fmla="*/ 101 h 638"/>
                <a:gd name="T62" fmla="*/ 445 w 935"/>
                <a:gd name="T63" fmla="*/ 101 h 638"/>
                <a:gd name="T64" fmla="*/ 361 w 935"/>
                <a:gd name="T65" fmla="*/ 96 h 638"/>
                <a:gd name="T66" fmla="*/ 293 w 935"/>
                <a:gd name="T67" fmla="*/ 96 h 638"/>
                <a:gd name="T68" fmla="*/ 126 w 935"/>
                <a:gd name="T69" fmla="*/ 118 h 638"/>
                <a:gd name="T70" fmla="*/ 57 w 935"/>
                <a:gd name="T71" fmla="*/ 159 h 638"/>
                <a:gd name="T72" fmla="*/ 46 w 935"/>
                <a:gd name="T73" fmla="*/ 223 h 638"/>
                <a:gd name="T74" fmla="*/ 53 w 935"/>
                <a:gd name="T75" fmla="*/ 269 h 638"/>
                <a:gd name="T76" fmla="*/ 72 w 935"/>
                <a:gd name="T77" fmla="*/ 286 h 638"/>
                <a:gd name="T78" fmla="*/ 156 w 935"/>
                <a:gd name="T79" fmla="*/ 231 h 638"/>
                <a:gd name="T80" fmla="*/ 198 w 935"/>
                <a:gd name="T81" fmla="*/ 211 h 638"/>
                <a:gd name="T82" fmla="*/ 316 w 935"/>
                <a:gd name="T83" fmla="*/ 247 h 638"/>
                <a:gd name="T84" fmla="*/ 319 w 935"/>
                <a:gd name="T85" fmla="*/ 421 h 638"/>
                <a:gd name="T86" fmla="*/ 392 w 935"/>
                <a:gd name="T87" fmla="*/ 512 h 638"/>
                <a:gd name="T88" fmla="*/ 407 w 935"/>
                <a:gd name="T89" fmla="*/ 490 h 638"/>
                <a:gd name="T90" fmla="*/ 547 w 935"/>
                <a:gd name="T91" fmla="*/ 575 h 638"/>
                <a:gd name="T92" fmla="*/ 612 w 935"/>
                <a:gd name="T93" fmla="*/ 619 h 638"/>
                <a:gd name="T94" fmla="*/ 889 w 935"/>
                <a:gd name="T95" fmla="*/ 261 h 638"/>
                <a:gd name="T96" fmla="*/ 581 w 935"/>
                <a:gd name="T97" fmla="*/ 60 h 638"/>
                <a:gd name="T98" fmla="*/ 464 w 935"/>
                <a:gd name="T99" fmla="*/ 66 h 638"/>
                <a:gd name="T100" fmla="*/ 388 w 935"/>
                <a:gd name="T101" fmla="*/ 462 h 638"/>
                <a:gd name="T102" fmla="*/ 388 w 935"/>
                <a:gd name="T103" fmla="*/ 468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935" h="638">
                  <a:moveTo>
                    <a:pt x="657" y="638"/>
                  </a:moveTo>
                  <a:cubicBezTo>
                    <a:pt x="661" y="635"/>
                    <a:pt x="661" y="628"/>
                    <a:pt x="669" y="628"/>
                  </a:cubicBezTo>
                  <a:cubicBezTo>
                    <a:pt x="669" y="629"/>
                    <a:pt x="669" y="630"/>
                    <a:pt x="669" y="631"/>
                  </a:cubicBezTo>
                  <a:cubicBezTo>
                    <a:pt x="674" y="626"/>
                    <a:pt x="680" y="619"/>
                    <a:pt x="684" y="616"/>
                  </a:cubicBezTo>
                  <a:cubicBezTo>
                    <a:pt x="682" y="611"/>
                    <a:pt x="677" y="609"/>
                    <a:pt x="669" y="608"/>
                  </a:cubicBezTo>
                  <a:cubicBezTo>
                    <a:pt x="659" y="611"/>
                    <a:pt x="655" y="618"/>
                    <a:pt x="642" y="619"/>
                  </a:cubicBezTo>
                  <a:cubicBezTo>
                    <a:pt x="633" y="606"/>
                    <a:pt x="646" y="593"/>
                    <a:pt x="642" y="575"/>
                  </a:cubicBezTo>
                  <a:cubicBezTo>
                    <a:pt x="635" y="566"/>
                    <a:pt x="610" y="569"/>
                    <a:pt x="597" y="564"/>
                  </a:cubicBezTo>
                  <a:cubicBezTo>
                    <a:pt x="600" y="552"/>
                    <a:pt x="611" y="546"/>
                    <a:pt x="608" y="528"/>
                  </a:cubicBezTo>
                  <a:cubicBezTo>
                    <a:pt x="590" y="530"/>
                    <a:pt x="589" y="530"/>
                    <a:pt x="570" y="528"/>
                  </a:cubicBezTo>
                  <a:cubicBezTo>
                    <a:pt x="563" y="534"/>
                    <a:pt x="566" y="548"/>
                    <a:pt x="555" y="550"/>
                  </a:cubicBezTo>
                  <a:cubicBezTo>
                    <a:pt x="504" y="552"/>
                    <a:pt x="536" y="503"/>
                    <a:pt x="524" y="481"/>
                  </a:cubicBezTo>
                  <a:cubicBezTo>
                    <a:pt x="538" y="479"/>
                    <a:pt x="546" y="473"/>
                    <a:pt x="559" y="470"/>
                  </a:cubicBezTo>
                  <a:cubicBezTo>
                    <a:pt x="579" y="469"/>
                    <a:pt x="584" y="479"/>
                    <a:pt x="604" y="479"/>
                  </a:cubicBezTo>
                  <a:cubicBezTo>
                    <a:pt x="604" y="475"/>
                    <a:pt x="603" y="471"/>
                    <a:pt x="608" y="470"/>
                  </a:cubicBezTo>
                  <a:cubicBezTo>
                    <a:pt x="626" y="471"/>
                    <a:pt x="651" y="467"/>
                    <a:pt x="654" y="479"/>
                  </a:cubicBezTo>
                  <a:cubicBezTo>
                    <a:pt x="652" y="495"/>
                    <a:pt x="662" y="502"/>
                    <a:pt x="680" y="504"/>
                  </a:cubicBezTo>
                  <a:cubicBezTo>
                    <a:pt x="676" y="489"/>
                    <a:pt x="678" y="485"/>
                    <a:pt x="680" y="476"/>
                  </a:cubicBezTo>
                  <a:cubicBezTo>
                    <a:pt x="676" y="472"/>
                    <a:pt x="669" y="469"/>
                    <a:pt x="669" y="462"/>
                  </a:cubicBezTo>
                  <a:cubicBezTo>
                    <a:pt x="675" y="444"/>
                    <a:pt x="692" y="433"/>
                    <a:pt x="718" y="429"/>
                  </a:cubicBezTo>
                  <a:cubicBezTo>
                    <a:pt x="722" y="421"/>
                    <a:pt x="722" y="421"/>
                    <a:pt x="718" y="413"/>
                  </a:cubicBezTo>
                  <a:cubicBezTo>
                    <a:pt x="727" y="413"/>
                    <a:pt x="733" y="412"/>
                    <a:pt x="737" y="410"/>
                  </a:cubicBezTo>
                  <a:cubicBezTo>
                    <a:pt x="728" y="395"/>
                    <a:pt x="750" y="398"/>
                    <a:pt x="745" y="379"/>
                  </a:cubicBezTo>
                  <a:cubicBezTo>
                    <a:pt x="757" y="376"/>
                    <a:pt x="769" y="372"/>
                    <a:pt x="783" y="369"/>
                  </a:cubicBezTo>
                  <a:cubicBezTo>
                    <a:pt x="785" y="360"/>
                    <a:pt x="771" y="362"/>
                    <a:pt x="775" y="352"/>
                  </a:cubicBezTo>
                  <a:cubicBezTo>
                    <a:pt x="789" y="344"/>
                    <a:pt x="810" y="341"/>
                    <a:pt x="828" y="335"/>
                  </a:cubicBezTo>
                  <a:cubicBezTo>
                    <a:pt x="831" y="343"/>
                    <a:pt x="821" y="341"/>
                    <a:pt x="821" y="346"/>
                  </a:cubicBezTo>
                  <a:cubicBezTo>
                    <a:pt x="836" y="342"/>
                    <a:pt x="852" y="338"/>
                    <a:pt x="863" y="330"/>
                  </a:cubicBezTo>
                  <a:cubicBezTo>
                    <a:pt x="853" y="326"/>
                    <a:pt x="834" y="328"/>
                    <a:pt x="836" y="316"/>
                  </a:cubicBezTo>
                  <a:cubicBezTo>
                    <a:pt x="838" y="309"/>
                    <a:pt x="851" y="309"/>
                    <a:pt x="859" y="305"/>
                  </a:cubicBezTo>
                  <a:cubicBezTo>
                    <a:pt x="860" y="299"/>
                    <a:pt x="852" y="299"/>
                    <a:pt x="855" y="291"/>
                  </a:cubicBezTo>
                  <a:cubicBezTo>
                    <a:pt x="873" y="300"/>
                    <a:pt x="895" y="278"/>
                    <a:pt x="908" y="283"/>
                  </a:cubicBezTo>
                  <a:cubicBezTo>
                    <a:pt x="899" y="298"/>
                    <a:pt x="881" y="306"/>
                    <a:pt x="874" y="322"/>
                  </a:cubicBezTo>
                  <a:cubicBezTo>
                    <a:pt x="888" y="324"/>
                    <a:pt x="890" y="317"/>
                    <a:pt x="904" y="319"/>
                  </a:cubicBezTo>
                  <a:cubicBezTo>
                    <a:pt x="905" y="323"/>
                    <a:pt x="903" y="329"/>
                    <a:pt x="908" y="330"/>
                  </a:cubicBezTo>
                  <a:cubicBezTo>
                    <a:pt x="912" y="323"/>
                    <a:pt x="923" y="334"/>
                    <a:pt x="935" y="330"/>
                  </a:cubicBezTo>
                  <a:cubicBezTo>
                    <a:pt x="933" y="324"/>
                    <a:pt x="927" y="316"/>
                    <a:pt x="935" y="311"/>
                  </a:cubicBezTo>
                  <a:cubicBezTo>
                    <a:pt x="921" y="310"/>
                    <a:pt x="917" y="301"/>
                    <a:pt x="912" y="294"/>
                  </a:cubicBezTo>
                  <a:cubicBezTo>
                    <a:pt x="913" y="277"/>
                    <a:pt x="913" y="276"/>
                    <a:pt x="912" y="258"/>
                  </a:cubicBezTo>
                  <a:cubicBezTo>
                    <a:pt x="905" y="253"/>
                    <a:pt x="902" y="258"/>
                    <a:pt x="893" y="258"/>
                  </a:cubicBezTo>
                  <a:cubicBezTo>
                    <a:pt x="893" y="245"/>
                    <a:pt x="875" y="245"/>
                    <a:pt x="874" y="234"/>
                  </a:cubicBezTo>
                  <a:cubicBezTo>
                    <a:pt x="877" y="231"/>
                    <a:pt x="878" y="227"/>
                    <a:pt x="878" y="223"/>
                  </a:cubicBezTo>
                  <a:cubicBezTo>
                    <a:pt x="863" y="216"/>
                    <a:pt x="868" y="196"/>
                    <a:pt x="847" y="195"/>
                  </a:cubicBezTo>
                  <a:cubicBezTo>
                    <a:pt x="845" y="199"/>
                    <a:pt x="852" y="209"/>
                    <a:pt x="843" y="209"/>
                  </a:cubicBezTo>
                  <a:cubicBezTo>
                    <a:pt x="836" y="207"/>
                    <a:pt x="819" y="212"/>
                    <a:pt x="817" y="206"/>
                  </a:cubicBezTo>
                  <a:cubicBezTo>
                    <a:pt x="817" y="197"/>
                    <a:pt x="817" y="188"/>
                    <a:pt x="817" y="178"/>
                  </a:cubicBezTo>
                  <a:cubicBezTo>
                    <a:pt x="797" y="185"/>
                    <a:pt x="800" y="172"/>
                    <a:pt x="783" y="170"/>
                  </a:cubicBezTo>
                  <a:cubicBezTo>
                    <a:pt x="773" y="178"/>
                    <a:pt x="774" y="167"/>
                    <a:pt x="764" y="167"/>
                  </a:cubicBezTo>
                  <a:cubicBezTo>
                    <a:pt x="755" y="166"/>
                    <a:pt x="756" y="172"/>
                    <a:pt x="745" y="170"/>
                  </a:cubicBezTo>
                  <a:cubicBezTo>
                    <a:pt x="750" y="198"/>
                    <a:pt x="734" y="213"/>
                    <a:pt x="741" y="234"/>
                  </a:cubicBezTo>
                  <a:cubicBezTo>
                    <a:pt x="734" y="234"/>
                    <a:pt x="722" y="226"/>
                    <a:pt x="718" y="234"/>
                  </a:cubicBezTo>
                  <a:cubicBezTo>
                    <a:pt x="722" y="241"/>
                    <a:pt x="731" y="235"/>
                    <a:pt x="733" y="239"/>
                  </a:cubicBezTo>
                  <a:cubicBezTo>
                    <a:pt x="720" y="245"/>
                    <a:pt x="720" y="260"/>
                    <a:pt x="714" y="272"/>
                  </a:cubicBezTo>
                  <a:cubicBezTo>
                    <a:pt x="706" y="264"/>
                    <a:pt x="704" y="250"/>
                    <a:pt x="699" y="239"/>
                  </a:cubicBezTo>
                  <a:cubicBezTo>
                    <a:pt x="691" y="234"/>
                    <a:pt x="692" y="240"/>
                    <a:pt x="684" y="242"/>
                  </a:cubicBezTo>
                  <a:cubicBezTo>
                    <a:pt x="681" y="234"/>
                    <a:pt x="678" y="239"/>
                    <a:pt x="669" y="239"/>
                  </a:cubicBezTo>
                  <a:cubicBezTo>
                    <a:pt x="657" y="231"/>
                    <a:pt x="645" y="224"/>
                    <a:pt x="627" y="220"/>
                  </a:cubicBezTo>
                  <a:cubicBezTo>
                    <a:pt x="633" y="206"/>
                    <a:pt x="614" y="211"/>
                    <a:pt x="615" y="200"/>
                  </a:cubicBezTo>
                  <a:cubicBezTo>
                    <a:pt x="624" y="202"/>
                    <a:pt x="623" y="197"/>
                    <a:pt x="623" y="192"/>
                  </a:cubicBezTo>
                  <a:cubicBezTo>
                    <a:pt x="636" y="187"/>
                    <a:pt x="641" y="178"/>
                    <a:pt x="654" y="173"/>
                  </a:cubicBezTo>
                  <a:cubicBezTo>
                    <a:pt x="662" y="163"/>
                    <a:pt x="668" y="152"/>
                    <a:pt x="688" y="151"/>
                  </a:cubicBezTo>
                  <a:cubicBezTo>
                    <a:pt x="688" y="146"/>
                    <a:pt x="683" y="145"/>
                    <a:pt x="684" y="140"/>
                  </a:cubicBezTo>
                  <a:cubicBezTo>
                    <a:pt x="710" y="136"/>
                    <a:pt x="724" y="134"/>
                    <a:pt x="741" y="129"/>
                  </a:cubicBezTo>
                  <a:cubicBezTo>
                    <a:pt x="740" y="118"/>
                    <a:pt x="741" y="108"/>
                    <a:pt x="745" y="101"/>
                  </a:cubicBezTo>
                  <a:cubicBezTo>
                    <a:pt x="740" y="97"/>
                    <a:pt x="730" y="97"/>
                    <a:pt x="726" y="93"/>
                  </a:cubicBezTo>
                  <a:cubicBezTo>
                    <a:pt x="741" y="92"/>
                    <a:pt x="754" y="93"/>
                    <a:pt x="760" y="98"/>
                  </a:cubicBezTo>
                  <a:cubicBezTo>
                    <a:pt x="767" y="90"/>
                    <a:pt x="778" y="102"/>
                    <a:pt x="790" y="98"/>
                  </a:cubicBezTo>
                  <a:cubicBezTo>
                    <a:pt x="785" y="113"/>
                    <a:pt x="808" y="106"/>
                    <a:pt x="805" y="118"/>
                  </a:cubicBezTo>
                  <a:cubicBezTo>
                    <a:pt x="802" y="138"/>
                    <a:pt x="760" y="131"/>
                    <a:pt x="756" y="151"/>
                  </a:cubicBezTo>
                  <a:cubicBezTo>
                    <a:pt x="762" y="157"/>
                    <a:pt x="778" y="157"/>
                    <a:pt x="794" y="156"/>
                  </a:cubicBezTo>
                  <a:cubicBezTo>
                    <a:pt x="818" y="164"/>
                    <a:pt x="827" y="182"/>
                    <a:pt x="859" y="184"/>
                  </a:cubicBezTo>
                  <a:cubicBezTo>
                    <a:pt x="850" y="170"/>
                    <a:pt x="865" y="170"/>
                    <a:pt x="863" y="154"/>
                  </a:cubicBezTo>
                  <a:cubicBezTo>
                    <a:pt x="861" y="146"/>
                    <a:pt x="851" y="145"/>
                    <a:pt x="851" y="137"/>
                  </a:cubicBezTo>
                  <a:cubicBezTo>
                    <a:pt x="866" y="138"/>
                    <a:pt x="870" y="146"/>
                    <a:pt x="882" y="148"/>
                  </a:cubicBezTo>
                  <a:cubicBezTo>
                    <a:pt x="880" y="141"/>
                    <a:pt x="880" y="134"/>
                    <a:pt x="893" y="137"/>
                  </a:cubicBezTo>
                  <a:cubicBezTo>
                    <a:pt x="890" y="129"/>
                    <a:pt x="897" y="127"/>
                    <a:pt x="897" y="121"/>
                  </a:cubicBezTo>
                  <a:cubicBezTo>
                    <a:pt x="886" y="122"/>
                    <a:pt x="889" y="115"/>
                    <a:pt x="885" y="112"/>
                  </a:cubicBezTo>
                  <a:cubicBezTo>
                    <a:pt x="872" y="111"/>
                    <a:pt x="862" y="107"/>
                    <a:pt x="851" y="104"/>
                  </a:cubicBezTo>
                  <a:cubicBezTo>
                    <a:pt x="852" y="98"/>
                    <a:pt x="861" y="99"/>
                    <a:pt x="863" y="93"/>
                  </a:cubicBezTo>
                  <a:cubicBezTo>
                    <a:pt x="858" y="86"/>
                    <a:pt x="846" y="85"/>
                    <a:pt x="847" y="74"/>
                  </a:cubicBezTo>
                  <a:cubicBezTo>
                    <a:pt x="836" y="74"/>
                    <a:pt x="824" y="74"/>
                    <a:pt x="813" y="74"/>
                  </a:cubicBezTo>
                  <a:cubicBezTo>
                    <a:pt x="815" y="65"/>
                    <a:pt x="803" y="67"/>
                    <a:pt x="802" y="60"/>
                  </a:cubicBezTo>
                  <a:cubicBezTo>
                    <a:pt x="786" y="58"/>
                    <a:pt x="777" y="62"/>
                    <a:pt x="764" y="63"/>
                  </a:cubicBezTo>
                  <a:cubicBezTo>
                    <a:pt x="766" y="46"/>
                    <a:pt x="734" y="51"/>
                    <a:pt x="730" y="60"/>
                  </a:cubicBezTo>
                  <a:cubicBezTo>
                    <a:pt x="731" y="50"/>
                    <a:pt x="726" y="44"/>
                    <a:pt x="714" y="43"/>
                  </a:cubicBezTo>
                  <a:cubicBezTo>
                    <a:pt x="695" y="52"/>
                    <a:pt x="672" y="80"/>
                    <a:pt x="695" y="96"/>
                  </a:cubicBezTo>
                  <a:cubicBezTo>
                    <a:pt x="701" y="97"/>
                    <a:pt x="715" y="93"/>
                    <a:pt x="714" y="98"/>
                  </a:cubicBezTo>
                  <a:cubicBezTo>
                    <a:pt x="710" y="107"/>
                    <a:pt x="702" y="112"/>
                    <a:pt x="695" y="118"/>
                  </a:cubicBezTo>
                  <a:cubicBezTo>
                    <a:pt x="686" y="111"/>
                    <a:pt x="703" y="112"/>
                    <a:pt x="699" y="101"/>
                  </a:cubicBezTo>
                  <a:cubicBezTo>
                    <a:pt x="686" y="95"/>
                    <a:pt x="674" y="88"/>
                    <a:pt x="669" y="76"/>
                  </a:cubicBezTo>
                  <a:cubicBezTo>
                    <a:pt x="654" y="78"/>
                    <a:pt x="657" y="67"/>
                    <a:pt x="638" y="71"/>
                  </a:cubicBezTo>
                  <a:cubicBezTo>
                    <a:pt x="640" y="78"/>
                    <a:pt x="631" y="77"/>
                    <a:pt x="634" y="85"/>
                  </a:cubicBezTo>
                  <a:cubicBezTo>
                    <a:pt x="648" y="88"/>
                    <a:pt x="643" y="110"/>
                    <a:pt x="634" y="115"/>
                  </a:cubicBezTo>
                  <a:cubicBezTo>
                    <a:pt x="629" y="113"/>
                    <a:pt x="626" y="108"/>
                    <a:pt x="627" y="101"/>
                  </a:cubicBezTo>
                  <a:cubicBezTo>
                    <a:pt x="608" y="99"/>
                    <a:pt x="608" y="111"/>
                    <a:pt x="593" y="112"/>
                  </a:cubicBezTo>
                  <a:cubicBezTo>
                    <a:pt x="579" y="108"/>
                    <a:pt x="563" y="104"/>
                    <a:pt x="555" y="96"/>
                  </a:cubicBezTo>
                  <a:cubicBezTo>
                    <a:pt x="572" y="94"/>
                    <a:pt x="578" y="99"/>
                    <a:pt x="593" y="98"/>
                  </a:cubicBezTo>
                  <a:cubicBezTo>
                    <a:pt x="601" y="93"/>
                    <a:pt x="591" y="91"/>
                    <a:pt x="593" y="82"/>
                  </a:cubicBezTo>
                  <a:cubicBezTo>
                    <a:pt x="614" y="79"/>
                    <a:pt x="622" y="67"/>
                    <a:pt x="642" y="63"/>
                  </a:cubicBezTo>
                  <a:cubicBezTo>
                    <a:pt x="635" y="54"/>
                    <a:pt x="636" y="48"/>
                    <a:pt x="634" y="41"/>
                  </a:cubicBezTo>
                  <a:cubicBezTo>
                    <a:pt x="615" y="41"/>
                    <a:pt x="597" y="41"/>
                    <a:pt x="578" y="41"/>
                  </a:cubicBezTo>
                  <a:cubicBezTo>
                    <a:pt x="569" y="48"/>
                    <a:pt x="550" y="48"/>
                    <a:pt x="547" y="60"/>
                  </a:cubicBezTo>
                  <a:cubicBezTo>
                    <a:pt x="545" y="56"/>
                    <a:pt x="542" y="53"/>
                    <a:pt x="540" y="49"/>
                  </a:cubicBezTo>
                  <a:cubicBezTo>
                    <a:pt x="530" y="49"/>
                    <a:pt x="516" y="52"/>
                    <a:pt x="521" y="41"/>
                  </a:cubicBezTo>
                  <a:cubicBezTo>
                    <a:pt x="549" y="45"/>
                    <a:pt x="582" y="31"/>
                    <a:pt x="608" y="24"/>
                  </a:cubicBezTo>
                  <a:cubicBezTo>
                    <a:pt x="608" y="37"/>
                    <a:pt x="640" y="34"/>
                    <a:pt x="646" y="27"/>
                  </a:cubicBezTo>
                  <a:cubicBezTo>
                    <a:pt x="643" y="21"/>
                    <a:pt x="643" y="13"/>
                    <a:pt x="638" y="8"/>
                  </a:cubicBezTo>
                  <a:cubicBezTo>
                    <a:pt x="616" y="10"/>
                    <a:pt x="605" y="20"/>
                    <a:pt x="581" y="21"/>
                  </a:cubicBezTo>
                  <a:cubicBezTo>
                    <a:pt x="581" y="16"/>
                    <a:pt x="581" y="10"/>
                    <a:pt x="581" y="5"/>
                  </a:cubicBezTo>
                  <a:cubicBezTo>
                    <a:pt x="561" y="0"/>
                    <a:pt x="557" y="18"/>
                    <a:pt x="570" y="21"/>
                  </a:cubicBezTo>
                  <a:cubicBezTo>
                    <a:pt x="548" y="23"/>
                    <a:pt x="536" y="18"/>
                    <a:pt x="517" y="19"/>
                  </a:cubicBezTo>
                  <a:cubicBezTo>
                    <a:pt x="523" y="33"/>
                    <a:pt x="499" y="26"/>
                    <a:pt x="498" y="35"/>
                  </a:cubicBezTo>
                  <a:cubicBezTo>
                    <a:pt x="507" y="39"/>
                    <a:pt x="510" y="34"/>
                    <a:pt x="513" y="38"/>
                  </a:cubicBezTo>
                  <a:cubicBezTo>
                    <a:pt x="511" y="42"/>
                    <a:pt x="505" y="43"/>
                    <a:pt x="498" y="43"/>
                  </a:cubicBezTo>
                  <a:cubicBezTo>
                    <a:pt x="492" y="28"/>
                    <a:pt x="462" y="29"/>
                    <a:pt x="433" y="30"/>
                  </a:cubicBezTo>
                  <a:cubicBezTo>
                    <a:pt x="431" y="43"/>
                    <a:pt x="422" y="51"/>
                    <a:pt x="410" y="57"/>
                  </a:cubicBezTo>
                  <a:cubicBezTo>
                    <a:pt x="410" y="66"/>
                    <a:pt x="420" y="67"/>
                    <a:pt x="418" y="76"/>
                  </a:cubicBezTo>
                  <a:cubicBezTo>
                    <a:pt x="437" y="77"/>
                    <a:pt x="446" y="71"/>
                    <a:pt x="460" y="68"/>
                  </a:cubicBezTo>
                  <a:cubicBezTo>
                    <a:pt x="452" y="83"/>
                    <a:pt x="481" y="72"/>
                    <a:pt x="483" y="79"/>
                  </a:cubicBezTo>
                  <a:cubicBezTo>
                    <a:pt x="485" y="87"/>
                    <a:pt x="465" y="77"/>
                    <a:pt x="467" y="85"/>
                  </a:cubicBezTo>
                  <a:cubicBezTo>
                    <a:pt x="467" y="100"/>
                    <a:pt x="509" y="84"/>
                    <a:pt x="502" y="104"/>
                  </a:cubicBezTo>
                  <a:cubicBezTo>
                    <a:pt x="516" y="98"/>
                    <a:pt x="520" y="100"/>
                    <a:pt x="536" y="104"/>
                  </a:cubicBezTo>
                  <a:cubicBezTo>
                    <a:pt x="537" y="104"/>
                    <a:pt x="538" y="104"/>
                    <a:pt x="540" y="104"/>
                  </a:cubicBezTo>
                  <a:cubicBezTo>
                    <a:pt x="538" y="101"/>
                    <a:pt x="551" y="95"/>
                    <a:pt x="551" y="101"/>
                  </a:cubicBezTo>
                  <a:cubicBezTo>
                    <a:pt x="550" y="105"/>
                    <a:pt x="545" y="104"/>
                    <a:pt x="540" y="104"/>
                  </a:cubicBezTo>
                  <a:cubicBezTo>
                    <a:pt x="541" y="111"/>
                    <a:pt x="556" y="120"/>
                    <a:pt x="540" y="123"/>
                  </a:cubicBezTo>
                  <a:cubicBezTo>
                    <a:pt x="535" y="123"/>
                    <a:pt x="536" y="118"/>
                    <a:pt x="536" y="115"/>
                  </a:cubicBezTo>
                  <a:cubicBezTo>
                    <a:pt x="502" y="113"/>
                    <a:pt x="485" y="99"/>
                    <a:pt x="445" y="101"/>
                  </a:cubicBezTo>
                  <a:cubicBezTo>
                    <a:pt x="433" y="99"/>
                    <a:pt x="433" y="88"/>
                    <a:pt x="418" y="88"/>
                  </a:cubicBezTo>
                  <a:cubicBezTo>
                    <a:pt x="416" y="95"/>
                    <a:pt x="406" y="97"/>
                    <a:pt x="395" y="98"/>
                  </a:cubicBezTo>
                  <a:cubicBezTo>
                    <a:pt x="396" y="92"/>
                    <a:pt x="395" y="88"/>
                    <a:pt x="392" y="85"/>
                  </a:cubicBezTo>
                  <a:cubicBezTo>
                    <a:pt x="377" y="85"/>
                    <a:pt x="377" y="96"/>
                    <a:pt x="361" y="96"/>
                  </a:cubicBezTo>
                  <a:cubicBezTo>
                    <a:pt x="347" y="98"/>
                    <a:pt x="343" y="92"/>
                    <a:pt x="331" y="93"/>
                  </a:cubicBezTo>
                  <a:cubicBezTo>
                    <a:pt x="326" y="94"/>
                    <a:pt x="328" y="98"/>
                    <a:pt x="323" y="98"/>
                  </a:cubicBezTo>
                  <a:cubicBezTo>
                    <a:pt x="319" y="98"/>
                    <a:pt x="320" y="95"/>
                    <a:pt x="319" y="93"/>
                  </a:cubicBezTo>
                  <a:cubicBezTo>
                    <a:pt x="310" y="94"/>
                    <a:pt x="305" y="97"/>
                    <a:pt x="293" y="96"/>
                  </a:cubicBezTo>
                  <a:cubicBezTo>
                    <a:pt x="262" y="82"/>
                    <a:pt x="204" y="89"/>
                    <a:pt x="171" y="76"/>
                  </a:cubicBezTo>
                  <a:cubicBezTo>
                    <a:pt x="143" y="85"/>
                    <a:pt x="106" y="88"/>
                    <a:pt x="88" y="90"/>
                  </a:cubicBezTo>
                  <a:cubicBezTo>
                    <a:pt x="79" y="101"/>
                    <a:pt x="94" y="101"/>
                    <a:pt x="99" y="110"/>
                  </a:cubicBezTo>
                  <a:cubicBezTo>
                    <a:pt x="113" y="108"/>
                    <a:pt x="123" y="111"/>
                    <a:pt x="126" y="118"/>
                  </a:cubicBezTo>
                  <a:cubicBezTo>
                    <a:pt x="110" y="114"/>
                    <a:pt x="112" y="123"/>
                    <a:pt x="106" y="126"/>
                  </a:cubicBezTo>
                  <a:cubicBezTo>
                    <a:pt x="100" y="124"/>
                    <a:pt x="96" y="119"/>
                    <a:pt x="88" y="118"/>
                  </a:cubicBezTo>
                  <a:cubicBezTo>
                    <a:pt x="73" y="128"/>
                    <a:pt x="38" y="125"/>
                    <a:pt x="27" y="137"/>
                  </a:cubicBezTo>
                  <a:cubicBezTo>
                    <a:pt x="48" y="137"/>
                    <a:pt x="55" y="146"/>
                    <a:pt x="57" y="159"/>
                  </a:cubicBezTo>
                  <a:cubicBezTo>
                    <a:pt x="77" y="154"/>
                    <a:pt x="92" y="160"/>
                    <a:pt x="110" y="156"/>
                  </a:cubicBezTo>
                  <a:cubicBezTo>
                    <a:pt x="92" y="181"/>
                    <a:pt x="13" y="161"/>
                    <a:pt x="19" y="203"/>
                  </a:cubicBezTo>
                  <a:cubicBezTo>
                    <a:pt x="32" y="210"/>
                    <a:pt x="35" y="211"/>
                    <a:pt x="31" y="225"/>
                  </a:cubicBezTo>
                  <a:cubicBezTo>
                    <a:pt x="37" y="226"/>
                    <a:pt x="38" y="222"/>
                    <a:pt x="46" y="223"/>
                  </a:cubicBezTo>
                  <a:cubicBezTo>
                    <a:pt x="46" y="227"/>
                    <a:pt x="44" y="233"/>
                    <a:pt x="49" y="234"/>
                  </a:cubicBezTo>
                  <a:cubicBezTo>
                    <a:pt x="55" y="225"/>
                    <a:pt x="51" y="245"/>
                    <a:pt x="61" y="242"/>
                  </a:cubicBezTo>
                  <a:cubicBezTo>
                    <a:pt x="66" y="231"/>
                    <a:pt x="83" y="229"/>
                    <a:pt x="95" y="236"/>
                  </a:cubicBezTo>
                  <a:cubicBezTo>
                    <a:pt x="79" y="246"/>
                    <a:pt x="73" y="262"/>
                    <a:pt x="53" y="269"/>
                  </a:cubicBezTo>
                  <a:cubicBezTo>
                    <a:pt x="36" y="273"/>
                    <a:pt x="30" y="285"/>
                    <a:pt x="8" y="286"/>
                  </a:cubicBezTo>
                  <a:cubicBezTo>
                    <a:pt x="11" y="295"/>
                    <a:pt x="2" y="294"/>
                    <a:pt x="0" y="300"/>
                  </a:cubicBezTo>
                  <a:cubicBezTo>
                    <a:pt x="18" y="301"/>
                    <a:pt x="24" y="295"/>
                    <a:pt x="42" y="297"/>
                  </a:cubicBezTo>
                  <a:cubicBezTo>
                    <a:pt x="46" y="289"/>
                    <a:pt x="58" y="287"/>
                    <a:pt x="72" y="286"/>
                  </a:cubicBezTo>
                  <a:cubicBezTo>
                    <a:pt x="87" y="267"/>
                    <a:pt x="111" y="255"/>
                    <a:pt x="133" y="242"/>
                  </a:cubicBezTo>
                  <a:cubicBezTo>
                    <a:pt x="136" y="242"/>
                    <a:pt x="138" y="242"/>
                    <a:pt x="141" y="242"/>
                  </a:cubicBezTo>
                  <a:cubicBezTo>
                    <a:pt x="145" y="239"/>
                    <a:pt x="142" y="232"/>
                    <a:pt x="152" y="234"/>
                  </a:cubicBezTo>
                  <a:cubicBezTo>
                    <a:pt x="152" y="232"/>
                    <a:pt x="153" y="230"/>
                    <a:pt x="156" y="231"/>
                  </a:cubicBezTo>
                  <a:cubicBezTo>
                    <a:pt x="156" y="232"/>
                    <a:pt x="155" y="234"/>
                    <a:pt x="152" y="234"/>
                  </a:cubicBezTo>
                  <a:cubicBezTo>
                    <a:pt x="154" y="246"/>
                    <a:pt x="142" y="248"/>
                    <a:pt x="137" y="256"/>
                  </a:cubicBezTo>
                  <a:cubicBezTo>
                    <a:pt x="168" y="258"/>
                    <a:pt x="176" y="243"/>
                    <a:pt x="202" y="242"/>
                  </a:cubicBezTo>
                  <a:cubicBezTo>
                    <a:pt x="203" y="229"/>
                    <a:pt x="200" y="221"/>
                    <a:pt x="198" y="211"/>
                  </a:cubicBezTo>
                  <a:cubicBezTo>
                    <a:pt x="215" y="214"/>
                    <a:pt x="216" y="205"/>
                    <a:pt x="232" y="206"/>
                  </a:cubicBezTo>
                  <a:cubicBezTo>
                    <a:pt x="242" y="211"/>
                    <a:pt x="251" y="218"/>
                    <a:pt x="258" y="225"/>
                  </a:cubicBezTo>
                  <a:cubicBezTo>
                    <a:pt x="283" y="231"/>
                    <a:pt x="303" y="239"/>
                    <a:pt x="300" y="264"/>
                  </a:cubicBezTo>
                  <a:cubicBezTo>
                    <a:pt x="319" y="262"/>
                    <a:pt x="301" y="249"/>
                    <a:pt x="316" y="247"/>
                  </a:cubicBezTo>
                  <a:cubicBezTo>
                    <a:pt x="316" y="271"/>
                    <a:pt x="314" y="296"/>
                    <a:pt x="327" y="311"/>
                  </a:cubicBezTo>
                  <a:cubicBezTo>
                    <a:pt x="315" y="318"/>
                    <a:pt x="323" y="321"/>
                    <a:pt x="327" y="330"/>
                  </a:cubicBezTo>
                  <a:cubicBezTo>
                    <a:pt x="327" y="335"/>
                    <a:pt x="316" y="333"/>
                    <a:pt x="319" y="341"/>
                  </a:cubicBezTo>
                  <a:cubicBezTo>
                    <a:pt x="318" y="371"/>
                    <a:pt x="315" y="391"/>
                    <a:pt x="319" y="421"/>
                  </a:cubicBezTo>
                  <a:cubicBezTo>
                    <a:pt x="329" y="425"/>
                    <a:pt x="336" y="433"/>
                    <a:pt x="346" y="437"/>
                  </a:cubicBezTo>
                  <a:cubicBezTo>
                    <a:pt x="356" y="448"/>
                    <a:pt x="356" y="467"/>
                    <a:pt x="369" y="476"/>
                  </a:cubicBezTo>
                  <a:cubicBezTo>
                    <a:pt x="364" y="476"/>
                    <a:pt x="365" y="481"/>
                    <a:pt x="365" y="484"/>
                  </a:cubicBezTo>
                  <a:cubicBezTo>
                    <a:pt x="381" y="488"/>
                    <a:pt x="384" y="501"/>
                    <a:pt x="392" y="512"/>
                  </a:cubicBezTo>
                  <a:cubicBezTo>
                    <a:pt x="403" y="510"/>
                    <a:pt x="402" y="517"/>
                    <a:pt x="414" y="514"/>
                  </a:cubicBezTo>
                  <a:cubicBezTo>
                    <a:pt x="415" y="503"/>
                    <a:pt x="407" y="505"/>
                    <a:pt x="407" y="490"/>
                  </a:cubicBezTo>
                  <a:cubicBezTo>
                    <a:pt x="404" y="490"/>
                    <a:pt x="402" y="487"/>
                    <a:pt x="407" y="487"/>
                  </a:cubicBezTo>
                  <a:cubicBezTo>
                    <a:pt x="407" y="488"/>
                    <a:pt x="407" y="489"/>
                    <a:pt x="407" y="490"/>
                  </a:cubicBezTo>
                  <a:cubicBezTo>
                    <a:pt x="415" y="488"/>
                    <a:pt x="414" y="494"/>
                    <a:pt x="414" y="498"/>
                  </a:cubicBezTo>
                  <a:cubicBezTo>
                    <a:pt x="426" y="504"/>
                    <a:pt x="436" y="511"/>
                    <a:pt x="445" y="520"/>
                  </a:cubicBezTo>
                  <a:cubicBezTo>
                    <a:pt x="442" y="539"/>
                    <a:pt x="452" y="550"/>
                    <a:pt x="460" y="561"/>
                  </a:cubicBezTo>
                  <a:cubicBezTo>
                    <a:pt x="491" y="567"/>
                    <a:pt x="510" y="581"/>
                    <a:pt x="547" y="575"/>
                  </a:cubicBezTo>
                  <a:cubicBezTo>
                    <a:pt x="551" y="582"/>
                    <a:pt x="557" y="589"/>
                    <a:pt x="562" y="594"/>
                  </a:cubicBezTo>
                  <a:cubicBezTo>
                    <a:pt x="577" y="592"/>
                    <a:pt x="581" y="598"/>
                    <a:pt x="593" y="597"/>
                  </a:cubicBezTo>
                  <a:cubicBezTo>
                    <a:pt x="596" y="604"/>
                    <a:pt x="604" y="607"/>
                    <a:pt x="612" y="611"/>
                  </a:cubicBezTo>
                  <a:cubicBezTo>
                    <a:pt x="612" y="614"/>
                    <a:pt x="612" y="616"/>
                    <a:pt x="612" y="619"/>
                  </a:cubicBezTo>
                  <a:cubicBezTo>
                    <a:pt x="634" y="621"/>
                    <a:pt x="638" y="635"/>
                    <a:pt x="657" y="638"/>
                  </a:cubicBezTo>
                  <a:close/>
                  <a:moveTo>
                    <a:pt x="889" y="261"/>
                  </a:moveTo>
                  <a:cubicBezTo>
                    <a:pt x="891" y="263"/>
                    <a:pt x="886" y="265"/>
                    <a:pt x="885" y="264"/>
                  </a:cubicBezTo>
                  <a:cubicBezTo>
                    <a:pt x="883" y="262"/>
                    <a:pt x="888" y="260"/>
                    <a:pt x="889" y="261"/>
                  </a:cubicBezTo>
                  <a:close/>
                  <a:moveTo>
                    <a:pt x="597" y="46"/>
                  </a:moveTo>
                  <a:cubicBezTo>
                    <a:pt x="608" y="49"/>
                    <a:pt x="592" y="54"/>
                    <a:pt x="593" y="57"/>
                  </a:cubicBezTo>
                  <a:cubicBezTo>
                    <a:pt x="581" y="55"/>
                    <a:pt x="594" y="48"/>
                    <a:pt x="597" y="46"/>
                  </a:cubicBezTo>
                  <a:close/>
                  <a:moveTo>
                    <a:pt x="581" y="60"/>
                  </a:moveTo>
                  <a:cubicBezTo>
                    <a:pt x="593" y="59"/>
                    <a:pt x="595" y="65"/>
                    <a:pt x="608" y="63"/>
                  </a:cubicBezTo>
                  <a:cubicBezTo>
                    <a:pt x="608" y="74"/>
                    <a:pt x="593" y="74"/>
                    <a:pt x="581" y="76"/>
                  </a:cubicBezTo>
                  <a:cubicBezTo>
                    <a:pt x="581" y="71"/>
                    <a:pt x="581" y="66"/>
                    <a:pt x="581" y="60"/>
                  </a:cubicBezTo>
                  <a:close/>
                  <a:moveTo>
                    <a:pt x="464" y="66"/>
                  </a:moveTo>
                  <a:cubicBezTo>
                    <a:pt x="462" y="64"/>
                    <a:pt x="466" y="62"/>
                    <a:pt x="467" y="63"/>
                  </a:cubicBezTo>
                  <a:cubicBezTo>
                    <a:pt x="469" y="64"/>
                    <a:pt x="465" y="66"/>
                    <a:pt x="464" y="66"/>
                  </a:cubicBezTo>
                  <a:close/>
                  <a:moveTo>
                    <a:pt x="384" y="462"/>
                  </a:moveTo>
                  <a:cubicBezTo>
                    <a:pt x="385" y="459"/>
                    <a:pt x="388" y="461"/>
                    <a:pt x="388" y="462"/>
                  </a:cubicBezTo>
                  <a:cubicBezTo>
                    <a:pt x="387" y="465"/>
                    <a:pt x="384" y="464"/>
                    <a:pt x="384" y="462"/>
                  </a:cubicBezTo>
                  <a:close/>
                  <a:moveTo>
                    <a:pt x="388" y="468"/>
                  </a:moveTo>
                  <a:cubicBezTo>
                    <a:pt x="397" y="469"/>
                    <a:pt x="396" y="476"/>
                    <a:pt x="403" y="479"/>
                  </a:cubicBezTo>
                  <a:cubicBezTo>
                    <a:pt x="398" y="486"/>
                    <a:pt x="384" y="476"/>
                    <a:pt x="388" y="468"/>
                  </a:cubicBezTo>
                  <a:close/>
                </a:path>
              </a:pathLst>
            </a:cu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9" name="Line 301"/>
            <p:cNvSpPr>
              <a:spLocks noChangeShapeType="1"/>
            </p:cNvSpPr>
            <p:nvPr/>
          </p:nvSpPr>
          <p:spPr bwMode="auto">
            <a:xfrm flipV="1">
              <a:off x="9066213" y="2017713"/>
              <a:ext cx="0" cy="3117850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0" name="Oval 302"/>
            <p:cNvSpPr>
              <a:spLocks noChangeArrowheads="1"/>
            </p:cNvSpPr>
            <p:nvPr/>
          </p:nvSpPr>
          <p:spPr bwMode="auto">
            <a:xfrm>
              <a:off x="9017000" y="5086350"/>
              <a:ext cx="95250" cy="952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1" name="Oval 303"/>
            <p:cNvSpPr>
              <a:spLocks noChangeArrowheads="1"/>
            </p:cNvSpPr>
            <p:nvPr/>
          </p:nvSpPr>
          <p:spPr bwMode="auto">
            <a:xfrm>
              <a:off x="8985250" y="1936750"/>
              <a:ext cx="160338" cy="161925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2" name="Line 307"/>
            <p:cNvSpPr>
              <a:spLocks noChangeShapeType="1"/>
            </p:cNvSpPr>
            <p:nvPr/>
          </p:nvSpPr>
          <p:spPr bwMode="auto">
            <a:xfrm flipV="1">
              <a:off x="8151813" y="1709738"/>
              <a:ext cx="0" cy="3114675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3" name="Oval 308"/>
            <p:cNvSpPr>
              <a:spLocks noChangeArrowheads="1"/>
            </p:cNvSpPr>
            <p:nvPr/>
          </p:nvSpPr>
          <p:spPr bwMode="auto">
            <a:xfrm>
              <a:off x="8102600" y="4778375"/>
              <a:ext cx="95250" cy="920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4" name="Oval 309"/>
            <p:cNvSpPr>
              <a:spLocks noChangeArrowheads="1"/>
            </p:cNvSpPr>
            <p:nvPr/>
          </p:nvSpPr>
          <p:spPr bwMode="auto">
            <a:xfrm>
              <a:off x="8070850" y="1630363"/>
              <a:ext cx="161925" cy="160338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5" name="Line 310"/>
            <p:cNvSpPr>
              <a:spLocks noChangeShapeType="1"/>
            </p:cNvSpPr>
            <p:nvPr/>
          </p:nvSpPr>
          <p:spPr bwMode="auto">
            <a:xfrm flipV="1">
              <a:off x="8418513" y="962025"/>
              <a:ext cx="0" cy="4035425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6" name="Oval 311"/>
            <p:cNvSpPr>
              <a:spLocks noChangeArrowheads="1"/>
            </p:cNvSpPr>
            <p:nvPr/>
          </p:nvSpPr>
          <p:spPr bwMode="auto">
            <a:xfrm>
              <a:off x="8372475" y="4951413"/>
              <a:ext cx="92075" cy="920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7" name="Oval 312"/>
            <p:cNvSpPr>
              <a:spLocks noChangeArrowheads="1"/>
            </p:cNvSpPr>
            <p:nvPr/>
          </p:nvSpPr>
          <p:spPr bwMode="auto">
            <a:xfrm>
              <a:off x="8339138" y="882650"/>
              <a:ext cx="160338" cy="157163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8" name="Line 313"/>
            <p:cNvSpPr>
              <a:spLocks noChangeShapeType="1"/>
            </p:cNvSpPr>
            <p:nvPr/>
          </p:nvSpPr>
          <p:spPr bwMode="auto">
            <a:xfrm flipV="1">
              <a:off x="7627938" y="3297238"/>
              <a:ext cx="0" cy="2809875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9" name="Oval 314"/>
            <p:cNvSpPr>
              <a:spLocks noChangeArrowheads="1"/>
            </p:cNvSpPr>
            <p:nvPr/>
          </p:nvSpPr>
          <p:spPr bwMode="auto">
            <a:xfrm>
              <a:off x="7583488" y="6061075"/>
              <a:ext cx="90488" cy="920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0" name="Oval 315"/>
            <p:cNvSpPr>
              <a:spLocks noChangeArrowheads="1"/>
            </p:cNvSpPr>
            <p:nvPr/>
          </p:nvSpPr>
          <p:spPr bwMode="auto">
            <a:xfrm>
              <a:off x="7548563" y="3217863"/>
              <a:ext cx="160338" cy="160338"/>
            </a:xfrm>
            <a:prstGeom prst="ellipse">
              <a:avLst/>
            </a:pr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1" name="Line 316"/>
            <p:cNvSpPr>
              <a:spLocks noChangeShapeType="1"/>
            </p:cNvSpPr>
            <p:nvPr/>
          </p:nvSpPr>
          <p:spPr bwMode="auto">
            <a:xfrm flipV="1">
              <a:off x="7205663" y="2138363"/>
              <a:ext cx="0" cy="3114675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2" name="Oval 317"/>
            <p:cNvSpPr>
              <a:spLocks noChangeArrowheads="1"/>
            </p:cNvSpPr>
            <p:nvPr/>
          </p:nvSpPr>
          <p:spPr bwMode="auto">
            <a:xfrm>
              <a:off x="7159625" y="5207000"/>
              <a:ext cx="92075" cy="920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3" name="Oval 318"/>
            <p:cNvSpPr>
              <a:spLocks noChangeArrowheads="1"/>
            </p:cNvSpPr>
            <p:nvPr/>
          </p:nvSpPr>
          <p:spPr bwMode="auto">
            <a:xfrm>
              <a:off x="7126288" y="2058988"/>
              <a:ext cx="160338" cy="160338"/>
            </a:xfrm>
            <a:prstGeom prst="ellipse">
              <a:avLst/>
            </a:prstGeom>
            <a:solidFill>
              <a:srgbClr val="FEDB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4" name="Line 319"/>
            <p:cNvSpPr>
              <a:spLocks noChangeShapeType="1"/>
            </p:cNvSpPr>
            <p:nvPr/>
          </p:nvSpPr>
          <p:spPr bwMode="auto">
            <a:xfrm flipV="1">
              <a:off x="7332663" y="1138238"/>
              <a:ext cx="0" cy="3116263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5" name="Oval 320"/>
            <p:cNvSpPr>
              <a:spLocks noChangeArrowheads="1"/>
            </p:cNvSpPr>
            <p:nvPr/>
          </p:nvSpPr>
          <p:spPr bwMode="auto">
            <a:xfrm>
              <a:off x="7286625" y="4206875"/>
              <a:ext cx="92075" cy="936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6" name="Oval 321"/>
            <p:cNvSpPr>
              <a:spLocks noChangeArrowheads="1"/>
            </p:cNvSpPr>
            <p:nvPr/>
          </p:nvSpPr>
          <p:spPr bwMode="auto">
            <a:xfrm>
              <a:off x="7251700" y="1057275"/>
              <a:ext cx="161925" cy="161925"/>
            </a:xfrm>
            <a:prstGeom prst="ellipse">
              <a:avLst/>
            </a:prstGeom>
            <a:solidFill>
              <a:srgbClr val="B3D8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7" name="Line 322"/>
            <p:cNvSpPr>
              <a:spLocks noChangeShapeType="1"/>
            </p:cNvSpPr>
            <p:nvPr/>
          </p:nvSpPr>
          <p:spPr bwMode="auto">
            <a:xfrm flipV="1">
              <a:off x="4816541" y="1028315"/>
              <a:ext cx="0" cy="3114675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8" name="Oval 323"/>
            <p:cNvSpPr>
              <a:spLocks noChangeArrowheads="1"/>
            </p:cNvSpPr>
            <p:nvPr/>
          </p:nvSpPr>
          <p:spPr bwMode="auto">
            <a:xfrm>
              <a:off x="4770503" y="4087252"/>
              <a:ext cx="92075" cy="93663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9" name="Oval 324"/>
            <p:cNvSpPr>
              <a:spLocks noChangeArrowheads="1"/>
            </p:cNvSpPr>
            <p:nvPr/>
          </p:nvSpPr>
          <p:spPr bwMode="auto">
            <a:xfrm>
              <a:off x="4753490" y="810665"/>
              <a:ext cx="160338" cy="160338"/>
            </a:xfrm>
            <a:prstGeom prst="ellipse">
              <a:avLst/>
            </a:prstGeom>
            <a:solidFill>
              <a:srgbClr val="40D3B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0" name="Line 325"/>
            <p:cNvSpPr>
              <a:spLocks noChangeShapeType="1"/>
            </p:cNvSpPr>
            <p:nvPr/>
          </p:nvSpPr>
          <p:spPr bwMode="auto">
            <a:xfrm flipV="1">
              <a:off x="4279899" y="2290685"/>
              <a:ext cx="6305" cy="2197177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1" name="Oval 326"/>
            <p:cNvSpPr>
              <a:spLocks noChangeArrowheads="1"/>
            </p:cNvSpPr>
            <p:nvPr/>
          </p:nvSpPr>
          <p:spPr bwMode="auto">
            <a:xfrm>
              <a:off x="4235450" y="4438650"/>
              <a:ext cx="90488" cy="952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2" name="Oval 327"/>
            <p:cNvSpPr>
              <a:spLocks noChangeArrowheads="1"/>
            </p:cNvSpPr>
            <p:nvPr/>
          </p:nvSpPr>
          <p:spPr bwMode="auto">
            <a:xfrm>
              <a:off x="4200525" y="1290638"/>
              <a:ext cx="160338" cy="160338"/>
            </a:xfrm>
            <a:prstGeom prst="ellipse">
              <a:avLst/>
            </a:prstGeom>
            <a:solidFill>
              <a:srgbClr val="EB7E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Oval 162"/>
            <p:cNvSpPr/>
            <p:nvPr/>
          </p:nvSpPr>
          <p:spPr>
            <a:xfrm>
              <a:off x="3818797" y="1303844"/>
              <a:ext cx="954549" cy="954549"/>
            </a:xfrm>
            <a:prstGeom prst="ellipse">
              <a:avLst/>
            </a:prstGeom>
            <a:solidFill>
              <a:srgbClr val="EB7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64" name="Rectangle 163"/>
            <p:cNvSpPr/>
            <p:nvPr/>
          </p:nvSpPr>
          <p:spPr>
            <a:xfrm>
              <a:off x="3919846" y="1619536"/>
              <a:ext cx="803685" cy="33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500" b="1" dirty="0">
                  <a:latin typeface="+mj-lt"/>
                  <a:ea typeface="Calibri" panose="020F0502020204030204" pitchFamily="34" charset="0"/>
                </a:rPr>
                <a:t>Mexico</a:t>
              </a:r>
              <a:endParaRPr lang="en-IN" sz="1500" b="1" dirty="0">
                <a:latin typeface="+mj-lt"/>
              </a:endParaRPr>
            </a:p>
          </p:txBody>
        </p:sp>
        <p:sp>
          <p:nvSpPr>
            <p:cNvPr id="165" name="Oval 164"/>
            <p:cNvSpPr/>
            <p:nvPr/>
          </p:nvSpPr>
          <p:spPr>
            <a:xfrm>
              <a:off x="4433516" y="358242"/>
              <a:ext cx="824782" cy="824782"/>
            </a:xfrm>
            <a:prstGeom prst="ellipse">
              <a:avLst/>
            </a:prstGeom>
            <a:solidFill>
              <a:srgbClr val="EB7E7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66" name="Rectangle 165"/>
            <p:cNvSpPr/>
            <p:nvPr/>
          </p:nvSpPr>
          <p:spPr>
            <a:xfrm>
              <a:off x="4541561" y="609051"/>
              <a:ext cx="542377" cy="33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500" b="1" dirty="0" smtClean="0">
                  <a:latin typeface="+mj-lt"/>
                </a:rPr>
                <a:t>USA</a:t>
              </a:r>
              <a:endParaRPr lang="en-IN" sz="1500" b="1" dirty="0">
                <a:latin typeface="+mj-lt"/>
              </a:endParaRPr>
            </a:p>
          </p:txBody>
        </p:sp>
        <p:sp>
          <p:nvSpPr>
            <p:cNvPr id="167" name="Oval 166"/>
            <p:cNvSpPr/>
            <p:nvPr/>
          </p:nvSpPr>
          <p:spPr>
            <a:xfrm>
              <a:off x="6780166" y="1895166"/>
              <a:ext cx="824782" cy="824782"/>
            </a:xfrm>
            <a:prstGeom prst="ellipse">
              <a:avLst/>
            </a:prstGeom>
            <a:solidFill>
              <a:srgbClr val="FEDB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68" name="Oval 167"/>
            <p:cNvSpPr/>
            <p:nvPr/>
          </p:nvSpPr>
          <p:spPr>
            <a:xfrm>
              <a:off x="6905763" y="613279"/>
              <a:ext cx="824782" cy="824782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69" name="Oval 168"/>
            <p:cNvSpPr/>
            <p:nvPr/>
          </p:nvSpPr>
          <p:spPr>
            <a:xfrm>
              <a:off x="7244970" y="3142299"/>
              <a:ext cx="824782" cy="824782"/>
            </a:xfrm>
            <a:prstGeom prst="ellipse">
              <a:avLst/>
            </a:prstGeom>
            <a:solidFill>
              <a:srgbClr val="FEDB7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70" name="Oval 169"/>
            <p:cNvSpPr/>
            <p:nvPr/>
          </p:nvSpPr>
          <p:spPr>
            <a:xfrm>
              <a:off x="7681745" y="1205776"/>
              <a:ext cx="824782" cy="824782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71" name="Oval 170"/>
            <p:cNvSpPr/>
            <p:nvPr/>
          </p:nvSpPr>
          <p:spPr>
            <a:xfrm>
              <a:off x="8038669" y="393345"/>
              <a:ext cx="824782" cy="824782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72" name="Oval 171"/>
            <p:cNvSpPr/>
            <p:nvPr/>
          </p:nvSpPr>
          <p:spPr>
            <a:xfrm>
              <a:off x="8611354" y="1527152"/>
              <a:ext cx="824782" cy="824782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73" name="Rectangle 172"/>
            <p:cNvSpPr/>
            <p:nvPr/>
          </p:nvSpPr>
          <p:spPr>
            <a:xfrm>
              <a:off x="6822103" y="2145975"/>
              <a:ext cx="792220" cy="33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500" b="1" dirty="0">
                  <a:latin typeface="+mj-lt"/>
                  <a:ea typeface="Calibri" panose="020F0502020204030204" pitchFamily="34" charset="0"/>
                </a:rPr>
                <a:t>Nigeria</a:t>
              </a:r>
              <a:endParaRPr lang="en-IN" sz="1500" b="1" dirty="0">
                <a:latin typeface="+mj-lt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6868544" y="864088"/>
              <a:ext cx="961009" cy="33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IN" sz="1500" b="1" dirty="0">
                  <a:latin typeface="+mj-lt"/>
                </a:rPr>
                <a:t>Germany</a:t>
              </a: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7665825" y="1341704"/>
              <a:ext cx="873551" cy="5826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IN" sz="1500" b="1" dirty="0">
                  <a:latin typeface="+mj-lt"/>
                </a:rPr>
                <a:t>Saudi</a:t>
              </a:r>
            </a:p>
            <a:p>
              <a:pPr algn="ctr"/>
              <a:r>
                <a:rPr lang="en-IN" sz="1500" b="1" dirty="0">
                  <a:latin typeface="+mj-lt"/>
                </a:rPr>
                <a:t>Arabia</a:t>
              </a:r>
            </a:p>
          </p:txBody>
        </p:sp>
        <p:sp>
          <p:nvSpPr>
            <p:cNvPr id="176" name="Rectangle 175"/>
            <p:cNvSpPr/>
            <p:nvPr/>
          </p:nvSpPr>
          <p:spPr>
            <a:xfrm>
              <a:off x="8196535" y="644153"/>
              <a:ext cx="542781" cy="33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500" b="1" dirty="0">
                  <a:latin typeface="+mj-lt"/>
                  <a:ea typeface="Calibri" panose="020F0502020204030204" pitchFamily="34" charset="0"/>
                </a:rPr>
                <a:t>UAE</a:t>
              </a:r>
              <a:endParaRPr lang="en-IN" sz="1500" b="1" dirty="0">
                <a:latin typeface="+mj-lt"/>
              </a:endParaRPr>
            </a:p>
          </p:txBody>
        </p:sp>
        <p:sp>
          <p:nvSpPr>
            <p:cNvPr id="177" name="Rectangle 176"/>
            <p:cNvSpPr/>
            <p:nvPr/>
          </p:nvSpPr>
          <p:spPr>
            <a:xfrm>
              <a:off x="8738250" y="1777961"/>
              <a:ext cx="612306" cy="33987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500" b="1" dirty="0">
                  <a:latin typeface="+mj-lt"/>
                  <a:ea typeface="Calibri" panose="020F0502020204030204" pitchFamily="34" charset="0"/>
                </a:rPr>
                <a:t>India</a:t>
              </a:r>
              <a:endParaRPr lang="en-IN" sz="1500" b="1" dirty="0">
                <a:latin typeface="+mj-lt"/>
              </a:endParaRPr>
            </a:p>
          </p:txBody>
        </p:sp>
        <p:sp>
          <p:nvSpPr>
            <p:cNvPr id="178" name="Rectangle 177"/>
            <p:cNvSpPr/>
            <p:nvPr/>
          </p:nvSpPr>
          <p:spPr>
            <a:xfrm>
              <a:off x="7264855" y="3277691"/>
              <a:ext cx="785013" cy="5826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500" b="1" dirty="0">
                  <a:latin typeface="+mj-lt"/>
                  <a:ea typeface="Calibri" panose="020F0502020204030204" pitchFamily="34" charset="0"/>
                </a:rPr>
                <a:t>South Africa</a:t>
              </a:r>
              <a:endParaRPr lang="en-IN" sz="1500" b="1" dirty="0">
                <a:latin typeface="+mj-lt"/>
              </a:endParaRPr>
            </a:p>
          </p:txBody>
        </p:sp>
        <p:sp>
          <p:nvSpPr>
            <p:cNvPr id="179" name="Oval 178"/>
            <p:cNvSpPr/>
            <p:nvPr/>
          </p:nvSpPr>
          <p:spPr>
            <a:xfrm>
              <a:off x="6584104" y="2693420"/>
              <a:ext cx="791989" cy="75643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b="1" dirty="0" smtClean="0">
                  <a:solidFill>
                    <a:schemeClr val="tx1"/>
                  </a:solidFill>
                  <a:latin typeface="+mj-lt"/>
                </a:rPr>
                <a:t>UK</a:t>
              </a:r>
              <a:endParaRPr lang="en-US" sz="1500" b="1" dirty="0">
                <a:solidFill>
                  <a:schemeClr val="tx1"/>
                </a:solidFill>
                <a:latin typeface="+mj-lt"/>
              </a:endParaRPr>
            </a:p>
          </p:txBody>
        </p:sp>
        <p:cxnSp>
          <p:nvCxnSpPr>
            <p:cNvPr id="180" name="Straight Connector 179"/>
            <p:cNvCxnSpPr>
              <a:stCxn id="104" idx="7"/>
            </p:cNvCxnSpPr>
            <p:nvPr/>
          </p:nvCxnSpPr>
          <p:spPr>
            <a:xfrm flipV="1">
              <a:off x="6993345" y="3459163"/>
              <a:ext cx="2387" cy="741712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181" name="Oval 180"/>
            <p:cNvSpPr/>
            <p:nvPr/>
          </p:nvSpPr>
          <p:spPr>
            <a:xfrm>
              <a:off x="6948637" y="4163070"/>
              <a:ext cx="96837" cy="105569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2" name="Line 301"/>
            <p:cNvSpPr>
              <a:spLocks noChangeShapeType="1"/>
            </p:cNvSpPr>
            <p:nvPr/>
          </p:nvSpPr>
          <p:spPr bwMode="auto">
            <a:xfrm flipV="1">
              <a:off x="9786014" y="3142298"/>
              <a:ext cx="4098" cy="2363389"/>
            </a:xfrm>
            <a:prstGeom prst="line">
              <a:avLst/>
            </a:prstGeom>
            <a:noFill/>
            <a:ln w="22225" cap="rnd">
              <a:solidFill>
                <a:srgbClr val="BCBEC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3" name="Oval 302"/>
            <p:cNvSpPr>
              <a:spLocks noChangeArrowheads="1"/>
            </p:cNvSpPr>
            <p:nvPr/>
          </p:nvSpPr>
          <p:spPr bwMode="auto">
            <a:xfrm>
              <a:off x="9728954" y="5484414"/>
              <a:ext cx="95250" cy="952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Oval 183"/>
            <p:cNvSpPr/>
            <p:nvPr/>
          </p:nvSpPr>
          <p:spPr>
            <a:xfrm>
              <a:off x="9376463" y="2488649"/>
              <a:ext cx="849327" cy="824782"/>
            </a:xfrm>
            <a:prstGeom prst="ellipse">
              <a:avLst/>
            </a:prstGeom>
            <a:solidFill>
              <a:srgbClr val="6DC0E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400" b="1" dirty="0">
                <a:solidFill>
                  <a:schemeClr val="tx1"/>
                </a:solidFill>
                <a:latin typeface="+mj-lt"/>
              </a:endParaRPr>
            </a:p>
          </p:txBody>
        </p:sp>
      </p:grpSp>
      <p:cxnSp>
        <p:nvCxnSpPr>
          <p:cNvPr id="186" name="Straight Connector 185"/>
          <p:cNvCxnSpPr/>
          <p:nvPr/>
        </p:nvCxnSpPr>
        <p:spPr>
          <a:xfrm flipV="1">
            <a:off x="0" y="6261055"/>
            <a:ext cx="2974713" cy="32346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4" name="Rectangle 3"/>
          <p:cNvSpPr/>
          <p:nvPr/>
        </p:nvSpPr>
        <p:spPr>
          <a:xfrm>
            <a:off x="9086854" y="2854529"/>
            <a:ext cx="96212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IN" sz="1500" b="1" dirty="0">
                <a:latin typeface="+mj-lt"/>
              </a:rPr>
              <a:t>Indonesia</a:t>
            </a:r>
          </a:p>
        </p:txBody>
      </p:sp>
    </p:spTree>
    <p:extLst>
      <p:ext uri="{BB962C8B-B14F-4D97-AF65-F5344CB8AC3E}">
        <p14:creationId xmlns:p14="http://schemas.microsoft.com/office/powerpoint/2010/main" val="2284305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Consumer Profile – Demographic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6</a:t>
            </a:fld>
            <a:endParaRPr lang="en-IN" dirty="0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2027552" y="900667"/>
            <a:ext cx="8847143" cy="5838878"/>
            <a:chOff x="970" y="316"/>
            <a:chExt cx="5573" cy="3678"/>
          </a:xfrm>
          <a:solidFill>
            <a:schemeClr val="bg1">
              <a:lumMod val="85000"/>
            </a:schemeClr>
          </a:solidFill>
        </p:grpSpPr>
        <p:sp>
          <p:nvSpPr>
            <p:cNvPr id="6" name="Freeform 5"/>
            <p:cNvSpPr>
              <a:spLocks/>
            </p:cNvSpPr>
            <p:nvPr/>
          </p:nvSpPr>
          <p:spPr bwMode="auto">
            <a:xfrm>
              <a:off x="5904" y="1180"/>
              <a:ext cx="17" cy="28"/>
            </a:xfrm>
            <a:custGeom>
              <a:avLst/>
              <a:gdLst>
                <a:gd name="T0" fmla="*/ 0 w 7"/>
                <a:gd name="T1" fmla="*/ 7 h 12"/>
                <a:gd name="T2" fmla="*/ 0 w 7"/>
                <a:gd name="T3" fmla="*/ 9 h 12"/>
                <a:gd name="T4" fmla="*/ 1 w 7"/>
                <a:gd name="T5" fmla="*/ 10 h 12"/>
                <a:gd name="T6" fmla="*/ 1 w 7"/>
                <a:gd name="T7" fmla="*/ 10 h 12"/>
                <a:gd name="T8" fmla="*/ 2 w 7"/>
                <a:gd name="T9" fmla="*/ 11 h 12"/>
                <a:gd name="T10" fmla="*/ 3 w 7"/>
                <a:gd name="T11" fmla="*/ 12 h 12"/>
                <a:gd name="T12" fmla="*/ 5 w 7"/>
                <a:gd name="T13" fmla="*/ 12 h 12"/>
                <a:gd name="T14" fmla="*/ 6 w 7"/>
                <a:gd name="T15" fmla="*/ 8 h 12"/>
                <a:gd name="T16" fmla="*/ 6 w 7"/>
                <a:gd name="T17" fmla="*/ 8 h 12"/>
                <a:gd name="T18" fmla="*/ 6 w 7"/>
                <a:gd name="T19" fmla="*/ 7 h 12"/>
                <a:gd name="T20" fmla="*/ 6 w 7"/>
                <a:gd name="T21" fmla="*/ 6 h 12"/>
                <a:gd name="T22" fmla="*/ 7 w 7"/>
                <a:gd name="T23" fmla="*/ 5 h 12"/>
                <a:gd name="T24" fmla="*/ 7 w 7"/>
                <a:gd name="T25" fmla="*/ 4 h 12"/>
                <a:gd name="T26" fmla="*/ 6 w 7"/>
                <a:gd name="T27" fmla="*/ 3 h 12"/>
                <a:gd name="T28" fmla="*/ 6 w 7"/>
                <a:gd name="T29" fmla="*/ 2 h 12"/>
                <a:gd name="T30" fmla="*/ 5 w 7"/>
                <a:gd name="T31" fmla="*/ 1 h 12"/>
                <a:gd name="T32" fmla="*/ 3 w 7"/>
                <a:gd name="T33" fmla="*/ 0 h 12"/>
                <a:gd name="T34" fmla="*/ 2 w 7"/>
                <a:gd name="T35" fmla="*/ 1 h 12"/>
                <a:gd name="T36" fmla="*/ 1 w 7"/>
                <a:gd name="T37" fmla="*/ 3 h 12"/>
                <a:gd name="T38" fmla="*/ 2 w 7"/>
                <a:gd name="T39" fmla="*/ 4 h 12"/>
                <a:gd name="T40" fmla="*/ 2 w 7"/>
                <a:gd name="T41" fmla="*/ 5 h 12"/>
                <a:gd name="T42" fmla="*/ 0 w 7"/>
                <a:gd name="T4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12">
                  <a:moveTo>
                    <a:pt x="0" y="7"/>
                  </a:moveTo>
                  <a:cubicBezTo>
                    <a:pt x="0" y="8"/>
                    <a:pt x="0" y="9"/>
                    <a:pt x="0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6" y="11"/>
                    <a:pt x="6" y="9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6" y="6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0" y="6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5965" y="1033"/>
              <a:ext cx="34" cy="21"/>
            </a:xfrm>
            <a:custGeom>
              <a:avLst/>
              <a:gdLst>
                <a:gd name="T0" fmla="*/ 3 w 14"/>
                <a:gd name="T1" fmla="*/ 5 h 9"/>
                <a:gd name="T2" fmla="*/ 4 w 14"/>
                <a:gd name="T3" fmla="*/ 5 h 9"/>
                <a:gd name="T4" fmla="*/ 4 w 14"/>
                <a:gd name="T5" fmla="*/ 5 h 9"/>
                <a:gd name="T6" fmla="*/ 5 w 14"/>
                <a:gd name="T7" fmla="*/ 6 h 9"/>
                <a:gd name="T8" fmla="*/ 7 w 14"/>
                <a:gd name="T9" fmla="*/ 6 h 9"/>
                <a:gd name="T10" fmla="*/ 7 w 14"/>
                <a:gd name="T11" fmla="*/ 6 h 9"/>
                <a:gd name="T12" fmla="*/ 9 w 14"/>
                <a:gd name="T13" fmla="*/ 7 h 9"/>
                <a:gd name="T14" fmla="*/ 10 w 14"/>
                <a:gd name="T15" fmla="*/ 7 h 9"/>
                <a:gd name="T16" fmla="*/ 11 w 14"/>
                <a:gd name="T17" fmla="*/ 8 h 9"/>
                <a:gd name="T18" fmla="*/ 12 w 14"/>
                <a:gd name="T19" fmla="*/ 9 h 9"/>
                <a:gd name="T20" fmla="*/ 13 w 14"/>
                <a:gd name="T21" fmla="*/ 9 h 9"/>
                <a:gd name="T22" fmla="*/ 14 w 14"/>
                <a:gd name="T23" fmla="*/ 9 h 9"/>
                <a:gd name="T24" fmla="*/ 14 w 14"/>
                <a:gd name="T25" fmla="*/ 8 h 9"/>
                <a:gd name="T26" fmla="*/ 11 w 14"/>
                <a:gd name="T27" fmla="*/ 4 h 9"/>
                <a:gd name="T28" fmla="*/ 10 w 14"/>
                <a:gd name="T29" fmla="*/ 4 h 9"/>
                <a:gd name="T30" fmla="*/ 9 w 14"/>
                <a:gd name="T31" fmla="*/ 3 h 9"/>
                <a:gd name="T32" fmla="*/ 8 w 14"/>
                <a:gd name="T33" fmla="*/ 1 h 9"/>
                <a:gd name="T34" fmla="*/ 5 w 14"/>
                <a:gd name="T35" fmla="*/ 0 h 9"/>
                <a:gd name="T36" fmla="*/ 4 w 14"/>
                <a:gd name="T37" fmla="*/ 0 h 9"/>
                <a:gd name="T38" fmla="*/ 1 w 14"/>
                <a:gd name="T39" fmla="*/ 2 h 9"/>
                <a:gd name="T40" fmla="*/ 2 w 14"/>
                <a:gd name="T41" fmla="*/ 4 h 9"/>
                <a:gd name="T42" fmla="*/ 3 w 14"/>
                <a:gd name="T4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" h="9">
                  <a:moveTo>
                    <a:pt x="3" y="5"/>
                  </a:move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7"/>
                    <a:pt x="9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2" y="5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2"/>
                    <a:pt x="9" y="2"/>
                    <a:pt x="8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1" y="2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2" y="4"/>
                    <a:pt x="2" y="4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6001" y="1040"/>
              <a:ext cx="24" cy="17"/>
            </a:xfrm>
            <a:custGeom>
              <a:avLst/>
              <a:gdLst>
                <a:gd name="T0" fmla="*/ 2 w 10"/>
                <a:gd name="T1" fmla="*/ 5 h 7"/>
                <a:gd name="T2" fmla="*/ 3 w 10"/>
                <a:gd name="T3" fmla="*/ 5 h 7"/>
                <a:gd name="T4" fmla="*/ 5 w 10"/>
                <a:gd name="T5" fmla="*/ 6 h 7"/>
                <a:gd name="T6" fmla="*/ 8 w 10"/>
                <a:gd name="T7" fmla="*/ 7 h 7"/>
                <a:gd name="T8" fmla="*/ 9 w 10"/>
                <a:gd name="T9" fmla="*/ 6 h 7"/>
                <a:gd name="T10" fmla="*/ 10 w 10"/>
                <a:gd name="T11" fmla="*/ 5 h 7"/>
                <a:gd name="T12" fmla="*/ 6 w 10"/>
                <a:gd name="T13" fmla="*/ 2 h 7"/>
                <a:gd name="T14" fmla="*/ 5 w 10"/>
                <a:gd name="T15" fmla="*/ 1 h 7"/>
                <a:gd name="T16" fmla="*/ 5 w 10"/>
                <a:gd name="T17" fmla="*/ 1 h 7"/>
                <a:gd name="T18" fmla="*/ 1 w 10"/>
                <a:gd name="T19" fmla="*/ 0 h 7"/>
                <a:gd name="T20" fmla="*/ 1 w 10"/>
                <a:gd name="T21" fmla="*/ 1 h 7"/>
                <a:gd name="T22" fmla="*/ 0 w 10"/>
                <a:gd name="T23" fmla="*/ 4 h 7"/>
                <a:gd name="T24" fmla="*/ 2 w 10"/>
                <a:gd name="T2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7">
                  <a:moveTo>
                    <a:pt x="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8" y="7"/>
                    <a:pt x="9" y="7"/>
                    <a:pt x="9" y="6"/>
                  </a:cubicBezTo>
                  <a:cubicBezTo>
                    <a:pt x="10" y="6"/>
                    <a:pt x="10" y="6"/>
                    <a:pt x="10" y="5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6" y="2"/>
                    <a:pt x="6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4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5710" y="565"/>
              <a:ext cx="52" cy="37"/>
            </a:xfrm>
            <a:custGeom>
              <a:avLst/>
              <a:gdLst>
                <a:gd name="T0" fmla="*/ 4 w 22"/>
                <a:gd name="T1" fmla="*/ 12 h 16"/>
                <a:gd name="T2" fmla="*/ 4 w 22"/>
                <a:gd name="T3" fmla="*/ 13 h 16"/>
                <a:gd name="T4" fmla="*/ 5 w 22"/>
                <a:gd name="T5" fmla="*/ 14 h 16"/>
                <a:gd name="T6" fmla="*/ 6 w 22"/>
                <a:gd name="T7" fmla="*/ 16 h 16"/>
                <a:gd name="T8" fmla="*/ 7 w 22"/>
                <a:gd name="T9" fmla="*/ 15 h 16"/>
                <a:gd name="T10" fmla="*/ 7 w 22"/>
                <a:gd name="T11" fmla="*/ 15 h 16"/>
                <a:gd name="T12" fmla="*/ 8 w 22"/>
                <a:gd name="T13" fmla="*/ 14 h 16"/>
                <a:gd name="T14" fmla="*/ 9 w 22"/>
                <a:gd name="T15" fmla="*/ 13 h 16"/>
                <a:gd name="T16" fmla="*/ 10 w 22"/>
                <a:gd name="T17" fmla="*/ 13 h 16"/>
                <a:gd name="T18" fmla="*/ 12 w 22"/>
                <a:gd name="T19" fmla="*/ 12 h 16"/>
                <a:gd name="T20" fmla="*/ 13 w 22"/>
                <a:gd name="T21" fmla="*/ 11 h 16"/>
                <a:gd name="T22" fmla="*/ 15 w 22"/>
                <a:gd name="T23" fmla="*/ 12 h 16"/>
                <a:gd name="T24" fmla="*/ 16 w 22"/>
                <a:gd name="T25" fmla="*/ 11 h 16"/>
                <a:gd name="T26" fmla="*/ 16 w 22"/>
                <a:gd name="T27" fmla="*/ 10 h 16"/>
                <a:gd name="T28" fmla="*/ 18 w 22"/>
                <a:gd name="T29" fmla="*/ 9 h 16"/>
                <a:gd name="T30" fmla="*/ 19 w 22"/>
                <a:gd name="T31" fmla="*/ 8 h 16"/>
                <a:gd name="T32" fmla="*/ 19 w 22"/>
                <a:gd name="T33" fmla="*/ 8 h 16"/>
                <a:gd name="T34" fmla="*/ 20 w 22"/>
                <a:gd name="T35" fmla="*/ 8 h 16"/>
                <a:gd name="T36" fmla="*/ 21 w 22"/>
                <a:gd name="T37" fmla="*/ 7 h 16"/>
                <a:gd name="T38" fmla="*/ 22 w 22"/>
                <a:gd name="T39" fmla="*/ 5 h 16"/>
                <a:gd name="T40" fmla="*/ 21 w 22"/>
                <a:gd name="T41" fmla="*/ 3 h 16"/>
                <a:gd name="T42" fmla="*/ 18 w 22"/>
                <a:gd name="T43" fmla="*/ 1 h 16"/>
                <a:gd name="T44" fmla="*/ 16 w 22"/>
                <a:gd name="T45" fmla="*/ 1 h 16"/>
                <a:gd name="T46" fmla="*/ 15 w 22"/>
                <a:gd name="T47" fmla="*/ 1 h 16"/>
                <a:gd name="T48" fmla="*/ 15 w 22"/>
                <a:gd name="T49" fmla="*/ 1 h 16"/>
                <a:gd name="T50" fmla="*/ 14 w 22"/>
                <a:gd name="T51" fmla="*/ 0 h 16"/>
                <a:gd name="T52" fmla="*/ 12 w 22"/>
                <a:gd name="T53" fmla="*/ 0 h 16"/>
                <a:gd name="T54" fmla="*/ 12 w 22"/>
                <a:gd name="T55" fmla="*/ 0 h 16"/>
                <a:gd name="T56" fmla="*/ 12 w 22"/>
                <a:gd name="T57" fmla="*/ 1 h 16"/>
                <a:gd name="T58" fmla="*/ 11 w 22"/>
                <a:gd name="T59" fmla="*/ 0 h 16"/>
                <a:gd name="T60" fmla="*/ 10 w 22"/>
                <a:gd name="T61" fmla="*/ 0 h 16"/>
                <a:gd name="T62" fmla="*/ 8 w 22"/>
                <a:gd name="T63" fmla="*/ 0 h 16"/>
                <a:gd name="T64" fmla="*/ 8 w 22"/>
                <a:gd name="T65" fmla="*/ 0 h 16"/>
                <a:gd name="T66" fmla="*/ 7 w 22"/>
                <a:gd name="T67" fmla="*/ 1 h 16"/>
                <a:gd name="T68" fmla="*/ 6 w 22"/>
                <a:gd name="T69" fmla="*/ 1 h 16"/>
                <a:gd name="T70" fmla="*/ 6 w 22"/>
                <a:gd name="T71" fmla="*/ 1 h 16"/>
                <a:gd name="T72" fmla="*/ 2 w 22"/>
                <a:gd name="T73" fmla="*/ 4 h 16"/>
                <a:gd name="T74" fmla="*/ 1 w 22"/>
                <a:gd name="T75" fmla="*/ 6 h 16"/>
                <a:gd name="T76" fmla="*/ 1 w 22"/>
                <a:gd name="T77" fmla="*/ 10 h 16"/>
                <a:gd name="T78" fmla="*/ 4 w 22"/>
                <a:gd name="T7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" h="16">
                  <a:moveTo>
                    <a:pt x="4" y="12"/>
                  </a:moveTo>
                  <a:cubicBezTo>
                    <a:pt x="4" y="12"/>
                    <a:pt x="4" y="13"/>
                    <a:pt x="4" y="13"/>
                  </a:cubicBezTo>
                  <a:cubicBezTo>
                    <a:pt x="4" y="13"/>
                    <a:pt x="4" y="14"/>
                    <a:pt x="5" y="14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9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2" y="13"/>
                    <a:pt x="12" y="12"/>
                  </a:cubicBezTo>
                  <a:cubicBezTo>
                    <a:pt x="12" y="12"/>
                    <a:pt x="13" y="12"/>
                    <a:pt x="13" y="11"/>
                  </a:cubicBezTo>
                  <a:cubicBezTo>
                    <a:pt x="13" y="12"/>
                    <a:pt x="14" y="12"/>
                    <a:pt x="15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9"/>
                    <a:pt x="18" y="9"/>
                  </a:cubicBezTo>
                  <a:cubicBezTo>
                    <a:pt x="19" y="9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7"/>
                    <a:pt x="21" y="7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2" y="4"/>
                    <a:pt x="22" y="3"/>
                    <a:pt x="21" y="3"/>
                  </a:cubicBezTo>
                  <a:cubicBezTo>
                    <a:pt x="20" y="2"/>
                    <a:pt x="19" y="2"/>
                    <a:pt x="18" y="1"/>
                  </a:cubicBezTo>
                  <a:cubicBezTo>
                    <a:pt x="17" y="1"/>
                    <a:pt x="17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3" y="1"/>
                    <a:pt x="2" y="4"/>
                  </a:cubicBezTo>
                  <a:cubicBezTo>
                    <a:pt x="2" y="5"/>
                    <a:pt x="2" y="5"/>
                    <a:pt x="1" y="6"/>
                  </a:cubicBezTo>
                  <a:cubicBezTo>
                    <a:pt x="1" y="7"/>
                    <a:pt x="0" y="8"/>
                    <a:pt x="1" y="10"/>
                  </a:cubicBezTo>
                  <a:cubicBezTo>
                    <a:pt x="2" y="11"/>
                    <a:pt x="3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5194" y="588"/>
              <a:ext cx="22" cy="17"/>
            </a:xfrm>
            <a:custGeom>
              <a:avLst/>
              <a:gdLst>
                <a:gd name="T0" fmla="*/ 6 w 9"/>
                <a:gd name="T1" fmla="*/ 1 h 7"/>
                <a:gd name="T2" fmla="*/ 5 w 9"/>
                <a:gd name="T3" fmla="*/ 1 h 7"/>
                <a:gd name="T4" fmla="*/ 2 w 9"/>
                <a:gd name="T5" fmla="*/ 0 h 7"/>
                <a:gd name="T6" fmla="*/ 0 w 9"/>
                <a:gd name="T7" fmla="*/ 1 h 7"/>
                <a:gd name="T8" fmla="*/ 2 w 9"/>
                <a:gd name="T9" fmla="*/ 4 h 7"/>
                <a:gd name="T10" fmla="*/ 2 w 9"/>
                <a:gd name="T11" fmla="*/ 5 h 7"/>
                <a:gd name="T12" fmla="*/ 4 w 9"/>
                <a:gd name="T13" fmla="*/ 6 h 7"/>
                <a:gd name="T14" fmla="*/ 5 w 9"/>
                <a:gd name="T15" fmla="*/ 7 h 7"/>
                <a:gd name="T16" fmla="*/ 8 w 9"/>
                <a:gd name="T17" fmla="*/ 5 h 7"/>
                <a:gd name="T18" fmla="*/ 6 w 9"/>
                <a:gd name="T1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7">
                  <a:moveTo>
                    <a:pt x="6" y="1"/>
                  </a:move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6"/>
                    <a:pt x="4" y="6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8" y="6"/>
                    <a:pt x="8" y="5"/>
                  </a:cubicBezTo>
                  <a:cubicBezTo>
                    <a:pt x="9" y="3"/>
                    <a:pt x="7" y="2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213" y="595"/>
              <a:ext cx="50" cy="26"/>
            </a:xfrm>
            <a:custGeom>
              <a:avLst/>
              <a:gdLst>
                <a:gd name="T0" fmla="*/ 0 w 21"/>
                <a:gd name="T1" fmla="*/ 11 h 11"/>
                <a:gd name="T2" fmla="*/ 1 w 21"/>
                <a:gd name="T3" fmla="*/ 11 h 11"/>
                <a:gd name="T4" fmla="*/ 3 w 21"/>
                <a:gd name="T5" fmla="*/ 10 h 11"/>
                <a:gd name="T6" fmla="*/ 4 w 21"/>
                <a:gd name="T7" fmla="*/ 9 h 11"/>
                <a:gd name="T8" fmla="*/ 8 w 21"/>
                <a:gd name="T9" fmla="*/ 9 h 11"/>
                <a:gd name="T10" fmla="*/ 12 w 21"/>
                <a:gd name="T11" fmla="*/ 10 h 11"/>
                <a:gd name="T12" fmla="*/ 16 w 21"/>
                <a:gd name="T13" fmla="*/ 10 h 11"/>
                <a:gd name="T14" fmla="*/ 17 w 21"/>
                <a:gd name="T15" fmla="*/ 10 h 11"/>
                <a:gd name="T16" fmla="*/ 19 w 21"/>
                <a:gd name="T17" fmla="*/ 10 h 11"/>
                <a:gd name="T18" fmla="*/ 19 w 21"/>
                <a:gd name="T19" fmla="*/ 10 h 11"/>
                <a:gd name="T20" fmla="*/ 21 w 21"/>
                <a:gd name="T21" fmla="*/ 9 h 11"/>
                <a:gd name="T22" fmla="*/ 20 w 21"/>
                <a:gd name="T23" fmla="*/ 6 h 11"/>
                <a:gd name="T24" fmla="*/ 19 w 21"/>
                <a:gd name="T25" fmla="*/ 5 h 11"/>
                <a:gd name="T26" fmla="*/ 17 w 21"/>
                <a:gd name="T27" fmla="*/ 4 h 11"/>
                <a:gd name="T28" fmla="*/ 15 w 21"/>
                <a:gd name="T29" fmla="*/ 2 h 11"/>
                <a:gd name="T30" fmla="*/ 14 w 21"/>
                <a:gd name="T31" fmla="*/ 2 h 11"/>
                <a:gd name="T32" fmla="*/ 13 w 21"/>
                <a:gd name="T33" fmla="*/ 2 h 11"/>
                <a:gd name="T34" fmla="*/ 10 w 21"/>
                <a:gd name="T35" fmla="*/ 1 h 11"/>
                <a:gd name="T36" fmla="*/ 3 w 21"/>
                <a:gd name="T37" fmla="*/ 1 h 11"/>
                <a:gd name="T38" fmla="*/ 0 w 21"/>
                <a:gd name="T39" fmla="*/ 5 h 11"/>
                <a:gd name="T40" fmla="*/ 1 w 21"/>
                <a:gd name="T41" fmla="*/ 6 h 11"/>
                <a:gd name="T42" fmla="*/ 1 w 21"/>
                <a:gd name="T43" fmla="*/ 7 h 11"/>
                <a:gd name="T44" fmla="*/ 1 w 21"/>
                <a:gd name="T45" fmla="*/ 7 h 11"/>
                <a:gd name="T46" fmla="*/ 0 w 21"/>
                <a:gd name="T47" fmla="*/ 9 h 11"/>
                <a:gd name="T48" fmla="*/ 0 w 21"/>
                <a:gd name="T4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11">
                  <a:moveTo>
                    <a:pt x="0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3" y="10"/>
                    <a:pt x="3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7" y="9"/>
                    <a:pt x="8" y="9"/>
                  </a:cubicBezTo>
                  <a:cubicBezTo>
                    <a:pt x="9" y="10"/>
                    <a:pt x="11" y="10"/>
                    <a:pt x="12" y="10"/>
                  </a:cubicBezTo>
                  <a:cubicBezTo>
                    <a:pt x="13" y="9"/>
                    <a:pt x="15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10"/>
                    <a:pt x="21" y="10"/>
                    <a:pt x="21" y="9"/>
                  </a:cubicBezTo>
                  <a:cubicBezTo>
                    <a:pt x="21" y="8"/>
                    <a:pt x="21" y="7"/>
                    <a:pt x="20" y="6"/>
                  </a:cubicBezTo>
                  <a:cubicBezTo>
                    <a:pt x="20" y="6"/>
                    <a:pt x="19" y="6"/>
                    <a:pt x="19" y="5"/>
                  </a:cubicBezTo>
                  <a:cubicBezTo>
                    <a:pt x="18" y="5"/>
                    <a:pt x="18" y="5"/>
                    <a:pt x="17" y="4"/>
                  </a:cubicBezTo>
                  <a:cubicBezTo>
                    <a:pt x="17" y="3"/>
                    <a:pt x="16" y="3"/>
                    <a:pt x="15" y="2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1" y="2"/>
                    <a:pt x="10" y="1"/>
                  </a:cubicBezTo>
                  <a:cubicBezTo>
                    <a:pt x="8" y="1"/>
                    <a:pt x="6" y="0"/>
                    <a:pt x="3" y="1"/>
                  </a:cubicBezTo>
                  <a:cubicBezTo>
                    <a:pt x="1" y="1"/>
                    <a:pt x="0" y="3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8"/>
                    <a:pt x="0" y="8"/>
                    <a:pt x="0" y="9"/>
                  </a:cubicBez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" name="Freeform 11"/>
            <p:cNvSpPr>
              <a:spLocks noEditPoints="1"/>
            </p:cNvSpPr>
            <p:nvPr/>
          </p:nvSpPr>
          <p:spPr bwMode="auto">
            <a:xfrm>
              <a:off x="4577" y="456"/>
              <a:ext cx="114" cy="82"/>
            </a:xfrm>
            <a:custGeom>
              <a:avLst/>
              <a:gdLst>
                <a:gd name="T0" fmla="*/ 1 w 48"/>
                <a:gd name="T1" fmla="*/ 18 h 35"/>
                <a:gd name="T2" fmla="*/ 2 w 48"/>
                <a:gd name="T3" fmla="*/ 22 h 35"/>
                <a:gd name="T4" fmla="*/ 5 w 48"/>
                <a:gd name="T5" fmla="*/ 24 h 35"/>
                <a:gd name="T6" fmla="*/ 6 w 48"/>
                <a:gd name="T7" fmla="*/ 23 h 35"/>
                <a:gd name="T8" fmla="*/ 8 w 48"/>
                <a:gd name="T9" fmla="*/ 25 h 35"/>
                <a:gd name="T10" fmla="*/ 10 w 48"/>
                <a:gd name="T11" fmla="*/ 25 h 35"/>
                <a:gd name="T12" fmla="*/ 11 w 48"/>
                <a:gd name="T13" fmla="*/ 25 h 35"/>
                <a:gd name="T14" fmla="*/ 13 w 48"/>
                <a:gd name="T15" fmla="*/ 25 h 35"/>
                <a:gd name="T16" fmla="*/ 17 w 48"/>
                <a:gd name="T17" fmla="*/ 27 h 35"/>
                <a:gd name="T18" fmla="*/ 18 w 48"/>
                <a:gd name="T19" fmla="*/ 27 h 35"/>
                <a:gd name="T20" fmla="*/ 23 w 48"/>
                <a:gd name="T21" fmla="*/ 31 h 35"/>
                <a:gd name="T22" fmla="*/ 26 w 48"/>
                <a:gd name="T23" fmla="*/ 32 h 35"/>
                <a:gd name="T24" fmla="*/ 28 w 48"/>
                <a:gd name="T25" fmla="*/ 32 h 35"/>
                <a:gd name="T26" fmla="*/ 30 w 48"/>
                <a:gd name="T27" fmla="*/ 33 h 35"/>
                <a:gd name="T28" fmla="*/ 33 w 48"/>
                <a:gd name="T29" fmla="*/ 33 h 35"/>
                <a:gd name="T30" fmla="*/ 33 w 48"/>
                <a:gd name="T31" fmla="*/ 33 h 35"/>
                <a:gd name="T32" fmla="*/ 42 w 48"/>
                <a:gd name="T33" fmla="*/ 35 h 35"/>
                <a:gd name="T34" fmla="*/ 43 w 48"/>
                <a:gd name="T35" fmla="*/ 34 h 35"/>
                <a:gd name="T36" fmla="*/ 46 w 48"/>
                <a:gd name="T37" fmla="*/ 27 h 35"/>
                <a:gd name="T38" fmla="*/ 43 w 48"/>
                <a:gd name="T39" fmla="*/ 26 h 35"/>
                <a:gd name="T40" fmla="*/ 42 w 48"/>
                <a:gd name="T41" fmla="*/ 23 h 35"/>
                <a:gd name="T42" fmla="*/ 41 w 48"/>
                <a:gd name="T43" fmla="*/ 21 h 35"/>
                <a:gd name="T44" fmla="*/ 40 w 48"/>
                <a:gd name="T45" fmla="*/ 17 h 35"/>
                <a:gd name="T46" fmla="*/ 37 w 48"/>
                <a:gd name="T47" fmla="*/ 15 h 35"/>
                <a:gd name="T48" fmla="*/ 36 w 48"/>
                <a:gd name="T49" fmla="*/ 15 h 35"/>
                <a:gd name="T50" fmla="*/ 34 w 48"/>
                <a:gd name="T51" fmla="*/ 14 h 35"/>
                <a:gd name="T52" fmla="*/ 31 w 48"/>
                <a:gd name="T53" fmla="*/ 16 h 35"/>
                <a:gd name="T54" fmla="*/ 30 w 48"/>
                <a:gd name="T55" fmla="*/ 15 h 35"/>
                <a:gd name="T56" fmla="*/ 28 w 48"/>
                <a:gd name="T57" fmla="*/ 14 h 35"/>
                <a:gd name="T58" fmla="*/ 28 w 48"/>
                <a:gd name="T59" fmla="*/ 14 h 35"/>
                <a:gd name="T60" fmla="*/ 26 w 48"/>
                <a:gd name="T61" fmla="*/ 10 h 35"/>
                <a:gd name="T62" fmla="*/ 26 w 48"/>
                <a:gd name="T63" fmla="*/ 8 h 35"/>
                <a:gd name="T64" fmla="*/ 23 w 48"/>
                <a:gd name="T65" fmla="*/ 6 h 35"/>
                <a:gd name="T66" fmla="*/ 22 w 48"/>
                <a:gd name="T67" fmla="*/ 4 h 35"/>
                <a:gd name="T68" fmla="*/ 17 w 48"/>
                <a:gd name="T69" fmla="*/ 2 h 35"/>
                <a:gd name="T70" fmla="*/ 12 w 48"/>
                <a:gd name="T71" fmla="*/ 1 h 35"/>
                <a:gd name="T72" fmla="*/ 9 w 48"/>
                <a:gd name="T73" fmla="*/ 6 h 35"/>
                <a:gd name="T74" fmla="*/ 4 w 48"/>
                <a:gd name="T75" fmla="*/ 8 h 35"/>
                <a:gd name="T76" fmla="*/ 1 w 48"/>
                <a:gd name="T77" fmla="*/ 12 h 35"/>
                <a:gd name="T78" fmla="*/ 2 w 48"/>
                <a:gd name="T79" fmla="*/ 14 h 35"/>
                <a:gd name="T80" fmla="*/ 0 w 48"/>
                <a:gd name="T81" fmla="*/ 15 h 35"/>
                <a:gd name="T82" fmla="*/ 1 w 48"/>
                <a:gd name="T83" fmla="*/ 18 h 35"/>
                <a:gd name="T84" fmla="*/ 14 w 48"/>
                <a:gd name="T85" fmla="*/ 21 h 35"/>
                <a:gd name="T86" fmla="*/ 15 w 48"/>
                <a:gd name="T87" fmla="*/ 21 h 35"/>
                <a:gd name="T88" fmla="*/ 14 w 48"/>
                <a:gd name="T89" fmla="*/ 21 h 35"/>
                <a:gd name="T90" fmla="*/ 5 w 48"/>
                <a:gd name="T91" fmla="*/ 17 h 35"/>
                <a:gd name="T92" fmla="*/ 5 w 48"/>
                <a:gd name="T93" fmla="*/ 17 h 35"/>
                <a:gd name="T94" fmla="*/ 24 w 48"/>
                <a:gd name="T95" fmla="*/ 15 h 35"/>
                <a:gd name="T96" fmla="*/ 24 w 48"/>
                <a:gd name="T97" fmla="*/ 15 h 35"/>
                <a:gd name="T98" fmla="*/ 25 w 48"/>
                <a:gd name="T99" fmla="*/ 1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" h="35">
                  <a:moveTo>
                    <a:pt x="1" y="18"/>
                  </a:move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1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3" y="24"/>
                    <a:pt x="5" y="24"/>
                  </a:cubicBezTo>
                  <a:cubicBezTo>
                    <a:pt x="6" y="24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4"/>
                    <a:pt x="7" y="25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2" y="25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6"/>
                    <a:pt x="13" y="27"/>
                    <a:pt x="14" y="28"/>
                  </a:cubicBezTo>
                  <a:cubicBezTo>
                    <a:pt x="16" y="28"/>
                    <a:pt x="17" y="27"/>
                    <a:pt x="17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0" y="30"/>
                    <a:pt x="22" y="30"/>
                    <a:pt x="23" y="31"/>
                  </a:cubicBezTo>
                  <a:cubicBezTo>
                    <a:pt x="23" y="31"/>
                    <a:pt x="24" y="31"/>
                    <a:pt x="24" y="31"/>
                  </a:cubicBezTo>
                  <a:cubicBezTo>
                    <a:pt x="24" y="32"/>
                    <a:pt x="25" y="32"/>
                    <a:pt x="26" y="32"/>
                  </a:cubicBezTo>
                  <a:cubicBezTo>
                    <a:pt x="27" y="32"/>
                    <a:pt x="27" y="32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2"/>
                    <a:pt x="29" y="33"/>
                    <a:pt x="30" y="33"/>
                  </a:cubicBezTo>
                  <a:cubicBezTo>
                    <a:pt x="31" y="33"/>
                    <a:pt x="32" y="33"/>
                    <a:pt x="32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5"/>
                    <a:pt x="36" y="35"/>
                    <a:pt x="37" y="35"/>
                  </a:cubicBezTo>
                  <a:cubicBezTo>
                    <a:pt x="39" y="35"/>
                    <a:pt x="40" y="35"/>
                    <a:pt x="42" y="35"/>
                  </a:cubicBezTo>
                  <a:cubicBezTo>
                    <a:pt x="42" y="34"/>
                    <a:pt x="42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5" y="34"/>
                    <a:pt x="46" y="34"/>
                    <a:pt x="47" y="32"/>
                  </a:cubicBezTo>
                  <a:cubicBezTo>
                    <a:pt x="48" y="30"/>
                    <a:pt x="47" y="28"/>
                    <a:pt x="46" y="27"/>
                  </a:cubicBezTo>
                  <a:cubicBezTo>
                    <a:pt x="45" y="27"/>
                    <a:pt x="44" y="26"/>
                    <a:pt x="44" y="26"/>
                  </a:cubicBezTo>
                  <a:cubicBezTo>
                    <a:pt x="44" y="26"/>
                    <a:pt x="44" y="26"/>
                    <a:pt x="43" y="26"/>
                  </a:cubicBezTo>
                  <a:cubicBezTo>
                    <a:pt x="43" y="26"/>
                    <a:pt x="43" y="25"/>
                    <a:pt x="43" y="25"/>
                  </a:cubicBezTo>
                  <a:cubicBezTo>
                    <a:pt x="43" y="24"/>
                    <a:pt x="43" y="24"/>
                    <a:pt x="42" y="23"/>
                  </a:cubicBezTo>
                  <a:cubicBezTo>
                    <a:pt x="42" y="23"/>
                    <a:pt x="42" y="23"/>
                    <a:pt x="42" y="22"/>
                  </a:cubicBezTo>
                  <a:cubicBezTo>
                    <a:pt x="42" y="22"/>
                    <a:pt x="41" y="22"/>
                    <a:pt x="41" y="21"/>
                  </a:cubicBezTo>
                  <a:cubicBezTo>
                    <a:pt x="42" y="21"/>
                    <a:pt x="42" y="20"/>
                    <a:pt x="42" y="19"/>
                  </a:cubicBezTo>
                  <a:cubicBezTo>
                    <a:pt x="42" y="18"/>
                    <a:pt x="40" y="17"/>
                    <a:pt x="40" y="17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5"/>
                    <a:pt x="37" y="15"/>
                    <a:pt x="37" y="15"/>
                  </a:cubicBezTo>
                  <a:cubicBezTo>
                    <a:pt x="37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3" y="14"/>
                    <a:pt x="32" y="15"/>
                    <a:pt x="31" y="16"/>
                  </a:cubicBezTo>
                  <a:cubicBezTo>
                    <a:pt x="31" y="16"/>
                    <a:pt x="31" y="17"/>
                    <a:pt x="31" y="17"/>
                  </a:cubicBezTo>
                  <a:cubicBezTo>
                    <a:pt x="31" y="16"/>
                    <a:pt x="30" y="16"/>
                    <a:pt x="30" y="15"/>
                  </a:cubicBezTo>
                  <a:cubicBezTo>
                    <a:pt x="30" y="15"/>
                    <a:pt x="29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2"/>
                    <a:pt x="27" y="11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9"/>
                    <a:pt x="27" y="8"/>
                    <a:pt x="26" y="8"/>
                  </a:cubicBezTo>
                  <a:cubicBezTo>
                    <a:pt x="26" y="7"/>
                    <a:pt x="26" y="6"/>
                    <a:pt x="25" y="6"/>
                  </a:cubicBezTo>
                  <a:cubicBezTo>
                    <a:pt x="24" y="6"/>
                    <a:pt x="24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5"/>
                    <a:pt x="23" y="5"/>
                    <a:pt x="22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19" y="2"/>
                    <a:pt x="17" y="2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5" y="0"/>
                    <a:pt x="13" y="0"/>
                    <a:pt x="12" y="1"/>
                  </a:cubicBezTo>
                  <a:cubicBezTo>
                    <a:pt x="11" y="1"/>
                    <a:pt x="9" y="3"/>
                    <a:pt x="9" y="4"/>
                  </a:cubicBezTo>
                  <a:cubicBezTo>
                    <a:pt x="8" y="5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7" y="6"/>
                    <a:pt x="5" y="6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2" y="9"/>
                    <a:pt x="1" y="11"/>
                    <a:pt x="1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1" y="15"/>
                    <a:pt x="1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1" y="18"/>
                  </a:cubicBezTo>
                  <a:close/>
                  <a:moveTo>
                    <a:pt x="14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2"/>
                    <a:pt x="14" y="22"/>
                  </a:cubicBezTo>
                  <a:cubicBezTo>
                    <a:pt x="14" y="22"/>
                    <a:pt x="14" y="21"/>
                    <a:pt x="14" y="21"/>
                  </a:cubicBezTo>
                  <a:close/>
                  <a:moveTo>
                    <a:pt x="5" y="17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lose/>
                  <a:moveTo>
                    <a:pt x="25" y="15"/>
                  </a:moveTo>
                  <a:cubicBezTo>
                    <a:pt x="25" y="15"/>
                    <a:pt x="25" y="15"/>
                    <a:pt x="24" y="15"/>
                  </a:cubicBezTo>
                  <a:cubicBezTo>
                    <a:pt x="24" y="15"/>
                    <a:pt x="24" y="15"/>
                    <a:pt x="23" y="16"/>
                  </a:cubicBezTo>
                  <a:cubicBezTo>
                    <a:pt x="23" y="15"/>
                    <a:pt x="24" y="15"/>
                    <a:pt x="24" y="15"/>
                  </a:cubicBezTo>
                  <a:cubicBezTo>
                    <a:pt x="24" y="15"/>
                    <a:pt x="24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4691" y="508"/>
              <a:ext cx="59" cy="49"/>
            </a:xfrm>
            <a:custGeom>
              <a:avLst/>
              <a:gdLst>
                <a:gd name="T0" fmla="*/ 1 w 25"/>
                <a:gd name="T1" fmla="*/ 13 h 21"/>
                <a:gd name="T2" fmla="*/ 2 w 25"/>
                <a:gd name="T3" fmla="*/ 20 h 21"/>
                <a:gd name="T4" fmla="*/ 4 w 25"/>
                <a:gd name="T5" fmla="*/ 21 h 21"/>
                <a:gd name="T6" fmla="*/ 6 w 25"/>
                <a:gd name="T7" fmla="*/ 20 h 21"/>
                <a:gd name="T8" fmla="*/ 7 w 25"/>
                <a:gd name="T9" fmla="*/ 19 h 21"/>
                <a:gd name="T10" fmla="*/ 8 w 25"/>
                <a:gd name="T11" fmla="*/ 19 h 21"/>
                <a:gd name="T12" fmla="*/ 9 w 25"/>
                <a:gd name="T13" fmla="*/ 19 h 21"/>
                <a:gd name="T14" fmla="*/ 10 w 25"/>
                <a:gd name="T15" fmla="*/ 18 h 21"/>
                <a:gd name="T16" fmla="*/ 10 w 25"/>
                <a:gd name="T17" fmla="*/ 18 h 21"/>
                <a:gd name="T18" fmla="*/ 12 w 25"/>
                <a:gd name="T19" fmla="*/ 18 h 21"/>
                <a:gd name="T20" fmla="*/ 13 w 25"/>
                <a:gd name="T21" fmla="*/ 17 h 21"/>
                <a:gd name="T22" fmla="*/ 14 w 25"/>
                <a:gd name="T23" fmla="*/ 17 h 21"/>
                <a:gd name="T24" fmla="*/ 15 w 25"/>
                <a:gd name="T25" fmla="*/ 18 h 21"/>
                <a:gd name="T26" fmla="*/ 17 w 25"/>
                <a:gd name="T27" fmla="*/ 17 h 21"/>
                <a:gd name="T28" fmla="*/ 17 w 25"/>
                <a:gd name="T29" fmla="*/ 15 h 21"/>
                <a:gd name="T30" fmla="*/ 20 w 25"/>
                <a:gd name="T31" fmla="*/ 15 h 21"/>
                <a:gd name="T32" fmla="*/ 20 w 25"/>
                <a:gd name="T33" fmla="*/ 15 h 21"/>
                <a:gd name="T34" fmla="*/ 20 w 25"/>
                <a:gd name="T35" fmla="*/ 15 h 21"/>
                <a:gd name="T36" fmla="*/ 22 w 25"/>
                <a:gd name="T37" fmla="*/ 16 h 21"/>
                <a:gd name="T38" fmla="*/ 23 w 25"/>
                <a:gd name="T39" fmla="*/ 16 h 21"/>
                <a:gd name="T40" fmla="*/ 24 w 25"/>
                <a:gd name="T41" fmla="*/ 14 h 21"/>
                <a:gd name="T42" fmla="*/ 24 w 25"/>
                <a:gd name="T43" fmla="*/ 13 h 21"/>
                <a:gd name="T44" fmla="*/ 23 w 25"/>
                <a:gd name="T45" fmla="*/ 7 h 21"/>
                <a:gd name="T46" fmla="*/ 22 w 25"/>
                <a:gd name="T47" fmla="*/ 7 h 21"/>
                <a:gd name="T48" fmla="*/ 22 w 25"/>
                <a:gd name="T49" fmla="*/ 6 h 21"/>
                <a:gd name="T50" fmla="*/ 21 w 25"/>
                <a:gd name="T51" fmla="*/ 6 h 21"/>
                <a:gd name="T52" fmla="*/ 19 w 25"/>
                <a:gd name="T53" fmla="*/ 4 h 21"/>
                <a:gd name="T54" fmla="*/ 19 w 25"/>
                <a:gd name="T55" fmla="*/ 5 h 21"/>
                <a:gd name="T56" fmla="*/ 18 w 25"/>
                <a:gd name="T57" fmla="*/ 5 h 21"/>
                <a:gd name="T58" fmla="*/ 18 w 25"/>
                <a:gd name="T59" fmla="*/ 5 h 21"/>
                <a:gd name="T60" fmla="*/ 18 w 25"/>
                <a:gd name="T61" fmla="*/ 5 h 21"/>
                <a:gd name="T62" fmla="*/ 16 w 25"/>
                <a:gd name="T63" fmla="*/ 4 h 21"/>
                <a:gd name="T64" fmla="*/ 15 w 25"/>
                <a:gd name="T65" fmla="*/ 4 h 21"/>
                <a:gd name="T66" fmla="*/ 15 w 25"/>
                <a:gd name="T67" fmla="*/ 3 h 21"/>
                <a:gd name="T68" fmla="*/ 13 w 25"/>
                <a:gd name="T69" fmla="*/ 1 h 21"/>
                <a:gd name="T70" fmla="*/ 13 w 25"/>
                <a:gd name="T71" fmla="*/ 1 h 21"/>
                <a:gd name="T72" fmla="*/ 10 w 25"/>
                <a:gd name="T73" fmla="*/ 3 h 21"/>
                <a:gd name="T74" fmla="*/ 10 w 25"/>
                <a:gd name="T75" fmla="*/ 3 h 21"/>
                <a:gd name="T76" fmla="*/ 9 w 25"/>
                <a:gd name="T77" fmla="*/ 4 h 21"/>
                <a:gd name="T78" fmla="*/ 9 w 25"/>
                <a:gd name="T79" fmla="*/ 4 h 21"/>
                <a:gd name="T80" fmla="*/ 9 w 25"/>
                <a:gd name="T81" fmla="*/ 3 h 21"/>
                <a:gd name="T82" fmla="*/ 5 w 25"/>
                <a:gd name="T83" fmla="*/ 1 h 21"/>
                <a:gd name="T84" fmla="*/ 4 w 25"/>
                <a:gd name="T85" fmla="*/ 2 h 21"/>
                <a:gd name="T86" fmla="*/ 3 w 25"/>
                <a:gd name="T87" fmla="*/ 1 h 21"/>
                <a:gd name="T88" fmla="*/ 1 w 25"/>
                <a:gd name="T89" fmla="*/ 3 h 21"/>
                <a:gd name="T90" fmla="*/ 1 w 25"/>
                <a:gd name="T91" fmla="*/ 6 h 21"/>
                <a:gd name="T92" fmla="*/ 1 w 25"/>
                <a:gd name="T93" fmla="*/ 7 h 21"/>
                <a:gd name="T94" fmla="*/ 1 w 25"/>
                <a:gd name="T95" fmla="*/ 9 h 21"/>
                <a:gd name="T96" fmla="*/ 1 w 25"/>
                <a:gd name="T97" fmla="*/ 10 h 21"/>
                <a:gd name="T98" fmla="*/ 1 w 25"/>
                <a:gd name="T99" fmla="*/ 12 h 21"/>
                <a:gd name="T100" fmla="*/ 1 w 25"/>
                <a:gd name="T10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" h="21">
                  <a:moveTo>
                    <a:pt x="1" y="13"/>
                  </a:moveTo>
                  <a:cubicBezTo>
                    <a:pt x="0" y="15"/>
                    <a:pt x="0" y="18"/>
                    <a:pt x="2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5" y="21"/>
                    <a:pt x="6" y="21"/>
                    <a:pt x="6" y="20"/>
                  </a:cubicBezTo>
                  <a:cubicBezTo>
                    <a:pt x="7" y="20"/>
                    <a:pt x="7" y="20"/>
                    <a:pt x="7" y="19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8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8"/>
                    <a:pt x="12" y="18"/>
                  </a:cubicBezTo>
                  <a:cubicBezTo>
                    <a:pt x="12" y="18"/>
                    <a:pt x="12" y="17"/>
                    <a:pt x="13" y="17"/>
                  </a:cubicBezTo>
                  <a:cubicBezTo>
                    <a:pt x="13" y="17"/>
                    <a:pt x="14" y="17"/>
                    <a:pt x="14" y="17"/>
                  </a:cubicBezTo>
                  <a:cubicBezTo>
                    <a:pt x="14" y="17"/>
                    <a:pt x="14" y="18"/>
                    <a:pt x="15" y="18"/>
                  </a:cubicBezTo>
                  <a:cubicBezTo>
                    <a:pt x="16" y="18"/>
                    <a:pt x="16" y="17"/>
                    <a:pt x="17" y="17"/>
                  </a:cubicBezTo>
                  <a:cubicBezTo>
                    <a:pt x="17" y="16"/>
                    <a:pt x="17" y="16"/>
                    <a:pt x="17" y="15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1" y="16"/>
                    <a:pt x="22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4" y="16"/>
                    <a:pt x="24" y="15"/>
                    <a:pt x="24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0"/>
                    <a:pt x="24" y="8"/>
                    <a:pt x="23" y="7"/>
                  </a:cubicBezTo>
                  <a:cubicBezTo>
                    <a:pt x="23" y="7"/>
                    <a:pt x="22" y="7"/>
                    <a:pt x="22" y="7"/>
                  </a:cubicBezTo>
                  <a:cubicBezTo>
                    <a:pt x="22" y="7"/>
                    <a:pt x="22" y="7"/>
                    <a:pt x="22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1" y="6"/>
                    <a:pt x="21" y="4"/>
                    <a:pt x="19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7" y="5"/>
                    <a:pt x="16" y="4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2"/>
                    <a:pt x="14" y="2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1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9" y="1"/>
                    <a:pt x="7" y="0"/>
                    <a:pt x="5" y="1"/>
                  </a:cubicBezTo>
                  <a:cubicBezTo>
                    <a:pt x="5" y="1"/>
                    <a:pt x="5" y="1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1" y="1"/>
                    <a:pt x="1" y="3"/>
                  </a:cubicBezTo>
                  <a:cubicBezTo>
                    <a:pt x="0" y="3"/>
                    <a:pt x="1" y="5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2"/>
                    <a:pt x="1" y="13"/>
                    <a:pt x="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3002" y="553"/>
              <a:ext cx="3039" cy="2802"/>
            </a:xfrm>
            <a:custGeom>
              <a:avLst/>
              <a:gdLst>
                <a:gd name="T0" fmla="*/ 987 w 1285"/>
                <a:gd name="T1" fmla="*/ 821 h 1184"/>
                <a:gd name="T2" fmla="*/ 989 w 1285"/>
                <a:gd name="T3" fmla="*/ 744 h 1184"/>
                <a:gd name="T4" fmla="*/ 1018 w 1285"/>
                <a:gd name="T5" fmla="*/ 624 h 1184"/>
                <a:gd name="T6" fmla="*/ 1067 w 1285"/>
                <a:gd name="T7" fmla="*/ 598 h 1184"/>
                <a:gd name="T8" fmla="*/ 1057 w 1285"/>
                <a:gd name="T9" fmla="*/ 465 h 1184"/>
                <a:gd name="T10" fmla="*/ 1065 w 1285"/>
                <a:gd name="T11" fmla="*/ 418 h 1184"/>
                <a:gd name="T12" fmla="*/ 1105 w 1285"/>
                <a:gd name="T13" fmla="*/ 404 h 1184"/>
                <a:gd name="T14" fmla="*/ 1168 w 1285"/>
                <a:gd name="T15" fmla="*/ 335 h 1184"/>
                <a:gd name="T16" fmla="*/ 1103 w 1285"/>
                <a:gd name="T17" fmla="*/ 243 h 1184"/>
                <a:gd name="T18" fmla="*/ 1143 w 1285"/>
                <a:gd name="T19" fmla="*/ 180 h 1184"/>
                <a:gd name="T20" fmla="*/ 1183 w 1285"/>
                <a:gd name="T21" fmla="*/ 174 h 1184"/>
                <a:gd name="T22" fmla="*/ 1200 w 1285"/>
                <a:gd name="T23" fmla="*/ 158 h 1184"/>
                <a:gd name="T24" fmla="*/ 1265 w 1285"/>
                <a:gd name="T25" fmla="*/ 78 h 1184"/>
                <a:gd name="T26" fmla="*/ 1125 w 1285"/>
                <a:gd name="T27" fmla="*/ 45 h 1184"/>
                <a:gd name="T28" fmla="*/ 947 w 1285"/>
                <a:gd name="T29" fmla="*/ 48 h 1184"/>
                <a:gd name="T30" fmla="*/ 794 w 1285"/>
                <a:gd name="T31" fmla="*/ 40 h 1184"/>
                <a:gd name="T32" fmla="*/ 678 w 1285"/>
                <a:gd name="T33" fmla="*/ 42 h 1184"/>
                <a:gd name="T34" fmla="*/ 642 w 1285"/>
                <a:gd name="T35" fmla="*/ 137 h 1184"/>
                <a:gd name="T36" fmla="*/ 571 w 1285"/>
                <a:gd name="T37" fmla="*/ 118 h 1184"/>
                <a:gd name="T38" fmla="*/ 461 w 1285"/>
                <a:gd name="T39" fmla="*/ 169 h 1184"/>
                <a:gd name="T40" fmla="*/ 416 w 1285"/>
                <a:gd name="T41" fmla="*/ 110 h 1184"/>
                <a:gd name="T42" fmla="*/ 343 w 1285"/>
                <a:gd name="T43" fmla="*/ 120 h 1184"/>
                <a:gd name="T44" fmla="*/ 283 w 1285"/>
                <a:gd name="T45" fmla="*/ 183 h 1184"/>
                <a:gd name="T46" fmla="*/ 286 w 1285"/>
                <a:gd name="T47" fmla="*/ 264 h 1184"/>
                <a:gd name="T48" fmla="*/ 207 w 1285"/>
                <a:gd name="T49" fmla="*/ 324 h 1184"/>
                <a:gd name="T50" fmla="*/ 114 w 1285"/>
                <a:gd name="T51" fmla="*/ 403 h 1184"/>
                <a:gd name="T52" fmla="*/ 72 w 1285"/>
                <a:gd name="T53" fmla="*/ 543 h 1184"/>
                <a:gd name="T54" fmla="*/ 10 w 1285"/>
                <a:gd name="T55" fmla="*/ 666 h 1184"/>
                <a:gd name="T56" fmla="*/ 41 w 1285"/>
                <a:gd name="T57" fmla="*/ 768 h 1184"/>
                <a:gd name="T58" fmla="*/ 162 w 1285"/>
                <a:gd name="T59" fmla="*/ 776 h 1184"/>
                <a:gd name="T60" fmla="*/ 213 w 1285"/>
                <a:gd name="T61" fmla="*/ 841 h 1184"/>
                <a:gd name="T62" fmla="*/ 242 w 1285"/>
                <a:gd name="T63" fmla="*/ 972 h 1184"/>
                <a:gd name="T64" fmla="*/ 297 w 1285"/>
                <a:gd name="T65" fmla="*/ 1149 h 1184"/>
                <a:gd name="T66" fmla="*/ 412 w 1285"/>
                <a:gd name="T67" fmla="*/ 1100 h 1184"/>
                <a:gd name="T68" fmla="*/ 462 w 1285"/>
                <a:gd name="T69" fmla="*/ 905 h 1184"/>
                <a:gd name="T70" fmla="*/ 531 w 1285"/>
                <a:gd name="T71" fmla="*/ 725 h 1184"/>
                <a:gd name="T72" fmla="*/ 607 w 1285"/>
                <a:gd name="T73" fmla="*/ 638 h 1184"/>
                <a:gd name="T74" fmla="*/ 531 w 1285"/>
                <a:gd name="T75" fmla="*/ 555 h 1184"/>
                <a:gd name="T76" fmla="*/ 651 w 1285"/>
                <a:gd name="T77" fmla="*/ 587 h 1184"/>
                <a:gd name="T78" fmla="*/ 742 w 1285"/>
                <a:gd name="T79" fmla="*/ 702 h 1184"/>
                <a:gd name="T80" fmla="*/ 836 w 1285"/>
                <a:gd name="T81" fmla="*/ 631 h 1184"/>
                <a:gd name="T82" fmla="*/ 311 w 1285"/>
                <a:gd name="T83" fmla="*/ 533 h 1184"/>
                <a:gd name="T84" fmla="*/ 344 w 1285"/>
                <a:gd name="T85" fmla="*/ 188 h 1184"/>
                <a:gd name="T86" fmla="*/ 394 w 1285"/>
                <a:gd name="T87" fmla="*/ 219 h 1184"/>
                <a:gd name="T88" fmla="*/ 282 w 1285"/>
                <a:gd name="T89" fmla="*/ 282 h 1184"/>
                <a:gd name="T90" fmla="*/ 901 w 1285"/>
                <a:gd name="T91" fmla="*/ 270 h 1184"/>
                <a:gd name="T92" fmla="*/ 378 w 1285"/>
                <a:gd name="T93" fmla="*/ 415 h 1184"/>
                <a:gd name="T94" fmla="*/ 559 w 1285"/>
                <a:gd name="T95" fmla="*/ 422 h 1184"/>
                <a:gd name="T96" fmla="*/ 379 w 1285"/>
                <a:gd name="T97" fmla="*/ 433 h 1184"/>
                <a:gd name="T98" fmla="*/ 407 w 1285"/>
                <a:gd name="T99" fmla="*/ 837 h 1184"/>
                <a:gd name="T100" fmla="*/ 430 w 1285"/>
                <a:gd name="T101" fmla="*/ 599 h 1184"/>
                <a:gd name="T102" fmla="*/ 533 w 1285"/>
                <a:gd name="T103" fmla="*/ 445 h 1184"/>
                <a:gd name="T104" fmla="*/ 551 w 1285"/>
                <a:gd name="T105" fmla="*/ 471 h 1184"/>
                <a:gd name="T106" fmla="*/ 1084 w 1285"/>
                <a:gd name="T107" fmla="*/ 249 h 1184"/>
                <a:gd name="T108" fmla="*/ 182 w 1285"/>
                <a:gd name="T109" fmla="*/ 426 h 1184"/>
                <a:gd name="T110" fmla="*/ 273 w 1285"/>
                <a:gd name="T111" fmla="*/ 455 h 1184"/>
                <a:gd name="T112" fmla="*/ 279 w 1285"/>
                <a:gd name="T113" fmla="*/ 384 h 1184"/>
                <a:gd name="T114" fmla="*/ 348 w 1285"/>
                <a:gd name="T115" fmla="*/ 460 h 1184"/>
                <a:gd name="T116" fmla="*/ 377 w 1285"/>
                <a:gd name="T117" fmla="*/ 474 h 1184"/>
                <a:gd name="T118" fmla="*/ 379 w 1285"/>
                <a:gd name="T119" fmla="*/ 529 h 1184"/>
                <a:gd name="T120" fmla="*/ 254 w 1285"/>
                <a:gd name="T121" fmla="*/ 507 h 1184"/>
                <a:gd name="T122" fmla="*/ 181 w 1285"/>
                <a:gd name="T123" fmla="*/ 469 h 1184"/>
                <a:gd name="T124" fmla="*/ 649 w 1285"/>
                <a:gd name="T125" fmla="*/ 80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5" h="1184">
                  <a:moveTo>
                    <a:pt x="915" y="672"/>
                  </a:moveTo>
                  <a:cubicBezTo>
                    <a:pt x="916" y="672"/>
                    <a:pt x="916" y="672"/>
                    <a:pt x="916" y="671"/>
                  </a:cubicBezTo>
                  <a:cubicBezTo>
                    <a:pt x="917" y="671"/>
                    <a:pt x="917" y="671"/>
                    <a:pt x="917" y="670"/>
                  </a:cubicBezTo>
                  <a:cubicBezTo>
                    <a:pt x="917" y="670"/>
                    <a:pt x="918" y="670"/>
                    <a:pt x="918" y="670"/>
                  </a:cubicBezTo>
                  <a:cubicBezTo>
                    <a:pt x="920" y="669"/>
                    <a:pt x="921" y="668"/>
                    <a:pt x="921" y="665"/>
                  </a:cubicBezTo>
                  <a:cubicBezTo>
                    <a:pt x="921" y="665"/>
                    <a:pt x="921" y="665"/>
                    <a:pt x="921" y="666"/>
                  </a:cubicBezTo>
                  <a:cubicBezTo>
                    <a:pt x="921" y="666"/>
                    <a:pt x="921" y="666"/>
                    <a:pt x="921" y="666"/>
                  </a:cubicBezTo>
                  <a:cubicBezTo>
                    <a:pt x="922" y="666"/>
                    <a:pt x="922" y="667"/>
                    <a:pt x="922" y="667"/>
                  </a:cubicBezTo>
                  <a:cubicBezTo>
                    <a:pt x="922" y="668"/>
                    <a:pt x="922" y="669"/>
                    <a:pt x="923" y="669"/>
                  </a:cubicBezTo>
                  <a:cubicBezTo>
                    <a:pt x="923" y="670"/>
                    <a:pt x="925" y="670"/>
                    <a:pt x="926" y="670"/>
                  </a:cubicBezTo>
                  <a:cubicBezTo>
                    <a:pt x="925" y="671"/>
                    <a:pt x="925" y="672"/>
                    <a:pt x="925" y="675"/>
                  </a:cubicBezTo>
                  <a:cubicBezTo>
                    <a:pt x="926" y="677"/>
                    <a:pt x="927" y="678"/>
                    <a:pt x="928" y="679"/>
                  </a:cubicBezTo>
                  <a:cubicBezTo>
                    <a:pt x="928" y="680"/>
                    <a:pt x="928" y="680"/>
                    <a:pt x="928" y="680"/>
                  </a:cubicBezTo>
                  <a:cubicBezTo>
                    <a:pt x="928" y="680"/>
                    <a:pt x="928" y="680"/>
                    <a:pt x="928" y="680"/>
                  </a:cubicBezTo>
                  <a:cubicBezTo>
                    <a:pt x="927" y="682"/>
                    <a:pt x="928" y="683"/>
                    <a:pt x="928" y="683"/>
                  </a:cubicBezTo>
                  <a:cubicBezTo>
                    <a:pt x="928" y="683"/>
                    <a:pt x="928" y="683"/>
                    <a:pt x="928" y="683"/>
                  </a:cubicBezTo>
                  <a:cubicBezTo>
                    <a:pt x="928" y="684"/>
                    <a:pt x="928" y="684"/>
                    <a:pt x="928" y="685"/>
                  </a:cubicBezTo>
                  <a:cubicBezTo>
                    <a:pt x="928" y="686"/>
                    <a:pt x="928" y="687"/>
                    <a:pt x="929" y="687"/>
                  </a:cubicBezTo>
                  <a:cubicBezTo>
                    <a:pt x="929" y="689"/>
                    <a:pt x="930" y="690"/>
                    <a:pt x="930" y="690"/>
                  </a:cubicBezTo>
                  <a:cubicBezTo>
                    <a:pt x="930" y="690"/>
                    <a:pt x="930" y="691"/>
                    <a:pt x="930" y="691"/>
                  </a:cubicBezTo>
                  <a:cubicBezTo>
                    <a:pt x="930" y="692"/>
                    <a:pt x="931" y="692"/>
                    <a:pt x="931" y="692"/>
                  </a:cubicBezTo>
                  <a:cubicBezTo>
                    <a:pt x="931" y="693"/>
                    <a:pt x="931" y="694"/>
                    <a:pt x="931" y="694"/>
                  </a:cubicBezTo>
                  <a:cubicBezTo>
                    <a:pt x="931" y="695"/>
                    <a:pt x="931" y="695"/>
                    <a:pt x="931" y="695"/>
                  </a:cubicBezTo>
                  <a:cubicBezTo>
                    <a:pt x="931" y="696"/>
                    <a:pt x="931" y="697"/>
                    <a:pt x="932" y="699"/>
                  </a:cubicBezTo>
                  <a:cubicBezTo>
                    <a:pt x="933" y="700"/>
                    <a:pt x="933" y="701"/>
                    <a:pt x="934" y="701"/>
                  </a:cubicBezTo>
                  <a:cubicBezTo>
                    <a:pt x="934" y="701"/>
                    <a:pt x="934" y="701"/>
                    <a:pt x="934" y="701"/>
                  </a:cubicBezTo>
                  <a:cubicBezTo>
                    <a:pt x="935" y="701"/>
                    <a:pt x="935" y="701"/>
                    <a:pt x="935" y="701"/>
                  </a:cubicBezTo>
                  <a:cubicBezTo>
                    <a:pt x="935" y="700"/>
                    <a:pt x="935" y="700"/>
                    <a:pt x="935" y="700"/>
                  </a:cubicBezTo>
                  <a:cubicBezTo>
                    <a:pt x="935" y="700"/>
                    <a:pt x="935" y="701"/>
                    <a:pt x="935" y="701"/>
                  </a:cubicBezTo>
                  <a:cubicBezTo>
                    <a:pt x="936" y="701"/>
                    <a:pt x="936" y="702"/>
                    <a:pt x="936" y="703"/>
                  </a:cubicBezTo>
                  <a:cubicBezTo>
                    <a:pt x="936" y="704"/>
                    <a:pt x="937" y="705"/>
                    <a:pt x="938" y="705"/>
                  </a:cubicBezTo>
                  <a:cubicBezTo>
                    <a:pt x="938" y="706"/>
                    <a:pt x="938" y="706"/>
                    <a:pt x="938" y="706"/>
                  </a:cubicBezTo>
                  <a:cubicBezTo>
                    <a:pt x="938" y="706"/>
                    <a:pt x="938" y="706"/>
                    <a:pt x="938" y="706"/>
                  </a:cubicBezTo>
                  <a:cubicBezTo>
                    <a:pt x="937" y="707"/>
                    <a:pt x="937" y="708"/>
                    <a:pt x="938" y="709"/>
                  </a:cubicBezTo>
                  <a:cubicBezTo>
                    <a:pt x="938" y="709"/>
                    <a:pt x="938" y="710"/>
                    <a:pt x="937" y="711"/>
                  </a:cubicBezTo>
                  <a:cubicBezTo>
                    <a:pt x="937" y="712"/>
                    <a:pt x="937" y="712"/>
                    <a:pt x="937" y="712"/>
                  </a:cubicBezTo>
                  <a:cubicBezTo>
                    <a:pt x="937" y="713"/>
                    <a:pt x="937" y="713"/>
                    <a:pt x="938" y="714"/>
                  </a:cubicBezTo>
                  <a:cubicBezTo>
                    <a:pt x="937" y="714"/>
                    <a:pt x="938" y="715"/>
                    <a:pt x="938" y="715"/>
                  </a:cubicBezTo>
                  <a:cubicBezTo>
                    <a:pt x="938" y="715"/>
                    <a:pt x="938" y="715"/>
                    <a:pt x="938" y="716"/>
                  </a:cubicBezTo>
                  <a:cubicBezTo>
                    <a:pt x="938" y="716"/>
                    <a:pt x="937" y="717"/>
                    <a:pt x="938" y="717"/>
                  </a:cubicBezTo>
                  <a:cubicBezTo>
                    <a:pt x="938" y="718"/>
                    <a:pt x="938" y="718"/>
                    <a:pt x="938" y="718"/>
                  </a:cubicBezTo>
                  <a:cubicBezTo>
                    <a:pt x="938" y="718"/>
                    <a:pt x="939" y="719"/>
                    <a:pt x="939" y="719"/>
                  </a:cubicBezTo>
                  <a:cubicBezTo>
                    <a:pt x="939" y="720"/>
                    <a:pt x="939" y="720"/>
                    <a:pt x="939" y="720"/>
                  </a:cubicBezTo>
                  <a:cubicBezTo>
                    <a:pt x="939" y="721"/>
                    <a:pt x="939" y="721"/>
                    <a:pt x="939" y="721"/>
                  </a:cubicBezTo>
                  <a:cubicBezTo>
                    <a:pt x="939" y="722"/>
                    <a:pt x="939" y="723"/>
                    <a:pt x="940" y="724"/>
                  </a:cubicBezTo>
                  <a:cubicBezTo>
                    <a:pt x="940" y="725"/>
                    <a:pt x="940" y="725"/>
                    <a:pt x="940" y="725"/>
                  </a:cubicBezTo>
                  <a:cubicBezTo>
                    <a:pt x="940" y="725"/>
                    <a:pt x="940" y="725"/>
                    <a:pt x="940" y="725"/>
                  </a:cubicBezTo>
                  <a:cubicBezTo>
                    <a:pt x="939" y="725"/>
                    <a:pt x="939" y="726"/>
                    <a:pt x="939" y="726"/>
                  </a:cubicBezTo>
                  <a:cubicBezTo>
                    <a:pt x="938" y="726"/>
                    <a:pt x="937" y="727"/>
                    <a:pt x="938" y="729"/>
                  </a:cubicBezTo>
                  <a:cubicBezTo>
                    <a:pt x="938" y="730"/>
                    <a:pt x="938" y="730"/>
                    <a:pt x="938" y="730"/>
                  </a:cubicBezTo>
                  <a:cubicBezTo>
                    <a:pt x="938" y="730"/>
                    <a:pt x="937" y="730"/>
                    <a:pt x="937" y="731"/>
                  </a:cubicBezTo>
                  <a:cubicBezTo>
                    <a:pt x="937" y="732"/>
                    <a:pt x="938" y="733"/>
                    <a:pt x="938" y="734"/>
                  </a:cubicBezTo>
                  <a:cubicBezTo>
                    <a:pt x="939" y="735"/>
                    <a:pt x="939" y="735"/>
                    <a:pt x="940" y="735"/>
                  </a:cubicBezTo>
                  <a:cubicBezTo>
                    <a:pt x="940" y="735"/>
                    <a:pt x="940" y="735"/>
                    <a:pt x="940" y="735"/>
                  </a:cubicBezTo>
                  <a:cubicBezTo>
                    <a:pt x="940" y="735"/>
                    <a:pt x="940" y="735"/>
                    <a:pt x="940" y="735"/>
                  </a:cubicBezTo>
                  <a:cubicBezTo>
                    <a:pt x="939" y="736"/>
                    <a:pt x="939" y="737"/>
                    <a:pt x="939" y="737"/>
                  </a:cubicBezTo>
                  <a:cubicBezTo>
                    <a:pt x="939" y="738"/>
                    <a:pt x="939" y="738"/>
                    <a:pt x="939" y="738"/>
                  </a:cubicBezTo>
                  <a:cubicBezTo>
                    <a:pt x="938" y="739"/>
                    <a:pt x="938" y="740"/>
                    <a:pt x="938" y="742"/>
                  </a:cubicBezTo>
                  <a:cubicBezTo>
                    <a:pt x="938" y="742"/>
                    <a:pt x="938" y="743"/>
                    <a:pt x="938" y="743"/>
                  </a:cubicBezTo>
                  <a:cubicBezTo>
                    <a:pt x="938" y="743"/>
                    <a:pt x="938" y="744"/>
                    <a:pt x="938" y="745"/>
                  </a:cubicBezTo>
                  <a:cubicBezTo>
                    <a:pt x="938" y="745"/>
                    <a:pt x="938" y="745"/>
                    <a:pt x="938" y="745"/>
                  </a:cubicBezTo>
                  <a:cubicBezTo>
                    <a:pt x="937" y="745"/>
                    <a:pt x="937" y="746"/>
                    <a:pt x="937" y="747"/>
                  </a:cubicBezTo>
                  <a:cubicBezTo>
                    <a:pt x="937" y="747"/>
                    <a:pt x="936" y="748"/>
                    <a:pt x="936" y="749"/>
                  </a:cubicBezTo>
                  <a:cubicBezTo>
                    <a:pt x="936" y="749"/>
                    <a:pt x="937" y="750"/>
                    <a:pt x="937" y="751"/>
                  </a:cubicBezTo>
                  <a:cubicBezTo>
                    <a:pt x="937" y="751"/>
                    <a:pt x="937" y="752"/>
                    <a:pt x="937" y="752"/>
                  </a:cubicBezTo>
                  <a:cubicBezTo>
                    <a:pt x="937" y="753"/>
                    <a:pt x="938" y="754"/>
                    <a:pt x="939" y="754"/>
                  </a:cubicBezTo>
                  <a:cubicBezTo>
                    <a:pt x="939" y="754"/>
                    <a:pt x="940" y="754"/>
                    <a:pt x="941" y="753"/>
                  </a:cubicBezTo>
                  <a:cubicBezTo>
                    <a:pt x="941" y="755"/>
                    <a:pt x="942" y="755"/>
                    <a:pt x="943" y="756"/>
                  </a:cubicBezTo>
                  <a:cubicBezTo>
                    <a:pt x="943" y="756"/>
                    <a:pt x="943" y="756"/>
                    <a:pt x="943" y="756"/>
                  </a:cubicBezTo>
                  <a:cubicBezTo>
                    <a:pt x="943" y="756"/>
                    <a:pt x="943" y="756"/>
                    <a:pt x="944" y="756"/>
                  </a:cubicBezTo>
                  <a:cubicBezTo>
                    <a:pt x="943" y="756"/>
                    <a:pt x="943" y="757"/>
                    <a:pt x="944" y="757"/>
                  </a:cubicBezTo>
                  <a:cubicBezTo>
                    <a:pt x="944" y="758"/>
                    <a:pt x="945" y="758"/>
                    <a:pt x="945" y="759"/>
                  </a:cubicBezTo>
                  <a:cubicBezTo>
                    <a:pt x="945" y="759"/>
                    <a:pt x="945" y="759"/>
                    <a:pt x="945" y="759"/>
                  </a:cubicBezTo>
                  <a:cubicBezTo>
                    <a:pt x="946" y="760"/>
                    <a:pt x="947" y="762"/>
                    <a:pt x="948" y="762"/>
                  </a:cubicBezTo>
                  <a:cubicBezTo>
                    <a:pt x="948" y="762"/>
                    <a:pt x="948" y="762"/>
                    <a:pt x="948" y="763"/>
                  </a:cubicBezTo>
                  <a:cubicBezTo>
                    <a:pt x="949" y="763"/>
                    <a:pt x="949" y="763"/>
                    <a:pt x="949" y="763"/>
                  </a:cubicBezTo>
                  <a:cubicBezTo>
                    <a:pt x="949" y="765"/>
                    <a:pt x="950" y="767"/>
                    <a:pt x="952" y="768"/>
                  </a:cubicBezTo>
                  <a:cubicBezTo>
                    <a:pt x="952" y="768"/>
                    <a:pt x="952" y="768"/>
                    <a:pt x="953" y="769"/>
                  </a:cubicBezTo>
                  <a:cubicBezTo>
                    <a:pt x="953" y="770"/>
                    <a:pt x="953" y="771"/>
                    <a:pt x="953" y="771"/>
                  </a:cubicBezTo>
                  <a:cubicBezTo>
                    <a:pt x="954" y="772"/>
                    <a:pt x="954" y="773"/>
                    <a:pt x="954" y="773"/>
                  </a:cubicBezTo>
                  <a:cubicBezTo>
                    <a:pt x="955" y="775"/>
                    <a:pt x="954" y="778"/>
                    <a:pt x="954" y="779"/>
                  </a:cubicBezTo>
                  <a:cubicBezTo>
                    <a:pt x="954" y="780"/>
                    <a:pt x="954" y="782"/>
                    <a:pt x="954" y="783"/>
                  </a:cubicBezTo>
                  <a:cubicBezTo>
                    <a:pt x="955" y="784"/>
                    <a:pt x="955" y="784"/>
                    <a:pt x="956" y="784"/>
                  </a:cubicBezTo>
                  <a:cubicBezTo>
                    <a:pt x="956" y="785"/>
                    <a:pt x="957" y="786"/>
                    <a:pt x="957" y="787"/>
                  </a:cubicBezTo>
                  <a:cubicBezTo>
                    <a:pt x="958" y="788"/>
                    <a:pt x="958" y="789"/>
                    <a:pt x="958" y="789"/>
                  </a:cubicBezTo>
                  <a:cubicBezTo>
                    <a:pt x="958" y="789"/>
                    <a:pt x="958" y="790"/>
                    <a:pt x="958" y="790"/>
                  </a:cubicBezTo>
                  <a:cubicBezTo>
                    <a:pt x="958" y="791"/>
                    <a:pt x="958" y="792"/>
                    <a:pt x="959" y="793"/>
                  </a:cubicBezTo>
                  <a:cubicBezTo>
                    <a:pt x="958" y="794"/>
                    <a:pt x="958" y="794"/>
                    <a:pt x="958" y="795"/>
                  </a:cubicBezTo>
                  <a:cubicBezTo>
                    <a:pt x="958" y="797"/>
                    <a:pt x="962" y="801"/>
                    <a:pt x="963" y="802"/>
                  </a:cubicBezTo>
                  <a:cubicBezTo>
                    <a:pt x="963" y="802"/>
                    <a:pt x="963" y="802"/>
                    <a:pt x="963" y="803"/>
                  </a:cubicBezTo>
                  <a:cubicBezTo>
                    <a:pt x="963" y="804"/>
                    <a:pt x="963" y="804"/>
                    <a:pt x="964" y="805"/>
                  </a:cubicBezTo>
                  <a:cubicBezTo>
                    <a:pt x="964" y="805"/>
                    <a:pt x="964" y="805"/>
                    <a:pt x="964" y="805"/>
                  </a:cubicBezTo>
                  <a:cubicBezTo>
                    <a:pt x="964" y="806"/>
                    <a:pt x="964" y="807"/>
                    <a:pt x="964" y="808"/>
                  </a:cubicBezTo>
                  <a:cubicBezTo>
                    <a:pt x="965" y="809"/>
                    <a:pt x="968" y="809"/>
                    <a:pt x="968" y="809"/>
                  </a:cubicBezTo>
                  <a:cubicBezTo>
                    <a:pt x="968" y="809"/>
                    <a:pt x="968" y="810"/>
                    <a:pt x="968" y="810"/>
                  </a:cubicBezTo>
                  <a:cubicBezTo>
                    <a:pt x="968" y="811"/>
                    <a:pt x="969" y="812"/>
                    <a:pt x="972" y="813"/>
                  </a:cubicBezTo>
                  <a:cubicBezTo>
                    <a:pt x="973" y="814"/>
                    <a:pt x="974" y="815"/>
                    <a:pt x="974" y="815"/>
                  </a:cubicBezTo>
                  <a:cubicBezTo>
                    <a:pt x="974" y="816"/>
                    <a:pt x="975" y="817"/>
                    <a:pt x="976" y="817"/>
                  </a:cubicBezTo>
                  <a:cubicBezTo>
                    <a:pt x="977" y="817"/>
                    <a:pt x="977" y="817"/>
                    <a:pt x="978" y="818"/>
                  </a:cubicBezTo>
                  <a:cubicBezTo>
                    <a:pt x="978" y="819"/>
                    <a:pt x="979" y="820"/>
                    <a:pt x="980" y="820"/>
                  </a:cubicBezTo>
                  <a:cubicBezTo>
                    <a:pt x="980" y="820"/>
                    <a:pt x="980" y="820"/>
                    <a:pt x="980" y="820"/>
                  </a:cubicBezTo>
                  <a:cubicBezTo>
                    <a:pt x="980" y="820"/>
                    <a:pt x="980" y="821"/>
                    <a:pt x="980" y="821"/>
                  </a:cubicBezTo>
                  <a:cubicBezTo>
                    <a:pt x="981" y="822"/>
                    <a:pt x="982" y="823"/>
                    <a:pt x="983" y="823"/>
                  </a:cubicBezTo>
                  <a:cubicBezTo>
                    <a:pt x="983" y="823"/>
                    <a:pt x="984" y="823"/>
                    <a:pt x="984" y="823"/>
                  </a:cubicBezTo>
                  <a:cubicBezTo>
                    <a:pt x="984" y="823"/>
                    <a:pt x="984" y="823"/>
                    <a:pt x="985" y="823"/>
                  </a:cubicBezTo>
                  <a:cubicBezTo>
                    <a:pt x="986" y="823"/>
                    <a:pt x="987" y="822"/>
                    <a:pt x="987" y="821"/>
                  </a:cubicBezTo>
                  <a:cubicBezTo>
                    <a:pt x="988" y="822"/>
                    <a:pt x="989" y="822"/>
                    <a:pt x="989" y="822"/>
                  </a:cubicBezTo>
                  <a:cubicBezTo>
                    <a:pt x="989" y="822"/>
                    <a:pt x="989" y="822"/>
                    <a:pt x="989" y="822"/>
                  </a:cubicBezTo>
                  <a:cubicBezTo>
                    <a:pt x="990" y="822"/>
                    <a:pt x="990" y="822"/>
                    <a:pt x="991" y="821"/>
                  </a:cubicBezTo>
                  <a:cubicBezTo>
                    <a:pt x="992" y="821"/>
                    <a:pt x="991" y="819"/>
                    <a:pt x="991" y="818"/>
                  </a:cubicBezTo>
                  <a:cubicBezTo>
                    <a:pt x="991" y="818"/>
                    <a:pt x="991" y="818"/>
                    <a:pt x="991" y="818"/>
                  </a:cubicBezTo>
                  <a:cubicBezTo>
                    <a:pt x="991" y="817"/>
                    <a:pt x="991" y="817"/>
                    <a:pt x="990" y="816"/>
                  </a:cubicBezTo>
                  <a:cubicBezTo>
                    <a:pt x="990" y="816"/>
                    <a:pt x="990" y="816"/>
                    <a:pt x="990" y="816"/>
                  </a:cubicBezTo>
                  <a:cubicBezTo>
                    <a:pt x="990" y="815"/>
                    <a:pt x="989" y="813"/>
                    <a:pt x="989" y="813"/>
                  </a:cubicBezTo>
                  <a:cubicBezTo>
                    <a:pt x="988" y="811"/>
                    <a:pt x="988" y="811"/>
                    <a:pt x="988" y="810"/>
                  </a:cubicBezTo>
                  <a:cubicBezTo>
                    <a:pt x="988" y="808"/>
                    <a:pt x="986" y="806"/>
                    <a:pt x="985" y="806"/>
                  </a:cubicBezTo>
                  <a:cubicBezTo>
                    <a:pt x="984" y="806"/>
                    <a:pt x="984" y="805"/>
                    <a:pt x="984" y="804"/>
                  </a:cubicBezTo>
                  <a:cubicBezTo>
                    <a:pt x="984" y="800"/>
                    <a:pt x="983" y="798"/>
                    <a:pt x="983" y="798"/>
                  </a:cubicBezTo>
                  <a:cubicBezTo>
                    <a:pt x="983" y="797"/>
                    <a:pt x="983" y="797"/>
                    <a:pt x="983" y="797"/>
                  </a:cubicBezTo>
                  <a:cubicBezTo>
                    <a:pt x="984" y="796"/>
                    <a:pt x="985" y="795"/>
                    <a:pt x="984" y="794"/>
                  </a:cubicBezTo>
                  <a:cubicBezTo>
                    <a:pt x="984" y="793"/>
                    <a:pt x="984" y="793"/>
                    <a:pt x="984" y="793"/>
                  </a:cubicBezTo>
                  <a:cubicBezTo>
                    <a:pt x="984" y="793"/>
                    <a:pt x="984" y="793"/>
                    <a:pt x="984" y="793"/>
                  </a:cubicBezTo>
                  <a:cubicBezTo>
                    <a:pt x="983" y="792"/>
                    <a:pt x="983" y="791"/>
                    <a:pt x="983" y="791"/>
                  </a:cubicBezTo>
                  <a:cubicBezTo>
                    <a:pt x="984" y="789"/>
                    <a:pt x="983" y="787"/>
                    <a:pt x="983" y="786"/>
                  </a:cubicBezTo>
                  <a:cubicBezTo>
                    <a:pt x="983" y="786"/>
                    <a:pt x="983" y="785"/>
                    <a:pt x="983" y="784"/>
                  </a:cubicBezTo>
                  <a:cubicBezTo>
                    <a:pt x="983" y="781"/>
                    <a:pt x="977" y="776"/>
                    <a:pt x="977" y="775"/>
                  </a:cubicBezTo>
                  <a:cubicBezTo>
                    <a:pt x="976" y="775"/>
                    <a:pt x="976" y="775"/>
                    <a:pt x="976" y="774"/>
                  </a:cubicBezTo>
                  <a:cubicBezTo>
                    <a:pt x="976" y="774"/>
                    <a:pt x="976" y="774"/>
                    <a:pt x="976" y="774"/>
                  </a:cubicBezTo>
                  <a:cubicBezTo>
                    <a:pt x="976" y="772"/>
                    <a:pt x="973" y="771"/>
                    <a:pt x="973" y="771"/>
                  </a:cubicBezTo>
                  <a:cubicBezTo>
                    <a:pt x="973" y="771"/>
                    <a:pt x="973" y="771"/>
                    <a:pt x="973" y="770"/>
                  </a:cubicBezTo>
                  <a:cubicBezTo>
                    <a:pt x="971" y="770"/>
                    <a:pt x="971" y="770"/>
                    <a:pt x="971" y="770"/>
                  </a:cubicBezTo>
                  <a:cubicBezTo>
                    <a:pt x="971" y="770"/>
                    <a:pt x="971" y="769"/>
                    <a:pt x="970" y="769"/>
                  </a:cubicBezTo>
                  <a:cubicBezTo>
                    <a:pt x="970" y="769"/>
                    <a:pt x="970" y="769"/>
                    <a:pt x="970" y="769"/>
                  </a:cubicBezTo>
                  <a:cubicBezTo>
                    <a:pt x="969" y="768"/>
                    <a:pt x="969" y="767"/>
                    <a:pt x="968" y="766"/>
                  </a:cubicBezTo>
                  <a:cubicBezTo>
                    <a:pt x="968" y="766"/>
                    <a:pt x="967" y="766"/>
                    <a:pt x="967" y="766"/>
                  </a:cubicBezTo>
                  <a:cubicBezTo>
                    <a:pt x="967" y="764"/>
                    <a:pt x="966" y="763"/>
                    <a:pt x="964" y="764"/>
                  </a:cubicBezTo>
                  <a:cubicBezTo>
                    <a:pt x="963" y="764"/>
                    <a:pt x="963" y="764"/>
                    <a:pt x="963" y="764"/>
                  </a:cubicBezTo>
                  <a:cubicBezTo>
                    <a:pt x="963" y="764"/>
                    <a:pt x="962" y="763"/>
                    <a:pt x="962" y="763"/>
                  </a:cubicBezTo>
                  <a:cubicBezTo>
                    <a:pt x="962" y="763"/>
                    <a:pt x="961" y="763"/>
                    <a:pt x="961" y="763"/>
                  </a:cubicBezTo>
                  <a:cubicBezTo>
                    <a:pt x="960" y="762"/>
                    <a:pt x="959" y="760"/>
                    <a:pt x="959" y="759"/>
                  </a:cubicBezTo>
                  <a:cubicBezTo>
                    <a:pt x="959" y="758"/>
                    <a:pt x="958" y="758"/>
                    <a:pt x="958" y="757"/>
                  </a:cubicBezTo>
                  <a:cubicBezTo>
                    <a:pt x="958" y="756"/>
                    <a:pt x="957" y="755"/>
                    <a:pt x="957" y="754"/>
                  </a:cubicBezTo>
                  <a:cubicBezTo>
                    <a:pt x="957" y="751"/>
                    <a:pt x="955" y="749"/>
                    <a:pt x="953" y="748"/>
                  </a:cubicBezTo>
                  <a:cubicBezTo>
                    <a:pt x="953" y="747"/>
                    <a:pt x="952" y="745"/>
                    <a:pt x="952" y="743"/>
                  </a:cubicBezTo>
                  <a:cubicBezTo>
                    <a:pt x="952" y="741"/>
                    <a:pt x="951" y="740"/>
                    <a:pt x="949" y="740"/>
                  </a:cubicBezTo>
                  <a:cubicBezTo>
                    <a:pt x="949" y="740"/>
                    <a:pt x="949" y="740"/>
                    <a:pt x="949" y="740"/>
                  </a:cubicBezTo>
                  <a:cubicBezTo>
                    <a:pt x="948" y="740"/>
                    <a:pt x="948" y="740"/>
                    <a:pt x="947" y="740"/>
                  </a:cubicBezTo>
                  <a:cubicBezTo>
                    <a:pt x="947" y="740"/>
                    <a:pt x="947" y="740"/>
                    <a:pt x="947" y="740"/>
                  </a:cubicBezTo>
                  <a:cubicBezTo>
                    <a:pt x="947" y="740"/>
                    <a:pt x="947" y="740"/>
                    <a:pt x="947" y="740"/>
                  </a:cubicBezTo>
                  <a:cubicBezTo>
                    <a:pt x="947" y="739"/>
                    <a:pt x="947" y="738"/>
                    <a:pt x="946" y="737"/>
                  </a:cubicBezTo>
                  <a:cubicBezTo>
                    <a:pt x="946" y="736"/>
                    <a:pt x="946" y="736"/>
                    <a:pt x="946" y="736"/>
                  </a:cubicBezTo>
                  <a:cubicBezTo>
                    <a:pt x="946" y="735"/>
                    <a:pt x="946" y="735"/>
                    <a:pt x="946" y="734"/>
                  </a:cubicBezTo>
                  <a:cubicBezTo>
                    <a:pt x="946" y="733"/>
                    <a:pt x="947" y="732"/>
                    <a:pt x="946" y="732"/>
                  </a:cubicBezTo>
                  <a:cubicBezTo>
                    <a:pt x="947" y="731"/>
                    <a:pt x="947" y="731"/>
                    <a:pt x="947" y="730"/>
                  </a:cubicBezTo>
                  <a:cubicBezTo>
                    <a:pt x="947" y="729"/>
                    <a:pt x="948" y="728"/>
                    <a:pt x="948" y="727"/>
                  </a:cubicBezTo>
                  <a:cubicBezTo>
                    <a:pt x="948" y="726"/>
                    <a:pt x="948" y="726"/>
                    <a:pt x="948" y="725"/>
                  </a:cubicBezTo>
                  <a:cubicBezTo>
                    <a:pt x="948" y="725"/>
                    <a:pt x="948" y="724"/>
                    <a:pt x="948" y="724"/>
                  </a:cubicBezTo>
                  <a:cubicBezTo>
                    <a:pt x="948" y="723"/>
                    <a:pt x="948" y="723"/>
                    <a:pt x="948" y="723"/>
                  </a:cubicBezTo>
                  <a:cubicBezTo>
                    <a:pt x="949" y="722"/>
                    <a:pt x="949" y="722"/>
                    <a:pt x="949" y="722"/>
                  </a:cubicBezTo>
                  <a:cubicBezTo>
                    <a:pt x="949" y="721"/>
                    <a:pt x="949" y="721"/>
                    <a:pt x="949" y="719"/>
                  </a:cubicBezTo>
                  <a:cubicBezTo>
                    <a:pt x="949" y="718"/>
                    <a:pt x="949" y="717"/>
                    <a:pt x="950" y="716"/>
                  </a:cubicBezTo>
                  <a:cubicBezTo>
                    <a:pt x="951" y="714"/>
                    <a:pt x="951" y="711"/>
                    <a:pt x="951" y="710"/>
                  </a:cubicBezTo>
                  <a:cubicBezTo>
                    <a:pt x="950" y="709"/>
                    <a:pt x="950" y="708"/>
                    <a:pt x="951" y="706"/>
                  </a:cubicBezTo>
                  <a:cubicBezTo>
                    <a:pt x="952" y="704"/>
                    <a:pt x="951" y="702"/>
                    <a:pt x="950" y="701"/>
                  </a:cubicBezTo>
                  <a:cubicBezTo>
                    <a:pt x="949" y="702"/>
                    <a:pt x="949" y="702"/>
                    <a:pt x="949" y="702"/>
                  </a:cubicBezTo>
                  <a:cubicBezTo>
                    <a:pt x="950" y="701"/>
                    <a:pt x="950" y="701"/>
                    <a:pt x="950" y="701"/>
                  </a:cubicBezTo>
                  <a:cubicBezTo>
                    <a:pt x="950" y="701"/>
                    <a:pt x="950" y="701"/>
                    <a:pt x="950" y="701"/>
                  </a:cubicBezTo>
                  <a:cubicBezTo>
                    <a:pt x="951" y="700"/>
                    <a:pt x="951" y="700"/>
                    <a:pt x="952" y="699"/>
                  </a:cubicBezTo>
                  <a:cubicBezTo>
                    <a:pt x="952" y="699"/>
                    <a:pt x="952" y="699"/>
                    <a:pt x="952" y="699"/>
                  </a:cubicBezTo>
                  <a:cubicBezTo>
                    <a:pt x="953" y="699"/>
                    <a:pt x="953" y="699"/>
                    <a:pt x="954" y="699"/>
                  </a:cubicBezTo>
                  <a:cubicBezTo>
                    <a:pt x="954" y="699"/>
                    <a:pt x="954" y="700"/>
                    <a:pt x="954" y="700"/>
                  </a:cubicBezTo>
                  <a:cubicBezTo>
                    <a:pt x="954" y="702"/>
                    <a:pt x="954" y="704"/>
                    <a:pt x="955" y="705"/>
                  </a:cubicBezTo>
                  <a:cubicBezTo>
                    <a:pt x="955" y="705"/>
                    <a:pt x="955" y="705"/>
                    <a:pt x="955" y="706"/>
                  </a:cubicBezTo>
                  <a:cubicBezTo>
                    <a:pt x="955" y="707"/>
                    <a:pt x="955" y="707"/>
                    <a:pt x="955" y="708"/>
                  </a:cubicBezTo>
                  <a:cubicBezTo>
                    <a:pt x="955" y="708"/>
                    <a:pt x="956" y="709"/>
                    <a:pt x="957" y="709"/>
                  </a:cubicBezTo>
                  <a:cubicBezTo>
                    <a:pt x="958" y="709"/>
                    <a:pt x="958" y="709"/>
                    <a:pt x="958" y="709"/>
                  </a:cubicBezTo>
                  <a:cubicBezTo>
                    <a:pt x="959" y="709"/>
                    <a:pt x="959" y="709"/>
                    <a:pt x="959" y="708"/>
                  </a:cubicBezTo>
                  <a:cubicBezTo>
                    <a:pt x="959" y="708"/>
                    <a:pt x="959" y="708"/>
                    <a:pt x="960" y="709"/>
                  </a:cubicBezTo>
                  <a:cubicBezTo>
                    <a:pt x="961" y="709"/>
                    <a:pt x="962" y="709"/>
                    <a:pt x="963" y="709"/>
                  </a:cubicBezTo>
                  <a:cubicBezTo>
                    <a:pt x="963" y="709"/>
                    <a:pt x="963" y="709"/>
                    <a:pt x="964" y="709"/>
                  </a:cubicBezTo>
                  <a:cubicBezTo>
                    <a:pt x="965" y="709"/>
                    <a:pt x="965" y="710"/>
                    <a:pt x="965" y="710"/>
                  </a:cubicBezTo>
                  <a:cubicBezTo>
                    <a:pt x="965" y="711"/>
                    <a:pt x="966" y="712"/>
                    <a:pt x="967" y="712"/>
                  </a:cubicBezTo>
                  <a:cubicBezTo>
                    <a:pt x="968" y="712"/>
                    <a:pt x="968" y="712"/>
                    <a:pt x="968" y="712"/>
                  </a:cubicBezTo>
                  <a:cubicBezTo>
                    <a:pt x="968" y="712"/>
                    <a:pt x="968" y="712"/>
                    <a:pt x="968" y="712"/>
                  </a:cubicBezTo>
                  <a:cubicBezTo>
                    <a:pt x="969" y="713"/>
                    <a:pt x="969" y="714"/>
                    <a:pt x="970" y="714"/>
                  </a:cubicBezTo>
                  <a:cubicBezTo>
                    <a:pt x="970" y="714"/>
                    <a:pt x="971" y="714"/>
                    <a:pt x="971" y="714"/>
                  </a:cubicBezTo>
                  <a:cubicBezTo>
                    <a:pt x="971" y="714"/>
                    <a:pt x="971" y="714"/>
                    <a:pt x="971" y="715"/>
                  </a:cubicBezTo>
                  <a:cubicBezTo>
                    <a:pt x="971" y="716"/>
                    <a:pt x="972" y="717"/>
                    <a:pt x="972" y="718"/>
                  </a:cubicBezTo>
                  <a:cubicBezTo>
                    <a:pt x="972" y="719"/>
                    <a:pt x="973" y="719"/>
                    <a:pt x="974" y="719"/>
                  </a:cubicBezTo>
                  <a:cubicBezTo>
                    <a:pt x="975" y="720"/>
                    <a:pt x="975" y="720"/>
                    <a:pt x="975" y="720"/>
                  </a:cubicBezTo>
                  <a:cubicBezTo>
                    <a:pt x="975" y="720"/>
                    <a:pt x="975" y="720"/>
                    <a:pt x="975" y="720"/>
                  </a:cubicBezTo>
                  <a:cubicBezTo>
                    <a:pt x="975" y="720"/>
                    <a:pt x="975" y="721"/>
                    <a:pt x="975" y="721"/>
                  </a:cubicBezTo>
                  <a:cubicBezTo>
                    <a:pt x="974" y="721"/>
                    <a:pt x="974" y="722"/>
                    <a:pt x="974" y="723"/>
                  </a:cubicBezTo>
                  <a:cubicBezTo>
                    <a:pt x="974" y="723"/>
                    <a:pt x="974" y="724"/>
                    <a:pt x="975" y="725"/>
                  </a:cubicBezTo>
                  <a:cubicBezTo>
                    <a:pt x="976" y="726"/>
                    <a:pt x="976" y="726"/>
                    <a:pt x="977" y="726"/>
                  </a:cubicBezTo>
                  <a:cubicBezTo>
                    <a:pt x="977" y="727"/>
                    <a:pt x="977" y="728"/>
                    <a:pt x="978" y="729"/>
                  </a:cubicBezTo>
                  <a:cubicBezTo>
                    <a:pt x="978" y="729"/>
                    <a:pt x="980" y="730"/>
                    <a:pt x="981" y="730"/>
                  </a:cubicBezTo>
                  <a:cubicBezTo>
                    <a:pt x="982" y="730"/>
                    <a:pt x="983" y="729"/>
                    <a:pt x="983" y="729"/>
                  </a:cubicBezTo>
                  <a:cubicBezTo>
                    <a:pt x="983" y="729"/>
                    <a:pt x="983" y="729"/>
                    <a:pt x="983" y="729"/>
                  </a:cubicBezTo>
                  <a:cubicBezTo>
                    <a:pt x="983" y="729"/>
                    <a:pt x="984" y="729"/>
                    <a:pt x="984" y="730"/>
                  </a:cubicBezTo>
                  <a:cubicBezTo>
                    <a:pt x="984" y="730"/>
                    <a:pt x="985" y="730"/>
                    <a:pt x="985" y="730"/>
                  </a:cubicBezTo>
                  <a:cubicBezTo>
                    <a:pt x="985" y="730"/>
                    <a:pt x="985" y="730"/>
                    <a:pt x="985" y="730"/>
                  </a:cubicBezTo>
                  <a:cubicBezTo>
                    <a:pt x="985" y="730"/>
                    <a:pt x="985" y="730"/>
                    <a:pt x="985" y="730"/>
                  </a:cubicBezTo>
                  <a:cubicBezTo>
                    <a:pt x="986" y="730"/>
                    <a:pt x="986" y="731"/>
                    <a:pt x="986" y="731"/>
                  </a:cubicBezTo>
                  <a:cubicBezTo>
                    <a:pt x="987" y="732"/>
                    <a:pt x="988" y="733"/>
                    <a:pt x="989" y="732"/>
                  </a:cubicBezTo>
                  <a:cubicBezTo>
                    <a:pt x="990" y="733"/>
                    <a:pt x="990" y="733"/>
                    <a:pt x="991" y="733"/>
                  </a:cubicBezTo>
                  <a:cubicBezTo>
                    <a:pt x="991" y="734"/>
                    <a:pt x="990" y="734"/>
                    <a:pt x="990" y="734"/>
                  </a:cubicBezTo>
                  <a:cubicBezTo>
                    <a:pt x="989" y="736"/>
                    <a:pt x="989" y="738"/>
                    <a:pt x="990" y="739"/>
                  </a:cubicBezTo>
                  <a:cubicBezTo>
                    <a:pt x="990" y="740"/>
                    <a:pt x="990" y="740"/>
                    <a:pt x="990" y="740"/>
                  </a:cubicBezTo>
                  <a:cubicBezTo>
                    <a:pt x="990" y="740"/>
                    <a:pt x="990" y="740"/>
                    <a:pt x="990" y="740"/>
                  </a:cubicBezTo>
                  <a:cubicBezTo>
                    <a:pt x="990" y="740"/>
                    <a:pt x="989" y="742"/>
                    <a:pt x="989" y="743"/>
                  </a:cubicBezTo>
                  <a:cubicBezTo>
                    <a:pt x="989" y="743"/>
                    <a:pt x="989" y="744"/>
                    <a:pt x="989" y="744"/>
                  </a:cubicBezTo>
                  <a:cubicBezTo>
                    <a:pt x="989" y="745"/>
                    <a:pt x="989" y="746"/>
                    <a:pt x="990" y="746"/>
                  </a:cubicBezTo>
                  <a:cubicBezTo>
                    <a:pt x="989" y="746"/>
                    <a:pt x="989" y="746"/>
                    <a:pt x="989" y="746"/>
                  </a:cubicBezTo>
                  <a:cubicBezTo>
                    <a:pt x="989" y="747"/>
                    <a:pt x="989" y="748"/>
                    <a:pt x="989" y="748"/>
                  </a:cubicBezTo>
                  <a:cubicBezTo>
                    <a:pt x="989" y="749"/>
                    <a:pt x="990" y="749"/>
                    <a:pt x="991" y="749"/>
                  </a:cubicBezTo>
                  <a:cubicBezTo>
                    <a:pt x="992" y="749"/>
                    <a:pt x="993" y="748"/>
                    <a:pt x="994" y="748"/>
                  </a:cubicBezTo>
                  <a:cubicBezTo>
                    <a:pt x="994" y="748"/>
                    <a:pt x="994" y="748"/>
                    <a:pt x="994" y="748"/>
                  </a:cubicBezTo>
                  <a:cubicBezTo>
                    <a:pt x="995" y="748"/>
                    <a:pt x="997" y="747"/>
                    <a:pt x="998" y="745"/>
                  </a:cubicBezTo>
                  <a:cubicBezTo>
                    <a:pt x="998" y="744"/>
                    <a:pt x="1000" y="743"/>
                    <a:pt x="1001" y="742"/>
                  </a:cubicBezTo>
                  <a:cubicBezTo>
                    <a:pt x="1001" y="742"/>
                    <a:pt x="1002" y="741"/>
                    <a:pt x="1002" y="741"/>
                  </a:cubicBezTo>
                  <a:cubicBezTo>
                    <a:pt x="1003" y="740"/>
                    <a:pt x="1004" y="739"/>
                    <a:pt x="1004" y="738"/>
                  </a:cubicBezTo>
                  <a:cubicBezTo>
                    <a:pt x="1004" y="739"/>
                    <a:pt x="1005" y="738"/>
                    <a:pt x="1006" y="738"/>
                  </a:cubicBezTo>
                  <a:cubicBezTo>
                    <a:pt x="1006" y="737"/>
                    <a:pt x="1006" y="736"/>
                    <a:pt x="1006" y="736"/>
                  </a:cubicBezTo>
                  <a:cubicBezTo>
                    <a:pt x="1006" y="735"/>
                    <a:pt x="1007" y="735"/>
                    <a:pt x="1007" y="735"/>
                  </a:cubicBezTo>
                  <a:cubicBezTo>
                    <a:pt x="1008" y="734"/>
                    <a:pt x="1008" y="732"/>
                    <a:pt x="1008" y="731"/>
                  </a:cubicBezTo>
                  <a:cubicBezTo>
                    <a:pt x="1008" y="731"/>
                    <a:pt x="1008" y="731"/>
                    <a:pt x="1009" y="731"/>
                  </a:cubicBezTo>
                  <a:cubicBezTo>
                    <a:pt x="1010" y="731"/>
                    <a:pt x="1010" y="731"/>
                    <a:pt x="1011" y="730"/>
                  </a:cubicBezTo>
                  <a:cubicBezTo>
                    <a:pt x="1011" y="730"/>
                    <a:pt x="1011" y="730"/>
                    <a:pt x="1011" y="730"/>
                  </a:cubicBezTo>
                  <a:cubicBezTo>
                    <a:pt x="1013" y="730"/>
                    <a:pt x="1017" y="726"/>
                    <a:pt x="1019" y="724"/>
                  </a:cubicBezTo>
                  <a:cubicBezTo>
                    <a:pt x="1020" y="722"/>
                    <a:pt x="1020" y="722"/>
                    <a:pt x="1021" y="722"/>
                  </a:cubicBezTo>
                  <a:cubicBezTo>
                    <a:pt x="1021" y="722"/>
                    <a:pt x="1022" y="722"/>
                    <a:pt x="1023" y="721"/>
                  </a:cubicBezTo>
                  <a:cubicBezTo>
                    <a:pt x="1024" y="720"/>
                    <a:pt x="1024" y="719"/>
                    <a:pt x="1024" y="718"/>
                  </a:cubicBezTo>
                  <a:cubicBezTo>
                    <a:pt x="1025" y="718"/>
                    <a:pt x="1025" y="717"/>
                    <a:pt x="1026" y="716"/>
                  </a:cubicBezTo>
                  <a:cubicBezTo>
                    <a:pt x="1026" y="715"/>
                    <a:pt x="1026" y="715"/>
                    <a:pt x="1026" y="714"/>
                  </a:cubicBezTo>
                  <a:cubicBezTo>
                    <a:pt x="1026" y="714"/>
                    <a:pt x="1027" y="714"/>
                    <a:pt x="1027" y="714"/>
                  </a:cubicBezTo>
                  <a:cubicBezTo>
                    <a:pt x="1027" y="713"/>
                    <a:pt x="1027" y="712"/>
                    <a:pt x="1027" y="711"/>
                  </a:cubicBezTo>
                  <a:cubicBezTo>
                    <a:pt x="1027" y="710"/>
                    <a:pt x="1026" y="710"/>
                    <a:pt x="1026" y="709"/>
                  </a:cubicBezTo>
                  <a:cubicBezTo>
                    <a:pt x="1026" y="709"/>
                    <a:pt x="1026" y="708"/>
                    <a:pt x="1025" y="707"/>
                  </a:cubicBezTo>
                  <a:cubicBezTo>
                    <a:pt x="1025" y="707"/>
                    <a:pt x="1025" y="707"/>
                    <a:pt x="1025" y="707"/>
                  </a:cubicBezTo>
                  <a:cubicBezTo>
                    <a:pt x="1026" y="707"/>
                    <a:pt x="1026" y="706"/>
                    <a:pt x="1026" y="705"/>
                  </a:cubicBezTo>
                  <a:cubicBezTo>
                    <a:pt x="1026" y="704"/>
                    <a:pt x="1026" y="704"/>
                    <a:pt x="1026" y="704"/>
                  </a:cubicBezTo>
                  <a:cubicBezTo>
                    <a:pt x="1027" y="702"/>
                    <a:pt x="1026" y="701"/>
                    <a:pt x="1025" y="700"/>
                  </a:cubicBezTo>
                  <a:cubicBezTo>
                    <a:pt x="1025" y="700"/>
                    <a:pt x="1025" y="700"/>
                    <a:pt x="1025" y="700"/>
                  </a:cubicBezTo>
                  <a:cubicBezTo>
                    <a:pt x="1025" y="699"/>
                    <a:pt x="1025" y="698"/>
                    <a:pt x="1025" y="698"/>
                  </a:cubicBezTo>
                  <a:cubicBezTo>
                    <a:pt x="1025" y="697"/>
                    <a:pt x="1025" y="696"/>
                    <a:pt x="1024" y="696"/>
                  </a:cubicBezTo>
                  <a:cubicBezTo>
                    <a:pt x="1024" y="696"/>
                    <a:pt x="1024" y="695"/>
                    <a:pt x="1024" y="695"/>
                  </a:cubicBezTo>
                  <a:cubicBezTo>
                    <a:pt x="1024" y="695"/>
                    <a:pt x="1024" y="695"/>
                    <a:pt x="1024" y="695"/>
                  </a:cubicBezTo>
                  <a:cubicBezTo>
                    <a:pt x="1024" y="695"/>
                    <a:pt x="1024" y="695"/>
                    <a:pt x="1024" y="695"/>
                  </a:cubicBezTo>
                  <a:cubicBezTo>
                    <a:pt x="1024" y="695"/>
                    <a:pt x="1024" y="694"/>
                    <a:pt x="1024" y="693"/>
                  </a:cubicBezTo>
                  <a:cubicBezTo>
                    <a:pt x="1024" y="691"/>
                    <a:pt x="1023" y="690"/>
                    <a:pt x="1023" y="689"/>
                  </a:cubicBezTo>
                  <a:cubicBezTo>
                    <a:pt x="1023" y="689"/>
                    <a:pt x="1023" y="689"/>
                    <a:pt x="1023" y="689"/>
                  </a:cubicBezTo>
                  <a:cubicBezTo>
                    <a:pt x="1022" y="689"/>
                    <a:pt x="1022" y="689"/>
                    <a:pt x="1022" y="689"/>
                  </a:cubicBezTo>
                  <a:cubicBezTo>
                    <a:pt x="1022" y="688"/>
                    <a:pt x="1022" y="688"/>
                    <a:pt x="1022" y="686"/>
                  </a:cubicBezTo>
                  <a:cubicBezTo>
                    <a:pt x="1022" y="684"/>
                    <a:pt x="1021" y="682"/>
                    <a:pt x="1019" y="681"/>
                  </a:cubicBezTo>
                  <a:cubicBezTo>
                    <a:pt x="1019" y="681"/>
                    <a:pt x="1019" y="681"/>
                    <a:pt x="1019" y="681"/>
                  </a:cubicBezTo>
                  <a:cubicBezTo>
                    <a:pt x="1019" y="680"/>
                    <a:pt x="1019" y="680"/>
                    <a:pt x="1019" y="679"/>
                  </a:cubicBezTo>
                  <a:cubicBezTo>
                    <a:pt x="1019" y="677"/>
                    <a:pt x="1018" y="676"/>
                    <a:pt x="1016" y="675"/>
                  </a:cubicBezTo>
                  <a:cubicBezTo>
                    <a:pt x="1016" y="674"/>
                    <a:pt x="1016" y="674"/>
                    <a:pt x="1016" y="674"/>
                  </a:cubicBezTo>
                  <a:cubicBezTo>
                    <a:pt x="1016" y="672"/>
                    <a:pt x="1015" y="672"/>
                    <a:pt x="1014" y="672"/>
                  </a:cubicBezTo>
                  <a:cubicBezTo>
                    <a:pt x="1014" y="671"/>
                    <a:pt x="1014" y="671"/>
                    <a:pt x="1013" y="671"/>
                  </a:cubicBezTo>
                  <a:cubicBezTo>
                    <a:pt x="1013" y="671"/>
                    <a:pt x="1013" y="671"/>
                    <a:pt x="1014" y="671"/>
                  </a:cubicBezTo>
                  <a:cubicBezTo>
                    <a:pt x="1014" y="670"/>
                    <a:pt x="1014" y="670"/>
                    <a:pt x="1014" y="670"/>
                  </a:cubicBezTo>
                  <a:cubicBezTo>
                    <a:pt x="1014" y="670"/>
                    <a:pt x="1014" y="669"/>
                    <a:pt x="1014" y="668"/>
                  </a:cubicBezTo>
                  <a:cubicBezTo>
                    <a:pt x="1013" y="667"/>
                    <a:pt x="1012" y="667"/>
                    <a:pt x="1011" y="668"/>
                  </a:cubicBezTo>
                  <a:cubicBezTo>
                    <a:pt x="1011" y="667"/>
                    <a:pt x="1011" y="667"/>
                    <a:pt x="1010" y="667"/>
                  </a:cubicBezTo>
                  <a:cubicBezTo>
                    <a:pt x="1010" y="666"/>
                    <a:pt x="1009" y="665"/>
                    <a:pt x="1008" y="665"/>
                  </a:cubicBezTo>
                  <a:cubicBezTo>
                    <a:pt x="1008" y="665"/>
                    <a:pt x="1008" y="665"/>
                    <a:pt x="1007" y="665"/>
                  </a:cubicBezTo>
                  <a:cubicBezTo>
                    <a:pt x="1007" y="665"/>
                    <a:pt x="1007" y="665"/>
                    <a:pt x="1007" y="665"/>
                  </a:cubicBezTo>
                  <a:cubicBezTo>
                    <a:pt x="1007" y="665"/>
                    <a:pt x="1006" y="665"/>
                    <a:pt x="1006" y="664"/>
                  </a:cubicBezTo>
                  <a:cubicBezTo>
                    <a:pt x="1006" y="664"/>
                    <a:pt x="1006" y="664"/>
                    <a:pt x="1006" y="664"/>
                  </a:cubicBezTo>
                  <a:cubicBezTo>
                    <a:pt x="1006" y="663"/>
                    <a:pt x="1005" y="662"/>
                    <a:pt x="1004" y="661"/>
                  </a:cubicBezTo>
                  <a:cubicBezTo>
                    <a:pt x="1004" y="660"/>
                    <a:pt x="1003" y="660"/>
                    <a:pt x="1002" y="659"/>
                  </a:cubicBezTo>
                  <a:cubicBezTo>
                    <a:pt x="1002" y="659"/>
                    <a:pt x="1001" y="659"/>
                    <a:pt x="1001" y="658"/>
                  </a:cubicBezTo>
                  <a:cubicBezTo>
                    <a:pt x="1000" y="658"/>
                    <a:pt x="999" y="654"/>
                    <a:pt x="997" y="654"/>
                  </a:cubicBezTo>
                  <a:cubicBezTo>
                    <a:pt x="997" y="654"/>
                    <a:pt x="997" y="653"/>
                    <a:pt x="997" y="653"/>
                  </a:cubicBezTo>
                  <a:cubicBezTo>
                    <a:pt x="998" y="651"/>
                    <a:pt x="994" y="648"/>
                    <a:pt x="993" y="648"/>
                  </a:cubicBezTo>
                  <a:cubicBezTo>
                    <a:pt x="992" y="647"/>
                    <a:pt x="991" y="645"/>
                    <a:pt x="990" y="644"/>
                  </a:cubicBezTo>
                  <a:cubicBezTo>
                    <a:pt x="990" y="644"/>
                    <a:pt x="990" y="644"/>
                    <a:pt x="990" y="644"/>
                  </a:cubicBezTo>
                  <a:cubicBezTo>
                    <a:pt x="990" y="643"/>
                    <a:pt x="989" y="642"/>
                    <a:pt x="989" y="641"/>
                  </a:cubicBezTo>
                  <a:cubicBezTo>
                    <a:pt x="990" y="640"/>
                    <a:pt x="990" y="639"/>
                    <a:pt x="989" y="638"/>
                  </a:cubicBezTo>
                  <a:cubicBezTo>
                    <a:pt x="989" y="638"/>
                    <a:pt x="989" y="637"/>
                    <a:pt x="989" y="634"/>
                  </a:cubicBezTo>
                  <a:cubicBezTo>
                    <a:pt x="989" y="633"/>
                    <a:pt x="989" y="632"/>
                    <a:pt x="990" y="632"/>
                  </a:cubicBezTo>
                  <a:cubicBezTo>
                    <a:pt x="991" y="632"/>
                    <a:pt x="992" y="631"/>
                    <a:pt x="992" y="630"/>
                  </a:cubicBezTo>
                  <a:cubicBezTo>
                    <a:pt x="992" y="630"/>
                    <a:pt x="992" y="630"/>
                    <a:pt x="993" y="630"/>
                  </a:cubicBezTo>
                  <a:cubicBezTo>
                    <a:pt x="995" y="628"/>
                    <a:pt x="994" y="626"/>
                    <a:pt x="994" y="626"/>
                  </a:cubicBezTo>
                  <a:cubicBezTo>
                    <a:pt x="994" y="626"/>
                    <a:pt x="994" y="625"/>
                    <a:pt x="994" y="625"/>
                  </a:cubicBezTo>
                  <a:cubicBezTo>
                    <a:pt x="994" y="625"/>
                    <a:pt x="994" y="624"/>
                    <a:pt x="994" y="622"/>
                  </a:cubicBezTo>
                  <a:cubicBezTo>
                    <a:pt x="994" y="623"/>
                    <a:pt x="994" y="623"/>
                    <a:pt x="995" y="623"/>
                  </a:cubicBezTo>
                  <a:cubicBezTo>
                    <a:pt x="996" y="623"/>
                    <a:pt x="996" y="622"/>
                    <a:pt x="997" y="621"/>
                  </a:cubicBezTo>
                  <a:cubicBezTo>
                    <a:pt x="997" y="621"/>
                    <a:pt x="997" y="621"/>
                    <a:pt x="997" y="621"/>
                  </a:cubicBezTo>
                  <a:cubicBezTo>
                    <a:pt x="998" y="621"/>
                    <a:pt x="999" y="621"/>
                    <a:pt x="999" y="620"/>
                  </a:cubicBezTo>
                  <a:cubicBezTo>
                    <a:pt x="1000" y="619"/>
                    <a:pt x="999" y="618"/>
                    <a:pt x="999" y="618"/>
                  </a:cubicBezTo>
                  <a:cubicBezTo>
                    <a:pt x="999" y="618"/>
                    <a:pt x="999" y="618"/>
                    <a:pt x="1000" y="617"/>
                  </a:cubicBezTo>
                  <a:cubicBezTo>
                    <a:pt x="1001" y="616"/>
                    <a:pt x="1001" y="616"/>
                    <a:pt x="1001" y="616"/>
                  </a:cubicBezTo>
                  <a:cubicBezTo>
                    <a:pt x="1002" y="616"/>
                    <a:pt x="1002" y="616"/>
                    <a:pt x="1002" y="616"/>
                  </a:cubicBezTo>
                  <a:cubicBezTo>
                    <a:pt x="1003" y="616"/>
                    <a:pt x="1003" y="616"/>
                    <a:pt x="1004" y="615"/>
                  </a:cubicBezTo>
                  <a:cubicBezTo>
                    <a:pt x="1004" y="615"/>
                    <a:pt x="1004" y="615"/>
                    <a:pt x="1004" y="615"/>
                  </a:cubicBezTo>
                  <a:cubicBezTo>
                    <a:pt x="1004" y="615"/>
                    <a:pt x="1004" y="615"/>
                    <a:pt x="1004" y="615"/>
                  </a:cubicBezTo>
                  <a:cubicBezTo>
                    <a:pt x="1004" y="614"/>
                    <a:pt x="1005" y="614"/>
                    <a:pt x="1005" y="614"/>
                  </a:cubicBezTo>
                  <a:cubicBezTo>
                    <a:pt x="1005" y="614"/>
                    <a:pt x="1006" y="614"/>
                    <a:pt x="1007" y="614"/>
                  </a:cubicBezTo>
                  <a:cubicBezTo>
                    <a:pt x="1007" y="614"/>
                    <a:pt x="1008" y="614"/>
                    <a:pt x="1008" y="614"/>
                  </a:cubicBezTo>
                  <a:cubicBezTo>
                    <a:pt x="1009" y="614"/>
                    <a:pt x="1009" y="614"/>
                    <a:pt x="1010" y="615"/>
                  </a:cubicBezTo>
                  <a:cubicBezTo>
                    <a:pt x="1010" y="615"/>
                    <a:pt x="1010" y="615"/>
                    <a:pt x="1010" y="615"/>
                  </a:cubicBezTo>
                  <a:cubicBezTo>
                    <a:pt x="1011" y="616"/>
                    <a:pt x="1011" y="616"/>
                    <a:pt x="1012" y="616"/>
                  </a:cubicBezTo>
                  <a:cubicBezTo>
                    <a:pt x="1013" y="616"/>
                    <a:pt x="1013" y="616"/>
                    <a:pt x="1014" y="615"/>
                  </a:cubicBezTo>
                  <a:cubicBezTo>
                    <a:pt x="1013" y="614"/>
                    <a:pt x="1013" y="614"/>
                    <a:pt x="1013" y="614"/>
                  </a:cubicBezTo>
                  <a:cubicBezTo>
                    <a:pt x="1013" y="614"/>
                    <a:pt x="1013" y="614"/>
                    <a:pt x="1013" y="614"/>
                  </a:cubicBezTo>
                  <a:cubicBezTo>
                    <a:pt x="1014" y="615"/>
                    <a:pt x="1014" y="615"/>
                    <a:pt x="1014" y="615"/>
                  </a:cubicBezTo>
                  <a:cubicBezTo>
                    <a:pt x="1015" y="615"/>
                    <a:pt x="1015" y="615"/>
                    <a:pt x="1015" y="614"/>
                  </a:cubicBezTo>
                  <a:cubicBezTo>
                    <a:pt x="1015" y="614"/>
                    <a:pt x="1015" y="614"/>
                    <a:pt x="1015" y="614"/>
                  </a:cubicBezTo>
                  <a:cubicBezTo>
                    <a:pt x="1015" y="615"/>
                    <a:pt x="1015" y="615"/>
                    <a:pt x="1015" y="615"/>
                  </a:cubicBezTo>
                  <a:cubicBezTo>
                    <a:pt x="1015" y="615"/>
                    <a:pt x="1015" y="616"/>
                    <a:pt x="1015" y="616"/>
                  </a:cubicBezTo>
                  <a:cubicBezTo>
                    <a:pt x="1014" y="618"/>
                    <a:pt x="1015" y="620"/>
                    <a:pt x="1016" y="621"/>
                  </a:cubicBezTo>
                  <a:cubicBezTo>
                    <a:pt x="1016" y="621"/>
                    <a:pt x="1016" y="621"/>
                    <a:pt x="1017" y="622"/>
                  </a:cubicBezTo>
                  <a:cubicBezTo>
                    <a:pt x="1017" y="622"/>
                    <a:pt x="1017" y="622"/>
                    <a:pt x="1017" y="622"/>
                  </a:cubicBezTo>
                  <a:cubicBezTo>
                    <a:pt x="1017" y="623"/>
                    <a:pt x="1017" y="624"/>
                    <a:pt x="1018" y="624"/>
                  </a:cubicBezTo>
                  <a:cubicBezTo>
                    <a:pt x="1018" y="624"/>
                    <a:pt x="1018" y="624"/>
                    <a:pt x="1018" y="624"/>
                  </a:cubicBezTo>
                  <a:cubicBezTo>
                    <a:pt x="1017" y="625"/>
                    <a:pt x="1017" y="626"/>
                    <a:pt x="1017" y="626"/>
                  </a:cubicBezTo>
                  <a:cubicBezTo>
                    <a:pt x="1017" y="627"/>
                    <a:pt x="1018" y="627"/>
                    <a:pt x="1018" y="627"/>
                  </a:cubicBezTo>
                  <a:cubicBezTo>
                    <a:pt x="1018" y="627"/>
                    <a:pt x="1017" y="628"/>
                    <a:pt x="1016" y="628"/>
                  </a:cubicBezTo>
                  <a:cubicBezTo>
                    <a:pt x="1016" y="629"/>
                    <a:pt x="1015" y="629"/>
                    <a:pt x="1015" y="629"/>
                  </a:cubicBezTo>
                  <a:cubicBezTo>
                    <a:pt x="1015" y="629"/>
                    <a:pt x="1014" y="630"/>
                    <a:pt x="1013" y="630"/>
                  </a:cubicBezTo>
                  <a:cubicBezTo>
                    <a:pt x="1013" y="631"/>
                    <a:pt x="1013" y="632"/>
                    <a:pt x="1014" y="632"/>
                  </a:cubicBezTo>
                  <a:cubicBezTo>
                    <a:pt x="1013" y="633"/>
                    <a:pt x="1013" y="633"/>
                    <a:pt x="1013" y="633"/>
                  </a:cubicBezTo>
                  <a:cubicBezTo>
                    <a:pt x="1012" y="633"/>
                    <a:pt x="1012" y="633"/>
                    <a:pt x="1012" y="633"/>
                  </a:cubicBezTo>
                  <a:cubicBezTo>
                    <a:pt x="1011" y="634"/>
                    <a:pt x="1010" y="635"/>
                    <a:pt x="1010" y="636"/>
                  </a:cubicBezTo>
                  <a:cubicBezTo>
                    <a:pt x="1010" y="636"/>
                    <a:pt x="1010" y="637"/>
                    <a:pt x="1010" y="637"/>
                  </a:cubicBezTo>
                  <a:cubicBezTo>
                    <a:pt x="1010" y="638"/>
                    <a:pt x="1010" y="638"/>
                    <a:pt x="1010" y="639"/>
                  </a:cubicBezTo>
                  <a:cubicBezTo>
                    <a:pt x="1010" y="639"/>
                    <a:pt x="1010" y="639"/>
                    <a:pt x="1010" y="639"/>
                  </a:cubicBezTo>
                  <a:cubicBezTo>
                    <a:pt x="1010" y="640"/>
                    <a:pt x="1010" y="641"/>
                    <a:pt x="1010" y="641"/>
                  </a:cubicBezTo>
                  <a:cubicBezTo>
                    <a:pt x="1010" y="642"/>
                    <a:pt x="1010" y="642"/>
                    <a:pt x="1010" y="642"/>
                  </a:cubicBezTo>
                  <a:cubicBezTo>
                    <a:pt x="1010" y="642"/>
                    <a:pt x="1010" y="642"/>
                    <a:pt x="1010" y="642"/>
                  </a:cubicBezTo>
                  <a:cubicBezTo>
                    <a:pt x="1010" y="642"/>
                    <a:pt x="1010" y="643"/>
                    <a:pt x="1010" y="643"/>
                  </a:cubicBezTo>
                  <a:cubicBezTo>
                    <a:pt x="1010" y="644"/>
                    <a:pt x="1011" y="646"/>
                    <a:pt x="1012" y="646"/>
                  </a:cubicBezTo>
                  <a:cubicBezTo>
                    <a:pt x="1013" y="646"/>
                    <a:pt x="1013" y="646"/>
                    <a:pt x="1013" y="646"/>
                  </a:cubicBezTo>
                  <a:cubicBezTo>
                    <a:pt x="1013" y="646"/>
                    <a:pt x="1014" y="646"/>
                    <a:pt x="1014" y="646"/>
                  </a:cubicBezTo>
                  <a:cubicBezTo>
                    <a:pt x="1014" y="646"/>
                    <a:pt x="1014" y="646"/>
                    <a:pt x="1014" y="646"/>
                  </a:cubicBezTo>
                  <a:cubicBezTo>
                    <a:pt x="1014" y="646"/>
                    <a:pt x="1014" y="646"/>
                    <a:pt x="1015" y="647"/>
                  </a:cubicBezTo>
                  <a:cubicBezTo>
                    <a:pt x="1015" y="647"/>
                    <a:pt x="1015" y="647"/>
                    <a:pt x="1015" y="647"/>
                  </a:cubicBezTo>
                  <a:cubicBezTo>
                    <a:pt x="1016" y="648"/>
                    <a:pt x="1016" y="648"/>
                    <a:pt x="1017" y="648"/>
                  </a:cubicBezTo>
                  <a:cubicBezTo>
                    <a:pt x="1017" y="648"/>
                    <a:pt x="1017" y="648"/>
                    <a:pt x="1017" y="648"/>
                  </a:cubicBezTo>
                  <a:cubicBezTo>
                    <a:pt x="1017" y="648"/>
                    <a:pt x="1018" y="650"/>
                    <a:pt x="1019" y="650"/>
                  </a:cubicBezTo>
                  <a:cubicBezTo>
                    <a:pt x="1020" y="650"/>
                    <a:pt x="1020" y="650"/>
                    <a:pt x="1020" y="650"/>
                  </a:cubicBezTo>
                  <a:cubicBezTo>
                    <a:pt x="1020" y="650"/>
                    <a:pt x="1021" y="649"/>
                    <a:pt x="1021" y="649"/>
                  </a:cubicBezTo>
                  <a:cubicBezTo>
                    <a:pt x="1021" y="649"/>
                    <a:pt x="1021" y="649"/>
                    <a:pt x="1022" y="649"/>
                  </a:cubicBezTo>
                  <a:cubicBezTo>
                    <a:pt x="1023" y="649"/>
                    <a:pt x="1024" y="649"/>
                    <a:pt x="1024" y="648"/>
                  </a:cubicBezTo>
                  <a:cubicBezTo>
                    <a:pt x="1024" y="648"/>
                    <a:pt x="1024" y="647"/>
                    <a:pt x="1024" y="647"/>
                  </a:cubicBezTo>
                  <a:cubicBezTo>
                    <a:pt x="1024" y="647"/>
                    <a:pt x="1024" y="647"/>
                    <a:pt x="1024" y="647"/>
                  </a:cubicBezTo>
                  <a:cubicBezTo>
                    <a:pt x="1025" y="647"/>
                    <a:pt x="1025" y="646"/>
                    <a:pt x="1025" y="646"/>
                  </a:cubicBezTo>
                  <a:cubicBezTo>
                    <a:pt x="1024" y="645"/>
                    <a:pt x="1024" y="645"/>
                    <a:pt x="1024" y="645"/>
                  </a:cubicBezTo>
                  <a:cubicBezTo>
                    <a:pt x="1024" y="645"/>
                    <a:pt x="1024" y="645"/>
                    <a:pt x="1024" y="645"/>
                  </a:cubicBezTo>
                  <a:cubicBezTo>
                    <a:pt x="1026" y="645"/>
                    <a:pt x="1026" y="645"/>
                    <a:pt x="1026" y="645"/>
                  </a:cubicBezTo>
                  <a:cubicBezTo>
                    <a:pt x="1026" y="645"/>
                    <a:pt x="1026" y="645"/>
                    <a:pt x="1026" y="644"/>
                  </a:cubicBezTo>
                  <a:cubicBezTo>
                    <a:pt x="1026" y="644"/>
                    <a:pt x="1027" y="644"/>
                    <a:pt x="1027" y="644"/>
                  </a:cubicBezTo>
                  <a:cubicBezTo>
                    <a:pt x="1027" y="643"/>
                    <a:pt x="1028" y="643"/>
                    <a:pt x="1028" y="643"/>
                  </a:cubicBezTo>
                  <a:cubicBezTo>
                    <a:pt x="1028" y="642"/>
                    <a:pt x="1028" y="642"/>
                    <a:pt x="1028" y="642"/>
                  </a:cubicBezTo>
                  <a:cubicBezTo>
                    <a:pt x="1028" y="642"/>
                    <a:pt x="1028" y="642"/>
                    <a:pt x="1028" y="642"/>
                  </a:cubicBezTo>
                  <a:cubicBezTo>
                    <a:pt x="1028" y="641"/>
                    <a:pt x="1028" y="641"/>
                    <a:pt x="1029" y="641"/>
                  </a:cubicBezTo>
                  <a:cubicBezTo>
                    <a:pt x="1029" y="640"/>
                    <a:pt x="1029" y="640"/>
                    <a:pt x="1028" y="639"/>
                  </a:cubicBezTo>
                  <a:cubicBezTo>
                    <a:pt x="1028" y="639"/>
                    <a:pt x="1028" y="639"/>
                    <a:pt x="1028" y="639"/>
                  </a:cubicBezTo>
                  <a:cubicBezTo>
                    <a:pt x="1028" y="639"/>
                    <a:pt x="1028" y="639"/>
                    <a:pt x="1028" y="639"/>
                  </a:cubicBezTo>
                  <a:cubicBezTo>
                    <a:pt x="1028" y="638"/>
                    <a:pt x="1028" y="638"/>
                    <a:pt x="1028" y="638"/>
                  </a:cubicBezTo>
                  <a:cubicBezTo>
                    <a:pt x="1029" y="637"/>
                    <a:pt x="1029" y="637"/>
                    <a:pt x="1029" y="636"/>
                  </a:cubicBezTo>
                  <a:cubicBezTo>
                    <a:pt x="1029" y="636"/>
                    <a:pt x="1029" y="636"/>
                    <a:pt x="1029" y="636"/>
                  </a:cubicBezTo>
                  <a:cubicBezTo>
                    <a:pt x="1029" y="636"/>
                    <a:pt x="1029" y="636"/>
                    <a:pt x="1029" y="636"/>
                  </a:cubicBezTo>
                  <a:cubicBezTo>
                    <a:pt x="1029" y="635"/>
                    <a:pt x="1030" y="635"/>
                    <a:pt x="1030" y="635"/>
                  </a:cubicBezTo>
                  <a:cubicBezTo>
                    <a:pt x="1030" y="634"/>
                    <a:pt x="1031" y="634"/>
                    <a:pt x="1031" y="633"/>
                  </a:cubicBezTo>
                  <a:cubicBezTo>
                    <a:pt x="1031" y="632"/>
                    <a:pt x="1031" y="632"/>
                    <a:pt x="1030" y="631"/>
                  </a:cubicBezTo>
                  <a:cubicBezTo>
                    <a:pt x="1030" y="631"/>
                    <a:pt x="1030" y="631"/>
                    <a:pt x="1030" y="630"/>
                  </a:cubicBezTo>
                  <a:cubicBezTo>
                    <a:pt x="1030" y="630"/>
                    <a:pt x="1030" y="629"/>
                    <a:pt x="1030" y="629"/>
                  </a:cubicBezTo>
                  <a:cubicBezTo>
                    <a:pt x="1030" y="628"/>
                    <a:pt x="1029" y="627"/>
                    <a:pt x="1028" y="628"/>
                  </a:cubicBezTo>
                  <a:cubicBezTo>
                    <a:pt x="1028" y="627"/>
                    <a:pt x="1027" y="626"/>
                    <a:pt x="1026" y="626"/>
                  </a:cubicBezTo>
                  <a:cubicBezTo>
                    <a:pt x="1026" y="626"/>
                    <a:pt x="1025" y="626"/>
                    <a:pt x="1025" y="627"/>
                  </a:cubicBezTo>
                  <a:cubicBezTo>
                    <a:pt x="1024" y="627"/>
                    <a:pt x="1024" y="628"/>
                    <a:pt x="1024" y="629"/>
                  </a:cubicBezTo>
                  <a:cubicBezTo>
                    <a:pt x="1024" y="629"/>
                    <a:pt x="1024" y="629"/>
                    <a:pt x="1024" y="629"/>
                  </a:cubicBezTo>
                  <a:cubicBezTo>
                    <a:pt x="1024" y="629"/>
                    <a:pt x="1024" y="629"/>
                    <a:pt x="1023" y="629"/>
                  </a:cubicBezTo>
                  <a:cubicBezTo>
                    <a:pt x="1023" y="628"/>
                    <a:pt x="1022" y="628"/>
                    <a:pt x="1022" y="628"/>
                  </a:cubicBezTo>
                  <a:cubicBezTo>
                    <a:pt x="1021" y="628"/>
                    <a:pt x="1020" y="628"/>
                    <a:pt x="1020" y="627"/>
                  </a:cubicBezTo>
                  <a:cubicBezTo>
                    <a:pt x="1020" y="627"/>
                    <a:pt x="1021" y="627"/>
                    <a:pt x="1021" y="627"/>
                  </a:cubicBezTo>
                  <a:cubicBezTo>
                    <a:pt x="1021" y="627"/>
                    <a:pt x="1022" y="627"/>
                    <a:pt x="1022" y="627"/>
                  </a:cubicBezTo>
                  <a:cubicBezTo>
                    <a:pt x="1024" y="627"/>
                    <a:pt x="1025" y="626"/>
                    <a:pt x="1025" y="625"/>
                  </a:cubicBezTo>
                  <a:cubicBezTo>
                    <a:pt x="1025" y="625"/>
                    <a:pt x="1025" y="625"/>
                    <a:pt x="1025" y="625"/>
                  </a:cubicBezTo>
                  <a:cubicBezTo>
                    <a:pt x="1026" y="624"/>
                    <a:pt x="1026" y="624"/>
                    <a:pt x="1026" y="623"/>
                  </a:cubicBezTo>
                  <a:cubicBezTo>
                    <a:pt x="1026" y="622"/>
                    <a:pt x="1025" y="622"/>
                    <a:pt x="1024" y="621"/>
                  </a:cubicBezTo>
                  <a:cubicBezTo>
                    <a:pt x="1024" y="621"/>
                    <a:pt x="1024" y="621"/>
                    <a:pt x="1024" y="620"/>
                  </a:cubicBezTo>
                  <a:cubicBezTo>
                    <a:pt x="1024" y="620"/>
                    <a:pt x="1024" y="620"/>
                    <a:pt x="1024" y="620"/>
                  </a:cubicBezTo>
                  <a:cubicBezTo>
                    <a:pt x="1024" y="619"/>
                    <a:pt x="1025" y="619"/>
                    <a:pt x="1025" y="618"/>
                  </a:cubicBezTo>
                  <a:cubicBezTo>
                    <a:pt x="1025" y="617"/>
                    <a:pt x="1024" y="617"/>
                    <a:pt x="1023" y="617"/>
                  </a:cubicBezTo>
                  <a:cubicBezTo>
                    <a:pt x="1024" y="616"/>
                    <a:pt x="1024" y="616"/>
                    <a:pt x="1024" y="616"/>
                  </a:cubicBezTo>
                  <a:cubicBezTo>
                    <a:pt x="1025" y="616"/>
                    <a:pt x="1026" y="616"/>
                    <a:pt x="1026" y="615"/>
                  </a:cubicBezTo>
                  <a:cubicBezTo>
                    <a:pt x="1027" y="614"/>
                    <a:pt x="1027" y="614"/>
                    <a:pt x="1027" y="614"/>
                  </a:cubicBezTo>
                  <a:cubicBezTo>
                    <a:pt x="1028" y="614"/>
                    <a:pt x="1028" y="614"/>
                    <a:pt x="1029" y="614"/>
                  </a:cubicBezTo>
                  <a:cubicBezTo>
                    <a:pt x="1029" y="614"/>
                    <a:pt x="1029" y="614"/>
                    <a:pt x="1029" y="614"/>
                  </a:cubicBezTo>
                  <a:cubicBezTo>
                    <a:pt x="1029" y="614"/>
                    <a:pt x="1029" y="614"/>
                    <a:pt x="1030" y="614"/>
                  </a:cubicBezTo>
                  <a:cubicBezTo>
                    <a:pt x="1031" y="614"/>
                    <a:pt x="1032" y="613"/>
                    <a:pt x="1033" y="613"/>
                  </a:cubicBezTo>
                  <a:cubicBezTo>
                    <a:pt x="1033" y="613"/>
                    <a:pt x="1033" y="613"/>
                    <a:pt x="1033" y="613"/>
                  </a:cubicBezTo>
                  <a:cubicBezTo>
                    <a:pt x="1034" y="613"/>
                    <a:pt x="1035" y="612"/>
                    <a:pt x="1035" y="611"/>
                  </a:cubicBezTo>
                  <a:cubicBezTo>
                    <a:pt x="1036" y="611"/>
                    <a:pt x="1037" y="611"/>
                    <a:pt x="1037" y="611"/>
                  </a:cubicBezTo>
                  <a:cubicBezTo>
                    <a:pt x="1038" y="611"/>
                    <a:pt x="1038" y="611"/>
                    <a:pt x="1038" y="610"/>
                  </a:cubicBezTo>
                  <a:cubicBezTo>
                    <a:pt x="1039" y="611"/>
                    <a:pt x="1039" y="610"/>
                    <a:pt x="1039" y="610"/>
                  </a:cubicBezTo>
                  <a:cubicBezTo>
                    <a:pt x="1040" y="610"/>
                    <a:pt x="1040" y="610"/>
                    <a:pt x="1040" y="610"/>
                  </a:cubicBezTo>
                  <a:cubicBezTo>
                    <a:pt x="1041" y="609"/>
                    <a:pt x="1042" y="609"/>
                    <a:pt x="1042" y="608"/>
                  </a:cubicBezTo>
                  <a:cubicBezTo>
                    <a:pt x="1042" y="608"/>
                    <a:pt x="1042" y="608"/>
                    <a:pt x="1042" y="608"/>
                  </a:cubicBezTo>
                  <a:cubicBezTo>
                    <a:pt x="1043" y="608"/>
                    <a:pt x="1045" y="608"/>
                    <a:pt x="1045" y="605"/>
                  </a:cubicBezTo>
                  <a:cubicBezTo>
                    <a:pt x="1045" y="603"/>
                    <a:pt x="1045" y="603"/>
                    <a:pt x="1045" y="603"/>
                  </a:cubicBezTo>
                  <a:cubicBezTo>
                    <a:pt x="1045" y="603"/>
                    <a:pt x="1045" y="602"/>
                    <a:pt x="1046" y="602"/>
                  </a:cubicBezTo>
                  <a:cubicBezTo>
                    <a:pt x="1046" y="601"/>
                    <a:pt x="1046" y="601"/>
                    <a:pt x="1046" y="601"/>
                  </a:cubicBezTo>
                  <a:cubicBezTo>
                    <a:pt x="1046" y="602"/>
                    <a:pt x="1046" y="602"/>
                    <a:pt x="1046" y="602"/>
                  </a:cubicBezTo>
                  <a:cubicBezTo>
                    <a:pt x="1047" y="603"/>
                    <a:pt x="1047" y="604"/>
                    <a:pt x="1049" y="604"/>
                  </a:cubicBezTo>
                  <a:cubicBezTo>
                    <a:pt x="1050" y="604"/>
                    <a:pt x="1050" y="603"/>
                    <a:pt x="1050" y="602"/>
                  </a:cubicBezTo>
                  <a:cubicBezTo>
                    <a:pt x="1050" y="603"/>
                    <a:pt x="1050" y="603"/>
                    <a:pt x="1050" y="603"/>
                  </a:cubicBezTo>
                  <a:cubicBezTo>
                    <a:pt x="1051" y="603"/>
                    <a:pt x="1051" y="603"/>
                    <a:pt x="1051" y="603"/>
                  </a:cubicBezTo>
                  <a:cubicBezTo>
                    <a:pt x="1052" y="603"/>
                    <a:pt x="1052" y="603"/>
                    <a:pt x="1052" y="603"/>
                  </a:cubicBezTo>
                  <a:cubicBezTo>
                    <a:pt x="1052" y="603"/>
                    <a:pt x="1053" y="602"/>
                    <a:pt x="1053" y="602"/>
                  </a:cubicBezTo>
                  <a:cubicBezTo>
                    <a:pt x="1054" y="602"/>
                    <a:pt x="1056" y="602"/>
                    <a:pt x="1056" y="600"/>
                  </a:cubicBezTo>
                  <a:cubicBezTo>
                    <a:pt x="1056" y="600"/>
                    <a:pt x="1056" y="600"/>
                    <a:pt x="1056" y="600"/>
                  </a:cubicBezTo>
                  <a:cubicBezTo>
                    <a:pt x="1056" y="600"/>
                    <a:pt x="1057" y="600"/>
                    <a:pt x="1057" y="600"/>
                  </a:cubicBezTo>
                  <a:cubicBezTo>
                    <a:pt x="1057" y="601"/>
                    <a:pt x="1058" y="601"/>
                    <a:pt x="1058" y="601"/>
                  </a:cubicBezTo>
                  <a:cubicBezTo>
                    <a:pt x="1059" y="601"/>
                    <a:pt x="1060" y="600"/>
                    <a:pt x="1061" y="599"/>
                  </a:cubicBezTo>
                  <a:cubicBezTo>
                    <a:pt x="1061" y="600"/>
                    <a:pt x="1062" y="600"/>
                    <a:pt x="1063" y="600"/>
                  </a:cubicBezTo>
                  <a:cubicBezTo>
                    <a:pt x="1063" y="600"/>
                    <a:pt x="1063" y="600"/>
                    <a:pt x="1063" y="600"/>
                  </a:cubicBezTo>
                  <a:cubicBezTo>
                    <a:pt x="1064" y="600"/>
                    <a:pt x="1065" y="600"/>
                    <a:pt x="1066" y="598"/>
                  </a:cubicBezTo>
                  <a:cubicBezTo>
                    <a:pt x="1066" y="598"/>
                    <a:pt x="1067" y="598"/>
                    <a:pt x="1067" y="598"/>
                  </a:cubicBezTo>
                  <a:cubicBezTo>
                    <a:pt x="1068" y="597"/>
                    <a:pt x="1068" y="596"/>
                    <a:pt x="1068" y="596"/>
                  </a:cubicBezTo>
                  <a:cubicBezTo>
                    <a:pt x="1068" y="595"/>
                    <a:pt x="1068" y="593"/>
                    <a:pt x="1068" y="591"/>
                  </a:cubicBezTo>
                  <a:cubicBezTo>
                    <a:pt x="1068" y="591"/>
                    <a:pt x="1069" y="591"/>
                    <a:pt x="1069" y="591"/>
                  </a:cubicBezTo>
                  <a:cubicBezTo>
                    <a:pt x="1070" y="591"/>
                    <a:pt x="1070" y="591"/>
                    <a:pt x="1071" y="591"/>
                  </a:cubicBezTo>
                  <a:cubicBezTo>
                    <a:pt x="1071" y="591"/>
                    <a:pt x="1071" y="591"/>
                    <a:pt x="1072" y="591"/>
                  </a:cubicBezTo>
                  <a:cubicBezTo>
                    <a:pt x="1073" y="591"/>
                    <a:pt x="1074" y="591"/>
                    <a:pt x="1074" y="588"/>
                  </a:cubicBezTo>
                  <a:cubicBezTo>
                    <a:pt x="1074" y="588"/>
                    <a:pt x="1074" y="588"/>
                    <a:pt x="1075" y="587"/>
                  </a:cubicBezTo>
                  <a:cubicBezTo>
                    <a:pt x="1075" y="587"/>
                    <a:pt x="1075" y="586"/>
                    <a:pt x="1075" y="586"/>
                  </a:cubicBezTo>
                  <a:cubicBezTo>
                    <a:pt x="1076" y="585"/>
                    <a:pt x="1076" y="584"/>
                    <a:pt x="1076" y="584"/>
                  </a:cubicBezTo>
                  <a:cubicBezTo>
                    <a:pt x="1076" y="584"/>
                    <a:pt x="1076" y="584"/>
                    <a:pt x="1077" y="583"/>
                  </a:cubicBezTo>
                  <a:cubicBezTo>
                    <a:pt x="1077" y="583"/>
                    <a:pt x="1077" y="583"/>
                    <a:pt x="1077" y="583"/>
                  </a:cubicBezTo>
                  <a:cubicBezTo>
                    <a:pt x="1078" y="583"/>
                    <a:pt x="1078" y="582"/>
                    <a:pt x="1078" y="582"/>
                  </a:cubicBezTo>
                  <a:cubicBezTo>
                    <a:pt x="1078" y="580"/>
                    <a:pt x="1077" y="580"/>
                    <a:pt x="1075" y="580"/>
                  </a:cubicBezTo>
                  <a:cubicBezTo>
                    <a:pt x="1076" y="580"/>
                    <a:pt x="1076" y="579"/>
                    <a:pt x="1077" y="579"/>
                  </a:cubicBezTo>
                  <a:cubicBezTo>
                    <a:pt x="1077" y="579"/>
                    <a:pt x="1077" y="579"/>
                    <a:pt x="1077" y="579"/>
                  </a:cubicBezTo>
                  <a:cubicBezTo>
                    <a:pt x="1077" y="581"/>
                    <a:pt x="1078" y="581"/>
                    <a:pt x="1079" y="581"/>
                  </a:cubicBezTo>
                  <a:cubicBezTo>
                    <a:pt x="1080" y="581"/>
                    <a:pt x="1080" y="580"/>
                    <a:pt x="1080" y="579"/>
                  </a:cubicBezTo>
                  <a:cubicBezTo>
                    <a:pt x="1081" y="578"/>
                    <a:pt x="1081" y="578"/>
                    <a:pt x="1081" y="578"/>
                  </a:cubicBezTo>
                  <a:cubicBezTo>
                    <a:pt x="1081" y="578"/>
                    <a:pt x="1081" y="578"/>
                    <a:pt x="1081" y="577"/>
                  </a:cubicBezTo>
                  <a:cubicBezTo>
                    <a:pt x="1082" y="576"/>
                    <a:pt x="1082" y="575"/>
                    <a:pt x="1082" y="575"/>
                  </a:cubicBezTo>
                  <a:cubicBezTo>
                    <a:pt x="1082" y="574"/>
                    <a:pt x="1083" y="574"/>
                    <a:pt x="1083" y="573"/>
                  </a:cubicBezTo>
                  <a:cubicBezTo>
                    <a:pt x="1083" y="573"/>
                    <a:pt x="1083" y="573"/>
                    <a:pt x="1083" y="573"/>
                  </a:cubicBezTo>
                  <a:cubicBezTo>
                    <a:pt x="1083" y="572"/>
                    <a:pt x="1084" y="572"/>
                    <a:pt x="1084" y="571"/>
                  </a:cubicBezTo>
                  <a:cubicBezTo>
                    <a:pt x="1084" y="571"/>
                    <a:pt x="1084" y="570"/>
                    <a:pt x="1084" y="570"/>
                  </a:cubicBezTo>
                  <a:cubicBezTo>
                    <a:pt x="1084" y="570"/>
                    <a:pt x="1084" y="570"/>
                    <a:pt x="1084" y="570"/>
                  </a:cubicBezTo>
                  <a:cubicBezTo>
                    <a:pt x="1085" y="570"/>
                    <a:pt x="1086" y="569"/>
                    <a:pt x="1086" y="569"/>
                  </a:cubicBezTo>
                  <a:cubicBezTo>
                    <a:pt x="1086" y="568"/>
                    <a:pt x="1086" y="567"/>
                    <a:pt x="1085" y="566"/>
                  </a:cubicBezTo>
                  <a:cubicBezTo>
                    <a:pt x="1085" y="566"/>
                    <a:pt x="1085" y="566"/>
                    <a:pt x="1085" y="566"/>
                  </a:cubicBezTo>
                  <a:cubicBezTo>
                    <a:pt x="1085" y="566"/>
                    <a:pt x="1085" y="565"/>
                    <a:pt x="1085" y="565"/>
                  </a:cubicBezTo>
                  <a:cubicBezTo>
                    <a:pt x="1085" y="564"/>
                    <a:pt x="1086" y="563"/>
                    <a:pt x="1085" y="563"/>
                  </a:cubicBezTo>
                  <a:cubicBezTo>
                    <a:pt x="1085" y="562"/>
                    <a:pt x="1084" y="562"/>
                    <a:pt x="1084" y="562"/>
                  </a:cubicBezTo>
                  <a:cubicBezTo>
                    <a:pt x="1084" y="562"/>
                    <a:pt x="1084" y="562"/>
                    <a:pt x="1084" y="561"/>
                  </a:cubicBezTo>
                  <a:cubicBezTo>
                    <a:pt x="1085" y="562"/>
                    <a:pt x="1086" y="561"/>
                    <a:pt x="1086" y="560"/>
                  </a:cubicBezTo>
                  <a:cubicBezTo>
                    <a:pt x="1087" y="559"/>
                    <a:pt x="1086" y="559"/>
                    <a:pt x="1086" y="558"/>
                  </a:cubicBezTo>
                  <a:cubicBezTo>
                    <a:pt x="1086" y="558"/>
                    <a:pt x="1086" y="558"/>
                    <a:pt x="1085" y="558"/>
                  </a:cubicBezTo>
                  <a:cubicBezTo>
                    <a:pt x="1085" y="558"/>
                    <a:pt x="1086" y="558"/>
                    <a:pt x="1086" y="557"/>
                  </a:cubicBezTo>
                  <a:cubicBezTo>
                    <a:pt x="1086" y="557"/>
                    <a:pt x="1086" y="556"/>
                    <a:pt x="1086" y="555"/>
                  </a:cubicBezTo>
                  <a:cubicBezTo>
                    <a:pt x="1086" y="555"/>
                    <a:pt x="1087" y="554"/>
                    <a:pt x="1087" y="554"/>
                  </a:cubicBezTo>
                  <a:cubicBezTo>
                    <a:pt x="1087" y="553"/>
                    <a:pt x="1087" y="553"/>
                    <a:pt x="1087" y="553"/>
                  </a:cubicBezTo>
                  <a:cubicBezTo>
                    <a:pt x="1087" y="553"/>
                    <a:pt x="1087" y="553"/>
                    <a:pt x="1087" y="552"/>
                  </a:cubicBezTo>
                  <a:cubicBezTo>
                    <a:pt x="1088" y="552"/>
                    <a:pt x="1088" y="552"/>
                    <a:pt x="1088" y="552"/>
                  </a:cubicBezTo>
                  <a:cubicBezTo>
                    <a:pt x="1088" y="552"/>
                    <a:pt x="1088" y="552"/>
                    <a:pt x="1088" y="552"/>
                  </a:cubicBezTo>
                  <a:cubicBezTo>
                    <a:pt x="1089" y="551"/>
                    <a:pt x="1089" y="551"/>
                    <a:pt x="1089" y="550"/>
                  </a:cubicBezTo>
                  <a:cubicBezTo>
                    <a:pt x="1089" y="549"/>
                    <a:pt x="1090" y="549"/>
                    <a:pt x="1090" y="548"/>
                  </a:cubicBezTo>
                  <a:cubicBezTo>
                    <a:pt x="1090" y="548"/>
                    <a:pt x="1089" y="547"/>
                    <a:pt x="1088" y="546"/>
                  </a:cubicBezTo>
                  <a:cubicBezTo>
                    <a:pt x="1089" y="545"/>
                    <a:pt x="1089" y="544"/>
                    <a:pt x="1089" y="544"/>
                  </a:cubicBezTo>
                  <a:cubicBezTo>
                    <a:pt x="1089" y="543"/>
                    <a:pt x="1089" y="543"/>
                    <a:pt x="1089" y="543"/>
                  </a:cubicBezTo>
                  <a:cubicBezTo>
                    <a:pt x="1089" y="543"/>
                    <a:pt x="1089" y="543"/>
                    <a:pt x="1089" y="543"/>
                  </a:cubicBezTo>
                  <a:cubicBezTo>
                    <a:pt x="1089" y="543"/>
                    <a:pt x="1089" y="543"/>
                    <a:pt x="1089" y="542"/>
                  </a:cubicBezTo>
                  <a:cubicBezTo>
                    <a:pt x="1089" y="542"/>
                    <a:pt x="1090" y="542"/>
                    <a:pt x="1090" y="541"/>
                  </a:cubicBezTo>
                  <a:cubicBezTo>
                    <a:pt x="1091" y="541"/>
                    <a:pt x="1092" y="541"/>
                    <a:pt x="1092" y="539"/>
                  </a:cubicBezTo>
                  <a:cubicBezTo>
                    <a:pt x="1092" y="539"/>
                    <a:pt x="1093" y="539"/>
                    <a:pt x="1093" y="539"/>
                  </a:cubicBezTo>
                  <a:cubicBezTo>
                    <a:pt x="1094" y="539"/>
                    <a:pt x="1094" y="538"/>
                    <a:pt x="1094" y="538"/>
                  </a:cubicBezTo>
                  <a:cubicBezTo>
                    <a:pt x="1094" y="537"/>
                    <a:pt x="1094" y="536"/>
                    <a:pt x="1093" y="535"/>
                  </a:cubicBezTo>
                  <a:cubicBezTo>
                    <a:pt x="1093" y="535"/>
                    <a:pt x="1093" y="535"/>
                    <a:pt x="1093" y="534"/>
                  </a:cubicBezTo>
                  <a:cubicBezTo>
                    <a:pt x="1093" y="534"/>
                    <a:pt x="1092" y="534"/>
                    <a:pt x="1092" y="534"/>
                  </a:cubicBezTo>
                  <a:cubicBezTo>
                    <a:pt x="1092" y="533"/>
                    <a:pt x="1092" y="533"/>
                    <a:pt x="1093" y="533"/>
                  </a:cubicBezTo>
                  <a:cubicBezTo>
                    <a:pt x="1093" y="532"/>
                    <a:pt x="1092" y="531"/>
                    <a:pt x="1092" y="530"/>
                  </a:cubicBezTo>
                  <a:cubicBezTo>
                    <a:pt x="1092" y="530"/>
                    <a:pt x="1093" y="530"/>
                    <a:pt x="1093" y="529"/>
                  </a:cubicBezTo>
                  <a:cubicBezTo>
                    <a:pt x="1094" y="528"/>
                    <a:pt x="1093" y="526"/>
                    <a:pt x="1093" y="526"/>
                  </a:cubicBezTo>
                  <a:cubicBezTo>
                    <a:pt x="1093" y="526"/>
                    <a:pt x="1093" y="525"/>
                    <a:pt x="1093" y="525"/>
                  </a:cubicBezTo>
                  <a:cubicBezTo>
                    <a:pt x="1092" y="524"/>
                    <a:pt x="1092" y="524"/>
                    <a:pt x="1092" y="524"/>
                  </a:cubicBezTo>
                  <a:cubicBezTo>
                    <a:pt x="1092" y="523"/>
                    <a:pt x="1093" y="523"/>
                    <a:pt x="1092" y="522"/>
                  </a:cubicBezTo>
                  <a:cubicBezTo>
                    <a:pt x="1092" y="521"/>
                    <a:pt x="1091" y="519"/>
                    <a:pt x="1090" y="519"/>
                  </a:cubicBezTo>
                  <a:cubicBezTo>
                    <a:pt x="1089" y="519"/>
                    <a:pt x="1088" y="518"/>
                    <a:pt x="1088" y="518"/>
                  </a:cubicBezTo>
                  <a:cubicBezTo>
                    <a:pt x="1088" y="517"/>
                    <a:pt x="1087" y="517"/>
                    <a:pt x="1087" y="516"/>
                  </a:cubicBezTo>
                  <a:cubicBezTo>
                    <a:pt x="1086" y="516"/>
                    <a:pt x="1085" y="515"/>
                    <a:pt x="1083" y="515"/>
                  </a:cubicBezTo>
                  <a:cubicBezTo>
                    <a:pt x="1083" y="515"/>
                    <a:pt x="1083" y="515"/>
                    <a:pt x="1083" y="515"/>
                  </a:cubicBezTo>
                  <a:cubicBezTo>
                    <a:pt x="1084" y="515"/>
                    <a:pt x="1084" y="514"/>
                    <a:pt x="1084" y="514"/>
                  </a:cubicBezTo>
                  <a:cubicBezTo>
                    <a:pt x="1084" y="514"/>
                    <a:pt x="1085" y="513"/>
                    <a:pt x="1085" y="512"/>
                  </a:cubicBezTo>
                  <a:cubicBezTo>
                    <a:pt x="1085" y="512"/>
                    <a:pt x="1086" y="512"/>
                    <a:pt x="1086" y="512"/>
                  </a:cubicBezTo>
                  <a:cubicBezTo>
                    <a:pt x="1087" y="512"/>
                    <a:pt x="1088" y="512"/>
                    <a:pt x="1088" y="511"/>
                  </a:cubicBezTo>
                  <a:cubicBezTo>
                    <a:pt x="1089" y="510"/>
                    <a:pt x="1088" y="509"/>
                    <a:pt x="1088" y="509"/>
                  </a:cubicBezTo>
                  <a:cubicBezTo>
                    <a:pt x="1088" y="508"/>
                    <a:pt x="1087" y="508"/>
                    <a:pt x="1087" y="508"/>
                  </a:cubicBezTo>
                  <a:cubicBezTo>
                    <a:pt x="1087" y="508"/>
                    <a:pt x="1087" y="508"/>
                    <a:pt x="1087" y="508"/>
                  </a:cubicBezTo>
                  <a:cubicBezTo>
                    <a:pt x="1087" y="507"/>
                    <a:pt x="1087" y="506"/>
                    <a:pt x="1086" y="505"/>
                  </a:cubicBezTo>
                  <a:cubicBezTo>
                    <a:pt x="1085" y="505"/>
                    <a:pt x="1083" y="504"/>
                    <a:pt x="1082" y="503"/>
                  </a:cubicBezTo>
                  <a:cubicBezTo>
                    <a:pt x="1081" y="502"/>
                    <a:pt x="1080" y="502"/>
                    <a:pt x="1079" y="502"/>
                  </a:cubicBezTo>
                  <a:cubicBezTo>
                    <a:pt x="1081" y="502"/>
                    <a:pt x="1081" y="502"/>
                    <a:pt x="1082" y="502"/>
                  </a:cubicBezTo>
                  <a:cubicBezTo>
                    <a:pt x="1082" y="502"/>
                    <a:pt x="1082" y="502"/>
                    <a:pt x="1082" y="502"/>
                  </a:cubicBezTo>
                  <a:cubicBezTo>
                    <a:pt x="1083" y="502"/>
                    <a:pt x="1083" y="503"/>
                    <a:pt x="1084" y="503"/>
                  </a:cubicBezTo>
                  <a:cubicBezTo>
                    <a:pt x="1085" y="503"/>
                    <a:pt x="1086" y="503"/>
                    <a:pt x="1086" y="502"/>
                  </a:cubicBezTo>
                  <a:cubicBezTo>
                    <a:pt x="1087" y="501"/>
                    <a:pt x="1087" y="500"/>
                    <a:pt x="1084" y="497"/>
                  </a:cubicBezTo>
                  <a:cubicBezTo>
                    <a:pt x="1084" y="497"/>
                    <a:pt x="1083" y="496"/>
                    <a:pt x="1082" y="496"/>
                  </a:cubicBezTo>
                  <a:cubicBezTo>
                    <a:pt x="1081" y="495"/>
                    <a:pt x="1081" y="494"/>
                    <a:pt x="1080" y="494"/>
                  </a:cubicBezTo>
                  <a:cubicBezTo>
                    <a:pt x="1080" y="493"/>
                    <a:pt x="1079" y="492"/>
                    <a:pt x="1078" y="492"/>
                  </a:cubicBezTo>
                  <a:cubicBezTo>
                    <a:pt x="1078" y="492"/>
                    <a:pt x="1078" y="492"/>
                    <a:pt x="1077" y="492"/>
                  </a:cubicBezTo>
                  <a:cubicBezTo>
                    <a:pt x="1077" y="492"/>
                    <a:pt x="1076" y="492"/>
                    <a:pt x="1076" y="492"/>
                  </a:cubicBezTo>
                  <a:cubicBezTo>
                    <a:pt x="1076" y="491"/>
                    <a:pt x="1076" y="491"/>
                    <a:pt x="1076" y="491"/>
                  </a:cubicBezTo>
                  <a:cubicBezTo>
                    <a:pt x="1076" y="491"/>
                    <a:pt x="1076" y="491"/>
                    <a:pt x="1076" y="490"/>
                  </a:cubicBezTo>
                  <a:cubicBezTo>
                    <a:pt x="1076" y="488"/>
                    <a:pt x="1075" y="487"/>
                    <a:pt x="1074" y="486"/>
                  </a:cubicBezTo>
                  <a:cubicBezTo>
                    <a:pt x="1074" y="486"/>
                    <a:pt x="1073" y="485"/>
                    <a:pt x="1073" y="485"/>
                  </a:cubicBezTo>
                  <a:cubicBezTo>
                    <a:pt x="1073" y="483"/>
                    <a:pt x="1071" y="482"/>
                    <a:pt x="1070" y="482"/>
                  </a:cubicBezTo>
                  <a:cubicBezTo>
                    <a:pt x="1070" y="482"/>
                    <a:pt x="1070" y="482"/>
                    <a:pt x="1070" y="482"/>
                  </a:cubicBezTo>
                  <a:cubicBezTo>
                    <a:pt x="1070" y="480"/>
                    <a:pt x="1069" y="479"/>
                    <a:pt x="1068" y="479"/>
                  </a:cubicBezTo>
                  <a:cubicBezTo>
                    <a:pt x="1068" y="478"/>
                    <a:pt x="1068" y="478"/>
                    <a:pt x="1068" y="478"/>
                  </a:cubicBezTo>
                  <a:cubicBezTo>
                    <a:pt x="1068" y="478"/>
                    <a:pt x="1067" y="477"/>
                    <a:pt x="1067" y="476"/>
                  </a:cubicBezTo>
                  <a:cubicBezTo>
                    <a:pt x="1066" y="475"/>
                    <a:pt x="1066" y="475"/>
                    <a:pt x="1066" y="475"/>
                  </a:cubicBezTo>
                  <a:cubicBezTo>
                    <a:pt x="1066" y="474"/>
                    <a:pt x="1064" y="473"/>
                    <a:pt x="1061" y="472"/>
                  </a:cubicBezTo>
                  <a:cubicBezTo>
                    <a:pt x="1061" y="471"/>
                    <a:pt x="1061" y="471"/>
                    <a:pt x="1061" y="471"/>
                  </a:cubicBezTo>
                  <a:cubicBezTo>
                    <a:pt x="1060" y="471"/>
                    <a:pt x="1060" y="471"/>
                    <a:pt x="1060" y="471"/>
                  </a:cubicBezTo>
                  <a:cubicBezTo>
                    <a:pt x="1060" y="469"/>
                    <a:pt x="1059" y="469"/>
                    <a:pt x="1058" y="468"/>
                  </a:cubicBezTo>
                  <a:cubicBezTo>
                    <a:pt x="1057" y="468"/>
                    <a:pt x="1057" y="468"/>
                    <a:pt x="1057" y="468"/>
                  </a:cubicBezTo>
                  <a:cubicBezTo>
                    <a:pt x="1057" y="468"/>
                    <a:pt x="1057" y="468"/>
                    <a:pt x="1057" y="468"/>
                  </a:cubicBezTo>
                  <a:cubicBezTo>
                    <a:pt x="1057" y="468"/>
                    <a:pt x="1057" y="468"/>
                    <a:pt x="1057" y="468"/>
                  </a:cubicBezTo>
                  <a:cubicBezTo>
                    <a:pt x="1058" y="467"/>
                    <a:pt x="1058" y="466"/>
                    <a:pt x="1057" y="465"/>
                  </a:cubicBezTo>
                  <a:cubicBezTo>
                    <a:pt x="1057" y="465"/>
                    <a:pt x="1057" y="464"/>
                    <a:pt x="1057" y="464"/>
                  </a:cubicBezTo>
                  <a:cubicBezTo>
                    <a:pt x="1057" y="464"/>
                    <a:pt x="1057" y="464"/>
                    <a:pt x="1057" y="464"/>
                  </a:cubicBezTo>
                  <a:cubicBezTo>
                    <a:pt x="1057" y="464"/>
                    <a:pt x="1057" y="464"/>
                    <a:pt x="1057" y="464"/>
                  </a:cubicBezTo>
                  <a:cubicBezTo>
                    <a:pt x="1058" y="463"/>
                    <a:pt x="1058" y="462"/>
                    <a:pt x="1058" y="461"/>
                  </a:cubicBezTo>
                  <a:cubicBezTo>
                    <a:pt x="1058" y="461"/>
                    <a:pt x="1058" y="461"/>
                    <a:pt x="1059" y="459"/>
                  </a:cubicBezTo>
                  <a:cubicBezTo>
                    <a:pt x="1060" y="457"/>
                    <a:pt x="1059" y="456"/>
                    <a:pt x="1058" y="455"/>
                  </a:cubicBezTo>
                  <a:cubicBezTo>
                    <a:pt x="1058" y="455"/>
                    <a:pt x="1058" y="455"/>
                    <a:pt x="1058" y="455"/>
                  </a:cubicBezTo>
                  <a:cubicBezTo>
                    <a:pt x="1058" y="455"/>
                    <a:pt x="1058" y="455"/>
                    <a:pt x="1059" y="455"/>
                  </a:cubicBezTo>
                  <a:cubicBezTo>
                    <a:pt x="1059" y="455"/>
                    <a:pt x="1059" y="455"/>
                    <a:pt x="1059" y="455"/>
                  </a:cubicBezTo>
                  <a:cubicBezTo>
                    <a:pt x="1060" y="455"/>
                    <a:pt x="1061" y="454"/>
                    <a:pt x="1062" y="453"/>
                  </a:cubicBezTo>
                  <a:cubicBezTo>
                    <a:pt x="1062" y="453"/>
                    <a:pt x="1063" y="452"/>
                    <a:pt x="1063" y="452"/>
                  </a:cubicBezTo>
                  <a:cubicBezTo>
                    <a:pt x="1063" y="452"/>
                    <a:pt x="1063" y="451"/>
                    <a:pt x="1063" y="451"/>
                  </a:cubicBezTo>
                  <a:cubicBezTo>
                    <a:pt x="1064" y="451"/>
                    <a:pt x="1065" y="450"/>
                    <a:pt x="1065" y="449"/>
                  </a:cubicBezTo>
                  <a:cubicBezTo>
                    <a:pt x="1066" y="449"/>
                    <a:pt x="1067" y="449"/>
                    <a:pt x="1067" y="448"/>
                  </a:cubicBezTo>
                  <a:cubicBezTo>
                    <a:pt x="1067" y="448"/>
                    <a:pt x="1067" y="448"/>
                    <a:pt x="1067" y="448"/>
                  </a:cubicBezTo>
                  <a:cubicBezTo>
                    <a:pt x="1067" y="448"/>
                    <a:pt x="1067" y="448"/>
                    <a:pt x="1068" y="448"/>
                  </a:cubicBezTo>
                  <a:cubicBezTo>
                    <a:pt x="1068" y="448"/>
                    <a:pt x="1069" y="449"/>
                    <a:pt x="1069" y="449"/>
                  </a:cubicBezTo>
                  <a:cubicBezTo>
                    <a:pt x="1070" y="449"/>
                    <a:pt x="1071" y="448"/>
                    <a:pt x="1071" y="447"/>
                  </a:cubicBezTo>
                  <a:cubicBezTo>
                    <a:pt x="1072" y="447"/>
                    <a:pt x="1072" y="447"/>
                    <a:pt x="1073" y="447"/>
                  </a:cubicBezTo>
                  <a:cubicBezTo>
                    <a:pt x="1073" y="447"/>
                    <a:pt x="1074" y="446"/>
                    <a:pt x="1074" y="445"/>
                  </a:cubicBezTo>
                  <a:cubicBezTo>
                    <a:pt x="1074" y="444"/>
                    <a:pt x="1073" y="442"/>
                    <a:pt x="1072" y="441"/>
                  </a:cubicBezTo>
                  <a:cubicBezTo>
                    <a:pt x="1072" y="441"/>
                    <a:pt x="1072" y="441"/>
                    <a:pt x="1072" y="441"/>
                  </a:cubicBezTo>
                  <a:cubicBezTo>
                    <a:pt x="1072" y="441"/>
                    <a:pt x="1073" y="440"/>
                    <a:pt x="1072" y="439"/>
                  </a:cubicBezTo>
                  <a:cubicBezTo>
                    <a:pt x="1071" y="438"/>
                    <a:pt x="1070" y="438"/>
                    <a:pt x="1069" y="439"/>
                  </a:cubicBezTo>
                  <a:cubicBezTo>
                    <a:pt x="1068" y="438"/>
                    <a:pt x="1068" y="438"/>
                    <a:pt x="1067" y="438"/>
                  </a:cubicBezTo>
                  <a:cubicBezTo>
                    <a:pt x="1066" y="438"/>
                    <a:pt x="1066" y="438"/>
                    <a:pt x="1066" y="438"/>
                  </a:cubicBezTo>
                  <a:cubicBezTo>
                    <a:pt x="1066" y="438"/>
                    <a:pt x="1066" y="438"/>
                    <a:pt x="1066" y="438"/>
                  </a:cubicBezTo>
                  <a:cubicBezTo>
                    <a:pt x="1065" y="438"/>
                    <a:pt x="1064" y="438"/>
                    <a:pt x="1064" y="439"/>
                  </a:cubicBezTo>
                  <a:cubicBezTo>
                    <a:pt x="1063" y="439"/>
                    <a:pt x="1063" y="440"/>
                    <a:pt x="1063" y="440"/>
                  </a:cubicBezTo>
                  <a:cubicBezTo>
                    <a:pt x="1063" y="440"/>
                    <a:pt x="1063" y="440"/>
                    <a:pt x="1063" y="440"/>
                  </a:cubicBezTo>
                  <a:cubicBezTo>
                    <a:pt x="1062" y="438"/>
                    <a:pt x="1061" y="437"/>
                    <a:pt x="1061" y="437"/>
                  </a:cubicBezTo>
                  <a:cubicBezTo>
                    <a:pt x="1060" y="437"/>
                    <a:pt x="1060" y="437"/>
                    <a:pt x="1059" y="438"/>
                  </a:cubicBezTo>
                  <a:cubicBezTo>
                    <a:pt x="1059" y="438"/>
                    <a:pt x="1059" y="438"/>
                    <a:pt x="1059" y="438"/>
                  </a:cubicBezTo>
                  <a:cubicBezTo>
                    <a:pt x="1058" y="437"/>
                    <a:pt x="1058" y="437"/>
                    <a:pt x="1057" y="437"/>
                  </a:cubicBezTo>
                  <a:cubicBezTo>
                    <a:pt x="1056" y="436"/>
                    <a:pt x="1054" y="437"/>
                    <a:pt x="1054" y="437"/>
                  </a:cubicBezTo>
                  <a:cubicBezTo>
                    <a:pt x="1054" y="437"/>
                    <a:pt x="1054" y="437"/>
                    <a:pt x="1053" y="437"/>
                  </a:cubicBezTo>
                  <a:cubicBezTo>
                    <a:pt x="1052" y="437"/>
                    <a:pt x="1051" y="438"/>
                    <a:pt x="1051" y="438"/>
                  </a:cubicBezTo>
                  <a:cubicBezTo>
                    <a:pt x="1051" y="438"/>
                    <a:pt x="1050" y="439"/>
                    <a:pt x="1050" y="440"/>
                  </a:cubicBezTo>
                  <a:cubicBezTo>
                    <a:pt x="1049" y="440"/>
                    <a:pt x="1049" y="442"/>
                    <a:pt x="1049" y="443"/>
                  </a:cubicBezTo>
                  <a:cubicBezTo>
                    <a:pt x="1050" y="443"/>
                    <a:pt x="1050" y="443"/>
                    <a:pt x="1050" y="443"/>
                  </a:cubicBezTo>
                  <a:cubicBezTo>
                    <a:pt x="1049" y="443"/>
                    <a:pt x="1049" y="443"/>
                    <a:pt x="1049" y="443"/>
                  </a:cubicBezTo>
                  <a:cubicBezTo>
                    <a:pt x="1048" y="443"/>
                    <a:pt x="1048" y="443"/>
                    <a:pt x="1047" y="443"/>
                  </a:cubicBezTo>
                  <a:cubicBezTo>
                    <a:pt x="1047" y="443"/>
                    <a:pt x="1047" y="443"/>
                    <a:pt x="1047" y="443"/>
                  </a:cubicBezTo>
                  <a:cubicBezTo>
                    <a:pt x="1047" y="443"/>
                    <a:pt x="1046" y="442"/>
                    <a:pt x="1045" y="442"/>
                  </a:cubicBezTo>
                  <a:cubicBezTo>
                    <a:pt x="1045" y="442"/>
                    <a:pt x="1045" y="441"/>
                    <a:pt x="1044" y="439"/>
                  </a:cubicBezTo>
                  <a:cubicBezTo>
                    <a:pt x="1044" y="438"/>
                    <a:pt x="1044" y="438"/>
                    <a:pt x="1044" y="438"/>
                  </a:cubicBezTo>
                  <a:cubicBezTo>
                    <a:pt x="1044" y="436"/>
                    <a:pt x="1043" y="436"/>
                    <a:pt x="1042" y="436"/>
                  </a:cubicBezTo>
                  <a:cubicBezTo>
                    <a:pt x="1042" y="435"/>
                    <a:pt x="1041" y="435"/>
                    <a:pt x="1040" y="435"/>
                  </a:cubicBezTo>
                  <a:cubicBezTo>
                    <a:pt x="1040" y="434"/>
                    <a:pt x="1040" y="434"/>
                    <a:pt x="1040" y="434"/>
                  </a:cubicBezTo>
                  <a:cubicBezTo>
                    <a:pt x="1038" y="434"/>
                    <a:pt x="1038" y="435"/>
                    <a:pt x="1037" y="435"/>
                  </a:cubicBezTo>
                  <a:cubicBezTo>
                    <a:pt x="1037" y="435"/>
                    <a:pt x="1036" y="435"/>
                    <a:pt x="1036" y="435"/>
                  </a:cubicBezTo>
                  <a:cubicBezTo>
                    <a:pt x="1036" y="434"/>
                    <a:pt x="1035" y="433"/>
                    <a:pt x="1033" y="433"/>
                  </a:cubicBezTo>
                  <a:cubicBezTo>
                    <a:pt x="1033" y="432"/>
                    <a:pt x="1033" y="431"/>
                    <a:pt x="1032" y="430"/>
                  </a:cubicBezTo>
                  <a:cubicBezTo>
                    <a:pt x="1031" y="429"/>
                    <a:pt x="1031" y="429"/>
                    <a:pt x="1031" y="428"/>
                  </a:cubicBezTo>
                  <a:cubicBezTo>
                    <a:pt x="1032" y="427"/>
                    <a:pt x="1031" y="426"/>
                    <a:pt x="1031" y="425"/>
                  </a:cubicBezTo>
                  <a:cubicBezTo>
                    <a:pt x="1031" y="425"/>
                    <a:pt x="1031" y="425"/>
                    <a:pt x="1031" y="425"/>
                  </a:cubicBezTo>
                  <a:cubicBezTo>
                    <a:pt x="1031" y="426"/>
                    <a:pt x="1031" y="426"/>
                    <a:pt x="1031" y="426"/>
                  </a:cubicBezTo>
                  <a:cubicBezTo>
                    <a:pt x="1031" y="426"/>
                    <a:pt x="1032" y="427"/>
                    <a:pt x="1033" y="427"/>
                  </a:cubicBezTo>
                  <a:cubicBezTo>
                    <a:pt x="1034" y="427"/>
                    <a:pt x="1034" y="426"/>
                    <a:pt x="1035" y="426"/>
                  </a:cubicBezTo>
                  <a:cubicBezTo>
                    <a:pt x="1035" y="426"/>
                    <a:pt x="1035" y="426"/>
                    <a:pt x="1035" y="426"/>
                  </a:cubicBezTo>
                  <a:cubicBezTo>
                    <a:pt x="1035" y="426"/>
                    <a:pt x="1036" y="426"/>
                    <a:pt x="1036" y="426"/>
                  </a:cubicBezTo>
                  <a:cubicBezTo>
                    <a:pt x="1037" y="426"/>
                    <a:pt x="1038" y="425"/>
                    <a:pt x="1038" y="425"/>
                  </a:cubicBezTo>
                  <a:cubicBezTo>
                    <a:pt x="1039" y="425"/>
                    <a:pt x="1039" y="424"/>
                    <a:pt x="1039" y="423"/>
                  </a:cubicBezTo>
                  <a:cubicBezTo>
                    <a:pt x="1039" y="423"/>
                    <a:pt x="1039" y="423"/>
                    <a:pt x="1039" y="423"/>
                  </a:cubicBezTo>
                  <a:cubicBezTo>
                    <a:pt x="1040" y="422"/>
                    <a:pt x="1040" y="421"/>
                    <a:pt x="1040" y="419"/>
                  </a:cubicBezTo>
                  <a:cubicBezTo>
                    <a:pt x="1040" y="419"/>
                    <a:pt x="1040" y="419"/>
                    <a:pt x="1040" y="419"/>
                  </a:cubicBezTo>
                  <a:cubicBezTo>
                    <a:pt x="1040" y="419"/>
                    <a:pt x="1040" y="418"/>
                    <a:pt x="1040" y="417"/>
                  </a:cubicBezTo>
                  <a:cubicBezTo>
                    <a:pt x="1040" y="417"/>
                    <a:pt x="1040" y="417"/>
                    <a:pt x="1040" y="417"/>
                  </a:cubicBezTo>
                  <a:cubicBezTo>
                    <a:pt x="1041" y="417"/>
                    <a:pt x="1041" y="417"/>
                    <a:pt x="1041" y="417"/>
                  </a:cubicBezTo>
                  <a:cubicBezTo>
                    <a:pt x="1042" y="416"/>
                    <a:pt x="1043" y="416"/>
                    <a:pt x="1043" y="414"/>
                  </a:cubicBezTo>
                  <a:cubicBezTo>
                    <a:pt x="1043" y="414"/>
                    <a:pt x="1044" y="414"/>
                    <a:pt x="1044" y="414"/>
                  </a:cubicBezTo>
                  <a:cubicBezTo>
                    <a:pt x="1044" y="413"/>
                    <a:pt x="1045" y="413"/>
                    <a:pt x="1045" y="413"/>
                  </a:cubicBezTo>
                  <a:cubicBezTo>
                    <a:pt x="1046" y="412"/>
                    <a:pt x="1046" y="410"/>
                    <a:pt x="1046" y="409"/>
                  </a:cubicBezTo>
                  <a:cubicBezTo>
                    <a:pt x="1046" y="409"/>
                    <a:pt x="1047" y="408"/>
                    <a:pt x="1047" y="407"/>
                  </a:cubicBezTo>
                  <a:cubicBezTo>
                    <a:pt x="1047" y="407"/>
                    <a:pt x="1047" y="407"/>
                    <a:pt x="1047" y="406"/>
                  </a:cubicBezTo>
                  <a:cubicBezTo>
                    <a:pt x="1047" y="406"/>
                    <a:pt x="1047" y="405"/>
                    <a:pt x="1047" y="405"/>
                  </a:cubicBezTo>
                  <a:cubicBezTo>
                    <a:pt x="1047" y="405"/>
                    <a:pt x="1047" y="405"/>
                    <a:pt x="1048" y="405"/>
                  </a:cubicBezTo>
                  <a:cubicBezTo>
                    <a:pt x="1048" y="405"/>
                    <a:pt x="1048" y="405"/>
                    <a:pt x="1048" y="405"/>
                  </a:cubicBezTo>
                  <a:cubicBezTo>
                    <a:pt x="1048" y="405"/>
                    <a:pt x="1049" y="405"/>
                    <a:pt x="1050" y="405"/>
                  </a:cubicBezTo>
                  <a:cubicBezTo>
                    <a:pt x="1050" y="405"/>
                    <a:pt x="1051" y="406"/>
                    <a:pt x="1052" y="406"/>
                  </a:cubicBezTo>
                  <a:cubicBezTo>
                    <a:pt x="1052" y="406"/>
                    <a:pt x="1053" y="406"/>
                    <a:pt x="1053" y="406"/>
                  </a:cubicBezTo>
                  <a:cubicBezTo>
                    <a:pt x="1054" y="407"/>
                    <a:pt x="1054" y="407"/>
                    <a:pt x="1055" y="407"/>
                  </a:cubicBezTo>
                  <a:cubicBezTo>
                    <a:pt x="1055" y="407"/>
                    <a:pt x="1055" y="407"/>
                    <a:pt x="1055" y="407"/>
                  </a:cubicBezTo>
                  <a:cubicBezTo>
                    <a:pt x="1054" y="408"/>
                    <a:pt x="1054" y="408"/>
                    <a:pt x="1054" y="408"/>
                  </a:cubicBezTo>
                  <a:cubicBezTo>
                    <a:pt x="1054" y="408"/>
                    <a:pt x="1054" y="409"/>
                    <a:pt x="1054" y="409"/>
                  </a:cubicBezTo>
                  <a:cubicBezTo>
                    <a:pt x="1054" y="410"/>
                    <a:pt x="1054" y="410"/>
                    <a:pt x="1054" y="410"/>
                  </a:cubicBezTo>
                  <a:cubicBezTo>
                    <a:pt x="1054" y="411"/>
                    <a:pt x="1053" y="412"/>
                    <a:pt x="1053" y="414"/>
                  </a:cubicBezTo>
                  <a:cubicBezTo>
                    <a:pt x="1053" y="414"/>
                    <a:pt x="1053" y="414"/>
                    <a:pt x="1053" y="414"/>
                  </a:cubicBezTo>
                  <a:cubicBezTo>
                    <a:pt x="1053" y="414"/>
                    <a:pt x="1053" y="414"/>
                    <a:pt x="1053" y="414"/>
                  </a:cubicBezTo>
                  <a:cubicBezTo>
                    <a:pt x="1052" y="414"/>
                    <a:pt x="1052" y="415"/>
                    <a:pt x="1052" y="415"/>
                  </a:cubicBezTo>
                  <a:cubicBezTo>
                    <a:pt x="1052" y="417"/>
                    <a:pt x="1053" y="417"/>
                    <a:pt x="1053" y="418"/>
                  </a:cubicBezTo>
                  <a:cubicBezTo>
                    <a:pt x="1054" y="418"/>
                    <a:pt x="1054" y="418"/>
                    <a:pt x="1054" y="419"/>
                  </a:cubicBezTo>
                  <a:cubicBezTo>
                    <a:pt x="1054" y="419"/>
                    <a:pt x="1054" y="419"/>
                    <a:pt x="1054" y="419"/>
                  </a:cubicBezTo>
                  <a:cubicBezTo>
                    <a:pt x="1054" y="419"/>
                    <a:pt x="1053" y="420"/>
                    <a:pt x="1054" y="421"/>
                  </a:cubicBezTo>
                  <a:cubicBezTo>
                    <a:pt x="1054" y="421"/>
                    <a:pt x="1054" y="421"/>
                    <a:pt x="1055" y="421"/>
                  </a:cubicBezTo>
                  <a:cubicBezTo>
                    <a:pt x="1055" y="422"/>
                    <a:pt x="1055" y="422"/>
                    <a:pt x="1055" y="423"/>
                  </a:cubicBezTo>
                  <a:cubicBezTo>
                    <a:pt x="1055" y="423"/>
                    <a:pt x="1054" y="423"/>
                    <a:pt x="1054" y="423"/>
                  </a:cubicBezTo>
                  <a:cubicBezTo>
                    <a:pt x="1054" y="423"/>
                    <a:pt x="1053" y="423"/>
                    <a:pt x="1053" y="423"/>
                  </a:cubicBezTo>
                  <a:cubicBezTo>
                    <a:pt x="1052" y="423"/>
                    <a:pt x="1052" y="423"/>
                    <a:pt x="1051" y="424"/>
                  </a:cubicBezTo>
                  <a:cubicBezTo>
                    <a:pt x="1051" y="424"/>
                    <a:pt x="1051" y="425"/>
                    <a:pt x="1051" y="426"/>
                  </a:cubicBezTo>
                  <a:cubicBezTo>
                    <a:pt x="1051" y="427"/>
                    <a:pt x="1051" y="428"/>
                    <a:pt x="1053" y="428"/>
                  </a:cubicBezTo>
                  <a:cubicBezTo>
                    <a:pt x="1054" y="428"/>
                    <a:pt x="1056" y="428"/>
                    <a:pt x="1057" y="427"/>
                  </a:cubicBezTo>
                  <a:cubicBezTo>
                    <a:pt x="1059" y="427"/>
                    <a:pt x="1060" y="426"/>
                    <a:pt x="1060" y="423"/>
                  </a:cubicBezTo>
                  <a:cubicBezTo>
                    <a:pt x="1060" y="423"/>
                    <a:pt x="1061" y="423"/>
                    <a:pt x="1061" y="423"/>
                  </a:cubicBezTo>
                  <a:cubicBezTo>
                    <a:pt x="1062" y="422"/>
                    <a:pt x="1062" y="421"/>
                    <a:pt x="1062" y="420"/>
                  </a:cubicBezTo>
                  <a:cubicBezTo>
                    <a:pt x="1063" y="420"/>
                    <a:pt x="1064" y="420"/>
                    <a:pt x="1065" y="418"/>
                  </a:cubicBezTo>
                  <a:cubicBezTo>
                    <a:pt x="1065" y="418"/>
                    <a:pt x="1065" y="418"/>
                    <a:pt x="1065" y="418"/>
                  </a:cubicBezTo>
                  <a:cubicBezTo>
                    <a:pt x="1065" y="418"/>
                    <a:pt x="1066" y="418"/>
                    <a:pt x="1066" y="418"/>
                  </a:cubicBezTo>
                  <a:cubicBezTo>
                    <a:pt x="1067" y="418"/>
                    <a:pt x="1067" y="417"/>
                    <a:pt x="1068" y="416"/>
                  </a:cubicBezTo>
                  <a:cubicBezTo>
                    <a:pt x="1068" y="416"/>
                    <a:pt x="1068" y="416"/>
                    <a:pt x="1068" y="416"/>
                  </a:cubicBezTo>
                  <a:cubicBezTo>
                    <a:pt x="1068" y="416"/>
                    <a:pt x="1069" y="415"/>
                    <a:pt x="1069" y="415"/>
                  </a:cubicBezTo>
                  <a:cubicBezTo>
                    <a:pt x="1069" y="415"/>
                    <a:pt x="1070" y="415"/>
                    <a:pt x="1070" y="415"/>
                  </a:cubicBezTo>
                  <a:cubicBezTo>
                    <a:pt x="1071" y="415"/>
                    <a:pt x="1072" y="414"/>
                    <a:pt x="1073" y="414"/>
                  </a:cubicBezTo>
                  <a:cubicBezTo>
                    <a:pt x="1073" y="414"/>
                    <a:pt x="1073" y="414"/>
                    <a:pt x="1074" y="414"/>
                  </a:cubicBezTo>
                  <a:cubicBezTo>
                    <a:pt x="1074" y="414"/>
                    <a:pt x="1074" y="415"/>
                    <a:pt x="1074" y="415"/>
                  </a:cubicBezTo>
                  <a:cubicBezTo>
                    <a:pt x="1075" y="416"/>
                    <a:pt x="1075" y="416"/>
                    <a:pt x="1076" y="416"/>
                  </a:cubicBezTo>
                  <a:cubicBezTo>
                    <a:pt x="1076" y="416"/>
                    <a:pt x="1076" y="416"/>
                    <a:pt x="1077" y="416"/>
                  </a:cubicBezTo>
                  <a:cubicBezTo>
                    <a:pt x="1077" y="416"/>
                    <a:pt x="1078" y="416"/>
                    <a:pt x="1078" y="415"/>
                  </a:cubicBezTo>
                  <a:cubicBezTo>
                    <a:pt x="1078" y="415"/>
                    <a:pt x="1078" y="416"/>
                    <a:pt x="1078" y="416"/>
                  </a:cubicBezTo>
                  <a:cubicBezTo>
                    <a:pt x="1079" y="416"/>
                    <a:pt x="1079" y="417"/>
                    <a:pt x="1080" y="417"/>
                  </a:cubicBezTo>
                  <a:cubicBezTo>
                    <a:pt x="1080" y="417"/>
                    <a:pt x="1080" y="417"/>
                    <a:pt x="1081" y="417"/>
                  </a:cubicBezTo>
                  <a:cubicBezTo>
                    <a:pt x="1081" y="418"/>
                    <a:pt x="1081" y="418"/>
                    <a:pt x="1081" y="419"/>
                  </a:cubicBezTo>
                  <a:cubicBezTo>
                    <a:pt x="1081" y="419"/>
                    <a:pt x="1081" y="419"/>
                    <a:pt x="1082" y="419"/>
                  </a:cubicBezTo>
                  <a:cubicBezTo>
                    <a:pt x="1082" y="420"/>
                    <a:pt x="1082" y="420"/>
                    <a:pt x="1082" y="421"/>
                  </a:cubicBezTo>
                  <a:cubicBezTo>
                    <a:pt x="1082" y="421"/>
                    <a:pt x="1082" y="421"/>
                    <a:pt x="1082" y="421"/>
                  </a:cubicBezTo>
                  <a:cubicBezTo>
                    <a:pt x="1081" y="423"/>
                    <a:pt x="1081" y="424"/>
                    <a:pt x="1083" y="425"/>
                  </a:cubicBezTo>
                  <a:cubicBezTo>
                    <a:pt x="1083" y="425"/>
                    <a:pt x="1083" y="425"/>
                    <a:pt x="1083" y="425"/>
                  </a:cubicBezTo>
                  <a:cubicBezTo>
                    <a:pt x="1082" y="426"/>
                    <a:pt x="1082" y="426"/>
                    <a:pt x="1082" y="427"/>
                  </a:cubicBezTo>
                  <a:cubicBezTo>
                    <a:pt x="1082" y="428"/>
                    <a:pt x="1082" y="429"/>
                    <a:pt x="1082" y="430"/>
                  </a:cubicBezTo>
                  <a:cubicBezTo>
                    <a:pt x="1082" y="430"/>
                    <a:pt x="1082" y="430"/>
                    <a:pt x="1082" y="430"/>
                  </a:cubicBezTo>
                  <a:cubicBezTo>
                    <a:pt x="1081" y="431"/>
                    <a:pt x="1081" y="432"/>
                    <a:pt x="1081" y="432"/>
                  </a:cubicBezTo>
                  <a:cubicBezTo>
                    <a:pt x="1082" y="434"/>
                    <a:pt x="1083" y="434"/>
                    <a:pt x="1084" y="434"/>
                  </a:cubicBezTo>
                  <a:cubicBezTo>
                    <a:pt x="1084" y="434"/>
                    <a:pt x="1084" y="435"/>
                    <a:pt x="1084" y="435"/>
                  </a:cubicBezTo>
                  <a:cubicBezTo>
                    <a:pt x="1085" y="435"/>
                    <a:pt x="1085" y="436"/>
                    <a:pt x="1086" y="436"/>
                  </a:cubicBezTo>
                  <a:cubicBezTo>
                    <a:pt x="1087" y="436"/>
                    <a:pt x="1087" y="436"/>
                    <a:pt x="1088" y="436"/>
                  </a:cubicBezTo>
                  <a:cubicBezTo>
                    <a:pt x="1088" y="437"/>
                    <a:pt x="1089" y="437"/>
                    <a:pt x="1090" y="437"/>
                  </a:cubicBezTo>
                  <a:cubicBezTo>
                    <a:pt x="1090" y="437"/>
                    <a:pt x="1091" y="436"/>
                    <a:pt x="1091" y="435"/>
                  </a:cubicBezTo>
                  <a:cubicBezTo>
                    <a:pt x="1092" y="435"/>
                    <a:pt x="1093" y="436"/>
                    <a:pt x="1093" y="436"/>
                  </a:cubicBezTo>
                  <a:cubicBezTo>
                    <a:pt x="1094" y="436"/>
                    <a:pt x="1094" y="436"/>
                    <a:pt x="1094" y="436"/>
                  </a:cubicBezTo>
                  <a:cubicBezTo>
                    <a:pt x="1094" y="436"/>
                    <a:pt x="1095" y="436"/>
                    <a:pt x="1096" y="435"/>
                  </a:cubicBezTo>
                  <a:cubicBezTo>
                    <a:pt x="1096" y="437"/>
                    <a:pt x="1098" y="438"/>
                    <a:pt x="1099" y="438"/>
                  </a:cubicBezTo>
                  <a:cubicBezTo>
                    <a:pt x="1099" y="439"/>
                    <a:pt x="1100" y="440"/>
                    <a:pt x="1100" y="440"/>
                  </a:cubicBezTo>
                  <a:cubicBezTo>
                    <a:pt x="1100" y="440"/>
                    <a:pt x="1100" y="441"/>
                    <a:pt x="1101" y="442"/>
                  </a:cubicBezTo>
                  <a:cubicBezTo>
                    <a:pt x="1100" y="441"/>
                    <a:pt x="1099" y="442"/>
                    <a:pt x="1098" y="443"/>
                  </a:cubicBezTo>
                  <a:cubicBezTo>
                    <a:pt x="1098" y="443"/>
                    <a:pt x="1098" y="444"/>
                    <a:pt x="1098" y="444"/>
                  </a:cubicBezTo>
                  <a:cubicBezTo>
                    <a:pt x="1098" y="445"/>
                    <a:pt x="1098" y="446"/>
                    <a:pt x="1099" y="447"/>
                  </a:cubicBezTo>
                  <a:cubicBezTo>
                    <a:pt x="1100" y="447"/>
                    <a:pt x="1100" y="447"/>
                    <a:pt x="1101" y="447"/>
                  </a:cubicBezTo>
                  <a:cubicBezTo>
                    <a:pt x="1101" y="447"/>
                    <a:pt x="1101" y="447"/>
                    <a:pt x="1101" y="447"/>
                  </a:cubicBezTo>
                  <a:cubicBezTo>
                    <a:pt x="1102" y="448"/>
                    <a:pt x="1102" y="448"/>
                    <a:pt x="1102" y="449"/>
                  </a:cubicBezTo>
                  <a:cubicBezTo>
                    <a:pt x="1103" y="451"/>
                    <a:pt x="1104" y="453"/>
                    <a:pt x="1105" y="454"/>
                  </a:cubicBezTo>
                  <a:cubicBezTo>
                    <a:pt x="1105" y="455"/>
                    <a:pt x="1105" y="455"/>
                    <a:pt x="1105" y="455"/>
                  </a:cubicBezTo>
                  <a:cubicBezTo>
                    <a:pt x="1106" y="455"/>
                    <a:pt x="1105" y="456"/>
                    <a:pt x="1105" y="456"/>
                  </a:cubicBezTo>
                  <a:cubicBezTo>
                    <a:pt x="1105" y="457"/>
                    <a:pt x="1105" y="459"/>
                    <a:pt x="1105" y="460"/>
                  </a:cubicBezTo>
                  <a:cubicBezTo>
                    <a:pt x="1105" y="460"/>
                    <a:pt x="1105" y="460"/>
                    <a:pt x="1105" y="461"/>
                  </a:cubicBezTo>
                  <a:cubicBezTo>
                    <a:pt x="1105" y="461"/>
                    <a:pt x="1105" y="461"/>
                    <a:pt x="1105" y="461"/>
                  </a:cubicBezTo>
                  <a:cubicBezTo>
                    <a:pt x="1104" y="463"/>
                    <a:pt x="1106" y="464"/>
                    <a:pt x="1107" y="465"/>
                  </a:cubicBezTo>
                  <a:cubicBezTo>
                    <a:pt x="1107" y="465"/>
                    <a:pt x="1107" y="465"/>
                    <a:pt x="1108" y="466"/>
                  </a:cubicBezTo>
                  <a:cubicBezTo>
                    <a:pt x="1108" y="466"/>
                    <a:pt x="1108" y="466"/>
                    <a:pt x="1108" y="467"/>
                  </a:cubicBezTo>
                  <a:cubicBezTo>
                    <a:pt x="1108" y="467"/>
                    <a:pt x="1108" y="467"/>
                    <a:pt x="1108" y="467"/>
                  </a:cubicBezTo>
                  <a:cubicBezTo>
                    <a:pt x="1108" y="467"/>
                    <a:pt x="1108" y="468"/>
                    <a:pt x="1108" y="468"/>
                  </a:cubicBezTo>
                  <a:cubicBezTo>
                    <a:pt x="1108" y="470"/>
                    <a:pt x="1109" y="470"/>
                    <a:pt x="1109" y="470"/>
                  </a:cubicBezTo>
                  <a:cubicBezTo>
                    <a:pt x="1109" y="470"/>
                    <a:pt x="1110" y="471"/>
                    <a:pt x="1110" y="471"/>
                  </a:cubicBezTo>
                  <a:cubicBezTo>
                    <a:pt x="1110" y="471"/>
                    <a:pt x="1110" y="471"/>
                    <a:pt x="1110" y="471"/>
                  </a:cubicBezTo>
                  <a:cubicBezTo>
                    <a:pt x="1111" y="472"/>
                    <a:pt x="1111" y="472"/>
                    <a:pt x="1112" y="472"/>
                  </a:cubicBezTo>
                  <a:cubicBezTo>
                    <a:pt x="1113" y="472"/>
                    <a:pt x="1114" y="471"/>
                    <a:pt x="1114" y="470"/>
                  </a:cubicBezTo>
                  <a:cubicBezTo>
                    <a:pt x="1114" y="470"/>
                    <a:pt x="1114" y="470"/>
                    <a:pt x="1114" y="470"/>
                  </a:cubicBezTo>
                  <a:cubicBezTo>
                    <a:pt x="1114" y="470"/>
                    <a:pt x="1115" y="469"/>
                    <a:pt x="1115" y="469"/>
                  </a:cubicBezTo>
                  <a:cubicBezTo>
                    <a:pt x="1116" y="470"/>
                    <a:pt x="1117" y="470"/>
                    <a:pt x="1118" y="469"/>
                  </a:cubicBezTo>
                  <a:cubicBezTo>
                    <a:pt x="1118" y="468"/>
                    <a:pt x="1118" y="468"/>
                    <a:pt x="1119" y="467"/>
                  </a:cubicBezTo>
                  <a:cubicBezTo>
                    <a:pt x="1119" y="467"/>
                    <a:pt x="1120" y="467"/>
                    <a:pt x="1120" y="466"/>
                  </a:cubicBezTo>
                  <a:cubicBezTo>
                    <a:pt x="1120" y="466"/>
                    <a:pt x="1120" y="465"/>
                    <a:pt x="1120" y="464"/>
                  </a:cubicBezTo>
                  <a:cubicBezTo>
                    <a:pt x="1120" y="465"/>
                    <a:pt x="1120" y="465"/>
                    <a:pt x="1121" y="465"/>
                  </a:cubicBezTo>
                  <a:cubicBezTo>
                    <a:pt x="1121" y="465"/>
                    <a:pt x="1121" y="465"/>
                    <a:pt x="1121" y="465"/>
                  </a:cubicBezTo>
                  <a:cubicBezTo>
                    <a:pt x="1122" y="466"/>
                    <a:pt x="1122" y="466"/>
                    <a:pt x="1123" y="466"/>
                  </a:cubicBezTo>
                  <a:cubicBezTo>
                    <a:pt x="1124" y="466"/>
                    <a:pt x="1124" y="466"/>
                    <a:pt x="1125" y="465"/>
                  </a:cubicBezTo>
                  <a:cubicBezTo>
                    <a:pt x="1125" y="464"/>
                    <a:pt x="1125" y="463"/>
                    <a:pt x="1125" y="462"/>
                  </a:cubicBezTo>
                  <a:cubicBezTo>
                    <a:pt x="1125" y="462"/>
                    <a:pt x="1125" y="462"/>
                    <a:pt x="1125" y="462"/>
                  </a:cubicBezTo>
                  <a:cubicBezTo>
                    <a:pt x="1125" y="462"/>
                    <a:pt x="1126" y="462"/>
                    <a:pt x="1126" y="462"/>
                  </a:cubicBezTo>
                  <a:cubicBezTo>
                    <a:pt x="1126" y="463"/>
                    <a:pt x="1127" y="464"/>
                    <a:pt x="1128" y="464"/>
                  </a:cubicBezTo>
                  <a:cubicBezTo>
                    <a:pt x="1129" y="463"/>
                    <a:pt x="1129" y="463"/>
                    <a:pt x="1129" y="463"/>
                  </a:cubicBezTo>
                  <a:cubicBezTo>
                    <a:pt x="1129" y="463"/>
                    <a:pt x="1129" y="463"/>
                    <a:pt x="1129" y="463"/>
                  </a:cubicBezTo>
                  <a:cubicBezTo>
                    <a:pt x="1129" y="463"/>
                    <a:pt x="1129" y="462"/>
                    <a:pt x="1129" y="461"/>
                  </a:cubicBezTo>
                  <a:cubicBezTo>
                    <a:pt x="1129" y="460"/>
                    <a:pt x="1129" y="459"/>
                    <a:pt x="1129" y="458"/>
                  </a:cubicBezTo>
                  <a:cubicBezTo>
                    <a:pt x="1130" y="457"/>
                    <a:pt x="1129" y="455"/>
                    <a:pt x="1129" y="455"/>
                  </a:cubicBezTo>
                  <a:cubicBezTo>
                    <a:pt x="1129" y="454"/>
                    <a:pt x="1129" y="454"/>
                    <a:pt x="1129" y="454"/>
                  </a:cubicBezTo>
                  <a:cubicBezTo>
                    <a:pt x="1129" y="453"/>
                    <a:pt x="1129" y="453"/>
                    <a:pt x="1128" y="453"/>
                  </a:cubicBezTo>
                  <a:cubicBezTo>
                    <a:pt x="1128" y="451"/>
                    <a:pt x="1127" y="450"/>
                    <a:pt x="1126" y="449"/>
                  </a:cubicBezTo>
                  <a:cubicBezTo>
                    <a:pt x="1126" y="449"/>
                    <a:pt x="1126" y="448"/>
                    <a:pt x="1126" y="447"/>
                  </a:cubicBezTo>
                  <a:cubicBezTo>
                    <a:pt x="1125" y="447"/>
                    <a:pt x="1125" y="446"/>
                    <a:pt x="1125" y="446"/>
                  </a:cubicBezTo>
                  <a:cubicBezTo>
                    <a:pt x="1125" y="445"/>
                    <a:pt x="1125" y="445"/>
                    <a:pt x="1125" y="445"/>
                  </a:cubicBezTo>
                  <a:cubicBezTo>
                    <a:pt x="1125" y="445"/>
                    <a:pt x="1124" y="444"/>
                    <a:pt x="1124" y="442"/>
                  </a:cubicBezTo>
                  <a:cubicBezTo>
                    <a:pt x="1123" y="438"/>
                    <a:pt x="1121" y="436"/>
                    <a:pt x="1120" y="435"/>
                  </a:cubicBezTo>
                  <a:cubicBezTo>
                    <a:pt x="1120" y="435"/>
                    <a:pt x="1119" y="434"/>
                    <a:pt x="1119" y="434"/>
                  </a:cubicBezTo>
                  <a:cubicBezTo>
                    <a:pt x="1119" y="432"/>
                    <a:pt x="1118" y="431"/>
                    <a:pt x="1117" y="430"/>
                  </a:cubicBezTo>
                  <a:cubicBezTo>
                    <a:pt x="1115" y="430"/>
                    <a:pt x="1112" y="426"/>
                    <a:pt x="1111" y="425"/>
                  </a:cubicBezTo>
                  <a:cubicBezTo>
                    <a:pt x="1111" y="425"/>
                    <a:pt x="1111" y="424"/>
                    <a:pt x="1110" y="423"/>
                  </a:cubicBezTo>
                  <a:cubicBezTo>
                    <a:pt x="1110" y="423"/>
                    <a:pt x="1110" y="423"/>
                    <a:pt x="1110" y="423"/>
                  </a:cubicBezTo>
                  <a:cubicBezTo>
                    <a:pt x="1109" y="423"/>
                    <a:pt x="1109" y="423"/>
                    <a:pt x="1109" y="423"/>
                  </a:cubicBezTo>
                  <a:cubicBezTo>
                    <a:pt x="1109" y="423"/>
                    <a:pt x="1109" y="422"/>
                    <a:pt x="1109" y="422"/>
                  </a:cubicBezTo>
                  <a:cubicBezTo>
                    <a:pt x="1107" y="421"/>
                    <a:pt x="1107" y="421"/>
                    <a:pt x="1107" y="421"/>
                  </a:cubicBezTo>
                  <a:cubicBezTo>
                    <a:pt x="1107" y="421"/>
                    <a:pt x="1107" y="421"/>
                    <a:pt x="1107" y="421"/>
                  </a:cubicBezTo>
                  <a:cubicBezTo>
                    <a:pt x="1106" y="419"/>
                    <a:pt x="1105" y="419"/>
                    <a:pt x="1105" y="418"/>
                  </a:cubicBezTo>
                  <a:cubicBezTo>
                    <a:pt x="1104" y="418"/>
                    <a:pt x="1102" y="417"/>
                    <a:pt x="1101" y="417"/>
                  </a:cubicBezTo>
                  <a:cubicBezTo>
                    <a:pt x="1102" y="416"/>
                    <a:pt x="1101" y="415"/>
                    <a:pt x="1100" y="414"/>
                  </a:cubicBezTo>
                  <a:cubicBezTo>
                    <a:pt x="1100" y="413"/>
                    <a:pt x="1100" y="413"/>
                    <a:pt x="1100" y="413"/>
                  </a:cubicBezTo>
                  <a:cubicBezTo>
                    <a:pt x="1099" y="412"/>
                    <a:pt x="1099" y="412"/>
                    <a:pt x="1099" y="412"/>
                  </a:cubicBezTo>
                  <a:cubicBezTo>
                    <a:pt x="1099" y="412"/>
                    <a:pt x="1100" y="412"/>
                    <a:pt x="1100" y="412"/>
                  </a:cubicBezTo>
                  <a:cubicBezTo>
                    <a:pt x="1100" y="411"/>
                    <a:pt x="1100" y="411"/>
                    <a:pt x="1100" y="410"/>
                  </a:cubicBezTo>
                  <a:cubicBezTo>
                    <a:pt x="1101" y="409"/>
                    <a:pt x="1101" y="409"/>
                    <a:pt x="1102" y="408"/>
                  </a:cubicBezTo>
                  <a:cubicBezTo>
                    <a:pt x="1102" y="409"/>
                    <a:pt x="1103" y="409"/>
                    <a:pt x="1103" y="409"/>
                  </a:cubicBezTo>
                  <a:cubicBezTo>
                    <a:pt x="1104" y="409"/>
                    <a:pt x="1104" y="408"/>
                    <a:pt x="1105" y="408"/>
                  </a:cubicBezTo>
                  <a:cubicBezTo>
                    <a:pt x="1105" y="407"/>
                    <a:pt x="1105" y="405"/>
                    <a:pt x="1105" y="404"/>
                  </a:cubicBezTo>
                  <a:cubicBezTo>
                    <a:pt x="1105" y="404"/>
                    <a:pt x="1106" y="404"/>
                    <a:pt x="1106" y="404"/>
                  </a:cubicBezTo>
                  <a:cubicBezTo>
                    <a:pt x="1106" y="403"/>
                    <a:pt x="1106" y="403"/>
                    <a:pt x="1106" y="402"/>
                  </a:cubicBezTo>
                  <a:cubicBezTo>
                    <a:pt x="1106" y="402"/>
                    <a:pt x="1107" y="401"/>
                    <a:pt x="1108" y="400"/>
                  </a:cubicBezTo>
                  <a:cubicBezTo>
                    <a:pt x="1108" y="400"/>
                    <a:pt x="1108" y="400"/>
                    <a:pt x="1108" y="400"/>
                  </a:cubicBezTo>
                  <a:cubicBezTo>
                    <a:pt x="1110" y="396"/>
                    <a:pt x="1107" y="390"/>
                    <a:pt x="1107" y="390"/>
                  </a:cubicBezTo>
                  <a:cubicBezTo>
                    <a:pt x="1107" y="389"/>
                    <a:pt x="1106" y="387"/>
                    <a:pt x="1106" y="386"/>
                  </a:cubicBezTo>
                  <a:cubicBezTo>
                    <a:pt x="1106" y="386"/>
                    <a:pt x="1106" y="386"/>
                    <a:pt x="1106" y="385"/>
                  </a:cubicBezTo>
                  <a:cubicBezTo>
                    <a:pt x="1106" y="385"/>
                    <a:pt x="1106" y="384"/>
                    <a:pt x="1106" y="384"/>
                  </a:cubicBezTo>
                  <a:cubicBezTo>
                    <a:pt x="1106" y="384"/>
                    <a:pt x="1106" y="384"/>
                    <a:pt x="1106" y="384"/>
                  </a:cubicBezTo>
                  <a:cubicBezTo>
                    <a:pt x="1108" y="384"/>
                    <a:pt x="1109" y="383"/>
                    <a:pt x="1110" y="382"/>
                  </a:cubicBezTo>
                  <a:cubicBezTo>
                    <a:pt x="1110" y="382"/>
                    <a:pt x="1111" y="381"/>
                    <a:pt x="1111" y="380"/>
                  </a:cubicBezTo>
                  <a:cubicBezTo>
                    <a:pt x="1111" y="380"/>
                    <a:pt x="1111" y="380"/>
                    <a:pt x="1111" y="380"/>
                  </a:cubicBezTo>
                  <a:cubicBezTo>
                    <a:pt x="1111" y="380"/>
                    <a:pt x="1111" y="379"/>
                    <a:pt x="1112" y="379"/>
                  </a:cubicBezTo>
                  <a:cubicBezTo>
                    <a:pt x="1112" y="378"/>
                    <a:pt x="1112" y="376"/>
                    <a:pt x="1112" y="375"/>
                  </a:cubicBezTo>
                  <a:cubicBezTo>
                    <a:pt x="1112" y="375"/>
                    <a:pt x="1112" y="375"/>
                    <a:pt x="1112" y="375"/>
                  </a:cubicBezTo>
                  <a:cubicBezTo>
                    <a:pt x="1112" y="374"/>
                    <a:pt x="1113" y="373"/>
                    <a:pt x="1112" y="372"/>
                  </a:cubicBezTo>
                  <a:cubicBezTo>
                    <a:pt x="1113" y="372"/>
                    <a:pt x="1113" y="372"/>
                    <a:pt x="1114" y="372"/>
                  </a:cubicBezTo>
                  <a:cubicBezTo>
                    <a:pt x="1114" y="372"/>
                    <a:pt x="1115" y="372"/>
                    <a:pt x="1115" y="372"/>
                  </a:cubicBezTo>
                  <a:cubicBezTo>
                    <a:pt x="1115" y="372"/>
                    <a:pt x="1116" y="373"/>
                    <a:pt x="1115" y="374"/>
                  </a:cubicBezTo>
                  <a:cubicBezTo>
                    <a:pt x="1115" y="375"/>
                    <a:pt x="1116" y="375"/>
                    <a:pt x="1116" y="376"/>
                  </a:cubicBezTo>
                  <a:cubicBezTo>
                    <a:pt x="1116" y="376"/>
                    <a:pt x="1117" y="376"/>
                    <a:pt x="1118" y="376"/>
                  </a:cubicBezTo>
                  <a:cubicBezTo>
                    <a:pt x="1118" y="376"/>
                    <a:pt x="1118" y="376"/>
                    <a:pt x="1118" y="376"/>
                  </a:cubicBezTo>
                  <a:cubicBezTo>
                    <a:pt x="1119" y="376"/>
                    <a:pt x="1119" y="376"/>
                    <a:pt x="1119" y="376"/>
                  </a:cubicBezTo>
                  <a:cubicBezTo>
                    <a:pt x="1119" y="376"/>
                    <a:pt x="1120" y="376"/>
                    <a:pt x="1120" y="376"/>
                  </a:cubicBezTo>
                  <a:cubicBezTo>
                    <a:pt x="1120" y="376"/>
                    <a:pt x="1120" y="376"/>
                    <a:pt x="1121" y="376"/>
                  </a:cubicBezTo>
                  <a:cubicBezTo>
                    <a:pt x="1121" y="376"/>
                    <a:pt x="1121" y="376"/>
                    <a:pt x="1121" y="376"/>
                  </a:cubicBezTo>
                  <a:cubicBezTo>
                    <a:pt x="1121" y="376"/>
                    <a:pt x="1121" y="376"/>
                    <a:pt x="1121" y="377"/>
                  </a:cubicBezTo>
                  <a:cubicBezTo>
                    <a:pt x="1121" y="378"/>
                    <a:pt x="1122" y="378"/>
                    <a:pt x="1123" y="378"/>
                  </a:cubicBezTo>
                  <a:cubicBezTo>
                    <a:pt x="1123" y="378"/>
                    <a:pt x="1124" y="378"/>
                    <a:pt x="1124" y="378"/>
                  </a:cubicBezTo>
                  <a:cubicBezTo>
                    <a:pt x="1124" y="378"/>
                    <a:pt x="1125" y="378"/>
                    <a:pt x="1125" y="377"/>
                  </a:cubicBezTo>
                  <a:cubicBezTo>
                    <a:pt x="1125" y="377"/>
                    <a:pt x="1125" y="377"/>
                    <a:pt x="1126" y="376"/>
                  </a:cubicBezTo>
                  <a:cubicBezTo>
                    <a:pt x="1127" y="376"/>
                    <a:pt x="1130" y="372"/>
                    <a:pt x="1131" y="372"/>
                  </a:cubicBezTo>
                  <a:cubicBezTo>
                    <a:pt x="1131" y="371"/>
                    <a:pt x="1131" y="371"/>
                    <a:pt x="1132" y="371"/>
                  </a:cubicBezTo>
                  <a:cubicBezTo>
                    <a:pt x="1133" y="370"/>
                    <a:pt x="1134" y="369"/>
                    <a:pt x="1134" y="368"/>
                  </a:cubicBezTo>
                  <a:cubicBezTo>
                    <a:pt x="1134" y="367"/>
                    <a:pt x="1135" y="366"/>
                    <a:pt x="1135" y="365"/>
                  </a:cubicBezTo>
                  <a:cubicBezTo>
                    <a:pt x="1137" y="362"/>
                    <a:pt x="1137" y="359"/>
                    <a:pt x="1136" y="358"/>
                  </a:cubicBezTo>
                  <a:cubicBezTo>
                    <a:pt x="1136" y="357"/>
                    <a:pt x="1136" y="357"/>
                    <a:pt x="1136" y="357"/>
                  </a:cubicBezTo>
                  <a:cubicBezTo>
                    <a:pt x="1136" y="356"/>
                    <a:pt x="1136" y="356"/>
                    <a:pt x="1136" y="356"/>
                  </a:cubicBezTo>
                  <a:cubicBezTo>
                    <a:pt x="1136" y="355"/>
                    <a:pt x="1136" y="355"/>
                    <a:pt x="1136" y="355"/>
                  </a:cubicBezTo>
                  <a:cubicBezTo>
                    <a:pt x="1137" y="353"/>
                    <a:pt x="1138" y="351"/>
                    <a:pt x="1138" y="349"/>
                  </a:cubicBezTo>
                  <a:cubicBezTo>
                    <a:pt x="1137" y="348"/>
                    <a:pt x="1138" y="348"/>
                    <a:pt x="1138" y="348"/>
                  </a:cubicBezTo>
                  <a:cubicBezTo>
                    <a:pt x="1138" y="347"/>
                    <a:pt x="1138" y="347"/>
                    <a:pt x="1139" y="346"/>
                  </a:cubicBezTo>
                  <a:cubicBezTo>
                    <a:pt x="1139" y="345"/>
                    <a:pt x="1140" y="344"/>
                    <a:pt x="1141" y="340"/>
                  </a:cubicBezTo>
                  <a:cubicBezTo>
                    <a:pt x="1142" y="335"/>
                    <a:pt x="1141" y="331"/>
                    <a:pt x="1140" y="329"/>
                  </a:cubicBezTo>
                  <a:cubicBezTo>
                    <a:pt x="1140" y="328"/>
                    <a:pt x="1140" y="328"/>
                    <a:pt x="1140" y="328"/>
                  </a:cubicBezTo>
                  <a:cubicBezTo>
                    <a:pt x="1140" y="328"/>
                    <a:pt x="1140" y="327"/>
                    <a:pt x="1140" y="327"/>
                  </a:cubicBezTo>
                  <a:cubicBezTo>
                    <a:pt x="1140" y="326"/>
                    <a:pt x="1140" y="326"/>
                    <a:pt x="1140" y="325"/>
                  </a:cubicBezTo>
                  <a:cubicBezTo>
                    <a:pt x="1140" y="323"/>
                    <a:pt x="1140" y="322"/>
                    <a:pt x="1140" y="319"/>
                  </a:cubicBezTo>
                  <a:cubicBezTo>
                    <a:pt x="1139" y="317"/>
                    <a:pt x="1140" y="313"/>
                    <a:pt x="1140" y="312"/>
                  </a:cubicBezTo>
                  <a:cubicBezTo>
                    <a:pt x="1141" y="311"/>
                    <a:pt x="1141" y="305"/>
                    <a:pt x="1141" y="303"/>
                  </a:cubicBezTo>
                  <a:cubicBezTo>
                    <a:pt x="1141" y="301"/>
                    <a:pt x="1139" y="299"/>
                    <a:pt x="1138" y="298"/>
                  </a:cubicBezTo>
                  <a:cubicBezTo>
                    <a:pt x="1138" y="298"/>
                    <a:pt x="1138" y="297"/>
                    <a:pt x="1138" y="296"/>
                  </a:cubicBezTo>
                  <a:cubicBezTo>
                    <a:pt x="1138" y="295"/>
                    <a:pt x="1136" y="293"/>
                    <a:pt x="1135" y="291"/>
                  </a:cubicBezTo>
                  <a:cubicBezTo>
                    <a:pt x="1135" y="290"/>
                    <a:pt x="1135" y="290"/>
                    <a:pt x="1134" y="290"/>
                  </a:cubicBezTo>
                  <a:cubicBezTo>
                    <a:pt x="1136" y="289"/>
                    <a:pt x="1134" y="286"/>
                    <a:pt x="1132" y="285"/>
                  </a:cubicBezTo>
                  <a:cubicBezTo>
                    <a:pt x="1132" y="285"/>
                    <a:pt x="1132" y="285"/>
                    <a:pt x="1132" y="284"/>
                  </a:cubicBezTo>
                  <a:cubicBezTo>
                    <a:pt x="1132" y="283"/>
                    <a:pt x="1130" y="281"/>
                    <a:pt x="1129" y="280"/>
                  </a:cubicBezTo>
                  <a:cubicBezTo>
                    <a:pt x="1129" y="280"/>
                    <a:pt x="1129" y="280"/>
                    <a:pt x="1129" y="280"/>
                  </a:cubicBezTo>
                  <a:cubicBezTo>
                    <a:pt x="1129" y="280"/>
                    <a:pt x="1129" y="280"/>
                    <a:pt x="1129" y="280"/>
                  </a:cubicBezTo>
                  <a:cubicBezTo>
                    <a:pt x="1129" y="279"/>
                    <a:pt x="1129" y="278"/>
                    <a:pt x="1128" y="278"/>
                  </a:cubicBezTo>
                  <a:cubicBezTo>
                    <a:pt x="1127" y="278"/>
                    <a:pt x="1127" y="278"/>
                    <a:pt x="1127" y="278"/>
                  </a:cubicBezTo>
                  <a:cubicBezTo>
                    <a:pt x="1128" y="277"/>
                    <a:pt x="1128" y="277"/>
                    <a:pt x="1128" y="277"/>
                  </a:cubicBezTo>
                  <a:cubicBezTo>
                    <a:pt x="1128" y="277"/>
                    <a:pt x="1128" y="277"/>
                    <a:pt x="1128" y="277"/>
                  </a:cubicBezTo>
                  <a:cubicBezTo>
                    <a:pt x="1128" y="275"/>
                    <a:pt x="1127" y="274"/>
                    <a:pt x="1127" y="273"/>
                  </a:cubicBezTo>
                  <a:cubicBezTo>
                    <a:pt x="1128" y="273"/>
                    <a:pt x="1127" y="272"/>
                    <a:pt x="1127" y="271"/>
                  </a:cubicBezTo>
                  <a:cubicBezTo>
                    <a:pt x="1127" y="271"/>
                    <a:pt x="1127" y="271"/>
                    <a:pt x="1127" y="271"/>
                  </a:cubicBezTo>
                  <a:cubicBezTo>
                    <a:pt x="1127" y="271"/>
                    <a:pt x="1127" y="270"/>
                    <a:pt x="1127" y="270"/>
                  </a:cubicBezTo>
                  <a:cubicBezTo>
                    <a:pt x="1128" y="269"/>
                    <a:pt x="1128" y="269"/>
                    <a:pt x="1128" y="268"/>
                  </a:cubicBezTo>
                  <a:cubicBezTo>
                    <a:pt x="1128" y="268"/>
                    <a:pt x="1128" y="268"/>
                    <a:pt x="1128" y="268"/>
                  </a:cubicBezTo>
                  <a:cubicBezTo>
                    <a:pt x="1128" y="268"/>
                    <a:pt x="1128" y="268"/>
                    <a:pt x="1128" y="268"/>
                  </a:cubicBezTo>
                  <a:cubicBezTo>
                    <a:pt x="1128" y="268"/>
                    <a:pt x="1128" y="269"/>
                    <a:pt x="1129" y="269"/>
                  </a:cubicBezTo>
                  <a:cubicBezTo>
                    <a:pt x="1129" y="270"/>
                    <a:pt x="1129" y="270"/>
                    <a:pt x="1129" y="271"/>
                  </a:cubicBezTo>
                  <a:cubicBezTo>
                    <a:pt x="1130" y="271"/>
                    <a:pt x="1131" y="271"/>
                    <a:pt x="1131" y="272"/>
                  </a:cubicBezTo>
                  <a:cubicBezTo>
                    <a:pt x="1131" y="272"/>
                    <a:pt x="1132" y="272"/>
                    <a:pt x="1132" y="272"/>
                  </a:cubicBezTo>
                  <a:cubicBezTo>
                    <a:pt x="1134" y="273"/>
                    <a:pt x="1135" y="275"/>
                    <a:pt x="1135" y="276"/>
                  </a:cubicBezTo>
                  <a:cubicBezTo>
                    <a:pt x="1135" y="276"/>
                    <a:pt x="1136" y="276"/>
                    <a:pt x="1136" y="277"/>
                  </a:cubicBezTo>
                  <a:cubicBezTo>
                    <a:pt x="1136" y="277"/>
                    <a:pt x="1136" y="278"/>
                    <a:pt x="1136" y="278"/>
                  </a:cubicBezTo>
                  <a:cubicBezTo>
                    <a:pt x="1136" y="279"/>
                    <a:pt x="1136" y="279"/>
                    <a:pt x="1136" y="279"/>
                  </a:cubicBezTo>
                  <a:cubicBezTo>
                    <a:pt x="1137" y="280"/>
                    <a:pt x="1138" y="281"/>
                    <a:pt x="1139" y="282"/>
                  </a:cubicBezTo>
                  <a:cubicBezTo>
                    <a:pt x="1139" y="282"/>
                    <a:pt x="1139" y="282"/>
                    <a:pt x="1140" y="283"/>
                  </a:cubicBezTo>
                  <a:cubicBezTo>
                    <a:pt x="1140" y="283"/>
                    <a:pt x="1141" y="284"/>
                    <a:pt x="1141" y="284"/>
                  </a:cubicBezTo>
                  <a:cubicBezTo>
                    <a:pt x="1142" y="285"/>
                    <a:pt x="1142" y="286"/>
                    <a:pt x="1142" y="287"/>
                  </a:cubicBezTo>
                  <a:cubicBezTo>
                    <a:pt x="1143" y="288"/>
                    <a:pt x="1143" y="288"/>
                    <a:pt x="1144" y="289"/>
                  </a:cubicBezTo>
                  <a:cubicBezTo>
                    <a:pt x="1144" y="290"/>
                    <a:pt x="1144" y="291"/>
                    <a:pt x="1145" y="291"/>
                  </a:cubicBezTo>
                  <a:cubicBezTo>
                    <a:pt x="1146" y="292"/>
                    <a:pt x="1146" y="293"/>
                    <a:pt x="1147" y="294"/>
                  </a:cubicBezTo>
                  <a:cubicBezTo>
                    <a:pt x="1147" y="295"/>
                    <a:pt x="1147" y="295"/>
                    <a:pt x="1147" y="295"/>
                  </a:cubicBezTo>
                  <a:cubicBezTo>
                    <a:pt x="1147" y="295"/>
                    <a:pt x="1147" y="296"/>
                    <a:pt x="1147" y="297"/>
                  </a:cubicBezTo>
                  <a:cubicBezTo>
                    <a:pt x="1147" y="297"/>
                    <a:pt x="1147" y="297"/>
                    <a:pt x="1147" y="297"/>
                  </a:cubicBezTo>
                  <a:cubicBezTo>
                    <a:pt x="1147" y="297"/>
                    <a:pt x="1147" y="298"/>
                    <a:pt x="1147" y="298"/>
                  </a:cubicBezTo>
                  <a:cubicBezTo>
                    <a:pt x="1147" y="300"/>
                    <a:pt x="1148" y="301"/>
                    <a:pt x="1149" y="302"/>
                  </a:cubicBezTo>
                  <a:cubicBezTo>
                    <a:pt x="1149" y="303"/>
                    <a:pt x="1150" y="303"/>
                    <a:pt x="1150" y="303"/>
                  </a:cubicBezTo>
                  <a:cubicBezTo>
                    <a:pt x="1151" y="305"/>
                    <a:pt x="1152" y="307"/>
                    <a:pt x="1153" y="309"/>
                  </a:cubicBezTo>
                  <a:cubicBezTo>
                    <a:pt x="1153" y="309"/>
                    <a:pt x="1153" y="309"/>
                    <a:pt x="1153" y="309"/>
                  </a:cubicBezTo>
                  <a:cubicBezTo>
                    <a:pt x="1153" y="310"/>
                    <a:pt x="1154" y="311"/>
                    <a:pt x="1154" y="311"/>
                  </a:cubicBezTo>
                  <a:cubicBezTo>
                    <a:pt x="1155" y="312"/>
                    <a:pt x="1156" y="313"/>
                    <a:pt x="1156" y="314"/>
                  </a:cubicBezTo>
                  <a:cubicBezTo>
                    <a:pt x="1156" y="314"/>
                    <a:pt x="1156" y="315"/>
                    <a:pt x="1156" y="315"/>
                  </a:cubicBezTo>
                  <a:cubicBezTo>
                    <a:pt x="1156" y="316"/>
                    <a:pt x="1156" y="317"/>
                    <a:pt x="1156" y="318"/>
                  </a:cubicBezTo>
                  <a:cubicBezTo>
                    <a:pt x="1157" y="319"/>
                    <a:pt x="1158" y="320"/>
                    <a:pt x="1159" y="321"/>
                  </a:cubicBezTo>
                  <a:cubicBezTo>
                    <a:pt x="1160" y="322"/>
                    <a:pt x="1160" y="323"/>
                    <a:pt x="1160" y="324"/>
                  </a:cubicBezTo>
                  <a:cubicBezTo>
                    <a:pt x="1161" y="325"/>
                    <a:pt x="1161" y="325"/>
                    <a:pt x="1161" y="325"/>
                  </a:cubicBezTo>
                  <a:cubicBezTo>
                    <a:pt x="1161" y="327"/>
                    <a:pt x="1162" y="328"/>
                    <a:pt x="1163" y="330"/>
                  </a:cubicBezTo>
                  <a:cubicBezTo>
                    <a:pt x="1163" y="330"/>
                    <a:pt x="1163" y="330"/>
                    <a:pt x="1163" y="330"/>
                  </a:cubicBezTo>
                  <a:cubicBezTo>
                    <a:pt x="1164" y="331"/>
                    <a:pt x="1164" y="332"/>
                    <a:pt x="1165" y="332"/>
                  </a:cubicBezTo>
                  <a:cubicBezTo>
                    <a:pt x="1165" y="332"/>
                    <a:pt x="1165" y="333"/>
                    <a:pt x="1165" y="333"/>
                  </a:cubicBezTo>
                  <a:cubicBezTo>
                    <a:pt x="1166" y="334"/>
                    <a:pt x="1166" y="335"/>
                    <a:pt x="1167" y="335"/>
                  </a:cubicBezTo>
                  <a:cubicBezTo>
                    <a:pt x="1168" y="335"/>
                    <a:pt x="1168" y="335"/>
                    <a:pt x="1168" y="335"/>
                  </a:cubicBezTo>
                  <a:cubicBezTo>
                    <a:pt x="1168" y="335"/>
                    <a:pt x="1169" y="334"/>
                    <a:pt x="1169" y="334"/>
                  </a:cubicBezTo>
                  <a:cubicBezTo>
                    <a:pt x="1170" y="332"/>
                    <a:pt x="1168" y="328"/>
                    <a:pt x="1168" y="328"/>
                  </a:cubicBezTo>
                  <a:cubicBezTo>
                    <a:pt x="1168" y="327"/>
                    <a:pt x="1168" y="327"/>
                    <a:pt x="1168" y="327"/>
                  </a:cubicBezTo>
                  <a:cubicBezTo>
                    <a:pt x="1168" y="327"/>
                    <a:pt x="1168" y="327"/>
                    <a:pt x="1169" y="327"/>
                  </a:cubicBezTo>
                  <a:cubicBezTo>
                    <a:pt x="1170" y="327"/>
                    <a:pt x="1170" y="327"/>
                    <a:pt x="1170" y="327"/>
                  </a:cubicBezTo>
                  <a:cubicBezTo>
                    <a:pt x="1170" y="327"/>
                    <a:pt x="1171" y="327"/>
                    <a:pt x="1172" y="327"/>
                  </a:cubicBezTo>
                  <a:cubicBezTo>
                    <a:pt x="1172" y="327"/>
                    <a:pt x="1172" y="327"/>
                    <a:pt x="1172" y="327"/>
                  </a:cubicBezTo>
                  <a:cubicBezTo>
                    <a:pt x="1172" y="328"/>
                    <a:pt x="1172" y="328"/>
                    <a:pt x="1173" y="329"/>
                  </a:cubicBezTo>
                  <a:cubicBezTo>
                    <a:pt x="1173" y="329"/>
                    <a:pt x="1173" y="329"/>
                    <a:pt x="1174" y="329"/>
                  </a:cubicBezTo>
                  <a:cubicBezTo>
                    <a:pt x="1174" y="330"/>
                    <a:pt x="1174" y="330"/>
                    <a:pt x="1174" y="330"/>
                  </a:cubicBezTo>
                  <a:cubicBezTo>
                    <a:pt x="1174" y="331"/>
                    <a:pt x="1175" y="333"/>
                    <a:pt x="1177" y="333"/>
                  </a:cubicBezTo>
                  <a:cubicBezTo>
                    <a:pt x="1177" y="333"/>
                    <a:pt x="1177" y="333"/>
                    <a:pt x="1177" y="333"/>
                  </a:cubicBezTo>
                  <a:cubicBezTo>
                    <a:pt x="1178" y="333"/>
                    <a:pt x="1178" y="333"/>
                    <a:pt x="1178" y="332"/>
                  </a:cubicBezTo>
                  <a:cubicBezTo>
                    <a:pt x="1179" y="331"/>
                    <a:pt x="1178" y="330"/>
                    <a:pt x="1178" y="329"/>
                  </a:cubicBezTo>
                  <a:cubicBezTo>
                    <a:pt x="1177" y="328"/>
                    <a:pt x="1177" y="328"/>
                    <a:pt x="1177" y="327"/>
                  </a:cubicBezTo>
                  <a:cubicBezTo>
                    <a:pt x="1177" y="325"/>
                    <a:pt x="1177" y="324"/>
                    <a:pt x="1176" y="323"/>
                  </a:cubicBezTo>
                  <a:cubicBezTo>
                    <a:pt x="1175" y="323"/>
                    <a:pt x="1175" y="323"/>
                    <a:pt x="1175" y="323"/>
                  </a:cubicBezTo>
                  <a:cubicBezTo>
                    <a:pt x="1175" y="322"/>
                    <a:pt x="1174" y="322"/>
                    <a:pt x="1174" y="322"/>
                  </a:cubicBezTo>
                  <a:cubicBezTo>
                    <a:pt x="1173" y="321"/>
                    <a:pt x="1172" y="320"/>
                    <a:pt x="1171" y="320"/>
                  </a:cubicBezTo>
                  <a:cubicBezTo>
                    <a:pt x="1170" y="320"/>
                    <a:pt x="1170" y="319"/>
                    <a:pt x="1169" y="319"/>
                  </a:cubicBezTo>
                  <a:cubicBezTo>
                    <a:pt x="1169" y="319"/>
                    <a:pt x="1168" y="318"/>
                    <a:pt x="1168" y="318"/>
                  </a:cubicBezTo>
                  <a:cubicBezTo>
                    <a:pt x="1167" y="317"/>
                    <a:pt x="1167" y="316"/>
                    <a:pt x="1166" y="316"/>
                  </a:cubicBezTo>
                  <a:cubicBezTo>
                    <a:pt x="1166" y="315"/>
                    <a:pt x="1166" y="315"/>
                    <a:pt x="1166" y="315"/>
                  </a:cubicBezTo>
                  <a:cubicBezTo>
                    <a:pt x="1165" y="315"/>
                    <a:pt x="1165" y="315"/>
                    <a:pt x="1164" y="314"/>
                  </a:cubicBezTo>
                  <a:cubicBezTo>
                    <a:pt x="1164" y="314"/>
                    <a:pt x="1164" y="314"/>
                    <a:pt x="1164" y="313"/>
                  </a:cubicBezTo>
                  <a:cubicBezTo>
                    <a:pt x="1164" y="313"/>
                    <a:pt x="1164" y="312"/>
                    <a:pt x="1164" y="312"/>
                  </a:cubicBezTo>
                  <a:cubicBezTo>
                    <a:pt x="1163" y="312"/>
                    <a:pt x="1163" y="312"/>
                    <a:pt x="1163" y="312"/>
                  </a:cubicBezTo>
                  <a:cubicBezTo>
                    <a:pt x="1163" y="311"/>
                    <a:pt x="1162" y="309"/>
                    <a:pt x="1161" y="307"/>
                  </a:cubicBezTo>
                  <a:cubicBezTo>
                    <a:pt x="1161" y="306"/>
                    <a:pt x="1161" y="306"/>
                    <a:pt x="1161" y="306"/>
                  </a:cubicBezTo>
                  <a:cubicBezTo>
                    <a:pt x="1160" y="303"/>
                    <a:pt x="1159" y="301"/>
                    <a:pt x="1158" y="298"/>
                  </a:cubicBezTo>
                  <a:cubicBezTo>
                    <a:pt x="1158" y="298"/>
                    <a:pt x="1158" y="297"/>
                    <a:pt x="1158" y="297"/>
                  </a:cubicBezTo>
                  <a:cubicBezTo>
                    <a:pt x="1157" y="296"/>
                    <a:pt x="1157" y="295"/>
                    <a:pt x="1157" y="295"/>
                  </a:cubicBezTo>
                  <a:cubicBezTo>
                    <a:pt x="1158" y="295"/>
                    <a:pt x="1158" y="295"/>
                    <a:pt x="1159" y="295"/>
                  </a:cubicBezTo>
                  <a:cubicBezTo>
                    <a:pt x="1159" y="295"/>
                    <a:pt x="1160" y="296"/>
                    <a:pt x="1161" y="295"/>
                  </a:cubicBezTo>
                  <a:cubicBezTo>
                    <a:pt x="1162" y="295"/>
                    <a:pt x="1162" y="295"/>
                    <a:pt x="1162" y="295"/>
                  </a:cubicBezTo>
                  <a:cubicBezTo>
                    <a:pt x="1162" y="296"/>
                    <a:pt x="1162" y="296"/>
                    <a:pt x="1162" y="296"/>
                  </a:cubicBezTo>
                  <a:cubicBezTo>
                    <a:pt x="1162" y="296"/>
                    <a:pt x="1162" y="296"/>
                    <a:pt x="1162" y="296"/>
                  </a:cubicBezTo>
                  <a:cubicBezTo>
                    <a:pt x="1162" y="296"/>
                    <a:pt x="1163" y="297"/>
                    <a:pt x="1163" y="297"/>
                  </a:cubicBezTo>
                  <a:cubicBezTo>
                    <a:pt x="1163" y="297"/>
                    <a:pt x="1164" y="298"/>
                    <a:pt x="1164" y="298"/>
                  </a:cubicBezTo>
                  <a:cubicBezTo>
                    <a:pt x="1164" y="298"/>
                    <a:pt x="1165" y="298"/>
                    <a:pt x="1165" y="299"/>
                  </a:cubicBezTo>
                  <a:cubicBezTo>
                    <a:pt x="1166" y="300"/>
                    <a:pt x="1167" y="302"/>
                    <a:pt x="1170" y="301"/>
                  </a:cubicBezTo>
                  <a:cubicBezTo>
                    <a:pt x="1170" y="301"/>
                    <a:pt x="1170" y="301"/>
                    <a:pt x="1170" y="301"/>
                  </a:cubicBezTo>
                  <a:cubicBezTo>
                    <a:pt x="1170" y="300"/>
                    <a:pt x="1170" y="300"/>
                    <a:pt x="1170" y="300"/>
                  </a:cubicBezTo>
                  <a:cubicBezTo>
                    <a:pt x="1171" y="297"/>
                    <a:pt x="1168" y="296"/>
                    <a:pt x="1167" y="295"/>
                  </a:cubicBezTo>
                  <a:cubicBezTo>
                    <a:pt x="1166" y="294"/>
                    <a:pt x="1166" y="294"/>
                    <a:pt x="1165" y="293"/>
                  </a:cubicBezTo>
                  <a:cubicBezTo>
                    <a:pt x="1165" y="293"/>
                    <a:pt x="1165" y="292"/>
                    <a:pt x="1165" y="292"/>
                  </a:cubicBezTo>
                  <a:cubicBezTo>
                    <a:pt x="1164" y="291"/>
                    <a:pt x="1163" y="290"/>
                    <a:pt x="1162" y="290"/>
                  </a:cubicBezTo>
                  <a:cubicBezTo>
                    <a:pt x="1162" y="290"/>
                    <a:pt x="1161" y="289"/>
                    <a:pt x="1161" y="289"/>
                  </a:cubicBezTo>
                  <a:cubicBezTo>
                    <a:pt x="1160" y="288"/>
                    <a:pt x="1160" y="288"/>
                    <a:pt x="1159" y="286"/>
                  </a:cubicBezTo>
                  <a:cubicBezTo>
                    <a:pt x="1159" y="286"/>
                    <a:pt x="1159" y="286"/>
                    <a:pt x="1158" y="286"/>
                  </a:cubicBezTo>
                  <a:cubicBezTo>
                    <a:pt x="1158" y="285"/>
                    <a:pt x="1158" y="285"/>
                    <a:pt x="1158" y="285"/>
                  </a:cubicBezTo>
                  <a:cubicBezTo>
                    <a:pt x="1157" y="284"/>
                    <a:pt x="1157" y="283"/>
                    <a:pt x="1156" y="282"/>
                  </a:cubicBezTo>
                  <a:cubicBezTo>
                    <a:pt x="1155" y="281"/>
                    <a:pt x="1154" y="280"/>
                    <a:pt x="1153" y="280"/>
                  </a:cubicBezTo>
                  <a:cubicBezTo>
                    <a:pt x="1153" y="280"/>
                    <a:pt x="1152" y="279"/>
                    <a:pt x="1152" y="279"/>
                  </a:cubicBezTo>
                  <a:cubicBezTo>
                    <a:pt x="1151" y="278"/>
                    <a:pt x="1151" y="277"/>
                    <a:pt x="1150" y="276"/>
                  </a:cubicBezTo>
                  <a:cubicBezTo>
                    <a:pt x="1150" y="276"/>
                    <a:pt x="1149" y="275"/>
                    <a:pt x="1149" y="275"/>
                  </a:cubicBezTo>
                  <a:cubicBezTo>
                    <a:pt x="1148" y="273"/>
                    <a:pt x="1147" y="272"/>
                    <a:pt x="1145" y="271"/>
                  </a:cubicBezTo>
                  <a:cubicBezTo>
                    <a:pt x="1144" y="270"/>
                    <a:pt x="1144" y="270"/>
                    <a:pt x="1143" y="269"/>
                  </a:cubicBezTo>
                  <a:cubicBezTo>
                    <a:pt x="1143" y="268"/>
                    <a:pt x="1142" y="268"/>
                    <a:pt x="1141" y="267"/>
                  </a:cubicBezTo>
                  <a:cubicBezTo>
                    <a:pt x="1141" y="267"/>
                    <a:pt x="1140" y="266"/>
                    <a:pt x="1140" y="266"/>
                  </a:cubicBezTo>
                  <a:cubicBezTo>
                    <a:pt x="1139" y="266"/>
                    <a:pt x="1138" y="265"/>
                    <a:pt x="1138" y="264"/>
                  </a:cubicBezTo>
                  <a:cubicBezTo>
                    <a:pt x="1137" y="264"/>
                    <a:pt x="1137" y="264"/>
                    <a:pt x="1137" y="264"/>
                  </a:cubicBezTo>
                  <a:cubicBezTo>
                    <a:pt x="1137" y="264"/>
                    <a:pt x="1137" y="263"/>
                    <a:pt x="1137" y="263"/>
                  </a:cubicBezTo>
                  <a:cubicBezTo>
                    <a:pt x="1137" y="262"/>
                    <a:pt x="1137" y="261"/>
                    <a:pt x="1136" y="260"/>
                  </a:cubicBezTo>
                  <a:cubicBezTo>
                    <a:pt x="1136" y="260"/>
                    <a:pt x="1136" y="260"/>
                    <a:pt x="1136" y="260"/>
                  </a:cubicBezTo>
                  <a:cubicBezTo>
                    <a:pt x="1136" y="260"/>
                    <a:pt x="1136" y="260"/>
                    <a:pt x="1136" y="260"/>
                  </a:cubicBezTo>
                  <a:cubicBezTo>
                    <a:pt x="1136" y="260"/>
                    <a:pt x="1136" y="260"/>
                    <a:pt x="1136" y="260"/>
                  </a:cubicBezTo>
                  <a:cubicBezTo>
                    <a:pt x="1136" y="259"/>
                    <a:pt x="1136" y="258"/>
                    <a:pt x="1136" y="257"/>
                  </a:cubicBezTo>
                  <a:cubicBezTo>
                    <a:pt x="1136" y="257"/>
                    <a:pt x="1136" y="257"/>
                    <a:pt x="1136" y="257"/>
                  </a:cubicBezTo>
                  <a:cubicBezTo>
                    <a:pt x="1135" y="257"/>
                    <a:pt x="1135" y="257"/>
                    <a:pt x="1135" y="257"/>
                  </a:cubicBezTo>
                  <a:cubicBezTo>
                    <a:pt x="1135" y="257"/>
                    <a:pt x="1135" y="256"/>
                    <a:pt x="1134" y="256"/>
                  </a:cubicBezTo>
                  <a:cubicBezTo>
                    <a:pt x="1134" y="255"/>
                    <a:pt x="1133" y="254"/>
                    <a:pt x="1132" y="254"/>
                  </a:cubicBezTo>
                  <a:cubicBezTo>
                    <a:pt x="1133" y="254"/>
                    <a:pt x="1133" y="254"/>
                    <a:pt x="1133" y="254"/>
                  </a:cubicBezTo>
                  <a:cubicBezTo>
                    <a:pt x="1134" y="253"/>
                    <a:pt x="1134" y="253"/>
                    <a:pt x="1134" y="253"/>
                  </a:cubicBezTo>
                  <a:cubicBezTo>
                    <a:pt x="1133" y="252"/>
                    <a:pt x="1133" y="252"/>
                    <a:pt x="1133" y="252"/>
                  </a:cubicBezTo>
                  <a:cubicBezTo>
                    <a:pt x="1132" y="251"/>
                    <a:pt x="1131" y="250"/>
                    <a:pt x="1130" y="249"/>
                  </a:cubicBezTo>
                  <a:cubicBezTo>
                    <a:pt x="1130" y="248"/>
                    <a:pt x="1129" y="248"/>
                    <a:pt x="1129" y="247"/>
                  </a:cubicBezTo>
                  <a:cubicBezTo>
                    <a:pt x="1128" y="246"/>
                    <a:pt x="1126" y="245"/>
                    <a:pt x="1125" y="243"/>
                  </a:cubicBezTo>
                  <a:cubicBezTo>
                    <a:pt x="1124" y="242"/>
                    <a:pt x="1123" y="241"/>
                    <a:pt x="1122" y="240"/>
                  </a:cubicBezTo>
                  <a:cubicBezTo>
                    <a:pt x="1121" y="239"/>
                    <a:pt x="1120" y="237"/>
                    <a:pt x="1118" y="237"/>
                  </a:cubicBezTo>
                  <a:cubicBezTo>
                    <a:pt x="1117" y="237"/>
                    <a:pt x="1116" y="237"/>
                    <a:pt x="1116" y="238"/>
                  </a:cubicBezTo>
                  <a:cubicBezTo>
                    <a:pt x="1115" y="238"/>
                    <a:pt x="1114" y="239"/>
                    <a:pt x="1114" y="240"/>
                  </a:cubicBezTo>
                  <a:cubicBezTo>
                    <a:pt x="1115" y="242"/>
                    <a:pt x="1116" y="243"/>
                    <a:pt x="1117" y="243"/>
                  </a:cubicBezTo>
                  <a:cubicBezTo>
                    <a:pt x="1119" y="244"/>
                    <a:pt x="1120" y="246"/>
                    <a:pt x="1121" y="248"/>
                  </a:cubicBezTo>
                  <a:cubicBezTo>
                    <a:pt x="1121" y="248"/>
                    <a:pt x="1121" y="248"/>
                    <a:pt x="1121" y="248"/>
                  </a:cubicBezTo>
                  <a:cubicBezTo>
                    <a:pt x="1121" y="248"/>
                    <a:pt x="1121" y="248"/>
                    <a:pt x="1121" y="249"/>
                  </a:cubicBezTo>
                  <a:cubicBezTo>
                    <a:pt x="1121" y="249"/>
                    <a:pt x="1121" y="249"/>
                    <a:pt x="1121" y="249"/>
                  </a:cubicBezTo>
                  <a:cubicBezTo>
                    <a:pt x="1121" y="249"/>
                    <a:pt x="1121" y="249"/>
                    <a:pt x="1121" y="249"/>
                  </a:cubicBezTo>
                  <a:cubicBezTo>
                    <a:pt x="1120" y="248"/>
                    <a:pt x="1118" y="248"/>
                    <a:pt x="1118" y="249"/>
                  </a:cubicBezTo>
                  <a:cubicBezTo>
                    <a:pt x="1117" y="251"/>
                    <a:pt x="1118" y="252"/>
                    <a:pt x="1120" y="254"/>
                  </a:cubicBezTo>
                  <a:cubicBezTo>
                    <a:pt x="1120" y="254"/>
                    <a:pt x="1120" y="254"/>
                    <a:pt x="1120" y="254"/>
                  </a:cubicBezTo>
                  <a:cubicBezTo>
                    <a:pt x="1120" y="255"/>
                    <a:pt x="1121" y="256"/>
                    <a:pt x="1121" y="256"/>
                  </a:cubicBezTo>
                  <a:cubicBezTo>
                    <a:pt x="1121" y="256"/>
                    <a:pt x="1121" y="257"/>
                    <a:pt x="1121" y="257"/>
                  </a:cubicBezTo>
                  <a:cubicBezTo>
                    <a:pt x="1121" y="257"/>
                    <a:pt x="1121" y="257"/>
                    <a:pt x="1121" y="257"/>
                  </a:cubicBezTo>
                  <a:cubicBezTo>
                    <a:pt x="1121" y="256"/>
                    <a:pt x="1119" y="256"/>
                    <a:pt x="1118" y="255"/>
                  </a:cubicBezTo>
                  <a:cubicBezTo>
                    <a:pt x="1118" y="255"/>
                    <a:pt x="1118" y="255"/>
                    <a:pt x="1118" y="255"/>
                  </a:cubicBezTo>
                  <a:cubicBezTo>
                    <a:pt x="1119" y="255"/>
                    <a:pt x="1119" y="254"/>
                    <a:pt x="1119" y="254"/>
                  </a:cubicBezTo>
                  <a:cubicBezTo>
                    <a:pt x="1119" y="253"/>
                    <a:pt x="1119" y="252"/>
                    <a:pt x="1115" y="251"/>
                  </a:cubicBezTo>
                  <a:cubicBezTo>
                    <a:pt x="1115" y="251"/>
                    <a:pt x="1115" y="251"/>
                    <a:pt x="1115" y="250"/>
                  </a:cubicBezTo>
                  <a:cubicBezTo>
                    <a:pt x="1115" y="249"/>
                    <a:pt x="1112" y="248"/>
                    <a:pt x="1112" y="248"/>
                  </a:cubicBezTo>
                  <a:cubicBezTo>
                    <a:pt x="1111" y="248"/>
                    <a:pt x="1111" y="248"/>
                    <a:pt x="1111" y="248"/>
                  </a:cubicBezTo>
                  <a:cubicBezTo>
                    <a:pt x="1110" y="248"/>
                    <a:pt x="1109" y="247"/>
                    <a:pt x="1109" y="247"/>
                  </a:cubicBezTo>
                  <a:cubicBezTo>
                    <a:pt x="1108" y="247"/>
                    <a:pt x="1107" y="246"/>
                    <a:pt x="1107" y="245"/>
                  </a:cubicBezTo>
                  <a:cubicBezTo>
                    <a:pt x="1106" y="245"/>
                    <a:pt x="1106" y="244"/>
                    <a:pt x="1105" y="244"/>
                  </a:cubicBezTo>
                  <a:cubicBezTo>
                    <a:pt x="1105" y="244"/>
                    <a:pt x="1104" y="244"/>
                    <a:pt x="1104" y="244"/>
                  </a:cubicBezTo>
                  <a:cubicBezTo>
                    <a:pt x="1104" y="244"/>
                    <a:pt x="1103" y="244"/>
                    <a:pt x="1103" y="243"/>
                  </a:cubicBezTo>
                  <a:cubicBezTo>
                    <a:pt x="1101" y="242"/>
                    <a:pt x="1100" y="242"/>
                    <a:pt x="1099" y="242"/>
                  </a:cubicBezTo>
                  <a:cubicBezTo>
                    <a:pt x="1099" y="242"/>
                    <a:pt x="1099" y="242"/>
                    <a:pt x="1099" y="242"/>
                  </a:cubicBezTo>
                  <a:cubicBezTo>
                    <a:pt x="1099" y="242"/>
                    <a:pt x="1098" y="242"/>
                    <a:pt x="1097" y="242"/>
                  </a:cubicBezTo>
                  <a:cubicBezTo>
                    <a:pt x="1096" y="242"/>
                    <a:pt x="1095" y="242"/>
                    <a:pt x="1094" y="242"/>
                  </a:cubicBezTo>
                  <a:cubicBezTo>
                    <a:pt x="1094" y="242"/>
                    <a:pt x="1094" y="242"/>
                    <a:pt x="1094" y="242"/>
                  </a:cubicBezTo>
                  <a:cubicBezTo>
                    <a:pt x="1093" y="242"/>
                    <a:pt x="1092" y="242"/>
                    <a:pt x="1092" y="243"/>
                  </a:cubicBezTo>
                  <a:cubicBezTo>
                    <a:pt x="1092" y="244"/>
                    <a:pt x="1093" y="246"/>
                    <a:pt x="1094" y="247"/>
                  </a:cubicBezTo>
                  <a:cubicBezTo>
                    <a:pt x="1094" y="247"/>
                    <a:pt x="1094" y="247"/>
                    <a:pt x="1094" y="247"/>
                  </a:cubicBezTo>
                  <a:cubicBezTo>
                    <a:pt x="1094" y="247"/>
                    <a:pt x="1093" y="247"/>
                    <a:pt x="1093" y="248"/>
                  </a:cubicBezTo>
                  <a:cubicBezTo>
                    <a:pt x="1092" y="248"/>
                    <a:pt x="1092" y="249"/>
                    <a:pt x="1092" y="250"/>
                  </a:cubicBezTo>
                  <a:cubicBezTo>
                    <a:pt x="1091" y="250"/>
                    <a:pt x="1091" y="250"/>
                    <a:pt x="1091" y="250"/>
                  </a:cubicBezTo>
                  <a:cubicBezTo>
                    <a:pt x="1091" y="250"/>
                    <a:pt x="1091" y="250"/>
                    <a:pt x="1091" y="250"/>
                  </a:cubicBezTo>
                  <a:cubicBezTo>
                    <a:pt x="1091" y="250"/>
                    <a:pt x="1090" y="250"/>
                    <a:pt x="1090" y="250"/>
                  </a:cubicBezTo>
                  <a:cubicBezTo>
                    <a:pt x="1091" y="250"/>
                    <a:pt x="1091" y="250"/>
                    <a:pt x="1091" y="250"/>
                  </a:cubicBezTo>
                  <a:cubicBezTo>
                    <a:pt x="1091" y="249"/>
                    <a:pt x="1092" y="248"/>
                    <a:pt x="1091" y="247"/>
                  </a:cubicBezTo>
                  <a:cubicBezTo>
                    <a:pt x="1091" y="246"/>
                    <a:pt x="1090" y="246"/>
                    <a:pt x="1088" y="246"/>
                  </a:cubicBezTo>
                  <a:cubicBezTo>
                    <a:pt x="1088" y="246"/>
                    <a:pt x="1088" y="246"/>
                    <a:pt x="1088" y="246"/>
                  </a:cubicBezTo>
                  <a:cubicBezTo>
                    <a:pt x="1088" y="246"/>
                    <a:pt x="1088" y="246"/>
                    <a:pt x="1088" y="246"/>
                  </a:cubicBezTo>
                  <a:cubicBezTo>
                    <a:pt x="1088" y="245"/>
                    <a:pt x="1088" y="244"/>
                    <a:pt x="1088" y="244"/>
                  </a:cubicBezTo>
                  <a:cubicBezTo>
                    <a:pt x="1087" y="243"/>
                    <a:pt x="1087" y="243"/>
                    <a:pt x="1085" y="243"/>
                  </a:cubicBezTo>
                  <a:cubicBezTo>
                    <a:pt x="1085" y="243"/>
                    <a:pt x="1085" y="243"/>
                    <a:pt x="1085" y="243"/>
                  </a:cubicBezTo>
                  <a:cubicBezTo>
                    <a:pt x="1084" y="243"/>
                    <a:pt x="1083" y="243"/>
                    <a:pt x="1083" y="244"/>
                  </a:cubicBezTo>
                  <a:cubicBezTo>
                    <a:pt x="1083" y="244"/>
                    <a:pt x="1083" y="245"/>
                    <a:pt x="1083" y="245"/>
                  </a:cubicBezTo>
                  <a:cubicBezTo>
                    <a:pt x="1083" y="244"/>
                    <a:pt x="1082" y="244"/>
                    <a:pt x="1082" y="244"/>
                  </a:cubicBezTo>
                  <a:cubicBezTo>
                    <a:pt x="1082" y="243"/>
                    <a:pt x="1081" y="243"/>
                    <a:pt x="1081" y="242"/>
                  </a:cubicBezTo>
                  <a:cubicBezTo>
                    <a:pt x="1081" y="241"/>
                    <a:pt x="1081" y="240"/>
                    <a:pt x="1079" y="240"/>
                  </a:cubicBezTo>
                  <a:cubicBezTo>
                    <a:pt x="1079" y="239"/>
                    <a:pt x="1078" y="239"/>
                    <a:pt x="1078" y="239"/>
                  </a:cubicBezTo>
                  <a:cubicBezTo>
                    <a:pt x="1077" y="239"/>
                    <a:pt x="1076" y="240"/>
                    <a:pt x="1076" y="240"/>
                  </a:cubicBezTo>
                  <a:cubicBezTo>
                    <a:pt x="1076" y="240"/>
                    <a:pt x="1076" y="240"/>
                    <a:pt x="1075" y="240"/>
                  </a:cubicBezTo>
                  <a:cubicBezTo>
                    <a:pt x="1075" y="240"/>
                    <a:pt x="1074" y="240"/>
                    <a:pt x="1074" y="240"/>
                  </a:cubicBezTo>
                  <a:cubicBezTo>
                    <a:pt x="1073" y="240"/>
                    <a:pt x="1073" y="240"/>
                    <a:pt x="1072" y="241"/>
                  </a:cubicBezTo>
                  <a:cubicBezTo>
                    <a:pt x="1071" y="240"/>
                    <a:pt x="1071" y="240"/>
                    <a:pt x="1070" y="240"/>
                  </a:cubicBezTo>
                  <a:cubicBezTo>
                    <a:pt x="1070" y="240"/>
                    <a:pt x="1069" y="240"/>
                    <a:pt x="1069" y="239"/>
                  </a:cubicBezTo>
                  <a:cubicBezTo>
                    <a:pt x="1069" y="239"/>
                    <a:pt x="1069" y="239"/>
                    <a:pt x="1070" y="237"/>
                  </a:cubicBezTo>
                  <a:cubicBezTo>
                    <a:pt x="1070" y="237"/>
                    <a:pt x="1070" y="237"/>
                    <a:pt x="1070" y="237"/>
                  </a:cubicBezTo>
                  <a:cubicBezTo>
                    <a:pt x="1071" y="236"/>
                    <a:pt x="1072" y="234"/>
                    <a:pt x="1071" y="233"/>
                  </a:cubicBezTo>
                  <a:cubicBezTo>
                    <a:pt x="1071" y="232"/>
                    <a:pt x="1071" y="232"/>
                    <a:pt x="1071" y="232"/>
                  </a:cubicBezTo>
                  <a:cubicBezTo>
                    <a:pt x="1073" y="232"/>
                    <a:pt x="1072" y="230"/>
                    <a:pt x="1072" y="229"/>
                  </a:cubicBezTo>
                  <a:cubicBezTo>
                    <a:pt x="1071" y="229"/>
                    <a:pt x="1071" y="229"/>
                    <a:pt x="1071" y="229"/>
                  </a:cubicBezTo>
                  <a:cubicBezTo>
                    <a:pt x="1072" y="228"/>
                    <a:pt x="1072" y="228"/>
                    <a:pt x="1072" y="228"/>
                  </a:cubicBezTo>
                  <a:cubicBezTo>
                    <a:pt x="1072" y="228"/>
                    <a:pt x="1072" y="228"/>
                    <a:pt x="1072" y="228"/>
                  </a:cubicBezTo>
                  <a:cubicBezTo>
                    <a:pt x="1073" y="228"/>
                    <a:pt x="1073" y="228"/>
                    <a:pt x="1073" y="227"/>
                  </a:cubicBezTo>
                  <a:cubicBezTo>
                    <a:pt x="1074" y="227"/>
                    <a:pt x="1074" y="226"/>
                    <a:pt x="1073" y="225"/>
                  </a:cubicBezTo>
                  <a:cubicBezTo>
                    <a:pt x="1073" y="225"/>
                    <a:pt x="1073" y="225"/>
                    <a:pt x="1073" y="225"/>
                  </a:cubicBezTo>
                  <a:cubicBezTo>
                    <a:pt x="1073" y="225"/>
                    <a:pt x="1074" y="224"/>
                    <a:pt x="1074" y="224"/>
                  </a:cubicBezTo>
                  <a:cubicBezTo>
                    <a:pt x="1075" y="224"/>
                    <a:pt x="1075" y="222"/>
                    <a:pt x="1075" y="215"/>
                  </a:cubicBezTo>
                  <a:cubicBezTo>
                    <a:pt x="1075" y="213"/>
                    <a:pt x="1075" y="213"/>
                    <a:pt x="1075" y="213"/>
                  </a:cubicBezTo>
                  <a:cubicBezTo>
                    <a:pt x="1075" y="212"/>
                    <a:pt x="1075" y="211"/>
                    <a:pt x="1075" y="211"/>
                  </a:cubicBezTo>
                  <a:cubicBezTo>
                    <a:pt x="1076" y="211"/>
                    <a:pt x="1076" y="211"/>
                    <a:pt x="1076" y="211"/>
                  </a:cubicBezTo>
                  <a:cubicBezTo>
                    <a:pt x="1076" y="211"/>
                    <a:pt x="1076" y="210"/>
                    <a:pt x="1076" y="209"/>
                  </a:cubicBezTo>
                  <a:cubicBezTo>
                    <a:pt x="1076" y="209"/>
                    <a:pt x="1076" y="209"/>
                    <a:pt x="1077" y="209"/>
                  </a:cubicBezTo>
                  <a:cubicBezTo>
                    <a:pt x="1077" y="208"/>
                    <a:pt x="1078" y="207"/>
                    <a:pt x="1078" y="206"/>
                  </a:cubicBezTo>
                  <a:cubicBezTo>
                    <a:pt x="1078" y="205"/>
                    <a:pt x="1078" y="205"/>
                    <a:pt x="1078" y="205"/>
                  </a:cubicBezTo>
                  <a:cubicBezTo>
                    <a:pt x="1079" y="204"/>
                    <a:pt x="1079" y="202"/>
                    <a:pt x="1079" y="197"/>
                  </a:cubicBezTo>
                  <a:cubicBezTo>
                    <a:pt x="1078" y="196"/>
                    <a:pt x="1079" y="195"/>
                    <a:pt x="1080" y="194"/>
                  </a:cubicBezTo>
                  <a:cubicBezTo>
                    <a:pt x="1080" y="193"/>
                    <a:pt x="1081" y="192"/>
                    <a:pt x="1081" y="191"/>
                  </a:cubicBezTo>
                  <a:cubicBezTo>
                    <a:pt x="1081" y="190"/>
                    <a:pt x="1081" y="190"/>
                    <a:pt x="1081" y="189"/>
                  </a:cubicBezTo>
                  <a:cubicBezTo>
                    <a:pt x="1082" y="188"/>
                    <a:pt x="1082" y="187"/>
                    <a:pt x="1082" y="186"/>
                  </a:cubicBezTo>
                  <a:cubicBezTo>
                    <a:pt x="1082" y="186"/>
                    <a:pt x="1083" y="185"/>
                    <a:pt x="1083" y="185"/>
                  </a:cubicBezTo>
                  <a:cubicBezTo>
                    <a:pt x="1083" y="185"/>
                    <a:pt x="1083" y="185"/>
                    <a:pt x="1083" y="185"/>
                  </a:cubicBezTo>
                  <a:cubicBezTo>
                    <a:pt x="1084" y="185"/>
                    <a:pt x="1084" y="185"/>
                    <a:pt x="1085" y="184"/>
                  </a:cubicBezTo>
                  <a:cubicBezTo>
                    <a:pt x="1086" y="184"/>
                    <a:pt x="1088" y="183"/>
                    <a:pt x="1089" y="183"/>
                  </a:cubicBezTo>
                  <a:cubicBezTo>
                    <a:pt x="1091" y="183"/>
                    <a:pt x="1092" y="182"/>
                    <a:pt x="1094" y="182"/>
                  </a:cubicBezTo>
                  <a:cubicBezTo>
                    <a:pt x="1094" y="182"/>
                    <a:pt x="1094" y="182"/>
                    <a:pt x="1094" y="182"/>
                  </a:cubicBezTo>
                  <a:cubicBezTo>
                    <a:pt x="1095" y="183"/>
                    <a:pt x="1096" y="182"/>
                    <a:pt x="1097" y="182"/>
                  </a:cubicBezTo>
                  <a:cubicBezTo>
                    <a:pt x="1097" y="181"/>
                    <a:pt x="1097" y="181"/>
                    <a:pt x="1097" y="181"/>
                  </a:cubicBezTo>
                  <a:cubicBezTo>
                    <a:pt x="1097" y="182"/>
                    <a:pt x="1097" y="183"/>
                    <a:pt x="1098" y="183"/>
                  </a:cubicBezTo>
                  <a:cubicBezTo>
                    <a:pt x="1099" y="184"/>
                    <a:pt x="1100" y="184"/>
                    <a:pt x="1101" y="184"/>
                  </a:cubicBezTo>
                  <a:cubicBezTo>
                    <a:pt x="1101" y="184"/>
                    <a:pt x="1101" y="184"/>
                    <a:pt x="1101" y="184"/>
                  </a:cubicBezTo>
                  <a:cubicBezTo>
                    <a:pt x="1103" y="184"/>
                    <a:pt x="1103" y="182"/>
                    <a:pt x="1103" y="181"/>
                  </a:cubicBezTo>
                  <a:cubicBezTo>
                    <a:pt x="1103" y="181"/>
                    <a:pt x="1103" y="181"/>
                    <a:pt x="1103" y="181"/>
                  </a:cubicBezTo>
                  <a:cubicBezTo>
                    <a:pt x="1104" y="181"/>
                    <a:pt x="1104" y="182"/>
                    <a:pt x="1106" y="182"/>
                  </a:cubicBezTo>
                  <a:cubicBezTo>
                    <a:pt x="1106" y="182"/>
                    <a:pt x="1107" y="182"/>
                    <a:pt x="1108" y="183"/>
                  </a:cubicBezTo>
                  <a:cubicBezTo>
                    <a:pt x="1110" y="183"/>
                    <a:pt x="1111" y="182"/>
                    <a:pt x="1111" y="182"/>
                  </a:cubicBezTo>
                  <a:cubicBezTo>
                    <a:pt x="1111" y="182"/>
                    <a:pt x="1112" y="182"/>
                    <a:pt x="1112" y="182"/>
                  </a:cubicBezTo>
                  <a:cubicBezTo>
                    <a:pt x="1112" y="182"/>
                    <a:pt x="1113" y="182"/>
                    <a:pt x="1113" y="180"/>
                  </a:cubicBezTo>
                  <a:cubicBezTo>
                    <a:pt x="1114" y="181"/>
                    <a:pt x="1115" y="181"/>
                    <a:pt x="1117" y="180"/>
                  </a:cubicBezTo>
                  <a:cubicBezTo>
                    <a:pt x="1118" y="180"/>
                    <a:pt x="1118" y="179"/>
                    <a:pt x="1118" y="178"/>
                  </a:cubicBezTo>
                  <a:cubicBezTo>
                    <a:pt x="1118" y="178"/>
                    <a:pt x="1118" y="178"/>
                    <a:pt x="1118" y="178"/>
                  </a:cubicBezTo>
                  <a:cubicBezTo>
                    <a:pt x="1118" y="178"/>
                    <a:pt x="1119" y="177"/>
                    <a:pt x="1119" y="177"/>
                  </a:cubicBezTo>
                  <a:cubicBezTo>
                    <a:pt x="1120" y="176"/>
                    <a:pt x="1120" y="175"/>
                    <a:pt x="1119" y="175"/>
                  </a:cubicBezTo>
                  <a:cubicBezTo>
                    <a:pt x="1119" y="174"/>
                    <a:pt x="1120" y="175"/>
                    <a:pt x="1120" y="175"/>
                  </a:cubicBezTo>
                  <a:cubicBezTo>
                    <a:pt x="1121" y="175"/>
                    <a:pt x="1121" y="175"/>
                    <a:pt x="1121" y="175"/>
                  </a:cubicBezTo>
                  <a:cubicBezTo>
                    <a:pt x="1122" y="175"/>
                    <a:pt x="1123" y="175"/>
                    <a:pt x="1123" y="175"/>
                  </a:cubicBezTo>
                  <a:cubicBezTo>
                    <a:pt x="1123" y="175"/>
                    <a:pt x="1123" y="176"/>
                    <a:pt x="1124" y="176"/>
                  </a:cubicBezTo>
                  <a:cubicBezTo>
                    <a:pt x="1124" y="176"/>
                    <a:pt x="1125" y="176"/>
                    <a:pt x="1126" y="176"/>
                  </a:cubicBezTo>
                  <a:cubicBezTo>
                    <a:pt x="1126" y="176"/>
                    <a:pt x="1126" y="176"/>
                    <a:pt x="1126" y="176"/>
                  </a:cubicBezTo>
                  <a:cubicBezTo>
                    <a:pt x="1126" y="176"/>
                    <a:pt x="1126" y="176"/>
                    <a:pt x="1126" y="176"/>
                  </a:cubicBezTo>
                  <a:cubicBezTo>
                    <a:pt x="1126" y="176"/>
                    <a:pt x="1126" y="176"/>
                    <a:pt x="1127" y="176"/>
                  </a:cubicBezTo>
                  <a:cubicBezTo>
                    <a:pt x="1128" y="177"/>
                    <a:pt x="1129" y="177"/>
                    <a:pt x="1130" y="176"/>
                  </a:cubicBezTo>
                  <a:cubicBezTo>
                    <a:pt x="1130" y="175"/>
                    <a:pt x="1130" y="175"/>
                    <a:pt x="1130" y="175"/>
                  </a:cubicBezTo>
                  <a:cubicBezTo>
                    <a:pt x="1131" y="175"/>
                    <a:pt x="1131" y="175"/>
                    <a:pt x="1132" y="175"/>
                  </a:cubicBezTo>
                  <a:cubicBezTo>
                    <a:pt x="1132" y="176"/>
                    <a:pt x="1132" y="176"/>
                    <a:pt x="1133" y="176"/>
                  </a:cubicBezTo>
                  <a:cubicBezTo>
                    <a:pt x="1132" y="176"/>
                    <a:pt x="1132" y="176"/>
                    <a:pt x="1132" y="176"/>
                  </a:cubicBezTo>
                  <a:cubicBezTo>
                    <a:pt x="1131" y="177"/>
                    <a:pt x="1131" y="178"/>
                    <a:pt x="1131" y="178"/>
                  </a:cubicBezTo>
                  <a:cubicBezTo>
                    <a:pt x="1131" y="179"/>
                    <a:pt x="1132" y="180"/>
                    <a:pt x="1133" y="180"/>
                  </a:cubicBezTo>
                  <a:cubicBezTo>
                    <a:pt x="1133" y="180"/>
                    <a:pt x="1133" y="180"/>
                    <a:pt x="1133" y="180"/>
                  </a:cubicBezTo>
                  <a:cubicBezTo>
                    <a:pt x="1133" y="180"/>
                    <a:pt x="1133" y="181"/>
                    <a:pt x="1133" y="181"/>
                  </a:cubicBezTo>
                  <a:cubicBezTo>
                    <a:pt x="1134" y="182"/>
                    <a:pt x="1135" y="182"/>
                    <a:pt x="1135" y="182"/>
                  </a:cubicBezTo>
                  <a:cubicBezTo>
                    <a:pt x="1136" y="182"/>
                    <a:pt x="1136" y="182"/>
                    <a:pt x="1137" y="181"/>
                  </a:cubicBezTo>
                  <a:cubicBezTo>
                    <a:pt x="1137" y="181"/>
                    <a:pt x="1137" y="181"/>
                    <a:pt x="1137" y="181"/>
                  </a:cubicBezTo>
                  <a:cubicBezTo>
                    <a:pt x="1138" y="181"/>
                    <a:pt x="1139" y="181"/>
                    <a:pt x="1139" y="180"/>
                  </a:cubicBezTo>
                  <a:cubicBezTo>
                    <a:pt x="1140" y="180"/>
                    <a:pt x="1140" y="180"/>
                    <a:pt x="1141" y="180"/>
                  </a:cubicBezTo>
                  <a:cubicBezTo>
                    <a:pt x="1141" y="180"/>
                    <a:pt x="1141" y="180"/>
                    <a:pt x="1141" y="180"/>
                  </a:cubicBezTo>
                  <a:cubicBezTo>
                    <a:pt x="1141" y="180"/>
                    <a:pt x="1142" y="180"/>
                    <a:pt x="1143" y="180"/>
                  </a:cubicBezTo>
                  <a:cubicBezTo>
                    <a:pt x="1143" y="180"/>
                    <a:pt x="1143" y="180"/>
                    <a:pt x="1143" y="180"/>
                  </a:cubicBezTo>
                  <a:cubicBezTo>
                    <a:pt x="1144" y="180"/>
                    <a:pt x="1144" y="179"/>
                    <a:pt x="1145" y="178"/>
                  </a:cubicBezTo>
                  <a:cubicBezTo>
                    <a:pt x="1145" y="178"/>
                    <a:pt x="1145" y="178"/>
                    <a:pt x="1145" y="178"/>
                  </a:cubicBezTo>
                  <a:cubicBezTo>
                    <a:pt x="1145" y="178"/>
                    <a:pt x="1145" y="177"/>
                    <a:pt x="1146" y="177"/>
                  </a:cubicBezTo>
                  <a:cubicBezTo>
                    <a:pt x="1146" y="177"/>
                    <a:pt x="1146" y="177"/>
                    <a:pt x="1146" y="177"/>
                  </a:cubicBezTo>
                  <a:cubicBezTo>
                    <a:pt x="1149" y="178"/>
                    <a:pt x="1151" y="177"/>
                    <a:pt x="1152" y="175"/>
                  </a:cubicBezTo>
                  <a:cubicBezTo>
                    <a:pt x="1152" y="176"/>
                    <a:pt x="1153" y="176"/>
                    <a:pt x="1153" y="176"/>
                  </a:cubicBezTo>
                  <a:cubicBezTo>
                    <a:pt x="1154" y="176"/>
                    <a:pt x="1155" y="175"/>
                    <a:pt x="1155" y="174"/>
                  </a:cubicBezTo>
                  <a:cubicBezTo>
                    <a:pt x="1156" y="174"/>
                    <a:pt x="1156" y="173"/>
                    <a:pt x="1156" y="173"/>
                  </a:cubicBezTo>
                  <a:cubicBezTo>
                    <a:pt x="1156" y="172"/>
                    <a:pt x="1155" y="171"/>
                    <a:pt x="1154" y="171"/>
                  </a:cubicBezTo>
                  <a:cubicBezTo>
                    <a:pt x="1153" y="170"/>
                    <a:pt x="1152" y="170"/>
                    <a:pt x="1151" y="169"/>
                  </a:cubicBezTo>
                  <a:cubicBezTo>
                    <a:pt x="1150" y="169"/>
                    <a:pt x="1149" y="168"/>
                    <a:pt x="1149" y="169"/>
                  </a:cubicBezTo>
                  <a:cubicBezTo>
                    <a:pt x="1149" y="167"/>
                    <a:pt x="1147" y="167"/>
                    <a:pt x="1146" y="167"/>
                  </a:cubicBezTo>
                  <a:cubicBezTo>
                    <a:pt x="1146" y="165"/>
                    <a:pt x="1145" y="164"/>
                    <a:pt x="1145" y="163"/>
                  </a:cubicBezTo>
                  <a:cubicBezTo>
                    <a:pt x="1144" y="163"/>
                    <a:pt x="1144" y="163"/>
                    <a:pt x="1144" y="163"/>
                  </a:cubicBezTo>
                  <a:cubicBezTo>
                    <a:pt x="1144" y="163"/>
                    <a:pt x="1144" y="162"/>
                    <a:pt x="1144" y="162"/>
                  </a:cubicBezTo>
                  <a:cubicBezTo>
                    <a:pt x="1145" y="161"/>
                    <a:pt x="1145" y="159"/>
                    <a:pt x="1145" y="158"/>
                  </a:cubicBezTo>
                  <a:cubicBezTo>
                    <a:pt x="1144" y="158"/>
                    <a:pt x="1144" y="158"/>
                    <a:pt x="1144" y="158"/>
                  </a:cubicBezTo>
                  <a:cubicBezTo>
                    <a:pt x="1144" y="158"/>
                    <a:pt x="1144" y="158"/>
                    <a:pt x="1144" y="158"/>
                  </a:cubicBezTo>
                  <a:cubicBezTo>
                    <a:pt x="1145" y="156"/>
                    <a:pt x="1145" y="154"/>
                    <a:pt x="1145" y="152"/>
                  </a:cubicBezTo>
                  <a:cubicBezTo>
                    <a:pt x="1145" y="151"/>
                    <a:pt x="1145" y="151"/>
                    <a:pt x="1145" y="151"/>
                  </a:cubicBezTo>
                  <a:cubicBezTo>
                    <a:pt x="1144" y="151"/>
                    <a:pt x="1145" y="150"/>
                    <a:pt x="1144" y="151"/>
                  </a:cubicBezTo>
                  <a:cubicBezTo>
                    <a:pt x="1144" y="150"/>
                    <a:pt x="1144" y="150"/>
                    <a:pt x="1144" y="150"/>
                  </a:cubicBezTo>
                  <a:cubicBezTo>
                    <a:pt x="1144" y="150"/>
                    <a:pt x="1144" y="150"/>
                    <a:pt x="1144" y="150"/>
                  </a:cubicBezTo>
                  <a:cubicBezTo>
                    <a:pt x="1145" y="150"/>
                    <a:pt x="1145" y="150"/>
                    <a:pt x="1145" y="150"/>
                  </a:cubicBezTo>
                  <a:cubicBezTo>
                    <a:pt x="1145" y="150"/>
                    <a:pt x="1146" y="149"/>
                    <a:pt x="1146" y="148"/>
                  </a:cubicBezTo>
                  <a:cubicBezTo>
                    <a:pt x="1146" y="147"/>
                    <a:pt x="1145" y="147"/>
                    <a:pt x="1145" y="147"/>
                  </a:cubicBezTo>
                  <a:cubicBezTo>
                    <a:pt x="1145" y="146"/>
                    <a:pt x="1145" y="144"/>
                    <a:pt x="1145" y="144"/>
                  </a:cubicBezTo>
                  <a:cubicBezTo>
                    <a:pt x="1145" y="143"/>
                    <a:pt x="1145" y="143"/>
                    <a:pt x="1145" y="143"/>
                  </a:cubicBezTo>
                  <a:cubicBezTo>
                    <a:pt x="1147" y="144"/>
                    <a:pt x="1148" y="142"/>
                    <a:pt x="1149" y="142"/>
                  </a:cubicBezTo>
                  <a:cubicBezTo>
                    <a:pt x="1149" y="141"/>
                    <a:pt x="1149" y="141"/>
                    <a:pt x="1150" y="141"/>
                  </a:cubicBezTo>
                  <a:cubicBezTo>
                    <a:pt x="1151" y="140"/>
                    <a:pt x="1152" y="140"/>
                    <a:pt x="1152" y="139"/>
                  </a:cubicBezTo>
                  <a:cubicBezTo>
                    <a:pt x="1153" y="139"/>
                    <a:pt x="1153" y="139"/>
                    <a:pt x="1153" y="139"/>
                  </a:cubicBezTo>
                  <a:cubicBezTo>
                    <a:pt x="1154" y="139"/>
                    <a:pt x="1154" y="140"/>
                    <a:pt x="1155" y="140"/>
                  </a:cubicBezTo>
                  <a:cubicBezTo>
                    <a:pt x="1155" y="140"/>
                    <a:pt x="1155" y="140"/>
                    <a:pt x="1155" y="140"/>
                  </a:cubicBezTo>
                  <a:cubicBezTo>
                    <a:pt x="1155" y="140"/>
                    <a:pt x="1155" y="141"/>
                    <a:pt x="1155" y="141"/>
                  </a:cubicBezTo>
                  <a:cubicBezTo>
                    <a:pt x="1156" y="141"/>
                    <a:pt x="1156" y="141"/>
                    <a:pt x="1157" y="141"/>
                  </a:cubicBezTo>
                  <a:cubicBezTo>
                    <a:pt x="1157" y="141"/>
                    <a:pt x="1158" y="141"/>
                    <a:pt x="1158" y="141"/>
                  </a:cubicBezTo>
                  <a:cubicBezTo>
                    <a:pt x="1159" y="141"/>
                    <a:pt x="1159" y="141"/>
                    <a:pt x="1160" y="140"/>
                  </a:cubicBezTo>
                  <a:cubicBezTo>
                    <a:pt x="1160" y="141"/>
                    <a:pt x="1160" y="141"/>
                    <a:pt x="1161" y="141"/>
                  </a:cubicBezTo>
                  <a:cubicBezTo>
                    <a:pt x="1161" y="142"/>
                    <a:pt x="1161" y="142"/>
                    <a:pt x="1161" y="143"/>
                  </a:cubicBezTo>
                  <a:cubicBezTo>
                    <a:pt x="1161" y="144"/>
                    <a:pt x="1161" y="144"/>
                    <a:pt x="1161" y="144"/>
                  </a:cubicBezTo>
                  <a:cubicBezTo>
                    <a:pt x="1161" y="146"/>
                    <a:pt x="1162" y="147"/>
                    <a:pt x="1163" y="147"/>
                  </a:cubicBezTo>
                  <a:cubicBezTo>
                    <a:pt x="1163" y="147"/>
                    <a:pt x="1163" y="147"/>
                    <a:pt x="1163" y="147"/>
                  </a:cubicBezTo>
                  <a:cubicBezTo>
                    <a:pt x="1163" y="147"/>
                    <a:pt x="1163" y="147"/>
                    <a:pt x="1164" y="148"/>
                  </a:cubicBezTo>
                  <a:cubicBezTo>
                    <a:pt x="1164" y="150"/>
                    <a:pt x="1165" y="150"/>
                    <a:pt x="1166" y="150"/>
                  </a:cubicBezTo>
                  <a:cubicBezTo>
                    <a:pt x="1166" y="150"/>
                    <a:pt x="1167" y="150"/>
                    <a:pt x="1167" y="149"/>
                  </a:cubicBezTo>
                  <a:cubicBezTo>
                    <a:pt x="1168" y="150"/>
                    <a:pt x="1168" y="150"/>
                    <a:pt x="1168" y="150"/>
                  </a:cubicBezTo>
                  <a:cubicBezTo>
                    <a:pt x="1169" y="151"/>
                    <a:pt x="1169" y="151"/>
                    <a:pt x="1169" y="151"/>
                  </a:cubicBezTo>
                  <a:cubicBezTo>
                    <a:pt x="1169" y="151"/>
                    <a:pt x="1169" y="151"/>
                    <a:pt x="1170" y="151"/>
                  </a:cubicBezTo>
                  <a:cubicBezTo>
                    <a:pt x="1170" y="152"/>
                    <a:pt x="1171" y="153"/>
                    <a:pt x="1172" y="153"/>
                  </a:cubicBezTo>
                  <a:cubicBezTo>
                    <a:pt x="1173" y="153"/>
                    <a:pt x="1173" y="152"/>
                    <a:pt x="1173" y="151"/>
                  </a:cubicBezTo>
                  <a:cubicBezTo>
                    <a:pt x="1173" y="150"/>
                    <a:pt x="1174" y="150"/>
                    <a:pt x="1174" y="150"/>
                  </a:cubicBezTo>
                  <a:cubicBezTo>
                    <a:pt x="1174" y="149"/>
                    <a:pt x="1175" y="148"/>
                    <a:pt x="1175" y="147"/>
                  </a:cubicBezTo>
                  <a:cubicBezTo>
                    <a:pt x="1174" y="147"/>
                    <a:pt x="1174" y="146"/>
                    <a:pt x="1175" y="145"/>
                  </a:cubicBezTo>
                  <a:cubicBezTo>
                    <a:pt x="1176" y="144"/>
                    <a:pt x="1175" y="142"/>
                    <a:pt x="1175" y="140"/>
                  </a:cubicBezTo>
                  <a:cubicBezTo>
                    <a:pt x="1175" y="140"/>
                    <a:pt x="1175" y="139"/>
                    <a:pt x="1175" y="139"/>
                  </a:cubicBezTo>
                  <a:cubicBezTo>
                    <a:pt x="1175" y="139"/>
                    <a:pt x="1175" y="139"/>
                    <a:pt x="1175" y="139"/>
                  </a:cubicBezTo>
                  <a:cubicBezTo>
                    <a:pt x="1175" y="139"/>
                    <a:pt x="1176" y="139"/>
                    <a:pt x="1176" y="139"/>
                  </a:cubicBezTo>
                  <a:cubicBezTo>
                    <a:pt x="1177" y="139"/>
                    <a:pt x="1177" y="139"/>
                    <a:pt x="1177" y="139"/>
                  </a:cubicBezTo>
                  <a:cubicBezTo>
                    <a:pt x="1178" y="140"/>
                    <a:pt x="1179" y="139"/>
                    <a:pt x="1180" y="137"/>
                  </a:cubicBezTo>
                  <a:cubicBezTo>
                    <a:pt x="1180" y="136"/>
                    <a:pt x="1179" y="135"/>
                    <a:pt x="1178" y="135"/>
                  </a:cubicBezTo>
                  <a:cubicBezTo>
                    <a:pt x="1178" y="135"/>
                    <a:pt x="1176" y="134"/>
                    <a:pt x="1176" y="134"/>
                  </a:cubicBezTo>
                  <a:cubicBezTo>
                    <a:pt x="1176" y="134"/>
                    <a:pt x="1176" y="133"/>
                    <a:pt x="1176" y="133"/>
                  </a:cubicBezTo>
                  <a:cubicBezTo>
                    <a:pt x="1175" y="133"/>
                    <a:pt x="1175" y="132"/>
                    <a:pt x="1174" y="131"/>
                  </a:cubicBezTo>
                  <a:cubicBezTo>
                    <a:pt x="1174" y="131"/>
                    <a:pt x="1174" y="131"/>
                    <a:pt x="1174" y="131"/>
                  </a:cubicBezTo>
                  <a:cubicBezTo>
                    <a:pt x="1175" y="130"/>
                    <a:pt x="1175" y="129"/>
                    <a:pt x="1175" y="129"/>
                  </a:cubicBezTo>
                  <a:cubicBezTo>
                    <a:pt x="1174" y="129"/>
                    <a:pt x="1174" y="128"/>
                    <a:pt x="1173" y="128"/>
                  </a:cubicBezTo>
                  <a:cubicBezTo>
                    <a:pt x="1173" y="128"/>
                    <a:pt x="1172" y="128"/>
                    <a:pt x="1172" y="128"/>
                  </a:cubicBezTo>
                  <a:cubicBezTo>
                    <a:pt x="1172" y="128"/>
                    <a:pt x="1172" y="128"/>
                    <a:pt x="1172" y="128"/>
                  </a:cubicBezTo>
                  <a:cubicBezTo>
                    <a:pt x="1172" y="128"/>
                    <a:pt x="1173" y="127"/>
                    <a:pt x="1173" y="127"/>
                  </a:cubicBezTo>
                  <a:cubicBezTo>
                    <a:pt x="1173" y="127"/>
                    <a:pt x="1174" y="126"/>
                    <a:pt x="1174" y="126"/>
                  </a:cubicBezTo>
                  <a:cubicBezTo>
                    <a:pt x="1174" y="126"/>
                    <a:pt x="1174" y="126"/>
                    <a:pt x="1174" y="126"/>
                  </a:cubicBezTo>
                  <a:cubicBezTo>
                    <a:pt x="1175" y="126"/>
                    <a:pt x="1176" y="126"/>
                    <a:pt x="1177" y="127"/>
                  </a:cubicBezTo>
                  <a:cubicBezTo>
                    <a:pt x="1176" y="127"/>
                    <a:pt x="1176" y="128"/>
                    <a:pt x="1176" y="128"/>
                  </a:cubicBezTo>
                  <a:cubicBezTo>
                    <a:pt x="1176" y="129"/>
                    <a:pt x="1177" y="131"/>
                    <a:pt x="1177" y="131"/>
                  </a:cubicBezTo>
                  <a:cubicBezTo>
                    <a:pt x="1177" y="131"/>
                    <a:pt x="1177" y="131"/>
                    <a:pt x="1177" y="131"/>
                  </a:cubicBezTo>
                  <a:cubicBezTo>
                    <a:pt x="1177" y="132"/>
                    <a:pt x="1177" y="132"/>
                    <a:pt x="1177" y="132"/>
                  </a:cubicBezTo>
                  <a:cubicBezTo>
                    <a:pt x="1177" y="133"/>
                    <a:pt x="1179" y="134"/>
                    <a:pt x="1179" y="135"/>
                  </a:cubicBezTo>
                  <a:cubicBezTo>
                    <a:pt x="1180" y="135"/>
                    <a:pt x="1180" y="136"/>
                    <a:pt x="1180" y="136"/>
                  </a:cubicBezTo>
                  <a:cubicBezTo>
                    <a:pt x="1180" y="137"/>
                    <a:pt x="1181" y="137"/>
                    <a:pt x="1181" y="137"/>
                  </a:cubicBezTo>
                  <a:cubicBezTo>
                    <a:pt x="1181" y="140"/>
                    <a:pt x="1183" y="140"/>
                    <a:pt x="1184" y="140"/>
                  </a:cubicBezTo>
                  <a:cubicBezTo>
                    <a:pt x="1184" y="140"/>
                    <a:pt x="1184" y="141"/>
                    <a:pt x="1185" y="142"/>
                  </a:cubicBezTo>
                  <a:cubicBezTo>
                    <a:pt x="1186" y="142"/>
                    <a:pt x="1186" y="142"/>
                    <a:pt x="1186" y="142"/>
                  </a:cubicBezTo>
                  <a:cubicBezTo>
                    <a:pt x="1186" y="142"/>
                    <a:pt x="1186" y="142"/>
                    <a:pt x="1186" y="142"/>
                  </a:cubicBezTo>
                  <a:cubicBezTo>
                    <a:pt x="1185" y="143"/>
                    <a:pt x="1185" y="143"/>
                    <a:pt x="1185" y="143"/>
                  </a:cubicBezTo>
                  <a:cubicBezTo>
                    <a:pt x="1185" y="143"/>
                    <a:pt x="1185" y="144"/>
                    <a:pt x="1185" y="144"/>
                  </a:cubicBezTo>
                  <a:cubicBezTo>
                    <a:pt x="1185" y="145"/>
                    <a:pt x="1186" y="145"/>
                    <a:pt x="1186" y="145"/>
                  </a:cubicBezTo>
                  <a:cubicBezTo>
                    <a:pt x="1186" y="145"/>
                    <a:pt x="1186" y="145"/>
                    <a:pt x="1186" y="145"/>
                  </a:cubicBezTo>
                  <a:cubicBezTo>
                    <a:pt x="1186" y="146"/>
                    <a:pt x="1186" y="146"/>
                    <a:pt x="1186" y="146"/>
                  </a:cubicBezTo>
                  <a:cubicBezTo>
                    <a:pt x="1185" y="145"/>
                    <a:pt x="1185" y="145"/>
                    <a:pt x="1185" y="145"/>
                  </a:cubicBezTo>
                  <a:cubicBezTo>
                    <a:pt x="1185" y="145"/>
                    <a:pt x="1186" y="145"/>
                    <a:pt x="1186" y="145"/>
                  </a:cubicBezTo>
                  <a:cubicBezTo>
                    <a:pt x="1184" y="145"/>
                    <a:pt x="1184" y="146"/>
                    <a:pt x="1184" y="147"/>
                  </a:cubicBezTo>
                  <a:cubicBezTo>
                    <a:pt x="1184" y="147"/>
                    <a:pt x="1183" y="148"/>
                    <a:pt x="1183" y="148"/>
                  </a:cubicBezTo>
                  <a:cubicBezTo>
                    <a:pt x="1183" y="148"/>
                    <a:pt x="1183" y="148"/>
                    <a:pt x="1183" y="148"/>
                  </a:cubicBezTo>
                  <a:cubicBezTo>
                    <a:pt x="1182" y="149"/>
                    <a:pt x="1182" y="149"/>
                    <a:pt x="1182" y="150"/>
                  </a:cubicBezTo>
                  <a:cubicBezTo>
                    <a:pt x="1182" y="150"/>
                    <a:pt x="1182" y="150"/>
                    <a:pt x="1181" y="151"/>
                  </a:cubicBezTo>
                  <a:cubicBezTo>
                    <a:pt x="1180" y="154"/>
                    <a:pt x="1182" y="155"/>
                    <a:pt x="1183" y="156"/>
                  </a:cubicBezTo>
                  <a:cubicBezTo>
                    <a:pt x="1183" y="156"/>
                    <a:pt x="1183" y="156"/>
                    <a:pt x="1183" y="156"/>
                  </a:cubicBezTo>
                  <a:cubicBezTo>
                    <a:pt x="1183" y="156"/>
                    <a:pt x="1183" y="157"/>
                    <a:pt x="1183" y="159"/>
                  </a:cubicBezTo>
                  <a:cubicBezTo>
                    <a:pt x="1183" y="160"/>
                    <a:pt x="1183" y="160"/>
                    <a:pt x="1183" y="161"/>
                  </a:cubicBezTo>
                  <a:cubicBezTo>
                    <a:pt x="1184" y="162"/>
                    <a:pt x="1184" y="162"/>
                    <a:pt x="1184" y="163"/>
                  </a:cubicBezTo>
                  <a:cubicBezTo>
                    <a:pt x="1183" y="164"/>
                    <a:pt x="1183" y="165"/>
                    <a:pt x="1183" y="166"/>
                  </a:cubicBezTo>
                  <a:cubicBezTo>
                    <a:pt x="1183" y="167"/>
                    <a:pt x="1183" y="168"/>
                    <a:pt x="1183" y="169"/>
                  </a:cubicBezTo>
                  <a:cubicBezTo>
                    <a:pt x="1183" y="170"/>
                    <a:pt x="1183" y="171"/>
                    <a:pt x="1183" y="172"/>
                  </a:cubicBezTo>
                  <a:cubicBezTo>
                    <a:pt x="1183" y="172"/>
                    <a:pt x="1183" y="172"/>
                    <a:pt x="1183" y="172"/>
                  </a:cubicBezTo>
                  <a:cubicBezTo>
                    <a:pt x="1183" y="173"/>
                    <a:pt x="1183" y="174"/>
                    <a:pt x="1183" y="174"/>
                  </a:cubicBezTo>
                  <a:cubicBezTo>
                    <a:pt x="1184" y="175"/>
                    <a:pt x="1184" y="176"/>
                    <a:pt x="1184" y="177"/>
                  </a:cubicBezTo>
                  <a:cubicBezTo>
                    <a:pt x="1182" y="178"/>
                    <a:pt x="1183" y="180"/>
                    <a:pt x="1183" y="182"/>
                  </a:cubicBezTo>
                  <a:cubicBezTo>
                    <a:pt x="1183" y="182"/>
                    <a:pt x="1183" y="183"/>
                    <a:pt x="1183" y="183"/>
                  </a:cubicBezTo>
                  <a:cubicBezTo>
                    <a:pt x="1183" y="183"/>
                    <a:pt x="1183" y="183"/>
                    <a:pt x="1183" y="183"/>
                  </a:cubicBezTo>
                  <a:cubicBezTo>
                    <a:pt x="1182" y="183"/>
                    <a:pt x="1182" y="183"/>
                    <a:pt x="1182" y="183"/>
                  </a:cubicBezTo>
                  <a:cubicBezTo>
                    <a:pt x="1181" y="183"/>
                    <a:pt x="1180" y="184"/>
                    <a:pt x="1180" y="186"/>
                  </a:cubicBezTo>
                  <a:cubicBezTo>
                    <a:pt x="1179" y="186"/>
                    <a:pt x="1179" y="186"/>
                    <a:pt x="1178" y="186"/>
                  </a:cubicBezTo>
                  <a:cubicBezTo>
                    <a:pt x="1177" y="187"/>
                    <a:pt x="1177" y="188"/>
                    <a:pt x="1177" y="188"/>
                  </a:cubicBezTo>
                  <a:cubicBezTo>
                    <a:pt x="1177" y="190"/>
                    <a:pt x="1179" y="190"/>
                    <a:pt x="1180" y="191"/>
                  </a:cubicBezTo>
                  <a:cubicBezTo>
                    <a:pt x="1180" y="191"/>
                    <a:pt x="1180" y="191"/>
                    <a:pt x="1180" y="192"/>
                  </a:cubicBezTo>
                  <a:cubicBezTo>
                    <a:pt x="1180" y="193"/>
                    <a:pt x="1180" y="194"/>
                    <a:pt x="1181" y="195"/>
                  </a:cubicBezTo>
                  <a:cubicBezTo>
                    <a:pt x="1180" y="196"/>
                    <a:pt x="1180" y="197"/>
                    <a:pt x="1180" y="198"/>
                  </a:cubicBezTo>
                  <a:cubicBezTo>
                    <a:pt x="1180" y="198"/>
                    <a:pt x="1180" y="198"/>
                    <a:pt x="1180" y="199"/>
                  </a:cubicBezTo>
                  <a:cubicBezTo>
                    <a:pt x="1180" y="201"/>
                    <a:pt x="1181" y="203"/>
                    <a:pt x="1182" y="204"/>
                  </a:cubicBezTo>
                  <a:cubicBezTo>
                    <a:pt x="1183" y="204"/>
                    <a:pt x="1185" y="207"/>
                    <a:pt x="1185" y="209"/>
                  </a:cubicBezTo>
                  <a:cubicBezTo>
                    <a:pt x="1185" y="210"/>
                    <a:pt x="1186" y="212"/>
                    <a:pt x="1188" y="216"/>
                  </a:cubicBezTo>
                  <a:cubicBezTo>
                    <a:pt x="1189" y="216"/>
                    <a:pt x="1189" y="216"/>
                    <a:pt x="1189" y="216"/>
                  </a:cubicBezTo>
                  <a:cubicBezTo>
                    <a:pt x="1189" y="217"/>
                    <a:pt x="1190" y="218"/>
                    <a:pt x="1191" y="219"/>
                  </a:cubicBezTo>
                  <a:cubicBezTo>
                    <a:pt x="1192" y="220"/>
                    <a:pt x="1193" y="221"/>
                    <a:pt x="1194" y="222"/>
                  </a:cubicBezTo>
                  <a:cubicBezTo>
                    <a:pt x="1195" y="224"/>
                    <a:pt x="1197" y="225"/>
                    <a:pt x="1198" y="226"/>
                  </a:cubicBezTo>
                  <a:cubicBezTo>
                    <a:pt x="1199" y="227"/>
                    <a:pt x="1200" y="228"/>
                    <a:pt x="1200" y="228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201" y="230"/>
                    <a:pt x="1202" y="231"/>
                    <a:pt x="1204" y="233"/>
                  </a:cubicBezTo>
                  <a:cubicBezTo>
                    <a:pt x="1206" y="236"/>
                    <a:pt x="1210" y="240"/>
                    <a:pt x="1211" y="241"/>
                  </a:cubicBezTo>
                  <a:cubicBezTo>
                    <a:pt x="1211" y="242"/>
                    <a:pt x="1215" y="246"/>
                    <a:pt x="1221" y="251"/>
                  </a:cubicBezTo>
                  <a:cubicBezTo>
                    <a:pt x="1221" y="252"/>
                    <a:pt x="1221" y="252"/>
                    <a:pt x="1221" y="252"/>
                  </a:cubicBezTo>
                  <a:cubicBezTo>
                    <a:pt x="1221" y="252"/>
                    <a:pt x="1222" y="253"/>
                    <a:pt x="1222" y="253"/>
                  </a:cubicBezTo>
                  <a:cubicBezTo>
                    <a:pt x="1222" y="253"/>
                    <a:pt x="1222" y="253"/>
                    <a:pt x="1223" y="253"/>
                  </a:cubicBezTo>
                  <a:cubicBezTo>
                    <a:pt x="1223" y="253"/>
                    <a:pt x="1223" y="253"/>
                    <a:pt x="1223" y="254"/>
                  </a:cubicBezTo>
                  <a:cubicBezTo>
                    <a:pt x="1223" y="255"/>
                    <a:pt x="1224" y="257"/>
                    <a:pt x="1226" y="259"/>
                  </a:cubicBezTo>
                  <a:cubicBezTo>
                    <a:pt x="1227" y="259"/>
                    <a:pt x="1227" y="259"/>
                    <a:pt x="1227" y="259"/>
                  </a:cubicBezTo>
                  <a:cubicBezTo>
                    <a:pt x="1228" y="260"/>
                    <a:pt x="1228" y="260"/>
                    <a:pt x="1228" y="260"/>
                  </a:cubicBezTo>
                  <a:cubicBezTo>
                    <a:pt x="1228" y="261"/>
                    <a:pt x="1230" y="262"/>
                    <a:pt x="1231" y="262"/>
                  </a:cubicBezTo>
                  <a:cubicBezTo>
                    <a:pt x="1231" y="262"/>
                    <a:pt x="1231" y="263"/>
                    <a:pt x="1232" y="263"/>
                  </a:cubicBezTo>
                  <a:cubicBezTo>
                    <a:pt x="1232" y="265"/>
                    <a:pt x="1233" y="265"/>
                    <a:pt x="1234" y="265"/>
                  </a:cubicBezTo>
                  <a:cubicBezTo>
                    <a:pt x="1235" y="265"/>
                    <a:pt x="1235" y="265"/>
                    <a:pt x="1235" y="265"/>
                  </a:cubicBezTo>
                  <a:cubicBezTo>
                    <a:pt x="1236" y="265"/>
                    <a:pt x="1236" y="263"/>
                    <a:pt x="1235" y="260"/>
                  </a:cubicBezTo>
                  <a:cubicBezTo>
                    <a:pt x="1235" y="259"/>
                    <a:pt x="1235" y="257"/>
                    <a:pt x="1236" y="257"/>
                  </a:cubicBezTo>
                  <a:cubicBezTo>
                    <a:pt x="1237" y="255"/>
                    <a:pt x="1237" y="253"/>
                    <a:pt x="1237" y="251"/>
                  </a:cubicBezTo>
                  <a:cubicBezTo>
                    <a:pt x="1236" y="251"/>
                    <a:pt x="1236" y="248"/>
                    <a:pt x="1236" y="248"/>
                  </a:cubicBezTo>
                  <a:cubicBezTo>
                    <a:pt x="1236" y="246"/>
                    <a:pt x="1235" y="245"/>
                    <a:pt x="1234" y="245"/>
                  </a:cubicBezTo>
                  <a:cubicBezTo>
                    <a:pt x="1234" y="245"/>
                    <a:pt x="1233" y="245"/>
                    <a:pt x="1233" y="245"/>
                  </a:cubicBezTo>
                  <a:cubicBezTo>
                    <a:pt x="1234" y="244"/>
                    <a:pt x="1234" y="244"/>
                    <a:pt x="1234" y="243"/>
                  </a:cubicBezTo>
                  <a:cubicBezTo>
                    <a:pt x="1234" y="242"/>
                    <a:pt x="1233" y="242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0"/>
                    <a:pt x="1231" y="240"/>
                  </a:cubicBezTo>
                  <a:cubicBezTo>
                    <a:pt x="1233" y="240"/>
                    <a:pt x="1233" y="238"/>
                    <a:pt x="1233" y="237"/>
                  </a:cubicBezTo>
                  <a:cubicBezTo>
                    <a:pt x="1233" y="237"/>
                    <a:pt x="1233" y="237"/>
                    <a:pt x="1233" y="237"/>
                  </a:cubicBezTo>
                  <a:cubicBezTo>
                    <a:pt x="1233" y="237"/>
                    <a:pt x="1234" y="237"/>
                    <a:pt x="1234" y="237"/>
                  </a:cubicBezTo>
                  <a:cubicBezTo>
                    <a:pt x="1234" y="237"/>
                    <a:pt x="1235" y="237"/>
                    <a:pt x="1235" y="237"/>
                  </a:cubicBezTo>
                  <a:cubicBezTo>
                    <a:pt x="1236" y="237"/>
                    <a:pt x="1237" y="236"/>
                    <a:pt x="1237" y="236"/>
                  </a:cubicBezTo>
                  <a:cubicBezTo>
                    <a:pt x="1237" y="235"/>
                    <a:pt x="1237" y="235"/>
                    <a:pt x="1237" y="234"/>
                  </a:cubicBezTo>
                  <a:cubicBezTo>
                    <a:pt x="1237" y="234"/>
                    <a:pt x="1237" y="234"/>
                    <a:pt x="1236" y="234"/>
                  </a:cubicBezTo>
                  <a:cubicBezTo>
                    <a:pt x="1236" y="233"/>
                    <a:pt x="1235" y="232"/>
                    <a:pt x="1235" y="232"/>
                  </a:cubicBezTo>
                  <a:cubicBezTo>
                    <a:pt x="1235" y="231"/>
                    <a:pt x="1234" y="230"/>
                    <a:pt x="1232" y="228"/>
                  </a:cubicBezTo>
                  <a:cubicBezTo>
                    <a:pt x="1231" y="227"/>
                    <a:pt x="1230" y="226"/>
                    <a:pt x="1230" y="225"/>
                  </a:cubicBezTo>
                  <a:cubicBezTo>
                    <a:pt x="1229" y="224"/>
                    <a:pt x="1230" y="222"/>
                    <a:pt x="1231" y="221"/>
                  </a:cubicBezTo>
                  <a:cubicBezTo>
                    <a:pt x="1231" y="221"/>
                    <a:pt x="1231" y="221"/>
                    <a:pt x="1231" y="221"/>
                  </a:cubicBezTo>
                  <a:cubicBezTo>
                    <a:pt x="1232" y="221"/>
                    <a:pt x="1232" y="221"/>
                    <a:pt x="1232" y="221"/>
                  </a:cubicBezTo>
                  <a:cubicBezTo>
                    <a:pt x="1233" y="221"/>
                    <a:pt x="1234" y="222"/>
                    <a:pt x="1235" y="220"/>
                  </a:cubicBezTo>
                  <a:cubicBezTo>
                    <a:pt x="1235" y="220"/>
                    <a:pt x="1235" y="220"/>
                    <a:pt x="1236" y="220"/>
                  </a:cubicBezTo>
                  <a:cubicBezTo>
                    <a:pt x="1237" y="220"/>
                    <a:pt x="1238" y="219"/>
                    <a:pt x="1238" y="217"/>
                  </a:cubicBezTo>
                  <a:cubicBezTo>
                    <a:pt x="1237" y="217"/>
                    <a:pt x="1238" y="217"/>
                    <a:pt x="1238" y="216"/>
                  </a:cubicBezTo>
                  <a:cubicBezTo>
                    <a:pt x="1238" y="216"/>
                    <a:pt x="1238" y="215"/>
                    <a:pt x="1238" y="215"/>
                  </a:cubicBezTo>
                  <a:cubicBezTo>
                    <a:pt x="1238" y="215"/>
                    <a:pt x="1238" y="214"/>
                    <a:pt x="1237" y="213"/>
                  </a:cubicBezTo>
                  <a:cubicBezTo>
                    <a:pt x="1237" y="213"/>
                    <a:pt x="1236" y="212"/>
                    <a:pt x="1235" y="212"/>
                  </a:cubicBezTo>
                  <a:cubicBezTo>
                    <a:pt x="1234" y="212"/>
                    <a:pt x="1234" y="212"/>
                    <a:pt x="1233" y="211"/>
                  </a:cubicBezTo>
                  <a:cubicBezTo>
                    <a:pt x="1233" y="210"/>
                    <a:pt x="1233" y="210"/>
                    <a:pt x="1233" y="210"/>
                  </a:cubicBezTo>
                  <a:cubicBezTo>
                    <a:pt x="1232" y="209"/>
                    <a:pt x="1230" y="207"/>
                    <a:pt x="1229" y="205"/>
                  </a:cubicBezTo>
                  <a:cubicBezTo>
                    <a:pt x="1229" y="205"/>
                    <a:pt x="1229" y="205"/>
                    <a:pt x="1229" y="205"/>
                  </a:cubicBezTo>
                  <a:cubicBezTo>
                    <a:pt x="1228" y="205"/>
                    <a:pt x="1228" y="204"/>
                    <a:pt x="1227" y="204"/>
                  </a:cubicBezTo>
                  <a:cubicBezTo>
                    <a:pt x="1227" y="203"/>
                    <a:pt x="1227" y="202"/>
                    <a:pt x="1227" y="201"/>
                  </a:cubicBezTo>
                  <a:cubicBezTo>
                    <a:pt x="1228" y="201"/>
                    <a:pt x="1228" y="201"/>
                    <a:pt x="1230" y="201"/>
                  </a:cubicBezTo>
                  <a:cubicBezTo>
                    <a:pt x="1231" y="200"/>
                    <a:pt x="1232" y="199"/>
                    <a:pt x="1232" y="198"/>
                  </a:cubicBezTo>
                  <a:cubicBezTo>
                    <a:pt x="1232" y="196"/>
                    <a:pt x="1229" y="195"/>
                    <a:pt x="1229" y="194"/>
                  </a:cubicBezTo>
                  <a:cubicBezTo>
                    <a:pt x="1229" y="194"/>
                    <a:pt x="1228" y="193"/>
                    <a:pt x="1228" y="192"/>
                  </a:cubicBezTo>
                  <a:cubicBezTo>
                    <a:pt x="1228" y="192"/>
                    <a:pt x="1227" y="189"/>
                    <a:pt x="1225" y="189"/>
                  </a:cubicBezTo>
                  <a:cubicBezTo>
                    <a:pt x="1225" y="189"/>
                    <a:pt x="1224" y="190"/>
                    <a:pt x="1224" y="190"/>
                  </a:cubicBezTo>
                  <a:cubicBezTo>
                    <a:pt x="1224" y="190"/>
                    <a:pt x="1224" y="190"/>
                    <a:pt x="1224" y="190"/>
                  </a:cubicBezTo>
                  <a:cubicBezTo>
                    <a:pt x="1223" y="189"/>
                    <a:pt x="1222" y="188"/>
                    <a:pt x="1221" y="188"/>
                  </a:cubicBezTo>
                  <a:cubicBezTo>
                    <a:pt x="1221" y="188"/>
                    <a:pt x="1221" y="187"/>
                    <a:pt x="1221" y="187"/>
                  </a:cubicBezTo>
                  <a:cubicBezTo>
                    <a:pt x="1221" y="187"/>
                    <a:pt x="1221" y="187"/>
                    <a:pt x="1221" y="187"/>
                  </a:cubicBezTo>
                  <a:cubicBezTo>
                    <a:pt x="1220" y="186"/>
                    <a:pt x="1220" y="186"/>
                    <a:pt x="1220" y="185"/>
                  </a:cubicBezTo>
                  <a:cubicBezTo>
                    <a:pt x="1220" y="185"/>
                    <a:pt x="1219" y="185"/>
                    <a:pt x="1219" y="184"/>
                  </a:cubicBezTo>
                  <a:cubicBezTo>
                    <a:pt x="1220" y="183"/>
                    <a:pt x="1220" y="182"/>
                    <a:pt x="1219" y="181"/>
                  </a:cubicBezTo>
                  <a:cubicBezTo>
                    <a:pt x="1219" y="180"/>
                    <a:pt x="1218" y="180"/>
                    <a:pt x="1217" y="180"/>
                  </a:cubicBezTo>
                  <a:cubicBezTo>
                    <a:pt x="1217" y="180"/>
                    <a:pt x="1217" y="180"/>
                    <a:pt x="1217" y="180"/>
                  </a:cubicBezTo>
                  <a:cubicBezTo>
                    <a:pt x="1217" y="180"/>
                    <a:pt x="1216" y="179"/>
                    <a:pt x="1215" y="179"/>
                  </a:cubicBezTo>
                  <a:cubicBezTo>
                    <a:pt x="1213" y="178"/>
                    <a:pt x="1212" y="179"/>
                    <a:pt x="1212" y="180"/>
                  </a:cubicBezTo>
                  <a:cubicBezTo>
                    <a:pt x="1211" y="179"/>
                    <a:pt x="1210" y="179"/>
                    <a:pt x="1210" y="179"/>
                  </a:cubicBezTo>
                  <a:cubicBezTo>
                    <a:pt x="1208" y="179"/>
                    <a:pt x="1208" y="178"/>
                    <a:pt x="1208" y="177"/>
                  </a:cubicBezTo>
                  <a:cubicBezTo>
                    <a:pt x="1208" y="176"/>
                    <a:pt x="1207" y="175"/>
                    <a:pt x="1206" y="175"/>
                  </a:cubicBezTo>
                  <a:cubicBezTo>
                    <a:pt x="1206" y="174"/>
                    <a:pt x="1205" y="174"/>
                    <a:pt x="1205" y="173"/>
                  </a:cubicBezTo>
                  <a:cubicBezTo>
                    <a:pt x="1205" y="173"/>
                    <a:pt x="1204" y="172"/>
                    <a:pt x="1205" y="170"/>
                  </a:cubicBezTo>
                  <a:cubicBezTo>
                    <a:pt x="1205" y="170"/>
                    <a:pt x="1205" y="170"/>
                    <a:pt x="1205" y="170"/>
                  </a:cubicBezTo>
                  <a:cubicBezTo>
                    <a:pt x="1206" y="169"/>
                    <a:pt x="1206" y="169"/>
                    <a:pt x="1206" y="168"/>
                  </a:cubicBezTo>
                  <a:cubicBezTo>
                    <a:pt x="1206" y="167"/>
                    <a:pt x="1206" y="167"/>
                    <a:pt x="1206" y="167"/>
                  </a:cubicBezTo>
                  <a:cubicBezTo>
                    <a:pt x="1206" y="165"/>
                    <a:pt x="1205" y="165"/>
                    <a:pt x="1204" y="164"/>
                  </a:cubicBezTo>
                  <a:cubicBezTo>
                    <a:pt x="1204" y="164"/>
                    <a:pt x="1204" y="164"/>
                    <a:pt x="1204" y="164"/>
                  </a:cubicBezTo>
                  <a:cubicBezTo>
                    <a:pt x="1203" y="164"/>
                    <a:pt x="1203" y="164"/>
                    <a:pt x="1203" y="164"/>
                  </a:cubicBezTo>
                  <a:cubicBezTo>
                    <a:pt x="1204" y="163"/>
                    <a:pt x="1204" y="163"/>
                    <a:pt x="1204" y="163"/>
                  </a:cubicBezTo>
                  <a:cubicBezTo>
                    <a:pt x="1204" y="163"/>
                    <a:pt x="1204" y="161"/>
                    <a:pt x="1203" y="161"/>
                  </a:cubicBezTo>
                  <a:cubicBezTo>
                    <a:pt x="1202" y="160"/>
                    <a:pt x="1202" y="160"/>
                    <a:pt x="1202" y="160"/>
                  </a:cubicBezTo>
                  <a:cubicBezTo>
                    <a:pt x="1202" y="159"/>
                    <a:pt x="1201" y="159"/>
                    <a:pt x="1200" y="159"/>
                  </a:cubicBezTo>
                  <a:cubicBezTo>
                    <a:pt x="1200" y="158"/>
                    <a:pt x="1200" y="158"/>
                    <a:pt x="1200" y="158"/>
                  </a:cubicBezTo>
                  <a:cubicBezTo>
                    <a:pt x="1200" y="157"/>
                    <a:pt x="1200" y="157"/>
                    <a:pt x="1200" y="156"/>
                  </a:cubicBezTo>
                  <a:cubicBezTo>
                    <a:pt x="1200" y="156"/>
                    <a:pt x="1200" y="156"/>
                    <a:pt x="1200" y="156"/>
                  </a:cubicBezTo>
                  <a:cubicBezTo>
                    <a:pt x="1200" y="156"/>
                    <a:pt x="1200" y="156"/>
                    <a:pt x="1200" y="156"/>
                  </a:cubicBezTo>
                  <a:cubicBezTo>
                    <a:pt x="1200" y="156"/>
                    <a:pt x="1200" y="156"/>
                    <a:pt x="1200" y="156"/>
                  </a:cubicBezTo>
                  <a:cubicBezTo>
                    <a:pt x="1200" y="156"/>
                    <a:pt x="1201" y="157"/>
                    <a:pt x="1201" y="157"/>
                  </a:cubicBezTo>
                  <a:cubicBezTo>
                    <a:pt x="1202" y="157"/>
                    <a:pt x="1202" y="156"/>
                    <a:pt x="1203" y="156"/>
                  </a:cubicBezTo>
                  <a:cubicBezTo>
                    <a:pt x="1203" y="156"/>
                    <a:pt x="1203" y="156"/>
                    <a:pt x="1203" y="156"/>
                  </a:cubicBezTo>
                  <a:cubicBezTo>
                    <a:pt x="1203" y="157"/>
                    <a:pt x="1204" y="157"/>
                    <a:pt x="1204" y="157"/>
                  </a:cubicBezTo>
                  <a:cubicBezTo>
                    <a:pt x="1205" y="159"/>
                    <a:pt x="1207" y="159"/>
                    <a:pt x="1207" y="158"/>
                  </a:cubicBezTo>
                  <a:cubicBezTo>
                    <a:pt x="1208" y="157"/>
                    <a:pt x="1208" y="157"/>
                    <a:pt x="1208" y="157"/>
                  </a:cubicBezTo>
                  <a:cubicBezTo>
                    <a:pt x="1208" y="156"/>
                    <a:pt x="1208" y="156"/>
                    <a:pt x="1208" y="156"/>
                  </a:cubicBezTo>
                  <a:cubicBezTo>
                    <a:pt x="1209" y="155"/>
                    <a:pt x="1209" y="155"/>
                    <a:pt x="1209" y="154"/>
                  </a:cubicBezTo>
                  <a:cubicBezTo>
                    <a:pt x="1209" y="153"/>
                    <a:pt x="1208" y="153"/>
                    <a:pt x="1207" y="152"/>
                  </a:cubicBezTo>
                  <a:cubicBezTo>
                    <a:pt x="1207" y="152"/>
                    <a:pt x="1208" y="152"/>
                    <a:pt x="1208" y="152"/>
                  </a:cubicBezTo>
                  <a:cubicBezTo>
                    <a:pt x="1208" y="152"/>
                    <a:pt x="1209" y="151"/>
                    <a:pt x="1209" y="150"/>
                  </a:cubicBezTo>
                  <a:cubicBezTo>
                    <a:pt x="1209" y="150"/>
                    <a:pt x="1209" y="150"/>
                    <a:pt x="1210" y="149"/>
                  </a:cubicBezTo>
                  <a:cubicBezTo>
                    <a:pt x="1210" y="150"/>
                    <a:pt x="1211" y="152"/>
                    <a:pt x="1213" y="155"/>
                  </a:cubicBezTo>
                  <a:cubicBezTo>
                    <a:pt x="1213" y="156"/>
                    <a:pt x="1213" y="157"/>
                    <a:pt x="1215" y="157"/>
                  </a:cubicBezTo>
                  <a:cubicBezTo>
                    <a:pt x="1215" y="157"/>
                    <a:pt x="1216" y="157"/>
                    <a:pt x="1216" y="157"/>
                  </a:cubicBezTo>
                  <a:cubicBezTo>
                    <a:pt x="1217" y="156"/>
                    <a:pt x="1217" y="154"/>
                    <a:pt x="1216" y="153"/>
                  </a:cubicBezTo>
                  <a:cubicBezTo>
                    <a:pt x="1216" y="153"/>
                    <a:pt x="1216" y="152"/>
                    <a:pt x="1217" y="151"/>
                  </a:cubicBezTo>
                  <a:cubicBezTo>
                    <a:pt x="1217" y="150"/>
                    <a:pt x="1217" y="149"/>
                    <a:pt x="1216" y="148"/>
                  </a:cubicBezTo>
                  <a:cubicBezTo>
                    <a:pt x="1217" y="148"/>
                    <a:pt x="1218" y="147"/>
                    <a:pt x="1219" y="146"/>
                  </a:cubicBezTo>
                  <a:cubicBezTo>
                    <a:pt x="1219" y="145"/>
                    <a:pt x="1219" y="145"/>
                    <a:pt x="1219" y="145"/>
                  </a:cubicBezTo>
                  <a:cubicBezTo>
                    <a:pt x="1220" y="144"/>
                    <a:pt x="1220" y="144"/>
                    <a:pt x="1221" y="144"/>
                  </a:cubicBezTo>
                  <a:cubicBezTo>
                    <a:pt x="1222" y="144"/>
                    <a:pt x="1222" y="144"/>
                    <a:pt x="1223" y="144"/>
                  </a:cubicBezTo>
                  <a:cubicBezTo>
                    <a:pt x="1223" y="144"/>
                    <a:pt x="1223" y="144"/>
                    <a:pt x="1223" y="144"/>
                  </a:cubicBezTo>
                  <a:cubicBezTo>
                    <a:pt x="1224" y="144"/>
                    <a:pt x="1224" y="145"/>
                    <a:pt x="1225" y="145"/>
                  </a:cubicBezTo>
                  <a:cubicBezTo>
                    <a:pt x="1225" y="145"/>
                    <a:pt x="1226" y="145"/>
                    <a:pt x="1226" y="144"/>
                  </a:cubicBezTo>
                  <a:cubicBezTo>
                    <a:pt x="1226" y="144"/>
                    <a:pt x="1227" y="144"/>
                    <a:pt x="1227" y="145"/>
                  </a:cubicBezTo>
                  <a:cubicBezTo>
                    <a:pt x="1228" y="147"/>
                    <a:pt x="1230" y="147"/>
                    <a:pt x="1231" y="147"/>
                  </a:cubicBezTo>
                  <a:cubicBezTo>
                    <a:pt x="1231" y="148"/>
                    <a:pt x="1232" y="148"/>
                    <a:pt x="1234" y="149"/>
                  </a:cubicBezTo>
                  <a:cubicBezTo>
                    <a:pt x="1234" y="149"/>
                    <a:pt x="1234" y="149"/>
                    <a:pt x="1234" y="149"/>
                  </a:cubicBezTo>
                  <a:cubicBezTo>
                    <a:pt x="1234" y="149"/>
                    <a:pt x="1235" y="149"/>
                    <a:pt x="1235" y="149"/>
                  </a:cubicBezTo>
                  <a:cubicBezTo>
                    <a:pt x="1236" y="150"/>
                    <a:pt x="1236" y="150"/>
                    <a:pt x="1237" y="150"/>
                  </a:cubicBezTo>
                  <a:cubicBezTo>
                    <a:pt x="1237" y="150"/>
                    <a:pt x="1238" y="150"/>
                    <a:pt x="1238" y="149"/>
                  </a:cubicBezTo>
                  <a:cubicBezTo>
                    <a:pt x="1239" y="148"/>
                    <a:pt x="1238" y="147"/>
                    <a:pt x="1238" y="146"/>
                  </a:cubicBezTo>
                  <a:cubicBezTo>
                    <a:pt x="1237" y="146"/>
                    <a:pt x="1237" y="146"/>
                    <a:pt x="1237" y="145"/>
                  </a:cubicBezTo>
                  <a:cubicBezTo>
                    <a:pt x="1237" y="145"/>
                    <a:pt x="1237" y="145"/>
                    <a:pt x="1237" y="145"/>
                  </a:cubicBezTo>
                  <a:cubicBezTo>
                    <a:pt x="1237" y="144"/>
                    <a:pt x="1237" y="143"/>
                    <a:pt x="1237" y="143"/>
                  </a:cubicBezTo>
                  <a:cubicBezTo>
                    <a:pt x="1237" y="142"/>
                    <a:pt x="1237" y="142"/>
                    <a:pt x="1237" y="142"/>
                  </a:cubicBezTo>
                  <a:cubicBezTo>
                    <a:pt x="1238" y="141"/>
                    <a:pt x="1238" y="140"/>
                    <a:pt x="1237" y="138"/>
                  </a:cubicBezTo>
                  <a:cubicBezTo>
                    <a:pt x="1237" y="138"/>
                    <a:pt x="1238" y="137"/>
                    <a:pt x="1238" y="136"/>
                  </a:cubicBezTo>
                  <a:cubicBezTo>
                    <a:pt x="1239" y="135"/>
                    <a:pt x="1239" y="135"/>
                    <a:pt x="1239" y="133"/>
                  </a:cubicBezTo>
                  <a:cubicBezTo>
                    <a:pt x="1239" y="132"/>
                    <a:pt x="1239" y="132"/>
                    <a:pt x="1239" y="132"/>
                  </a:cubicBezTo>
                  <a:cubicBezTo>
                    <a:pt x="1240" y="131"/>
                    <a:pt x="1240" y="127"/>
                    <a:pt x="1239" y="126"/>
                  </a:cubicBezTo>
                  <a:cubicBezTo>
                    <a:pt x="1239" y="126"/>
                    <a:pt x="1239" y="126"/>
                    <a:pt x="1239" y="126"/>
                  </a:cubicBezTo>
                  <a:cubicBezTo>
                    <a:pt x="1239" y="126"/>
                    <a:pt x="1240" y="126"/>
                    <a:pt x="1240" y="126"/>
                  </a:cubicBezTo>
                  <a:cubicBezTo>
                    <a:pt x="1241" y="126"/>
                    <a:pt x="1242" y="123"/>
                    <a:pt x="1242" y="122"/>
                  </a:cubicBezTo>
                  <a:cubicBezTo>
                    <a:pt x="1242" y="122"/>
                    <a:pt x="1243" y="121"/>
                    <a:pt x="1243" y="121"/>
                  </a:cubicBezTo>
                  <a:cubicBezTo>
                    <a:pt x="1243" y="121"/>
                    <a:pt x="1244" y="121"/>
                    <a:pt x="1245" y="120"/>
                  </a:cubicBezTo>
                  <a:cubicBezTo>
                    <a:pt x="1245" y="120"/>
                    <a:pt x="1245" y="119"/>
                    <a:pt x="1245" y="119"/>
                  </a:cubicBezTo>
                  <a:cubicBezTo>
                    <a:pt x="1245" y="118"/>
                    <a:pt x="1246" y="117"/>
                    <a:pt x="1246" y="116"/>
                  </a:cubicBezTo>
                  <a:cubicBezTo>
                    <a:pt x="1246" y="115"/>
                    <a:pt x="1246" y="115"/>
                    <a:pt x="1247" y="114"/>
                  </a:cubicBezTo>
                  <a:cubicBezTo>
                    <a:pt x="1248" y="114"/>
                    <a:pt x="1248" y="113"/>
                    <a:pt x="1248" y="112"/>
                  </a:cubicBezTo>
                  <a:cubicBezTo>
                    <a:pt x="1249" y="112"/>
                    <a:pt x="1249" y="112"/>
                    <a:pt x="1250" y="112"/>
                  </a:cubicBezTo>
                  <a:cubicBezTo>
                    <a:pt x="1251" y="112"/>
                    <a:pt x="1251" y="112"/>
                    <a:pt x="1252" y="112"/>
                  </a:cubicBezTo>
                  <a:cubicBezTo>
                    <a:pt x="1253" y="112"/>
                    <a:pt x="1254" y="112"/>
                    <a:pt x="1254" y="112"/>
                  </a:cubicBezTo>
                  <a:cubicBezTo>
                    <a:pt x="1255" y="112"/>
                    <a:pt x="1255" y="112"/>
                    <a:pt x="1255" y="112"/>
                  </a:cubicBezTo>
                  <a:cubicBezTo>
                    <a:pt x="1256" y="112"/>
                    <a:pt x="1256" y="112"/>
                    <a:pt x="1257" y="113"/>
                  </a:cubicBezTo>
                  <a:cubicBezTo>
                    <a:pt x="1258" y="113"/>
                    <a:pt x="1258" y="113"/>
                    <a:pt x="1259" y="113"/>
                  </a:cubicBezTo>
                  <a:cubicBezTo>
                    <a:pt x="1261" y="114"/>
                    <a:pt x="1262" y="114"/>
                    <a:pt x="1262" y="113"/>
                  </a:cubicBezTo>
                  <a:cubicBezTo>
                    <a:pt x="1263" y="111"/>
                    <a:pt x="1261" y="109"/>
                    <a:pt x="1261" y="109"/>
                  </a:cubicBezTo>
                  <a:cubicBezTo>
                    <a:pt x="1261" y="109"/>
                    <a:pt x="1261" y="109"/>
                    <a:pt x="1261" y="109"/>
                  </a:cubicBezTo>
                  <a:cubicBezTo>
                    <a:pt x="1261" y="109"/>
                    <a:pt x="1262" y="108"/>
                    <a:pt x="1261" y="107"/>
                  </a:cubicBezTo>
                  <a:cubicBezTo>
                    <a:pt x="1261" y="106"/>
                    <a:pt x="1260" y="105"/>
                    <a:pt x="1260" y="105"/>
                  </a:cubicBezTo>
                  <a:cubicBezTo>
                    <a:pt x="1259" y="104"/>
                    <a:pt x="1259" y="103"/>
                    <a:pt x="1257" y="103"/>
                  </a:cubicBezTo>
                  <a:cubicBezTo>
                    <a:pt x="1256" y="103"/>
                    <a:pt x="1256" y="103"/>
                    <a:pt x="1256" y="103"/>
                  </a:cubicBezTo>
                  <a:cubicBezTo>
                    <a:pt x="1256" y="103"/>
                    <a:pt x="1256" y="102"/>
                    <a:pt x="1256" y="102"/>
                  </a:cubicBezTo>
                  <a:cubicBezTo>
                    <a:pt x="1255" y="101"/>
                    <a:pt x="1254" y="99"/>
                    <a:pt x="1252" y="99"/>
                  </a:cubicBezTo>
                  <a:cubicBezTo>
                    <a:pt x="1251" y="99"/>
                    <a:pt x="1249" y="98"/>
                    <a:pt x="1249" y="97"/>
                  </a:cubicBezTo>
                  <a:cubicBezTo>
                    <a:pt x="1248" y="96"/>
                    <a:pt x="1246" y="96"/>
                    <a:pt x="1244" y="96"/>
                  </a:cubicBezTo>
                  <a:cubicBezTo>
                    <a:pt x="1244" y="96"/>
                    <a:pt x="1244" y="95"/>
                    <a:pt x="1244" y="95"/>
                  </a:cubicBezTo>
                  <a:cubicBezTo>
                    <a:pt x="1244" y="94"/>
                    <a:pt x="1243" y="94"/>
                    <a:pt x="1243" y="94"/>
                  </a:cubicBezTo>
                  <a:cubicBezTo>
                    <a:pt x="1243" y="94"/>
                    <a:pt x="1242" y="94"/>
                    <a:pt x="1241" y="93"/>
                  </a:cubicBezTo>
                  <a:cubicBezTo>
                    <a:pt x="1240" y="91"/>
                    <a:pt x="1239" y="91"/>
                    <a:pt x="1238" y="92"/>
                  </a:cubicBezTo>
                  <a:cubicBezTo>
                    <a:pt x="1238" y="91"/>
                    <a:pt x="1237" y="90"/>
                    <a:pt x="1236" y="90"/>
                  </a:cubicBezTo>
                  <a:cubicBezTo>
                    <a:pt x="1236" y="90"/>
                    <a:pt x="1235" y="90"/>
                    <a:pt x="1235" y="89"/>
                  </a:cubicBezTo>
                  <a:cubicBezTo>
                    <a:pt x="1233" y="88"/>
                    <a:pt x="1232" y="87"/>
                    <a:pt x="1231" y="88"/>
                  </a:cubicBezTo>
                  <a:cubicBezTo>
                    <a:pt x="1231" y="89"/>
                    <a:pt x="1231" y="89"/>
                    <a:pt x="1231" y="89"/>
                  </a:cubicBezTo>
                  <a:cubicBezTo>
                    <a:pt x="1230" y="89"/>
                    <a:pt x="1229" y="88"/>
                    <a:pt x="1228" y="88"/>
                  </a:cubicBezTo>
                  <a:cubicBezTo>
                    <a:pt x="1229" y="88"/>
                    <a:pt x="1230" y="87"/>
                    <a:pt x="1230" y="87"/>
                  </a:cubicBezTo>
                  <a:cubicBezTo>
                    <a:pt x="1231" y="87"/>
                    <a:pt x="1231" y="87"/>
                    <a:pt x="1232" y="87"/>
                  </a:cubicBezTo>
                  <a:cubicBezTo>
                    <a:pt x="1232" y="86"/>
                    <a:pt x="1233" y="86"/>
                    <a:pt x="1233" y="85"/>
                  </a:cubicBezTo>
                  <a:cubicBezTo>
                    <a:pt x="1233" y="84"/>
                    <a:pt x="1234" y="84"/>
                    <a:pt x="1234" y="83"/>
                  </a:cubicBezTo>
                  <a:cubicBezTo>
                    <a:pt x="1236" y="82"/>
                    <a:pt x="1235" y="80"/>
                    <a:pt x="1235" y="77"/>
                  </a:cubicBezTo>
                  <a:cubicBezTo>
                    <a:pt x="1235" y="76"/>
                    <a:pt x="1235" y="76"/>
                    <a:pt x="1235" y="76"/>
                  </a:cubicBezTo>
                  <a:cubicBezTo>
                    <a:pt x="1235" y="74"/>
                    <a:pt x="1234" y="73"/>
                    <a:pt x="1233" y="72"/>
                  </a:cubicBezTo>
                  <a:cubicBezTo>
                    <a:pt x="1233" y="72"/>
                    <a:pt x="1234" y="72"/>
                    <a:pt x="1235" y="72"/>
                  </a:cubicBezTo>
                  <a:cubicBezTo>
                    <a:pt x="1235" y="72"/>
                    <a:pt x="1235" y="72"/>
                    <a:pt x="1235" y="72"/>
                  </a:cubicBezTo>
                  <a:cubicBezTo>
                    <a:pt x="1235" y="73"/>
                    <a:pt x="1237" y="74"/>
                    <a:pt x="1238" y="74"/>
                  </a:cubicBezTo>
                  <a:cubicBezTo>
                    <a:pt x="1239" y="74"/>
                    <a:pt x="1240" y="74"/>
                    <a:pt x="1240" y="73"/>
                  </a:cubicBezTo>
                  <a:cubicBezTo>
                    <a:pt x="1241" y="73"/>
                    <a:pt x="1241" y="73"/>
                    <a:pt x="1241" y="73"/>
                  </a:cubicBezTo>
                  <a:cubicBezTo>
                    <a:pt x="1241" y="73"/>
                    <a:pt x="1242" y="73"/>
                    <a:pt x="1242" y="73"/>
                  </a:cubicBezTo>
                  <a:cubicBezTo>
                    <a:pt x="1243" y="73"/>
                    <a:pt x="1244" y="73"/>
                    <a:pt x="1244" y="71"/>
                  </a:cubicBezTo>
                  <a:cubicBezTo>
                    <a:pt x="1245" y="71"/>
                    <a:pt x="1245" y="71"/>
                    <a:pt x="1245" y="71"/>
                  </a:cubicBezTo>
                  <a:cubicBezTo>
                    <a:pt x="1246" y="71"/>
                    <a:pt x="1246" y="71"/>
                    <a:pt x="1246" y="71"/>
                  </a:cubicBezTo>
                  <a:cubicBezTo>
                    <a:pt x="1246" y="71"/>
                    <a:pt x="1246" y="71"/>
                    <a:pt x="1247" y="71"/>
                  </a:cubicBezTo>
                  <a:cubicBezTo>
                    <a:pt x="1247" y="72"/>
                    <a:pt x="1248" y="72"/>
                    <a:pt x="1249" y="72"/>
                  </a:cubicBezTo>
                  <a:cubicBezTo>
                    <a:pt x="1250" y="72"/>
                    <a:pt x="1253" y="74"/>
                    <a:pt x="1255" y="76"/>
                  </a:cubicBezTo>
                  <a:cubicBezTo>
                    <a:pt x="1256" y="77"/>
                    <a:pt x="1257" y="78"/>
                    <a:pt x="1258" y="78"/>
                  </a:cubicBezTo>
                  <a:cubicBezTo>
                    <a:pt x="1259" y="78"/>
                    <a:pt x="1259" y="78"/>
                    <a:pt x="1260" y="78"/>
                  </a:cubicBezTo>
                  <a:cubicBezTo>
                    <a:pt x="1260" y="77"/>
                    <a:pt x="1260" y="77"/>
                    <a:pt x="1260" y="77"/>
                  </a:cubicBezTo>
                  <a:cubicBezTo>
                    <a:pt x="1260" y="77"/>
                    <a:pt x="1261" y="78"/>
                    <a:pt x="1261" y="78"/>
                  </a:cubicBezTo>
                  <a:cubicBezTo>
                    <a:pt x="1262" y="78"/>
                    <a:pt x="1264" y="78"/>
                    <a:pt x="1265" y="78"/>
                  </a:cubicBezTo>
                  <a:cubicBezTo>
                    <a:pt x="1265" y="78"/>
                    <a:pt x="1265" y="78"/>
                    <a:pt x="1265" y="78"/>
                  </a:cubicBezTo>
                  <a:cubicBezTo>
                    <a:pt x="1265" y="79"/>
                    <a:pt x="1266" y="79"/>
                    <a:pt x="1267" y="79"/>
                  </a:cubicBezTo>
                  <a:cubicBezTo>
                    <a:pt x="1267" y="78"/>
                    <a:pt x="1268" y="78"/>
                    <a:pt x="1269" y="78"/>
                  </a:cubicBezTo>
                  <a:cubicBezTo>
                    <a:pt x="1270" y="78"/>
                    <a:pt x="1271" y="79"/>
                    <a:pt x="1271" y="79"/>
                  </a:cubicBezTo>
                  <a:cubicBezTo>
                    <a:pt x="1272" y="80"/>
                    <a:pt x="1273" y="81"/>
                    <a:pt x="1275" y="81"/>
                  </a:cubicBezTo>
                  <a:cubicBezTo>
                    <a:pt x="1277" y="82"/>
                    <a:pt x="1278" y="81"/>
                    <a:pt x="1278" y="81"/>
                  </a:cubicBezTo>
                  <a:cubicBezTo>
                    <a:pt x="1278" y="81"/>
                    <a:pt x="1278" y="81"/>
                    <a:pt x="1278" y="81"/>
                  </a:cubicBezTo>
                  <a:cubicBezTo>
                    <a:pt x="1279" y="81"/>
                    <a:pt x="1279" y="81"/>
                    <a:pt x="1280" y="81"/>
                  </a:cubicBezTo>
                  <a:cubicBezTo>
                    <a:pt x="1281" y="81"/>
                    <a:pt x="1282" y="80"/>
                    <a:pt x="1282" y="79"/>
                  </a:cubicBezTo>
                  <a:cubicBezTo>
                    <a:pt x="1282" y="79"/>
                    <a:pt x="1283" y="79"/>
                    <a:pt x="1283" y="79"/>
                  </a:cubicBezTo>
                  <a:cubicBezTo>
                    <a:pt x="1283" y="79"/>
                    <a:pt x="1283" y="79"/>
                    <a:pt x="1283" y="78"/>
                  </a:cubicBezTo>
                  <a:cubicBezTo>
                    <a:pt x="1284" y="78"/>
                    <a:pt x="1284" y="78"/>
                    <a:pt x="1284" y="78"/>
                  </a:cubicBezTo>
                  <a:cubicBezTo>
                    <a:pt x="1285" y="77"/>
                    <a:pt x="1285" y="76"/>
                    <a:pt x="1285" y="76"/>
                  </a:cubicBezTo>
                  <a:cubicBezTo>
                    <a:pt x="1285" y="74"/>
                    <a:pt x="1283" y="74"/>
                    <a:pt x="1282" y="74"/>
                  </a:cubicBezTo>
                  <a:cubicBezTo>
                    <a:pt x="1281" y="74"/>
                    <a:pt x="1279" y="75"/>
                    <a:pt x="1278" y="75"/>
                  </a:cubicBezTo>
                  <a:cubicBezTo>
                    <a:pt x="1278" y="75"/>
                    <a:pt x="1277" y="74"/>
                    <a:pt x="1277" y="74"/>
                  </a:cubicBezTo>
                  <a:cubicBezTo>
                    <a:pt x="1277" y="73"/>
                    <a:pt x="1277" y="73"/>
                    <a:pt x="1277" y="73"/>
                  </a:cubicBezTo>
                  <a:cubicBezTo>
                    <a:pt x="1277" y="72"/>
                    <a:pt x="1276" y="72"/>
                    <a:pt x="1276" y="72"/>
                  </a:cubicBezTo>
                  <a:cubicBezTo>
                    <a:pt x="1276" y="71"/>
                    <a:pt x="1276" y="70"/>
                    <a:pt x="1276" y="70"/>
                  </a:cubicBezTo>
                  <a:cubicBezTo>
                    <a:pt x="1276" y="69"/>
                    <a:pt x="1275" y="67"/>
                    <a:pt x="1273" y="67"/>
                  </a:cubicBezTo>
                  <a:cubicBezTo>
                    <a:pt x="1273" y="67"/>
                    <a:pt x="1273" y="66"/>
                    <a:pt x="1273" y="66"/>
                  </a:cubicBezTo>
                  <a:cubicBezTo>
                    <a:pt x="1273" y="66"/>
                    <a:pt x="1273" y="66"/>
                    <a:pt x="1274" y="66"/>
                  </a:cubicBezTo>
                  <a:cubicBezTo>
                    <a:pt x="1274" y="66"/>
                    <a:pt x="1276" y="66"/>
                    <a:pt x="1276" y="64"/>
                  </a:cubicBezTo>
                  <a:cubicBezTo>
                    <a:pt x="1276" y="64"/>
                    <a:pt x="1276" y="63"/>
                    <a:pt x="1276" y="63"/>
                  </a:cubicBezTo>
                  <a:cubicBezTo>
                    <a:pt x="1277" y="63"/>
                    <a:pt x="1277" y="62"/>
                    <a:pt x="1278" y="62"/>
                  </a:cubicBezTo>
                  <a:cubicBezTo>
                    <a:pt x="1278" y="60"/>
                    <a:pt x="1278" y="59"/>
                    <a:pt x="1277" y="58"/>
                  </a:cubicBezTo>
                  <a:cubicBezTo>
                    <a:pt x="1276" y="58"/>
                    <a:pt x="1276" y="58"/>
                    <a:pt x="1276" y="57"/>
                  </a:cubicBezTo>
                  <a:cubicBezTo>
                    <a:pt x="1275" y="57"/>
                    <a:pt x="1275" y="57"/>
                    <a:pt x="1275" y="55"/>
                  </a:cubicBezTo>
                  <a:cubicBezTo>
                    <a:pt x="1273" y="51"/>
                    <a:pt x="1268" y="51"/>
                    <a:pt x="1264" y="51"/>
                  </a:cubicBezTo>
                  <a:cubicBezTo>
                    <a:pt x="1264" y="51"/>
                    <a:pt x="1264" y="51"/>
                    <a:pt x="1263" y="51"/>
                  </a:cubicBezTo>
                  <a:cubicBezTo>
                    <a:pt x="1262" y="51"/>
                    <a:pt x="1260" y="50"/>
                    <a:pt x="1258" y="49"/>
                  </a:cubicBezTo>
                  <a:cubicBezTo>
                    <a:pt x="1257" y="47"/>
                    <a:pt x="1255" y="47"/>
                    <a:pt x="1253" y="47"/>
                  </a:cubicBezTo>
                  <a:cubicBezTo>
                    <a:pt x="1252" y="47"/>
                    <a:pt x="1252" y="47"/>
                    <a:pt x="1251" y="47"/>
                  </a:cubicBezTo>
                  <a:cubicBezTo>
                    <a:pt x="1250" y="47"/>
                    <a:pt x="1250" y="47"/>
                    <a:pt x="1249" y="47"/>
                  </a:cubicBezTo>
                  <a:cubicBezTo>
                    <a:pt x="1248" y="47"/>
                    <a:pt x="1248" y="47"/>
                    <a:pt x="1248" y="47"/>
                  </a:cubicBezTo>
                  <a:cubicBezTo>
                    <a:pt x="1246" y="46"/>
                    <a:pt x="1246" y="47"/>
                    <a:pt x="1245" y="48"/>
                  </a:cubicBezTo>
                  <a:cubicBezTo>
                    <a:pt x="1244" y="47"/>
                    <a:pt x="1243" y="48"/>
                    <a:pt x="1243" y="48"/>
                  </a:cubicBezTo>
                  <a:cubicBezTo>
                    <a:pt x="1243" y="48"/>
                    <a:pt x="1242" y="48"/>
                    <a:pt x="1241" y="49"/>
                  </a:cubicBezTo>
                  <a:cubicBezTo>
                    <a:pt x="1240" y="49"/>
                    <a:pt x="1238" y="49"/>
                    <a:pt x="1238" y="51"/>
                  </a:cubicBezTo>
                  <a:cubicBezTo>
                    <a:pt x="1238" y="51"/>
                    <a:pt x="1238" y="51"/>
                    <a:pt x="1238" y="51"/>
                  </a:cubicBezTo>
                  <a:cubicBezTo>
                    <a:pt x="1237" y="50"/>
                    <a:pt x="1236" y="49"/>
                    <a:pt x="1236" y="48"/>
                  </a:cubicBezTo>
                  <a:cubicBezTo>
                    <a:pt x="1235" y="48"/>
                    <a:pt x="1235" y="48"/>
                    <a:pt x="1235" y="48"/>
                  </a:cubicBezTo>
                  <a:cubicBezTo>
                    <a:pt x="1234" y="47"/>
                    <a:pt x="1233" y="46"/>
                    <a:pt x="1232" y="46"/>
                  </a:cubicBezTo>
                  <a:cubicBezTo>
                    <a:pt x="1231" y="46"/>
                    <a:pt x="1231" y="46"/>
                    <a:pt x="1230" y="47"/>
                  </a:cubicBezTo>
                  <a:cubicBezTo>
                    <a:pt x="1229" y="46"/>
                    <a:pt x="1228" y="45"/>
                    <a:pt x="1227" y="44"/>
                  </a:cubicBezTo>
                  <a:cubicBezTo>
                    <a:pt x="1227" y="43"/>
                    <a:pt x="1225" y="43"/>
                    <a:pt x="1225" y="43"/>
                  </a:cubicBezTo>
                  <a:cubicBezTo>
                    <a:pt x="1224" y="43"/>
                    <a:pt x="1224" y="43"/>
                    <a:pt x="1224" y="43"/>
                  </a:cubicBezTo>
                  <a:cubicBezTo>
                    <a:pt x="1222" y="42"/>
                    <a:pt x="1221" y="42"/>
                    <a:pt x="1221" y="43"/>
                  </a:cubicBezTo>
                  <a:cubicBezTo>
                    <a:pt x="1221" y="43"/>
                    <a:pt x="1221" y="44"/>
                    <a:pt x="1221" y="44"/>
                  </a:cubicBezTo>
                  <a:cubicBezTo>
                    <a:pt x="1221" y="44"/>
                    <a:pt x="1220" y="44"/>
                    <a:pt x="1220" y="44"/>
                  </a:cubicBezTo>
                  <a:cubicBezTo>
                    <a:pt x="1220" y="44"/>
                    <a:pt x="1220" y="44"/>
                    <a:pt x="1220" y="44"/>
                  </a:cubicBezTo>
                  <a:cubicBezTo>
                    <a:pt x="1220" y="44"/>
                    <a:pt x="1220" y="44"/>
                    <a:pt x="1220" y="44"/>
                  </a:cubicBezTo>
                  <a:cubicBezTo>
                    <a:pt x="1220" y="42"/>
                    <a:pt x="1218" y="41"/>
                    <a:pt x="1217" y="41"/>
                  </a:cubicBezTo>
                  <a:cubicBezTo>
                    <a:pt x="1215" y="40"/>
                    <a:pt x="1215" y="40"/>
                    <a:pt x="1214" y="41"/>
                  </a:cubicBezTo>
                  <a:cubicBezTo>
                    <a:pt x="1213" y="40"/>
                    <a:pt x="1211" y="40"/>
                    <a:pt x="1210" y="40"/>
                  </a:cubicBezTo>
                  <a:cubicBezTo>
                    <a:pt x="1210" y="40"/>
                    <a:pt x="1210" y="40"/>
                    <a:pt x="1210" y="40"/>
                  </a:cubicBezTo>
                  <a:cubicBezTo>
                    <a:pt x="1209" y="40"/>
                    <a:pt x="1209" y="39"/>
                    <a:pt x="1209" y="39"/>
                  </a:cubicBezTo>
                  <a:cubicBezTo>
                    <a:pt x="1208" y="39"/>
                    <a:pt x="1207" y="40"/>
                    <a:pt x="1207" y="40"/>
                  </a:cubicBezTo>
                  <a:cubicBezTo>
                    <a:pt x="1206" y="40"/>
                    <a:pt x="1203" y="40"/>
                    <a:pt x="1199" y="38"/>
                  </a:cubicBezTo>
                  <a:cubicBezTo>
                    <a:pt x="1195" y="36"/>
                    <a:pt x="1189" y="35"/>
                    <a:pt x="1187" y="35"/>
                  </a:cubicBezTo>
                  <a:cubicBezTo>
                    <a:pt x="1187" y="35"/>
                    <a:pt x="1186" y="35"/>
                    <a:pt x="1186" y="35"/>
                  </a:cubicBezTo>
                  <a:cubicBezTo>
                    <a:pt x="1186" y="35"/>
                    <a:pt x="1186" y="35"/>
                    <a:pt x="1185" y="35"/>
                  </a:cubicBezTo>
                  <a:cubicBezTo>
                    <a:pt x="1184" y="35"/>
                    <a:pt x="1183" y="35"/>
                    <a:pt x="1182" y="35"/>
                  </a:cubicBezTo>
                  <a:cubicBezTo>
                    <a:pt x="1182" y="35"/>
                    <a:pt x="1181" y="35"/>
                    <a:pt x="1181" y="35"/>
                  </a:cubicBezTo>
                  <a:cubicBezTo>
                    <a:pt x="1180" y="34"/>
                    <a:pt x="1178" y="33"/>
                    <a:pt x="1177" y="33"/>
                  </a:cubicBezTo>
                  <a:cubicBezTo>
                    <a:pt x="1177" y="33"/>
                    <a:pt x="1177" y="33"/>
                    <a:pt x="1177" y="33"/>
                  </a:cubicBezTo>
                  <a:cubicBezTo>
                    <a:pt x="1176" y="33"/>
                    <a:pt x="1176" y="33"/>
                    <a:pt x="1175" y="33"/>
                  </a:cubicBezTo>
                  <a:cubicBezTo>
                    <a:pt x="1175" y="33"/>
                    <a:pt x="1175" y="33"/>
                    <a:pt x="1175" y="33"/>
                  </a:cubicBezTo>
                  <a:cubicBezTo>
                    <a:pt x="1175" y="32"/>
                    <a:pt x="1173" y="31"/>
                    <a:pt x="1170" y="31"/>
                  </a:cubicBezTo>
                  <a:cubicBezTo>
                    <a:pt x="1168" y="31"/>
                    <a:pt x="1167" y="32"/>
                    <a:pt x="1166" y="32"/>
                  </a:cubicBezTo>
                  <a:cubicBezTo>
                    <a:pt x="1165" y="32"/>
                    <a:pt x="1165" y="32"/>
                    <a:pt x="1165" y="32"/>
                  </a:cubicBezTo>
                  <a:cubicBezTo>
                    <a:pt x="1165" y="32"/>
                    <a:pt x="1164" y="32"/>
                    <a:pt x="1164" y="32"/>
                  </a:cubicBezTo>
                  <a:cubicBezTo>
                    <a:pt x="1163" y="32"/>
                    <a:pt x="1163" y="32"/>
                    <a:pt x="1163" y="32"/>
                  </a:cubicBezTo>
                  <a:cubicBezTo>
                    <a:pt x="1163" y="32"/>
                    <a:pt x="1163" y="31"/>
                    <a:pt x="1162" y="31"/>
                  </a:cubicBezTo>
                  <a:cubicBezTo>
                    <a:pt x="1162" y="31"/>
                    <a:pt x="1161" y="30"/>
                    <a:pt x="1159" y="30"/>
                  </a:cubicBezTo>
                  <a:cubicBezTo>
                    <a:pt x="1159" y="30"/>
                    <a:pt x="1159" y="30"/>
                    <a:pt x="1159" y="30"/>
                  </a:cubicBezTo>
                  <a:cubicBezTo>
                    <a:pt x="1159" y="30"/>
                    <a:pt x="1159" y="30"/>
                    <a:pt x="1159" y="30"/>
                  </a:cubicBezTo>
                  <a:cubicBezTo>
                    <a:pt x="1158" y="30"/>
                    <a:pt x="1158" y="30"/>
                    <a:pt x="1157" y="30"/>
                  </a:cubicBezTo>
                  <a:cubicBezTo>
                    <a:pt x="1156" y="30"/>
                    <a:pt x="1156" y="30"/>
                    <a:pt x="1156" y="30"/>
                  </a:cubicBezTo>
                  <a:cubicBezTo>
                    <a:pt x="1154" y="29"/>
                    <a:pt x="1152" y="29"/>
                    <a:pt x="1150" y="30"/>
                  </a:cubicBezTo>
                  <a:cubicBezTo>
                    <a:pt x="1148" y="30"/>
                    <a:pt x="1142" y="31"/>
                    <a:pt x="1140" y="31"/>
                  </a:cubicBezTo>
                  <a:cubicBezTo>
                    <a:pt x="1140" y="31"/>
                    <a:pt x="1140" y="31"/>
                    <a:pt x="1140" y="31"/>
                  </a:cubicBezTo>
                  <a:cubicBezTo>
                    <a:pt x="1139" y="31"/>
                    <a:pt x="1138" y="32"/>
                    <a:pt x="1137" y="33"/>
                  </a:cubicBezTo>
                  <a:cubicBezTo>
                    <a:pt x="1135" y="31"/>
                    <a:pt x="1133" y="32"/>
                    <a:pt x="1132" y="33"/>
                  </a:cubicBezTo>
                  <a:cubicBezTo>
                    <a:pt x="1132" y="33"/>
                    <a:pt x="1132" y="33"/>
                    <a:pt x="1132" y="33"/>
                  </a:cubicBezTo>
                  <a:cubicBezTo>
                    <a:pt x="1131" y="33"/>
                    <a:pt x="1131" y="33"/>
                    <a:pt x="1131" y="33"/>
                  </a:cubicBezTo>
                  <a:cubicBezTo>
                    <a:pt x="1130" y="33"/>
                    <a:pt x="1130" y="32"/>
                    <a:pt x="1130" y="32"/>
                  </a:cubicBezTo>
                  <a:cubicBezTo>
                    <a:pt x="1129" y="32"/>
                    <a:pt x="1128" y="32"/>
                    <a:pt x="1127" y="32"/>
                  </a:cubicBezTo>
                  <a:cubicBezTo>
                    <a:pt x="1126" y="32"/>
                    <a:pt x="1126" y="32"/>
                    <a:pt x="1126" y="32"/>
                  </a:cubicBezTo>
                  <a:cubicBezTo>
                    <a:pt x="1126" y="32"/>
                    <a:pt x="1125" y="32"/>
                    <a:pt x="1124" y="31"/>
                  </a:cubicBezTo>
                  <a:cubicBezTo>
                    <a:pt x="1123" y="31"/>
                    <a:pt x="1123" y="31"/>
                    <a:pt x="1123" y="31"/>
                  </a:cubicBezTo>
                  <a:cubicBezTo>
                    <a:pt x="1123" y="31"/>
                    <a:pt x="1123" y="31"/>
                    <a:pt x="1123" y="31"/>
                  </a:cubicBezTo>
                  <a:cubicBezTo>
                    <a:pt x="1122" y="31"/>
                    <a:pt x="1121" y="32"/>
                    <a:pt x="1121" y="32"/>
                  </a:cubicBezTo>
                  <a:cubicBezTo>
                    <a:pt x="1120" y="34"/>
                    <a:pt x="1124" y="37"/>
                    <a:pt x="1124" y="37"/>
                  </a:cubicBezTo>
                  <a:cubicBezTo>
                    <a:pt x="1124" y="38"/>
                    <a:pt x="1124" y="38"/>
                    <a:pt x="1124" y="38"/>
                  </a:cubicBezTo>
                  <a:cubicBezTo>
                    <a:pt x="1124" y="38"/>
                    <a:pt x="1124" y="38"/>
                    <a:pt x="1124" y="39"/>
                  </a:cubicBezTo>
                  <a:cubicBezTo>
                    <a:pt x="1124" y="40"/>
                    <a:pt x="1124" y="41"/>
                    <a:pt x="1125" y="42"/>
                  </a:cubicBezTo>
                  <a:cubicBezTo>
                    <a:pt x="1126" y="43"/>
                    <a:pt x="1128" y="42"/>
                    <a:pt x="1128" y="41"/>
                  </a:cubicBezTo>
                  <a:cubicBezTo>
                    <a:pt x="1129" y="43"/>
                    <a:pt x="1133" y="45"/>
                    <a:pt x="1134" y="45"/>
                  </a:cubicBezTo>
                  <a:cubicBezTo>
                    <a:pt x="1134" y="45"/>
                    <a:pt x="1134" y="45"/>
                    <a:pt x="1134" y="45"/>
                  </a:cubicBezTo>
                  <a:cubicBezTo>
                    <a:pt x="1134" y="46"/>
                    <a:pt x="1134" y="47"/>
                    <a:pt x="1135" y="48"/>
                  </a:cubicBezTo>
                  <a:cubicBezTo>
                    <a:pt x="1135" y="48"/>
                    <a:pt x="1135" y="48"/>
                    <a:pt x="1135" y="48"/>
                  </a:cubicBezTo>
                  <a:cubicBezTo>
                    <a:pt x="1134" y="48"/>
                    <a:pt x="1133" y="48"/>
                    <a:pt x="1132" y="48"/>
                  </a:cubicBezTo>
                  <a:cubicBezTo>
                    <a:pt x="1132" y="48"/>
                    <a:pt x="1131" y="48"/>
                    <a:pt x="1131" y="48"/>
                  </a:cubicBezTo>
                  <a:cubicBezTo>
                    <a:pt x="1131" y="48"/>
                    <a:pt x="1131" y="48"/>
                    <a:pt x="1131" y="48"/>
                  </a:cubicBezTo>
                  <a:cubicBezTo>
                    <a:pt x="1131" y="46"/>
                    <a:pt x="1128" y="45"/>
                    <a:pt x="1127" y="45"/>
                  </a:cubicBezTo>
                  <a:cubicBezTo>
                    <a:pt x="1126" y="45"/>
                    <a:pt x="1126" y="45"/>
                    <a:pt x="1125" y="45"/>
                  </a:cubicBezTo>
                  <a:cubicBezTo>
                    <a:pt x="1125" y="46"/>
                    <a:pt x="1125" y="46"/>
                    <a:pt x="1125" y="46"/>
                  </a:cubicBezTo>
                  <a:cubicBezTo>
                    <a:pt x="1124" y="45"/>
                    <a:pt x="1124" y="45"/>
                    <a:pt x="1124" y="45"/>
                  </a:cubicBezTo>
                  <a:cubicBezTo>
                    <a:pt x="1123" y="45"/>
                    <a:pt x="1122" y="45"/>
                    <a:pt x="1120" y="45"/>
                  </a:cubicBezTo>
                  <a:cubicBezTo>
                    <a:pt x="1120" y="45"/>
                    <a:pt x="1120" y="45"/>
                    <a:pt x="1120" y="45"/>
                  </a:cubicBezTo>
                  <a:cubicBezTo>
                    <a:pt x="1120" y="45"/>
                    <a:pt x="1120" y="45"/>
                    <a:pt x="1119" y="44"/>
                  </a:cubicBezTo>
                  <a:cubicBezTo>
                    <a:pt x="1119" y="44"/>
                    <a:pt x="1119" y="44"/>
                    <a:pt x="1118" y="43"/>
                  </a:cubicBezTo>
                  <a:cubicBezTo>
                    <a:pt x="1118" y="43"/>
                    <a:pt x="1119" y="43"/>
                    <a:pt x="1119" y="43"/>
                  </a:cubicBezTo>
                  <a:cubicBezTo>
                    <a:pt x="1119" y="43"/>
                    <a:pt x="1120" y="43"/>
                    <a:pt x="1120" y="43"/>
                  </a:cubicBezTo>
                  <a:cubicBezTo>
                    <a:pt x="1121" y="43"/>
                    <a:pt x="1121" y="43"/>
                    <a:pt x="1121" y="43"/>
                  </a:cubicBezTo>
                  <a:cubicBezTo>
                    <a:pt x="1122" y="42"/>
                    <a:pt x="1122" y="42"/>
                    <a:pt x="1122" y="41"/>
                  </a:cubicBezTo>
                  <a:cubicBezTo>
                    <a:pt x="1122" y="40"/>
                    <a:pt x="1121" y="40"/>
                    <a:pt x="1120" y="39"/>
                  </a:cubicBezTo>
                  <a:cubicBezTo>
                    <a:pt x="1120" y="39"/>
                    <a:pt x="1120" y="39"/>
                    <a:pt x="1120" y="38"/>
                  </a:cubicBezTo>
                  <a:cubicBezTo>
                    <a:pt x="1119" y="38"/>
                    <a:pt x="1118" y="37"/>
                    <a:pt x="1116" y="37"/>
                  </a:cubicBezTo>
                  <a:cubicBezTo>
                    <a:pt x="1116" y="37"/>
                    <a:pt x="1116" y="37"/>
                    <a:pt x="1116" y="37"/>
                  </a:cubicBezTo>
                  <a:cubicBezTo>
                    <a:pt x="1116" y="37"/>
                    <a:pt x="1116" y="37"/>
                    <a:pt x="1115" y="37"/>
                  </a:cubicBezTo>
                  <a:cubicBezTo>
                    <a:pt x="1115" y="37"/>
                    <a:pt x="1115" y="37"/>
                    <a:pt x="1115" y="37"/>
                  </a:cubicBezTo>
                  <a:cubicBezTo>
                    <a:pt x="1115" y="37"/>
                    <a:pt x="1115" y="37"/>
                    <a:pt x="1115" y="37"/>
                  </a:cubicBezTo>
                  <a:cubicBezTo>
                    <a:pt x="1113" y="36"/>
                    <a:pt x="1111" y="37"/>
                    <a:pt x="1110" y="39"/>
                  </a:cubicBezTo>
                  <a:cubicBezTo>
                    <a:pt x="1110" y="40"/>
                    <a:pt x="1110" y="40"/>
                    <a:pt x="1110" y="41"/>
                  </a:cubicBezTo>
                  <a:cubicBezTo>
                    <a:pt x="1110" y="41"/>
                    <a:pt x="1110" y="41"/>
                    <a:pt x="1110" y="41"/>
                  </a:cubicBezTo>
                  <a:cubicBezTo>
                    <a:pt x="1109" y="42"/>
                    <a:pt x="1109" y="42"/>
                    <a:pt x="1109" y="42"/>
                  </a:cubicBezTo>
                  <a:cubicBezTo>
                    <a:pt x="1111" y="43"/>
                    <a:pt x="1111" y="43"/>
                    <a:pt x="1111" y="43"/>
                  </a:cubicBezTo>
                  <a:cubicBezTo>
                    <a:pt x="1110" y="43"/>
                    <a:pt x="1110" y="43"/>
                    <a:pt x="1110" y="44"/>
                  </a:cubicBezTo>
                  <a:cubicBezTo>
                    <a:pt x="1110" y="44"/>
                    <a:pt x="1110" y="44"/>
                    <a:pt x="1107" y="44"/>
                  </a:cubicBezTo>
                  <a:cubicBezTo>
                    <a:pt x="1106" y="44"/>
                    <a:pt x="1106" y="44"/>
                    <a:pt x="1105" y="44"/>
                  </a:cubicBezTo>
                  <a:cubicBezTo>
                    <a:pt x="1105" y="44"/>
                    <a:pt x="1105" y="44"/>
                    <a:pt x="1105" y="44"/>
                  </a:cubicBezTo>
                  <a:cubicBezTo>
                    <a:pt x="1104" y="44"/>
                    <a:pt x="1104" y="44"/>
                    <a:pt x="1103" y="44"/>
                  </a:cubicBezTo>
                  <a:cubicBezTo>
                    <a:pt x="1102" y="44"/>
                    <a:pt x="1102" y="44"/>
                    <a:pt x="1102" y="44"/>
                  </a:cubicBezTo>
                  <a:cubicBezTo>
                    <a:pt x="1101" y="44"/>
                    <a:pt x="1100" y="45"/>
                    <a:pt x="1099" y="45"/>
                  </a:cubicBezTo>
                  <a:cubicBezTo>
                    <a:pt x="1098" y="45"/>
                    <a:pt x="1097" y="45"/>
                    <a:pt x="1097" y="45"/>
                  </a:cubicBezTo>
                  <a:cubicBezTo>
                    <a:pt x="1096" y="45"/>
                    <a:pt x="1096" y="44"/>
                    <a:pt x="1095" y="44"/>
                  </a:cubicBezTo>
                  <a:cubicBezTo>
                    <a:pt x="1094" y="44"/>
                    <a:pt x="1093" y="45"/>
                    <a:pt x="1093" y="45"/>
                  </a:cubicBezTo>
                  <a:cubicBezTo>
                    <a:pt x="1093" y="45"/>
                    <a:pt x="1093" y="45"/>
                    <a:pt x="1092" y="45"/>
                  </a:cubicBezTo>
                  <a:cubicBezTo>
                    <a:pt x="1091" y="45"/>
                    <a:pt x="1090" y="46"/>
                    <a:pt x="1090" y="46"/>
                  </a:cubicBezTo>
                  <a:cubicBezTo>
                    <a:pt x="1090" y="46"/>
                    <a:pt x="1090" y="46"/>
                    <a:pt x="1089" y="46"/>
                  </a:cubicBezTo>
                  <a:cubicBezTo>
                    <a:pt x="1089" y="46"/>
                    <a:pt x="1089" y="46"/>
                    <a:pt x="1089" y="46"/>
                  </a:cubicBezTo>
                  <a:cubicBezTo>
                    <a:pt x="1086" y="46"/>
                    <a:pt x="1085" y="47"/>
                    <a:pt x="1085" y="48"/>
                  </a:cubicBezTo>
                  <a:cubicBezTo>
                    <a:pt x="1084" y="48"/>
                    <a:pt x="1084" y="48"/>
                    <a:pt x="1084" y="49"/>
                  </a:cubicBezTo>
                  <a:cubicBezTo>
                    <a:pt x="1083" y="49"/>
                    <a:pt x="1082" y="49"/>
                    <a:pt x="1081" y="50"/>
                  </a:cubicBezTo>
                  <a:cubicBezTo>
                    <a:pt x="1081" y="50"/>
                    <a:pt x="1080" y="49"/>
                    <a:pt x="1079" y="49"/>
                  </a:cubicBezTo>
                  <a:cubicBezTo>
                    <a:pt x="1078" y="49"/>
                    <a:pt x="1078" y="49"/>
                    <a:pt x="1077" y="50"/>
                  </a:cubicBezTo>
                  <a:cubicBezTo>
                    <a:pt x="1077" y="50"/>
                    <a:pt x="1077" y="50"/>
                    <a:pt x="1077" y="50"/>
                  </a:cubicBezTo>
                  <a:cubicBezTo>
                    <a:pt x="1076" y="50"/>
                    <a:pt x="1075" y="49"/>
                    <a:pt x="1074" y="49"/>
                  </a:cubicBezTo>
                  <a:cubicBezTo>
                    <a:pt x="1074" y="49"/>
                    <a:pt x="1074" y="49"/>
                    <a:pt x="1073" y="49"/>
                  </a:cubicBezTo>
                  <a:cubicBezTo>
                    <a:pt x="1072" y="48"/>
                    <a:pt x="1071" y="48"/>
                    <a:pt x="1071" y="47"/>
                  </a:cubicBezTo>
                  <a:cubicBezTo>
                    <a:pt x="1071" y="46"/>
                    <a:pt x="1069" y="44"/>
                    <a:pt x="1069" y="43"/>
                  </a:cubicBezTo>
                  <a:cubicBezTo>
                    <a:pt x="1068" y="42"/>
                    <a:pt x="1067" y="41"/>
                    <a:pt x="1065" y="41"/>
                  </a:cubicBezTo>
                  <a:cubicBezTo>
                    <a:pt x="1065" y="41"/>
                    <a:pt x="1065" y="41"/>
                    <a:pt x="1065" y="41"/>
                  </a:cubicBezTo>
                  <a:cubicBezTo>
                    <a:pt x="1065" y="42"/>
                    <a:pt x="1065" y="42"/>
                    <a:pt x="1065" y="42"/>
                  </a:cubicBezTo>
                  <a:cubicBezTo>
                    <a:pt x="1065" y="42"/>
                    <a:pt x="1065" y="42"/>
                    <a:pt x="1065" y="42"/>
                  </a:cubicBezTo>
                  <a:cubicBezTo>
                    <a:pt x="1065" y="41"/>
                    <a:pt x="1065" y="41"/>
                    <a:pt x="1065" y="41"/>
                  </a:cubicBezTo>
                  <a:cubicBezTo>
                    <a:pt x="1064" y="41"/>
                    <a:pt x="1064" y="41"/>
                    <a:pt x="1063" y="40"/>
                  </a:cubicBezTo>
                  <a:cubicBezTo>
                    <a:pt x="1061" y="38"/>
                    <a:pt x="1057" y="37"/>
                    <a:pt x="1051" y="37"/>
                  </a:cubicBezTo>
                  <a:cubicBezTo>
                    <a:pt x="1050" y="37"/>
                    <a:pt x="1049" y="37"/>
                    <a:pt x="1047" y="37"/>
                  </a:cubicBezTo>
                  <a:cubicBezTo>
                    <a:pt x="1047" y="37"/>
                    <a:pt x="1047" y="37"/>
                    <a:pt x="1047" y="37"/>
                  </a:cubicBezTo>
                  <a:cubicBezTo>
                    <a:pt x="1046" y="37"/>
                    <a:pt x="1046" y="37"/>
                    <a:pt x="1045" y="36"/>
                  </a:cubicBezTo>
                  <a:cubicBezTo>
                    <a:pt x="1043" y="36"/>
                    <a:pt x="1041" y="36"/>
                    <a:pt x="1040" y="37"/>
                  </a:cubicBezTo>
                  <a:cubicBezTo>
                    <a:pt x="1038" y="38"/>
                    <a:pt x="1028" y="41"/>
                    <a:pt x="1027" y="41"/>
                  </a:cubicBezTo>
                  <a:cubicBezTo>
                    <a:pt x="1027" y="41"/>
                    <a:pt x="1027" y="41"/>
                    <a:pt x="1027" y="41"/>
                  </a:cubicBezTo>
                  <a:cubicBezTo>
                    <a:pt x="1026" y="41"/>
                    <a:pt x="1025" y="42"/>
                    <a:pt x="1024" y="42"/>
                  </a:cubicBezTo>
                  <a:cubicBezTo>
                    <a:pt x="1023" y="43"/>
                    <a:pt x="1023" y="43"/>
                    <a:pt x="1023" y="43"/>
                  </a:cubicBezTo>
                  <a:cubicBezTo>
                    <a:pt x="1022" y="43"/>
                    <a:pt x="1022" y="43"/>
                    <a:pt x="1021" y="43"/>
                  </a:cubicBezTo>
                  <a:cubicBezTo>
                    <a:pt x="1021" y="43"/>
                    <a:pt x="1021" y="43"/>
                    <a:pt x="1021" y="43"/>
                  </a:cubicBezTo>
                  <a:cubicBezTo>
                    <a:pt x="1021" y="40"/>
                    <a:pt x="1016" y="39"/>
                    <a:pt x="1016" y="39"/>
                  </a:cubicBezTo>
                  <a:cubicBezTo>
                    <a:pt x="1016" y="39"/>
                    <a:pt x="1015" y="39"/>
                    <a:pt x="1015" y="39"/>
                  </a:cubicBezTo>
                  <a:cubicBezTo>
                    <a:pt x="1014" y="39"/>
                    <a:pt x="1014" y="39"/>
                    <a:pt x="1013" y="39"/>
                  </a:cubicBezTo>
                  <a:cubicBezTo>
                    <a:pt x="1011" y="38"/>
                    <a:pt x="1010" y="38"/>
                    <a:pt x="1010" y="38"/>
                  </a:cubicBezTo>
                  <a:cubicBezTo>
                    <a:pt x="1009" y="39"/>
                    <a:pt x="1009" y="39"/>
                    <a:pt x="1009" y="39"/>
                  </a:cubicBezTo>
                  <a:cubicBezTo>
                    <a:pt x="1009" y="39"/>
                    <a:pt x="1009" y="39"/>
                    <a:pt x="1009" y="39"/>
                  </a:cubicBezTo>
                  <a:cubicBezTo>
                    <a:pt x="1008" y="38"/>
                    <a:pt x="1007" y="38"/>
                    <a:pt x="1005" y="38"/>
                  </a:cubicBezTo>
                  <a:cubicBezTo>
                    <a:pt x="1005" y="38"/>
                    <a:pt x="1004" y="37"/>
                    <a:pt x="1003" y="37"/>
                  </a:cubicBezTo>
                  <a:cubicBezTo>
                    <a:pt x="1003" y="36"/>
                    <a:pt x="1002" y="35"/>
                    <a:pt x="1002" y="35"/>
                  </a:cubicBezTo>
                  <a:cubicBezTo>
                    <a:pt x="999" y="31"/>
                    <a:pt x="993" y="30"/>
                    <a:pt x="993" y="30"/>
                  </a:cubicBezTo>
                  <a:cubicBezTo>
                    <a:pt x="992" y="30"/>
                    <a:pt x="990" y="30"/>
                    <a:pt x="988" y="30"/>
                  </a:cubicBezTo>
                  <a:cubicBezTo>
                    <a:pt x="987" y="30"/>
                    <a:pt x="986" y="30"/>
                    <a:pt x="985" y="30"/>
                  </a:cubicBezTo>
                  <a:cubicBezTo>
                    <a:pt x="984" y="31"/>
                    <a:pt x="984" y="31"/>
                    <a:pt x="983" y="31"/>
                  </a:cubicBezTo>
                  <a:cubicBezTo>
                    <a:pt x="982" y="31"/>
                    <a:pt x="982" y="31"/>
                    <a:pt x="982" y="31"/>
                  </a:cubicBezTo>
                  <a:cubicBezTo>
                    <a:pt x="982" y="31"/>
                    <a:pt x="981" y="31"/>
                    <a:pt x="981" y="32"/>
                  </a:cubicBezTo>
                  <a:cubicBezTo>
                    <a:pt x="980" y="33"/>
                    <a:pt x="980" y="33"/>
                    <a:pt x="980" y="34"/>
                  </a:cubicBezTo>
                  <a:cubicBezTo>
                    <a:pt x="980" y="34"/>
                    <a:pt x="980" y="34"/>
                    <a:pt x="980" y="34"/>
                  </a:cubicBezTo>
                  <a:cubicBezTo>
                    <a:pt x="980" y="34"/>
                    <a:pt x="980" y="34"/>
                    <a:pt x="980" y="34"/>
                  </a:cubicBezTo>
                  <a:cubicBezTo>
                    <a:pt x="980" y="32"/>
                    <a:pt x="978" y="32"/>
                    <a:pt x="977" y="32"/>
                  </a:cubicBezTo>
                  <a:cubicBezTo>
                    <a:pt x="976" y="32"/>
                    <a:pt x="976" y="32"/>
                    <a:pt x="976" y="32"/>
                  </a:cubicBezTo>
                  <a:cubicBezTo>
                    <a:pt x="958" y="32"/>
                    <a:pt x="953" y="32"/>
                    <a:pt x="952" y="31"/>
                  </a:cubicBezTo>
                  <a:cubicBezTo>
                    <a:pt x="951" y="31"/>
                    <a:pt x="951" y="31"/>
                    <a:pt x="950" y="31"/>
                  </a:cubicBezTo>
                  <a:cubicBezTo>
                    <a:pt x="950" y="31"/>
                    <a:pt x="949" y="31"/>
                    <a:pt x="948" y="30"/>
                  </a:cubicBezTo>
                  <a:cubicBezTo>
                    <a:pt x="946" y="30"/>
                    <a:pt x="945" y="31"/>
                    <a:pt x="945" y="32"/>
                  </a:cubicBezTo>
                  <a:cubicBezTo>
                    <a:pt x="944" y="33"/>
                    <a:pt x="946" y="35"/>
                    <a:pt x="948" y="35"/>
                  </a:cubicBezTo>
                  <a:cubicBezTo>
                    <a:pt x="948" y="35"/>
                    <a:pt x="947" y="35"/>
                    <a:pt x="947" y="35"/>
                  </a:cubicBezTo>
                  <a:cubicBezTo>
                    <a:pt x="947" y="35"/>
                    <a:pt x="947" y="35"/>
                    <a:pt x="947" y="35"/>
                  </a:cubicBezTo>
                  <a:cubicBezTo>
                    <a:pt x="945" y="35"/>
                    <a:pt x="944" y="36"/>
                    <a:pt x="943" y="38"/>
                  </a:cubicBezTo>
                  <a:cubicBezTo>
                    <a:pt x="942" y="40"/>
                    <a:pt x="942" y="41"/>
                    <a:pt x="942" y="41"/>
                  </a:cubicBezTo>
                  <a:cubicBezTo>
                    <a:pt x="943" y="43"/>
                    <a:pt x="946" y="42"/>
                    <a:pt x="947" y="41"/>
                  </a:cubicBezTo>
                  <a:cubicBezTo>
                    <a:pt x="947" y="41"/>
                    <a:pt x="947" y="41"/>
                    <a:pt x="947" y="41"/>
                  </a:cubicBezTo>
                  <a:cubicBezTo>
                    <a:pt x="947" y="41"/>
                    <a:pt x="947" y="41"/>
                    <a:pt x="947" y="41"/>
                  </a:cubicBezTo>
                  <a:cubicBezTo>
                    <a:pt x="947" y="41"/>
                    <a:pt x="947" y="41"/>
                    <a:pt x="947" y="42"/>
                  </a:cubicBezTo>
                  <a:cubicBezTo>
                    <a:pt x="947" y="42"/>
                    <a:pt x="947" y="43"/>
                    <a:pt x="947" y="44"/>
                  </a:cubicBezTo>
                  <a:cubicBezTo>
                    <a:pt x="948" y="45"/>
                    <a:pt x="948" y="45"/>
                    <a:pt x="949" y="45"/>
                  </a:cubicBezTo>
                  <a:cubicBezTo>
                    <a:pt x="949" y="45"/>
                    <a:pt x="949" y="45"/>
                    <a:pt x="949" y="45"/>
                  </a:cubicBezTo>
                  <a:cubicBezTo>
                    <a:pt x="950" y="45"/>
                    <a:pt x="950" y="45"/>
                    <a:pt x="950" y="45"/>
                  </a:cubicBezTo>
                  <a:cubicBezTo>
                    <a:pt x="950" y="47"/>
                    <a:pt x="952" y="48"/>
                    <a:pt x="954" y="48"/>
                  </a:cubicBezTo>
                  <a:cubicBezTo>
                    <a:pt x="954" y="48"/>
                    <a:pt x="953" y="49"/>
                    <a:pt x="953" y="49"/>
                  </a:cubicBezTo>
                  <a:cubicBezTo>
                    <a:pt x="953" y="49"/>
                    <a:pt x="953" y="48"/>
                    <a:pt x="952" y="48"/>
                  </a:cubicBezTo>
                  <a:cubicBezTo>
                    <a:pt x="952" y="48"/>
                    <a:pt x="952" y="48"/>
                    <a:pt x="952" y="48"/>
                  </a:cubicBezTo>
                  <a:cubicBezTo>
                    <a:pt x="951" y="47"/>
                    <a:pt x="949" y="47"/>
                    <a:pt x="947" y="48"/>
                  </a:cubicBezTo>
                  <a:cubicBezTo>
                    <a:pt x="947" y="48"/>
                    <a:pt x="947" y="48"/>
                    <a:pt x="947" y="48"/>
                  </a:cubicBezTo>
                  <a:cubicBezTo>
                    <a:pt x="946" y="49"/>
                    <a:pt x="945" y="50"/>
                    <a:pt x="945" y="51"/>
                  </a:cubicBezTo>
                  <a:cubicBezTo>
                    <a:pt x="946" y="52"/>
                    <a:pt x="947" y="52"/>
                    <a:pt x="948" y="53"/>
                  </a:cubicBezTo>
                  <a:cubicBezTo>
                    <a:pt x="948" y="53"/>
                    <a:pt x="948" y="53"/>
                    <a:pt x="948" y="53"/>
                  </a:cubicBezTo>
                  <a:cubicBezTo>
                    <a:pt x="946" y="53"/>
                    <a:pt x="945" y="52"/>
                    <a:pt x="943" y="51"/>
                  </a:cubicBezTo>
                  <a:cubicBezTo>
                    <a:pt x="942" y="51"/>
                    <a:pt x="941" y="50"/>
                    <a:pt x="940" y="50"/>
                  </a:cubicBezTo>
                  <a:cubicBezTo>
                    <a:pt x="937" y="49"/>
                    <a:pt x="935" y="49"/>
                    <a:pt x="934" y="50"/>
                  </a:cubicBezTo>
                  <a:cubicBezTo>
                    <a:pt x="932" y="50"/>
                    <a:pt x="932" y="50"/>
                    <a:pt x="931" y="50"/>
                  </a:cubicBezTo>
                  <a:cubicBezTo>
                    <a:pt x="931" y="50"/>
                    <a:pt x="931" y="50"/>
                    <a:pt x="931" y="50"/>
                  </a:cubicBezTo>
                  <a:cubicBezTo>
                    <a:pt x="930" y="50"/>
                    <a:pt x="929" y="51"/>
                    <a:pt x="929" y="52"/>
                  </a:cubicBezTo>
                  <a:cubicBezTo>
                    <a:pt x="929" y="52"/>
                    <a:pt x="928" y="52"/>
                    <a:pt x="928" y="53"/>
                  </a:cubicBezTo>
                  <a:cubicBezTo>
                    <a:pt x="928" y="53"/>
                    <a:pt x="927" y="53"/>
                    <a:pt x="926" y="53"/>
                  </a:cubicBezTo>
                  <a:cubicBezTo>
                    <a:pt x="925" y="53"/>
                    <a:pt x="924" y="53"/>
                    <a:pt x="924" y="53"/>
                  </a:cubicBezTo>
                  <a:cubicBezTo>
                    <a:pt x="924" y="52"/>
                    <a:pt x="923" y="52"/>
                    <a:pt x="923" y="52"/>
                  </a:cubicBezTo>
                  <a:cubicBezTo>
                    <a:pt x="921" y="52"/>
                    <a:pt x="920" y="52"/>
                    <a:pt x="918" y="50"/>
                  </a:cubicBezTo>
                  <a:cubicBezTo>
                    <a:pt x="917" y="49"/>
                    <a:pt x="916" y="48"/>
                    <a:pt x="915" y="48"/>
                  </a:cubicBezTo>
                  <a:cubicBezTo>
                    <a:pt x="915" y="48"/>
                    <a:pt x="914" y="48"/>
                    <a:pt x="914" y="49"/>
                  </a:cubicBezTo>
                  <a:cubicBezTo>
                    <a:pt x="913" y="50"/>
                    <a:pt x="915" y="53"/>
                    <a:pt x="915" y="53"/>
                  </a:cubicBezTo>
                  <a:cubicBezTo>
                    <a:pt x="915" y="54"/>
                    <a:pt x="916" y="55"/>
                    <a:pt x="916" y="56"/>
                  </a:cubicBezTo>
                  <a:cubicBezTo>
                    <a:pt x="916" y="58"/>
                    <a:pt x="917" y="58"/>
                    <a:pt x="918" y="59"/>
                  </a:cubicBezTo>
                  <a:cubicBezTo>
                    <a:pt x="918" y="59"/>
                    <a:pt x="918" y="59"/>
                    <a:pt x="918" y="60"/>
                  </a:cubicBezTo>
                  <a:cubicBezTo>
                    <a:pt x="918" y="60"/>
                    <a:pt x="918" y="61"/>
                    <a:pt x="918" y="62"/>
                  </a:cubicBezTo>
                  <a:cubicBezTo>
                    <a:pt x="918" y="62"/>
                    <a:pt x="918" y="62"/>
                    <a:pt x="918" y="62"/>
                  </a:cubicBezTo>
                  <a:cubicBezTo>
                    <a:pt x="918" y="62"/>
                    <a:pt x="917" y="62"/>
                    <a:pt x="917" y="61"/>
                  </a:cubicBezTo>
                  <a:cubicBezTo>
                    <a:pt x="917" y="61"/>
                    <a:pt x="916" y="60"/>
                    <a:pt x="915" y="60"/>
                  </a:cubicBezTo>
                  <a:cubicBezTo>
                    <a:pt x="914" y="60"/>
                    <a:pt x="914" y="60"/>
                    <a:pt x="913" y="61"/>
                  </a:cubicBezTo>
                  <a:cubicBezTo>
                    <a:pt x="913" y="61"/>
                    <a:pt x="912" y="60"/>
                    <a:pt x="912" y="60"/>
                  </a:cubicBezTo>
                  <a:cubicBezTo>
                    <a:pt x="911" y="59"/>
                    <a:pt x="910" y="59"/>
                    <a:pt x="909" y="59"/>
                  </a:cubicBezTo>
                  <a:cubicBezTo>
                    <a:pt x="909" y="59"/>
                    <a:pt x="909" y="59"/>
                    <a:pt x="909" y="59"/>
                  </a:cubicBezTo>
                  <a:cubicBezTo>
                    <a:pt x="908" y="59"/>
                    <a:pt x="908" y="59"/>
                    <a:pt x="908" y="59"/>
                  </a:cubicBezTo>
                  <a:cubicBezTo>
                    <a:pt x="907" y="58"/>
                    <a:pt x="906" y="57"/>
                    <a:pt x="905" y="57"/>
                  </a:cubicBezTo>
                  <a:cubicBezTo>
                    <a:pt x="905" y="57"/>
                    <a:pt x="904" y="57"/>
                    <a:pt x="904" y="57"/>
                  </a:cubicBezTo>
                  <a:cubicBezTo>
                    <a:pt x="903" y="56"/>
                    <a:pt x="903" y="56"/>
                    <a:pt x="903" y="56"/>
                  </a:cubicBezTo>
                  <a:cubicBezTo>
                    <a:pt x="903" y="56"/>
                    <a:pt x="902" y="55"/>
                    <a:pt x="902" y="55"/>
                  </a:cubicBezTo>
                  <a:cubicBezTo>
                    <a:pt x="902" y="55"/>
                    <a:pt x="902" y="54"/>
                    <a:pt x="902" y="54"/>
                  </a:cubicBezTo>
                  <a:cubicBezTo>
                    <a:pt x="903" y="53"/>
                    <a:pt x="902" y="52"/>
                    <a:pt x="901" y="52"/>
                  </a:cubicBezTo>
                  <a:cubicBezTo>
                    <a:pt x="901" y="51"/>
                    <a:pt x="901" y="51"/>
                    <a:pt x="901" y="51"/>
                  </a:cubicBezTo>
                  <a:cubicBezTo>
                    <a:pt x="901" y="50"/>
                    <a:pt x="900" y="50"/>
                    <a:pt x="899" y="50"/>
                  </a:cubicBezTo>
                  <a:cubicBezTo>
                    <a:pt x="898" y="50"/>
                    <a:pt x="898" y="50"/>
                    <a:pt x="898" y="50"/>
                  </a:cubicBezTo>
                  <a:cubicBezTo>
                    <a:pt x="897" y="50"/>
                    <a:pt x="897" y="50"/>
                    <a:pt x="896" y="50"/>
                  </a:cubicBezTo>
                  <a:cubicBezTo>
                    <a:pt x="897" y="50"/>
                    <a:pt x="898" y="49"/>
                    <a:pt x="898" y="47"/>
                  </a:cubicBezTo>
                  <a:cubicBezTo>
                    <a:pt x="898" y="47"/>
                    <a:pt x="897" y="46"/>
                    <a:pt x="896" y="46"/>
                  </a:cubicBezTo>
                  <a:cubicBezTo>
                    <a:pt x="896" y="46"/>
                    <a:pt x="895" y="46"/>
                    <a:pt x="895" y="46"/>
                  </a:cubicBezTo>
                  <a:cubicBezTo>
                    <a:pt x="895" y="46"/>
                    <a:pt x="895" y="46"/>
                    <a:pt x="895" y="46"/>
                  </a:cubicBezTo>
                  <a:cubicBezTo>
                    <a:pt x="895" y="46"/>
                    <a:pt x="895" y="46"/>
                    <a:pt x="895" y="46"/>
                  </a:cubicBezTo>
                  <a:cubicBezTo>
                    <a:pt x="895" y="46"/>
                    <a:pt x="895" y="46"/>
                    <a:pt x="895" y="46"/>
                  </a:cubicBezTo>
                  <a:cubicBezTo>
                    <a:pt x="895" y="45"/>
                    <a:pt x="894" y="45"/>
                    <a:pt x="894" y="45"/>
                  </a:cubicBezTo>
                  <a:cubicBezTo>
                    <a:pt x="894" y="45"/>
                    <a:pt x="894" y="44"/>
                    <a:pt x="894" y="44"/>
                  </a:cubicBezTo>
                  <a:cubicBezTo>
                    <a:pt x="894" y="43"/>
                    <a:pt x="892" y="42"/>
                    <a:pt x="890" y="42"/>
                  </a:cubicBezTo>
                  <a:cubicBezTo>
                    <a:pt x="890" y="42"/>
                    <a:pt x="890" y="42"/>
                    <a:pt x="890" y="42"/>
                  </a:cubicBezTo>
                  <a:cubicBezTo>
                    <a:pt x="890" y="42"/>
                    <a:pt x="890" y="41"/>
                    <a:pt x="890" y="40"/>
                  </a:cubicBezTo>
                  <a:cubicBezTo>
                    <a:pt x="890" y="39"/>
                    <a:pt x="890" y="38"/>
                    <a:pt x="890" y="37"/>
                  </a:cubicBezTo>
                  <a:cubicBezTo>
                    <a:pt x="889" y="36"/>
                    <a:pt x="887" y="37"/>
                    <a:pt x="886" y="38"/>
                  </a:cubicBezTo>
                  <a:cubicBezTo>
                    <a:pt x="886" y="37"/>
                    <a:pt x="885" y="37"/>
                    <a:pt x="885" y="37"/>
                  </a:cubicBezTo>
                  <a:cubicBezTo>
                    <a:pt x="885" y="36"/>
                    <a:pt x="884" y="36"/>
                    <a:pt x="884" y="36"/>
                  </a:cubicBezTo>
                  <a:cubicBezTo>
                    <a:pt x="884" y="36"/>
                    <a:pt x="884" y="36"/>
                    <a:pt x="884" y="36"/>
                  </a:cubicBezTo>
                  <a:cubicBezTo>
                    <a:pt x="883" y="35"/>
                    <a:pt x="882" y="35"/>
                    <a:pt x="881" y="35"/>
                  </a:cubicBezTo>
                  <a:cubicBezTo>
                    <a:pt x="881" y="35"/>
                    <a:pt x="880" y="35"/>
                    <a:pt x="880" y="35"/>
                  </a:cubicBezTo>
                  <a:cubicBezTo>
                    <a:pt x="880" y="35"/>
                    <a:pt x="880" y="35"/>
                    <a:pt x="880" y="35"/>
                  </a:cubicBezTo>
                  <a:cubicBezTo>
                    <a:pt x="880" y="34"/>
                    <a:pt x="878" y="34"/>
                    <a:pt x="876" y="34"/>
                  </a:cubicBezTo>
                  <a:cubicBezTo>
                    <a:pt x="876" y="34"/>
                    <a:pt x="875" y="34"/>
                    <a:pt x="875" y="34"/>
                  </a:cubicBezTo>
                  <a:cubicBezTo>
                    <a:pt x="874" y="34"/>
                    <a:pt x="874" y="34"/>
                    <a:pt x="874" y="34"/>
                  </a:cubicBezTo>
                  <a:cubicBezTo>
                    <a:pt x="873" y="34"/>
                    <a:pt x="872" y="35"/>
                    <a:pt x="872" y="35"/>
                  </a:cubicBezTo>
                  <a:cubicBezTo>
                    <a:pt x="871" y="35"/>
                    <a:pt x="870" y="34"/>
                    <a:pt x="869" y="36"/>
                  </a:cubicBezTo>
                  <a:cubicBezTo>
                    <a:pt x="868" y="35"/>
                    <a:pt x="866" y="35"/>
                    <a:pt x="866" y="35"/>
                  </a:cubicBezTo>
                  <a:cubicBezTo>
                    <a:pt x="865" y="35"/>
                    <a:pt x="865" y="35"/>
                    <a:pt x="865" y="35"/>
                  </a:cubicBezTo>
                  <a:cubicBezTo>
                    <a:pt x="865" y="35"/>
                    <a:pt x="865" y="35"/>
                    <a:pt x="865" y="35"/>
                  </a:cubicBezTo>
                  <a:cubicBezTo>
                    <a:pt x="865" y="35"/>
                    <a:pt x="865" y="35"/>
                    <a:pt x="865" y="35"/>
                  </a:cubicBezTo>
                  <a:cubicBezTo>
                    <a:pt x="864" y="34"/>
                    <a:pt x="861" y="33"/>
                    <a:pt x="860" y="33"/>
                  </a:cubicBezTo>
                  <a:cubicBezTo>
                    <a:pt x="859" y="33"/>
                    <a:pt x="859" y="33"/>
                    <a:pt x="859" y="33"/>
                  </a:cubicBezTo>
                  <a:cubicBezTo>
                    <a:pt x="858" y="33"/>
                    <a:pt x="857" y="35"/>
                    <a:pt x="857" y="36"/>
                  </a:cubicBezTo>
                  <a:cubicBezTo>
                    <a:pt x="856" y="35"/>
                    <a:pt x="855" y="35"/>
                    <a:pt x="855" y="36"/>
                  </a:cubicBezTo>
                  <a:cubicBezTo>
                    <a:pt x="854" y="37"/>
                    <a:pt x="855" y="38"/>
                    <a:pt x="855" y="39"/>
                  </a:cubicBezTo>
                  <a:cubicBezTo>
                    <a:pt x="856" y="39"/>
                    <a:pt x="856" y="39"/>
                    <a:pt x="856" y="39"/>
                  </a:cubicBezTo>
                  <a:cubicBezTo>
                    <a:pt x="857" y="41"/>
                    <a:pt x="857" y="41"/>
                    <a:pt x="858" y="41"/>
                  </a:cubicBezTo>
                  <a:cubicBezTo>
                    <a:pt x="858" y="42"/>
                    <a:pt x="859" y="43"/>
                    <a:pt x="859" y="43"/>
                  </a:cubicBezTo>
                  <a:cubicBezTo>
                    <a:pt x="858" y="44"/>
                    <a:pt x="858" y="44"/>
                    <a:pt x="858" y="44"/>
                  </a:cubicBezTo>
                  <a:cubicBezTo>
                    <a:pt x="857" y="44"/>
                    <a:pt x="857" y="44"/>
                    <a:pt x="856" y="44"/>
                  </a:cubicBezTo>
                  <a:cubicBezTo>
                    <a:pt x="853" y="44"/>
                    <a:pt x="851" y="45"/>
                    <a:pt x="850" y="46"/>
                  </a:cubicBezTo>
                  <a:cubicBezTo>
                    <a:pt x="850" y="46"/>
                    <a:pt x="848" y="46"/>
                    <a:pt x="841" y="45"/>
                  </a:cubicBezTo>
                  <a:cubicBezTo>
                    <a:pt x="839" y="44"/>
                    <a:pt x="837" y="44"/>
                    <a:pt x="837" y="44"/>
                  </a:cubicBezTo>
                  <a:cubicBezTo>
                    <a:pt x="836" y="44"/>
                    <a:pt x="836" y="44"/>
                    <a:pt x="836" y="44"/>
                  </a:cubicBezTo>
                  <a:cubicBezTo>
                    <a:pt x="836" y="44"/>
                    <a:pt x="836" y="44"/>
                    <a:pt x="836" y="43"/>
                  </a:cubicBezTo>
                  <a:cubicBezTo>
                    <a:pt x="835" y="43"/>
                    <a:pt x="835" y="43"/>
                    <a:pt x="835" y="43"/>
                  </a:cubicBezTo>
                  <a:cubicBezTo>
                    <a:pt x="836" y="43"/>
                    <a:pt x="838" y="43"/>
                    <a:pt x="838" y="41"/>
                  </a:cubicBezTo>
                  <a:cubicBezTo>
                    <a:pt x="837" y="39"/>
                    <a:pt x="833" y="39"/>
                    <a:pt x="830" y="39"/>
                  </a:cubicBezTo>
                  <a:cubicBezTo>
                    <a:pt x="829" y="39"/>
                    <a:pt x="829" y="39"/>
                    <a:pt x="829" y="39"/>
                  </a:cubicBezTo>
                  <a:cubicBezTo>
                    <a:pt x="828" y="39"/>
                    <a:pt x="828" y="40"/>
                    <a:pt x="825" y="40"/>
                  </a:cubicBezTo>
                  <a:cubicBezTo>
                    <a:pt x="824" y="40"/>
                    <a:pt x="824" y="40"/>
                    <a:pt x="824" y="40"/>
                  </a:cubicBezTo>
                  <a:cubicBezTo>
                    <a:pt x="823" y="40"/>
                    <a:pt x="823" y="40"/>
                    <a:pt x="823" y="40"/>
                  </a:cubicBezTo>
                  <a:cubicBezTo>
                    <a:pt x="821" y="40"/>
                    <a:pt x="819" y="40"/>
                    <a:pt x="817" y="41"/>
                  </a:cubicBezTo>
                  <a:cubicBezTo>
                    <a:pt x="816" y="42"/>
                    <a:pt x="815" y="42"/>
                    <a:pt x="814" y="42"/>
                  </a:cubicBezTo>
                  <a:cubicBezTo>
                    <a:pt x="814" y="42"/>
                    <a:pt x="813" y="42"/>
                    <a:pt x="812" y="42"/>
                  </a:cubicBezTo>
                  <a:cubicBezTo>
                    <a:pt x="811" y="42"/>
                    <a:pt x="810" y="43"/>
                    <a:pt x="810" y="44"/>
                  </a:cubicBezTo>
                  <a:cubicBezTo>
                    <a:pt x="811" y="42"/>
                    <a:pt x="809" y="42"/>
                    <a:pt x="809" y="42"/>
                  </a:cubicBezTo>
                  <a:cubicBezTo>
                    <a:pt x="809" y="42"/>
                    <a:pt x="809" y="42"/>
                    <a:pt x="809" y="42"/>
                  </a:cubicBezTo>
                  <a:cubicBezTo>
                    <a:pt x="808" y="41"/>
                    <a:pt x="808" y="41"/>
                    <a:pt x="808" y="41"/>
                  </a:cubicBezTo>
                  <a:cubicBezTo>
                    <a:pt x="808" y="41"/>
                    <a:pt x="807" y="40"/>
                    <a:pt x="807" y="39"/>
                  </a:cubicBezTo>
                  <a:cubicBezTo>
                    <a:pt x="806" y="38"/>
                    <a:pt x="805" y="38"/>
                    <a:pt x="804" y="38"/>
                  </a:cubicBezTo>
                  <a:cubicBezTo>
                    <a:pt x="804" y="38"/>
                    <a:pt x="803" y="38"/>
                    <a:pt x="803" y="39"/>
                  </a:cubicBezTo>
                  <a:cubicBezTo>
                    <a:pt x="803" y="39"/>
                    <a:pt x="802" y="40"/>
                    <a:pt x="804" y="43"/>
                  </a:cubicBezTo>
                  <a:cubicBezTo>
                    <a:pt x="803" y="43"/>
                    <a:pt x="802" y="43"/>
                    <a:pt x="801" y="43"/>
                  </a:cubicBezTo>
                  <a:cubicBezTo>
                    <a:pt x="800" y="42"/>
                    <a:pt x="800" y="42"/>
                    <a:pt x="799" y="42"/>
                  </a:cubicBezTo>
                  <a:cubicBezTo>
                    <a:pt x="799" y="42"/>
                    <a:pt x="798" y="41"/>
                    <a:pt x="798" y="41"/>
                  </a:cubicBezTo>
                  <a:cubicBezTo>
                    <a:pt x="798" y="41"/>
                    <a:pt x="798" y="41"/>
                    <a:pt x="798" y="41"/>
                  </a:cubicBezTo>
                  <a:cubicBezTo>
                    <a:pt x="797" y="40"/>
                    <a:pt x="797" y="39"/>
                    <a:pt x="796" y="39"/>
                  </a:cubicBezTo>
                  <a:cubicBezTo>
                    <a:pt x="795" y="39"/>
                    <a:pt x="795" y="40"/>
                    <a:pt x="794" y="40"/>
                  </a:cubicBezTo>
                  <a:cubicBezTo>
                    <a:pt x="794" y="40"/>
                    <a:pt x="794" y="40"/>
                    <a:pt x="794" y="40"/>
                  </a:cubicBezTo>
                  <a:cubicBezTo>
                    <a:pt x="793" y="40"/>
                    <a:pt x="793" y="40"/>
                    <a:pt x="792" y="40"/>
                  </a:cubicBezTo>
                  <a:cubicBezTo>
                    <a:pt x="791" y="39"/>
                    <a:pt x="791" y="39"/>
                    <a:pt x="790" y="40"/>
                  </a:cubicBezTo>
                  <a:cubicBezTo>
                    <a:pt x="791" y="39"/>
                    <a:pt x="791" y="39"/>
                    <a:pt x="790" y="39"/>
                  </a:cubicBezTo>
                  <a:cubicBezTo>
                    <a:pt x="790" y="38"/>
                    <a:pt x="790" y="38"/>
                    <a:pt x="790" y="38"/>
                  </a:cubicBezTo>
                  <a:cubicBezTo>
                    <a:pt x="792" y="37"/>
                    <a:pt x="793" y="36"/>
                    <a:pt x="793" y="35"/>
                  </a:cubicBezTo>
                  <a:cubicBezTo>
                    <a:pt x="793" y="34"/>
                    <a:pt x="794" y="33"/>
                    <a:pt x="797" y="30"/>
                  </a:cubicBezTo>
                  <a:cubicBezTo>
                    <a:pt x="797" y="30"/>
                    <a:pt x="797" y="30"/>
                    <a:pt x="797" y="30"/>
                  </a:cubicBezTo>
                  <a:cubicBezTo>
                    <a:pt x="798" y="29"/>
                    <a:pt x="798" y="29"/>
                    <a:pt x="798" y="28"/>
                  </a:cubicBezTo>
                  <a:cubicBezTo>
                    <a:pt x="799" y="27"/>
                    <a:pt x="799" y="25"/>
                    <a:pt x="798" y="24"/>
                  </a:cubicBezTo>
                  <a:cubicBezTo>
                    <a:pt x="798" y="23"/>
                    <a:pt x="797" y="22"/>
                    <a:pt x="797" y="22"/>
                  </a:cubicBezTo>
                  <a:cubicBezTo>
                    <a:pt x="798" y="22"/>
                    <a:pt x="798" y="21"/>
                    <a:pt x="798" y="21"/>
                  </a:cubicBezTo>
                  <a:cubicBezTo>
                    <a:pt x="798" y="20"/>
                    <a:pt x="798" y="19"/>
                    <a:pt x="796" y="18"/>
                  </a:cubicBezTo>
                  <a:cubicBezTo>
                    <a:pt x="796" y="18"/>
                    <a:pt x="792" y="15"/>
                    <a:pt x="791" y="13"/>
                  </a:cubicBezTo>
                  <a:cubicBezTo>
                    <a:pt x="791" y="12"/>
                    <a:pt x="790" y="12"/>
                    <a:pt x="789" y="12"/>
                  </a:cubicBezTo>
                  <a:cubicBezTo>
                    <a:pt x="789" y="12"/>
                    <a:pt x="789" y="12"/>
                    <a:pt x="788" y="12"/>
                  </a:cubicBezTo>
                  <a:cubicBezTo>
                    <a:pt x="788" y="12"/>
                    <a:pt x="788" y="13"/>
                    <a:pt x="788" y="13"/>
                  </a:cubicBezTo>
                  <a:cubicBezTo>
                    <a:pt x="787" y="13"/>
                    <a:pt x="787" y="12"/>
                    <a:pt x="787" y="12"/>
                  </a:cubicBezTo>
                  <a:cubicBezTo>
                    <a:pt x="787" y="11"/>
                    <a:pt x="786" y="11"/>
                    <a:pt x="785" y="11"/>
                  </a:cubicBezTo>
                  <a:cubicBezTo>
                    <a:pt x="785" y="11"/>
                    <a:pt x="784" y="11"/>
                    <a:pt x="784" y="11"/>
                  </a:cubicBezTo>
                  <a:cubicBezTo>
                    <a:pt x="783" y="10"/>
                    <a:pt x="782" y="9"/>
                    <a:pt x="781" y="9"/>
                  </a:cubicBezTo>
                  <a:cubicBezTo>
                    <a:pt x="780" y="9"/>
                    <a:pt x="780" y="8"/>
                    <a:pt x="779" y="8"/>
                  </a:cubicBezTo>
                  <a:cubicBezTo>
                    <a:pt x="779" y="8"/>
                    <a:pt x="779" y="8"/>
                    <a:pt x="779" y="8"/>
                  </a:cubicBezTo>
                  <a:cubicBezTo>
                    <a:pt x="778" y="8"/>
                    <a:pt x="777" y="7"/>
                    <a:pt x="775" y="8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774" y="9"/>
                    <a:pt x="774" y="9"/>
                    <a:pt x="774" y="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774" y="8"/>
                    <a:pt x="773" y="7"/>
                    <a:pt x="772" y="8"/>
                  </a:cubicBezTo>
                  <a:cubicBezTo>
                    <a:pt x="771" y="8"/>
                    <a:pt x="770" y="8"/>
                    <a:pt x="769" y="8"/>
                  </a:cubicBezTo>
                  <a:cubicBezTo>
                    <a:pt x="768" y="8"/>
                    <a:pt x="768" y="8"/>
                    <a:pt x="768" y="8"/>
                  </a:cubicBezTo>
                  <a:cubicBezTo>
                    <a:pt x="767" y="8"/>
                    <a:pt x="767" y="8"/>
                    <a:pt x="767" y="8"/>
                  </a:cubicBezTo>
                  <a:cubicBezTo>
                    <a:pt x="767" y="8"/>
                    <a:pt x="766" y="8"/>
                    <a:pt x="765" y="8"/>
                  </a:cubicBezTo>
                  <a:cubicBezTo>
                    <a:pt x="763" y="8"/>
                    <a:pt x="763" y="8"/>
                    <a:pt x="763" y="8"/>
                  </a:cubicBezTo>
                  <a:cubicBezTo>
                    <a:pt x="762" y="8"/>
                    <a:pt x="762" y="9"/>
                    <a:pt x="762" y="10"/>
                  </a:cubicBezTo>
                  <a:cubicBezTo>
                    <a:pt x="761" y="10"/>
                    <a:pt x="761" y="11"/>
                    <a:pt x="762" y="13"/>
                  </a:cubicBezTo>
                  <a:cubicBezTo>
                    <a:pt x="762" y="13"/>
                    <a:pt x="762" y="13"/>
                    <a:pt x="762" y="13"/>
                  </a:cubicBezTo>
                  <a:cubicBezTo>
                    <a:pt x="761" y="13"/>
                    <a:pt x="761" y="13"/>
                    <a:pt x="761" y="13"/>
                  </a:cubicBezTo>
                  <a:cubicBezTo>
                    <a:pt x="761" y="13"/>
                    <a:pt x="760" y="13"/>
                    <a:pt x="760" y="13"/>
                  </a:cubicBezTo>
                  <a:cubicBezTo>
                    <a:pt x="760" y="12"/>
                    <a:pt x="759" y="12"/>
                    <a:pt x="759" y="11"/>
                  </a:cubicBezTo>
                  <a:cubicBezTo>
                    <a:pt x="759" y="11"/>
                    <a:pt x="759" y="11"/>
                    <a:pt x="759" y="11"/>
                  </a:cubicBezTo>
                  <a:cubicBezTo>
                    <a:pt x="759" y="9"/>
                    <a:pt x="758" y="8"/>
                    <a:pt x="756" y="7"/>
                  </a:cubicBezTo>
                  <a:cubicBezTo>
                    <a:pt x="755" y="7"/>
                    <a:pt x="754" y="7"/>
                    <a:pt x="754" y="7"/>
                  </a:cubicBezTo>
                  <a:cubicBezTo>
                    <a:pt x="754" y="8"/>
                    <a:pt x="754" y="8"/>
                    <a:pt x="753" y="8"/>
                  </a:cubicBezTo>
                  <a:cubicBezTo>
                    <a:pt x="753" y="8"/>
                    <a:pt x="752" y="8"/>
                    <a:pt x="752" y="8"/>
                  </a:cubicBezTo>
                  <a:cubicBezTo>
                    <a:pt x="752" y="7"/>
                    <a:pt x="751" y="7"/>
                    <a:pt x="750" y="6"/>
                  </a:cubicBezTo>
                  <a:cubicBezTo>
                    <a:pt x="751" y="6"/>
                    <a:pt x="751" y="6"/>
                    <a:pt x="751" y="5"/>
                  </a:cubicBezTo>
                  <a:cubicBezTo>
                    <a:pt x="751" y="4"/>
                    <a:pt x="750" y="3"/>
                    <a:pt x="749" y="2"/>
                  </a:cubicBezTo>
                  <a:cubicBezTo>
                    <a:pt x="749" y="2"/>
                    <a:pt x="749" y="2"/>
                    <a:pt x="749" y="2"/>
                  </a:cubicBezTo>
                  <a:cubicBezTo>
                    <a:pt x="748" y="1"/>
                    <a:pt x="747" y="1"/>
                    <a:pt x="746" y="1"/>
                  </a:cubicBezTo>
                  <a:cubicBezTo>
                    <a:pt x="746" y="1"/>
                    <a:pt x="746" y="1"/>
                    <a:pt x="745" y="1"/>
                  </a:cubicBezTo>
                  <a:cubicBezTo>
                    <a:pt x="745" y="1"/>
                    <a:pt x="745" y="1"/>
                    <a:pt x="744" y="1"/>
                  </a:cubicBezTo>
                  <a:cubicBezTo>
                    <a:pt x="742" y="0"/>
                    <a:pt x="739" y="0"/>
                    <a:pt x="73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37" y="0"/>
                    <a:pt x="736" y="0"/>
                    <a:pt x="736" y="1"/>
                  </a:cubicBezTo>
                  <a:cubicBezTo>
                    <a:pt x="735" y="2"/>
                    <a:pt x="734" y="3"/>
                    <a:pt x="734" y="3"/>
                  </a:cubicBezTo>
                  <a:cubicBezTo>
                    <a:pt x="734" y="3"/>
                    <a:pt x="734" y="3"/>
                    <a:pt x="734" y="3"/>
                  </a:cubicBezTo>
                  <a:cubicBezTo>
                    <a:pt x="732" y="4"/>
                    <a:pt x="730" y="7"/>
                    <a:pt x="729" y="8"/>
                  </a:cubicBezTo>
                  <a:cubicBezTo>
                    <a:pt x="728" y="9"/>
                    <a:pt x="728" y="15"/>
                    <a:pt x="730" y="16"/>
                  </a:cubicBezTo>
                  <a:cubicBezTo>
                    <a:pt x="730" y="16"/>
                    <a:pt x="731" y="16"/>
                    <a:pt x="731" y="17"/>
                  </a:cubicBezTo>
                  <a:cubicBezTo>
                    <a:pt x="731" y="17"/>
                    <a:pt x="730" y="17"/>
                    <a:pt x="730" y="17"/>
                  </a:cubicBezTo>
                  <a:cubicBezTo>
                    <a:pt x="730" y="18"/>
                    <a:pt x="729" y="18"/>
                    <a:pt x="728" y="18"/>
                  </a:cubicBezTo>
                  <a:cubicBezTo>
                    <a:pt x="728" y="18"/>
                    <a:pt x="728" y="18"/>
                    <a:pt x="728" y="18"/>
                  </a:cubicBezTo>
                  <a:cubicBezTo>
                    <a:pt x="728" y="18"/>
                    <a:pt x="727" y="17"/>
                    <a:pt x="726" y="17"/>
                  </a:cubicBezTo>
                  <a:cubicBezTo>
                    <a:pt x="725" y="17"/>
                    <a:pt x="724" y="17"/>
                    <a:pt x="724" y="19"/>
                  </a:cubicBezTo>
                  <a:cubicBezTo>
                    <a:pt x="724" y="20"/>
                    <a:pt x="724" y="21"/>
                    <a:pt x="725" y="21"/>
                  </a:cubicBezTo>
                  <a:cubicBezTo>
                    <a:pt x="725" y="22"/>
                    <a:pt x="724" y="22"/>
                    <a:pt x="723" y="22"/>
                  </a:cubicBezTo>
                  <a:cubicBezTo>
                    <a:pt x="723" y="22"/>
                    <a:pt x="722" y="22"/>
                    <a:pt x="721" y="23"/>
                  </a:cubicBezTo>
                  <a:cubicBezTo>
                    <a:pt x="721" y="23"/>
                    <a:pt x="721" y="24"/>
                    <a:pt x="721" y="24"/>
                  </a:cubicBezTo>
                  <a:cubicBezTo>
                    <a:pt x="720" y="24"/>
                    <a:pt x="719" y="24"/>
                    <a:pt x="718" y="25"/>
                  </a:cubicBezTo>
                  <a:cubicBezTo>
                    <a:pt x="717" y="25"/>
                    <a:pt x="716" y="25"/>
                    <a:pt x="716" y="25"/>
                  </a:cubicBezTo>
                  <a:cubicBezTo>
                    <a:pt x="715" y="24"/>
                    <a:pt x="714" y="24"/>
                    <a:pt x="713" y="24"/>
                  </a:cubicBezTo>
                  <a:cubicBezTo>
                    <a:pt x="713" y="24"/>
                    <a:pt x="712" y="23"/>
                    <a:pt x="711" y="23"/>
                  </a:cubicBezTo>
                  <a:cubicBezTo>
                    <a:pt x="711" y="23"/>
                    <a:pt x="710" y="23"/>
                    <a:pt x="709" y="23"/>
                  </a:cubicBezTo>
                  <a:cubicBezTo>
                    <a:pt x="708" y="22"/>
                    <a:pt x="707" y="23"/>
                    <a:pt x="706" y="23"/>
                  </a:cubicBezTo>
                  <a:cubicBezTo>
                    <a:pt x="706" y="23"/>
                    <a:pt x="705" y="23"/>
                    <a:pt x="705" y="23"/>
                  </a:cubicBezTo>
                  <a:cubicBezTo>
                    <a:pt x="705" y="23"/>
                    <a:pt x="705" y="23"/>
                    <a:pt x="704" y="23"/>
                  </a:cubicBezTo>
                  <a:cubicBezTo>
                    <a:pt x="704" y="23"/>
                    <a:pt x="703" y="23"/>
                    <a:pt x="703" y="23"/>
                  </a:cubicBezTo>
                  <a:cubicBezTo>
                    <a:pt x="703" y="23"/>
                    <a:pt x="702" y="23"/>
                    <a:pt x="702" y="23"/>
                  </a:cubicBezTo>
                  <a:cubicBezTo>
                    <a:pt x="702" y="22"/>
                    <a:pt x="702" y="22"/>
                    <a:pt x="702" y="22"/>
                  </a:cubicBezTo>
                  <a:cubicBezTo>
                    <a:pt x="702" y="22"/>
                    <a:pt x="701" y="22"/>
                    <a:pt x="700" y="22"/>
                  </a:cubicBezTo>
                  <a:cubicBezTo>
                    <a:pt x="699" y="22"/>
                    <a:pt x="699" y="23"/>
                    <a:pt x="699" y="24"/>
                  </a:cubicBezTo>
                  <a:cubicBezTo>
                    <a:pt x="699" y="24"/>
                    <a:pt x="699" y="25"/>
                    <a:pt x="699" y="25"/>
                  </a:cubicBezTo>
                  <a:cubicBezTo>
                    <a:pt x="698" y="26"/>
                    <a:pt x="699" y="27"/>
                    <a:pt x="699" y="28"/>
                  </a:cubicBezTo>
                  <a:cubicBezTo>
                    <a:pt x="699" y="28"/>
                    <a:pt x="699" y="28"/>
                    <a:pt x="699" y="28"/>
                  </a:cubicBezTo>
                  <a:cubicBezTo>
                    <a:pt x="699" y="28"/>
                    <a:pt x="699" y="28"/>
                    <a:pt x="699" y="28"/>
                  </a:cubicBezTo>
                  <a:cubicBezTo>
                    <a:pt x="698" y="28"/>
                    <a:pt x="698" y="28"/>
                    <a:pt x="697" y="28"/>
                  </a:cubicBezTo>
                  <a:cubicBezTo>
                    <a:pt x="697" y="28"/>
                    <a:pt x="697" y="28"/>
                    <a:pt x="697" y="28"/>
                  </a:cubicBezTo>
                  <a:cubicBezTo>
                    <a:pt x="696" y="28"/>
                    <a:pt x="696" y="28"/>
                    <a:pt x="696" y="28"/>
                  </a:cubicBezTo>
                  <a:cubicBezTo>
                    <a:pt x="695" y="28"/>
                    <a:pt x="694" y="28"/>
                    <a:pt x="694" y="29"/>
                  </a:cubicBezTo>
                  <a:cubicBezTo>
                    <a:pt x="694" y="29"/>
                    <a:pt x="694" y="29"/>
                    <a:pt x="694" y="29"/>
                  </a:cubicBezTo>
                  <a:cubicBezTo>
                    <a:pt x="693" y="29"/>
                    <a:pt x="693" y="29"/>
                    <a:pt x="693" y="29"/>
                  </a:cubicBezTo>
                  <a:cubicBezTo>
                    <a:pt x="691" y="29"/>
                    <a:pt x="691" y="30"/>
                    <a:pt x="690" y="30"/>
                  </a:cubicBezTo>
                  <a:cubicBezTo>
                    <a:pt x="690" y="30"/>
                    <a:pt x="689" y="31"/>
                    <a:pt x="688" y="32"/>
                  </a:cubicBezTo>
                  <a:cubicBezTo>
                    <a:pt x="688" y="32"/>
                    <a:pt x="688" y="32"/>
                    <a:pt x="687" y="32"/>
                  </a:cubicBezTo>
                  <a:cubicBezTo>
                    <a:pt x="686" y="32"/>
                    <a:pt x="686" y="32"/>
                    <a:pt x="685" y="33"/>
                  </a:cubicBezTo>
                  <a:cubicBezTo>
                    <a:pt x="683" y="33"/>
                    <a:pt x="683" y="35"/>
                    <a:pt x="682" y="36"/>
                  </a:cubicBezTo>
                  <a:cubicBezTo>
                    <a:pt x="682" y="37"/>
                    <a:pt x="682" y="37"/>
                    <a:pt x="682" y="37"/>
                  </a:cubicBezTo>
                  <a:cubicBezTo>
                    <a:pt x="682" y="37"/>
                    <a:pt x="682" y="37"/>
                    <a:pt x="681" y="37"/>
                  </a:cubicBezTo>
                  <a:cubicBezTo>
                    <a:pt x="680" y="37"/>
                    <a:pt x="680" y="37"/>
                    <a:pt x="680" y="37"/>
                  </a:cubicBezTo>
                  <a:cubicBezTo>
                    <a:pt x="678" y="38"/>
                    <a:pt x="678" y="39"/>
                    <a:pt x="678" y="40"/>
                  </a:cubicBezTo>
                  <a:cubicBezTo>
                    <a:pt x="678" y="40"/>
                    <a:pt x="679" y="41"/>
                    <a:pt x="680" y="41"/>
                  </a:cubicBezTo>
                  <a:cubicBezTo>
                    <a:pt x="680" y="41"/>
                    <a:pt x="680" y="41"/>
                    <a:pt x="680" y="41"/>
                  </a:cubicBezTo>
                  <a:cubicBezTo>
                    <a:pt x="680" y="42"/>
                    <a:pt x="680" y="42"/>
                    <a:pt x="679" y="42"/>
                  </a:cubicBezTo>
                  <a:cubicBezTo>
                    <a:pt x="679" y="42"/>
                    <a:pt x="679" y="42"/>
                    <a:pt x="679" y="43"/>
                  </a:cubicBezTo>
                  <a:cubicBezTo>
                    <a:pt x="679" y="43"/>
                    <a:pt x="679" y="43"/>
                    <a:pt x="679" y="43"/>
                  </a:cubicBezTo>
                  <a:cubicBezTo>
                    <a:pt x="678" y="43"/>
                    <a:pt x="678" y="43"/>
                    <a:pt x="678" y="42"/>
                  </a:cubicBezTo>
                  <a:cubicBezTo>
                    <a:pt x="678" y="42"/>
                    <a:pt x="677" y="41"/>
                    <a:pt x="676" y="41"/>
                  </a:cubicBezTo>
                  <a:cubicBezTo>
                    <a:pt x="676" y="41"/>
                    <a:pt x="675" y="42"/>
                    <a:pt x="675" y="42"/>
                  </a:cubicBezTo>
                  <a:cubicBezTo>
                    <a:pt x="674" y="43"/>
                    <a:pt x="674" y="44"/>
                    <a:pt x="674" y="45"/>
                  </a:cubicBezTo>
                  <a:cubicBezTo>
                    <a:pt x="674" y="46"/>
                    <a:pt x="675" y="47"/>
                    <a:pt x="677" y="47"/>
                  </a:cubicBezTo>
                  <a:cubicBezTo>
                    <a:pt x="677" y="47"/>
                    <a:pt x="677" y="47"/>
                    <a:pt x="677" y="47"/>
                  </a:cubicBezTo>
                  <a:cubicBezTo>
                    <a:pt x="677" y="47"/>
                    <a:pt x="676" y="48"/>
                    <a:pt x="676" y="48"/>
                  </a:cubicBezTo>
                  <a:cubicBezTo>
                    <a:pt x="676" y="50"/>
                    <a:pt x="679" y="51"/>
                    <a:pt x="681" y="51"/>
                  </a:cubicBezTo>
                  <a:cubicBezTo>
                    <a:pt x="681" y="51"/>
                    <a:pt x="681" y="51"/>
                    <a:pt x="681" y="51"/>
                  </a:cubicBezTo>
                  <a:cubicBezTo>
                    <a:pt x="681" y="52"/>
                    <a:pt x="682" y="52"/>
                    <a:pt x="682" y="53"/>
                  </a:cubicBezTo>
                  <a:cubicBezTo>
                    <a:pt x="682" y="53"/>
                    <a:pt x="682" y="53"/>
                    <a:pt x="681" y="53"/>
                  </a:cubicBezTo>
                  <a:cubicBezTo>
                    <a:pt x="681" y="53"/>
                    <a:pt x="681" y="53"/>
                    <a:pt x="681" y="53"/>
                  </a:cubicBezTo>
                  <a:cubicBezTo>
                    <a:pt x="679" y="53"/>
                    <a:pt x="678" y="53"/>
                    <a:pt x="677" y="54"/>
                  </a:cubicBezTo>
                  <a:cubicBezTo>
                    <a:pt x="677" y="54"/>
                    <a:pt x="676" y="54"/>
                    <a:pt x="676" y="55"/>
                  </a:cubicBezTo>
                  <a:cubicBezTo>
                    <a:pt x="676" y="55"/>
                    <a:pt x="676" y="55"/>
                    <a:pt x="675" y="55"/>
                  </a:cubicBezTo>
                  <a:cubicBezTo>
                    <a:pt x="675" y="54"/>
                    <a:pt x="675" y="54"/>
                    <a:pt x="675" y="54"/>
                  </a:cubicBezTo>
                  <a:cubicBezTo>
                    <a:pt x="674" y="54"/>
                    <a:pt x="674" y="54"/>
                    <a:pt x="673" y="54"/>
                  </a:cubicBezTo>
                  <a:cubicBezTo>
                    <a:pt x="672" y="54"/>
                    <a:pt x="672" y="55"/>
                    <a:pt x="669" y="55"/>
                  </a:cubicBezTo>
                  <a:cubicBezTo>
                    <a:pt x="668" y="56"/>
                    <a:pt x="667" y="56"/>
                    <a:pt x="665" y="56"/>
                  </a:cubicBezTo>
                  <a:cubicBezTo>
                    <a:pt x="664" y="56"/>
                    <a:pt x="663" y="56"/>
                    <a:pt x="662" y="56"/>
                  </a:cubicBezTo>
                  <a:cubicBezTo>
                    <a:pt x="661" y="56"/>
                    <a:pt x="660" y="56"/>
                    <a:pt x="659" y="56"/>
                  </a:cubicBezTo>
                  <a:cubicBezTo>
                    <a:pt x="658" y="56"/>
                    <a:pt x="657" y="56"/>
                    <a:pt x="656" y="57"/>
                  </a:cubicBezTo>
                  <a:cubicBezTo>
                    <a:pt x="655" y="59"/>
                    <a:pt x="655" y="61"/>
                    <a:pt x="655" y="62"/>
                  </a:cubicBezTo>
                  <a:cubicBezTo>
                    <a:pt x="655" y="63"/>
                    <a:pt x="655" y="63"/>
                    <a:pt x="655" y="63"/>
                  </a:cubicBezTo>
                  <a:cubicBezTo>
                    <a:pt x="655" y="63"/>
                    <a:pt x="655" y="63"/>
                    <a:pt x="655" y="63"/>
                  </a:cubicBezTo>
                  <a:cubicBezTo>
                    <a:pt x="655" y="63"/>
                    <a:pt x="655" y="63"/>
                    <a:pt x="655" y="63"/>
                  </a:cubicBezTo>
                  <a:cubicBezTo>
                    <a:pt x="655" y="66"/>
                    <a:pt x="657" y="67"/>
                    <a:pt x="658" y="68"/>
                  </a:cubicBezTo>
                  <a:cubicBezTo>
                    <a:pt x="658" y="68"/>
                    <a:pt x="658" y="68"/>
                    <a:pt x="659" y="68"/>
                  </a:cubicBezTo>
                  <a:cubicBezTo>
                    <a:pt x="659" y="68"/>
                    <a:pt x="659" y="69"/>
                    <a:pt x="659" y="70"/>
                  </a:cubicBezTo>
                  <a:cubicBezTo>
                    <a:pt x="659" y="74"/>
                    <a:pt x="663" y="74"/>
                    <a:pt x="665" y="74"/>
                  </a:cubicBezTo>
                  <a:cubicBezTo>
                    <a:pt x="665" y="74"/>
                    <a:pt x="666" y="74"/>
                    <a:pt x="666" y="74"/>
                  </a:cubicBezTo>
                  <a:cubicBezTo>
                    <a:pt x="666" y="74"/>
                    <a:pt x="666" y="74"/>
                    <a:pt x="666" y="75"/>
                  </a:cubicBezTo>
                  <a:cubicBezTo>
                    <a:pt x="667" y="77"/>
                    <a:pt x="669" y="78"/>
                    <a:pt x="671" y="78"/>
                  </a:cubicBezTo>
                  <a:cubicBezTo>
                    <a:pt x="670" y="78"/>
                    <a:pt x="670" y="79"/>
                    <a:pt x="669" y="79"/>
                  </a:cubicBezTo>
                  <a:cubicBezTo>
                    <a:pt x="668" y="79"/>
                    <a:pt x="667" y="79"/>
                    <a:pt x="666" y="78"/>
                  </a:cubicBezTo>
                  <a:cubicBezTo>
                    <a:pt x="665" y="77"/>
                    <a:pt x="665" y="77"/>
                    <a:pt x="665" y="77"/>
                  </a:cubicBezTo>
                  <a:cubicBezTo>
                    <a:pt x="664" y="77"/>
                    <a:pt x="663" y="76"/>
                    <a:pt x="662" y="76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62" y="76"/>
                    <a:pt x="661" y="76"/>
                    <a:pt x="661" y="76"/>
                  </a:cubicBezTo>
                  <a:cubicBezTo>
                    <a:pt x="661" y="75"/>
                    <a:pt x="660" y="74"/>
                    <a:pt x="659" y="74"/>
                  </a:cubicBezTo>
                  <a:cubicBezTo>
                    <a:pt x="658" y="74"/>
                    <a:pt x="658" y="74"/>
                    <a:pt x="658" y="74"/>
                  </a:cubicBezTo>
                  <a:cubicBezTo>
                    <a:pt x="658" y="74"/>
                    <a:pt x="658" y="74"/>
                    <a:pt x="657" y="74"/>
                  </a:cubicBezTo>
                  <a:cubicBezTo>
                    <a:pt x="656" y="72"/>
                    <a:pt x="655" y="72"/>
                    <a:pt x="654" y="72"/>
                  </a:cubicBezTo>
                  <a:cubicBezTo>
                    <a:pt x="653" y="72"/>
                    <a:pt x="653" y="72"/>
                    <a:pt x="653" y="72"/>
                  </a:cubicBezTo>
                  <a:cubicBezTo>
                    <a:pt x="653" y="72"/>
                    <a:pt x="653" y="72"/>
                    <a:pt x="653" y="72"/>
                  </a:cubicBezTo>
                  <a:cubicBezTo>
                    <a:pt x="651" y="72"/>
                    <a:pt x="649" y="73"/>
                    <a:pt x="649" y="74"/>
                  </a:cubicBezTo>
                  <a:cubicBezTo>
                    <a:pt x="649" y="74"/>
                    <a:pt x="649" y="74"/>
                    <a:pt x="648" y="75"/>
                  </a:cubicBezTo>
                  <a:cubicBezTo>
                    <a:pt x="646" y="75"/>
                    <a:pt x="646" y="76"/>
                    <a:pt x="646" y="77"/>
                  </a:cubicBezTo>
                  <a:cubicBezTo>
                    <a:pt x="646" y="77"/>
                    <a:pt x="646" y="77"/>
                    <a:pt x="646" y="78"/>
                  </a:cubicBezTo>
                  <a:cubicBezTo>
                    <a:pt x="646" y="78"/>
                    <a:pt x="646" y="77"/>
                    <a:pt x="646" y="77"/>
                  </a:cubicBezTo>
                  <a:cubicBezTo>
                    <a:pt x="646" y="77"/>
                    <a:pt x="645" y="76"/>
                    <a:pt x="644" y="76"/>
                  </a:cubicBezTo>
                  <a:cubicBezTo>
                    <a:pt x="643" y="76"/>
                    <a:pt x="642" y="77"/>
                    <a:pt x="641" y="78"/>
                  </a:cubicBezTo>
                  <a:cubicBezTo>
                    <a:pt x="640" y="79"/>
                    <a:pt x="640" y="79"/>
                    <a:pt x="640" y="80"/>
                  </a:cubicBezTo>
                  <a:cubicBezTo>
                    <a:pt x="640" y="82"/>
                    <a:pt x="642" y="84"/>
                    <a:pt x="646" y="86"/>
                  </a:cubicBezTo>
                  <a:cubicBezTo>
                    <a:pt x="646" y="87"/>
                    <a:pt x="647" y="87"/>
                    <a:pt x="647" y="87"/>
                  </a:cubicBezTo>
                  <a:cubicBezTo>
                    <a:pt x="647" y="87"/>
                    <a:pt x="647" y="87"/>
                    <a:pt x="647" y="87"/>
                  </a:cubicBezTo>
                  <a:cubicBezTo>
                    <a:pt x="647" y="87"/>
                    <a:pt x="647" y="87"/>
                    <a:pt x="647" y="87"/>
                  </a:cubicBezTo>
                  <a:cubicBezTo>
                    <a:pt x="646" y="87"/>
                    <a:pt x="645" y="87"/>
                    <a:pt x="645" y="87"/>
                  </a:cubicBezTo>
                  <a:cubicBezTo>
                    <a:pt x="644" y="86"/>
                    <a:pt x="642" y="86"/>
                    <a:pt x="640" y="86"/>
                  </a:cubicBezTo>
                  <a:cubicBezTo>
                    <a:pt x="640" y="86"/>
                    <a:pt x="640" y="86"/>
                    <a:pt x="640" y="86"/>
                  </a:cubicBezTo>
                  <a:cubicBezTo>
                    <a:pt x="641" y="84"/>
                    <a:pt x="639" y="83"/>
                    <a:pt x="638" y="81"/>
                  </a:cubicBezTo>
                  <a:cubicBezTo>
                    <a:pt x="638" y="81"/>
                    <a:pt x="638" y="81"/>
                    <a:pt x="638" y="81"/>
                  </a:cubicBezTo>
                  <a:cubicBezTo>
                    <a:pt x="638" y="81"/>
                    <a:pt x="638" y="81"/>
                    <a:pt x="638" y="80"/>
                  </a:cubicBezTo>
                  <a:cubicBezTo>
                    <a:pt x="640" y="79"/>
                    <a:pt x="640" y="77"/>
                    <a:pt x="639" y="77"/>
                  </a:cubicBezTo>
                  <a:cubicBezTo>
                    <a:pt x="639" y="75"/>
                    <a:pt x="639" y="75"/>
                    <a:pt x="638" y="74"/>
                  </a:cubicBezTo>
                  <a:cubicBezTo>
                    <a:pt x="638" y="74"/>
                    <a:pt x="638" y="74"/>
                    <a:pt x="638" y="74"/>
                  </a:cubicBezTo>
                  <a:cubicBezTo>
                    <a:pt x="638" y="72"/>
                    <a:pt x="637" y="71"/>
                    <a:pt x="636" y="70"/>
                  </a:cubicBezTo>
                  <a:cubicBezTo>
                    <a:pt x="636" y="70"/>
                    <a:pt x="636" y="70"/>
                    <a:pt x="636" y="70"/>
                  </a:cubicBezTo>
                  <a:cubicBezTo>
                    <a:pt x="636" y="70"/>
                    <a:pt x="636" y="70"/>
                    <a:pt x="636" y="70"/>
                  </a:cubicBezTo>
                  <a:cubicBezTo>
                    <a:pt x="636" y="69"/>
                    <a:pt x="636" y="69"/>
                    <a:pt x="636" y="69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33" y="67"/>
                    <a:pt x="631" y="68"/>
                    <a:pt x="631" y="70"/>
                  </a:cubicBezTo>
                  <a:cubicBezTo>
                    <a:pt x="631" y="71"/>
                    <a:pt x="631" y="72"/>
                    <a:pt x="632" y="73"/>
                  </a:cubicBezTo>
                  <a:cubicBezTo>
                    <a:pt x="632" y="73"/>
                    <a:pt x="632" y="73"/>
                    <a:pt x="632" y="74"/>
                  </a:cubicBezTo>
                  <a:cubicBezTo>
                    <a:pt x="632" y="75"/>
                    <a:pt x="632" y="75"/>
                    <a:pt x="632" y="76"/>
                  </a:cubicBezTo>
                  <a:cubicBezTo>
                    <a:pt x="632" y="76"/>
                    <a:pt x="633" y="77"/>
                    <a:pt x="633" y="77"/>
                  </a:cubicBezTo>
                  <a:cubicBezTo>
                    <a:pt x="633" y="78"/>
                    <a:pt x="633" y="78"/>
                    <a:pt x="633" y="78"/>
                  </a:cubicBezTo>
                  <a:cubicBezTo>
                    <a:pt x="633" y="78"/>
                    <a:pt x="632" y="79"/>
                    <a:pt x="630" y="80"/>
                  </a:cubicBezTo>
                  <a:cubicBezTo>
                    <a:pt x="628" y="81"/>
                    <a:pt x="628" y="82"/>
                    <a:pt x="628" y="83"/>
                  </a:cubicBezTo>
                  <a:cubicBezTo>
                    <a:pt x="628" y="84"/>
                    <a:pt x="628" y="84"/>
                    <a:pt x="628" y="84"/>
                  </a:cubicBezTo>
                  <a:cubicBezTo>
                    <a:pt x="628" y="86"/>
                    <a:pt x="628" y="89"/>
                    <a:pt x="630" y="90"/>
                  </a:cubicBezTo>
                  <a:cubicBezTo>
                    <a:pt x="631" y="91"/>
                    <a:pt x="631" y="91"/>
                    <a:pt x="631" y="92"/>
                  </a:cubicBezTo>
                  <a:cubicBezTo>
                    <a:pt x="632" y="93"/>
                    <a:pt x="633" y="96"/>
                    <a:pt x="635" y="98"/>
                  </a:cubicBezTo>
                  <a:cubicBezTo>
                    <a:pt x="635" y="98"/>
                    <a:pt x="635" y="99"/>
                    <a:pt x="635" y="100"/>
                  </a:cubicBezTo>
                  <a:cubicBezTo>
                    <a:pt x="635" y="100"/>
                    <a:pt x="635" y="100"/>
                    <a:pt x="635" y="100"/>
                  </a:cubicBezTo>
                  <a:cubicBezTo>
                    <a:pt x="635" y="101"/>
                    <a:pt x="635" y="102"/>
                    <a:pt x="636" y="103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5" y="105"/>
                    <a:pt x="635" y="105"/>
                    <a:pt x="635" y="106"/>
                  </a:cubicBezTo>
                  <a:cubicBezTo>
                    <a:pt x="635" y="108"/>
                    <a:pt x="637" y="109"/>
                    <a:pt x="637" y="109"/>
                  </a:cubicBezTo>
                  <a:cubicBezTo>
                    <a:pt x="637" y="110"/>
                    <a:pt x="637" y="110"/>
                    <a:pt x="637" y="111"/>
                  </a:cubicBezTo>
                  <a:cubicBezTo>
                    <a:pt x="637" y="112"/>
                    <a:pt x="637" y="113"/>
                    <a:pt x="637" y="114"/>
                  </a:cubicBezTo>
                  <a:cubicBezTo>
                    <a:pt x="638" y="114"/>
                    <a:pt x="639" y="115"/>
                    <a:pt x="640" y="115"/>
                  </a:cubicBezTo>
                  <a:cubicBezTo>
                    <a:pt x="641" y="115"/>
                    <a:pt x="641" y="115"/>
                    <a:pt x="642" y="115"/>
                  </a:cubicBezTo>
                  <a:cubicBezTo>
                    <a:pt x="642" y="115"/>
                    <a:pt x="642" y="115"/>
                    <a:pt x="643" y="115"/>
                  </a:cubicBezTo>
                  <a:cubicBezTo>
                    <a:pt x="644" y="115"/>
                    <a:pt x="645" y="115"/>
                    <a:pt x="645" y="114"/>
                  </a:cubicBezTo>
                  <a:cubicBezTo>
                    <a:pt x="646" y="114"/>
                    <a:pt x="648" y="113"/>
                    <a:pt x="650" y="113"/>
                  </a:cubicBezTo>
                  <a:cubicBezTo>
                    <a:pt x="651" y="113"/>
                    <a:pt x="652" y="114"/>
                    <a:pt x="652" y="114"/>
                  </a:cubicBezTo>
                  <a:cubicBezTo>
                    <a:pt x="652" y="114"/>
                    <a:pt x="652" y="114"/>
                    <a:pt x="651" y="114"/>
                  </a:cubicBezTo>
                  <a:cubicBezTo>
                    <a:pt x="650" y="115"/>
                    <a:pt x="648" y="115"/>
                    <a:pt x="647" y="115"/>
                  </a:cubicBezTo>
                  <a:cubicBezTo>
                    <a:pt x="643" y="116"/>
                    <a:pt x="642" y="117"/>
                    <a:pt x="642" y="120"/>
                  </a:cubicBezTo>
                  <a:cubicBezTo>
                    <a:pt x="642" y="122"/>
                    <a:pt x="643" y="122"/>
                    <a:pt x="644" y="124"/>
                  </a:cubicBezTo>
                  <a:cubicBezTo>
                    <a:pt x="644" y="124"/>
                    <a:pt x="645" y="125"/>
                    <a:pt x="646" y="126"/>
                  </a:cubicBezTo>
                  <a:cubicBezTo>
                    <a:pt x="647" y="128"/>
                    <a:pt x="647" y="129"/>
                    <a:pt x="645" y="130"/>
                  </a:cubicBezTo>
                  <a:cubicBezTo>
                    <a:pt x="644" y="131"/>
                    <a:pt x="643" y="132"/>
                    <a:pt x="644" y="135"/>
                  </a:cubicBezTo>
                  <a:cubicBezTo>
                    <a:pt x="644" y="136"/>
                    <a:pt x="644" y="136"/>
                    <a:pt x="643" y="137"/>
                  </a:cubicBezTo>
                  <a:cubicBezTo>
                    <a:pt x="642" y="137"/>
                    <a:pt x="642" y="137"/>
                    <a:pt x="642" y="137"/>
                  </a:cubicBezTo>
                  <a:cubicBezTo>
                    <a:pt x="642" y="137"/>
                    <a:pt x="642" y="137"/>
                    <a:pt x="642" y="137"/>
                  </a:cubicBezTo>
                  <a:cubicBezTo>
                    <a:pt x="642" y="137"/>
                    <a:pt x="641" y="138"/>
                    <a:pt x="640" y="139"/>
                  </a:cubicBezTo>
                  <a:cubicBezTo>
                    <a:pt x="640" y="139"/>
                    <a:pt x="640" y="140"/>
                    <a:pt x="640" y="140"/>
                  </a:cubicBezTo>
                  <a:cubicBezTo>
                    <a:pt x="639" y="140"/>
                    <a:pt x="639" y="140"/>
                    <a:pt x="638" y="141"/>
                  </a:cubicBezTo>
                  <a:cubicBezTo>
                    <a:pt x="638" y="141"/>
                    <a:pt x="638" y="141"/>
                    <a:pt x="638" y="141"/>
                  </a:cubicBezTo>
                  <a:cubicBezTo>
                    <a:pt x="637" y="141"/>
                    <a:pt x="637" y="141"/>
                    <a:pt x="637" y="141"/>
                  </a:cubicBezTo>
                  <a:cubicBezTo>
                    <a:pt x="637" y="142"/>
                    <a:pt x="636" y="143"/>
                    <a:pt x="636" y="144"/>
                  </a:cubicBezTo>
                  <a:cubicBezTo>
                    <a:pt x="636" y="144"/>
                    <a:pt x="637" y="144"/>
                    <a:pt x="637" y="145"/>
                  </a:cubicBezTo>
                  <a:cubicBezTo>
                    <a:pt x="637" y="145"/>
                    <a:pt x="637" y="145"/>
                    <a:pt x="637" y="145"/>
                  </a:cubicBezTo>
                  <a:cubicBezTo>
                    <a:pt x="637" y="145"/>
                    <a:pt x="636" y="145"/>
                    <a:pt x="636" y="145"/>
                  </a:cubicBezTo>
                  <a:cubicBezTo>
                    <a:pt x="636" y="144"/>
                    <a:pt x="634" y="144"/>
                    <a:pt x="632" y="144"/>
                  </a:cubicBezTo>
                  <a:cubicBezTo>
                    <a:pt x="632" y="144"/>
                    <a:pt x="632" y="144"/>
                    <a:pt x="632" y="144"/>
                  </a:cubicBezTo>
                  <a:cubicBezTo>
                    <a:pt x="632" y="144"/>
                    <a:pt x="632" y="144"/>
                    <a:pt x="633" y="144"/>
                  </a:cubicBezTo>
                  <a:cubicBezTo>
                    <a:pt x="633" y="144"/>
                    <a:pt x="634" y="144"/>
                    <a:pt x="635" y="143"/>
                  </a:cubicBezTo>
                  <a:cubicBezTo>
                    <a:pt x="635" y="142"/>
                    <a:pt x="635" y="141"/>
                    <a:pt x="634" y="140"/>
                  </a:cubicBezTo>
                  <a:cubicBezTo>
                    <a:pt x="635" y="140"/>
                    <a:pt x="635" y="140"/>
                    <a:pt x="635" y="140"/>
                  </a:cubicBezTo>
                  <a:cubicBezTo>
                    <a:pt x="636" y="139"/>
                    <a:pt x="636" y="138"/>
                    <a:pt x="636" y="138"/>
                  </a:cubicBezTo>
                  <a:cubicBezTo>
                    <a:pt x="636" y="137"/>
                    <a:pt x="636" y="137"/>
                    <a:pt x="636" y="137"/>
                  </a:cubicBezTo>
                  <a:cubicBezTo>
                    <a:pt x="637" y="137"/>
                    <a:pt x="637" y="136"/>
                    <a:pt x="637" y="135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37" y="135"/>
                    <a:pt x="638" y="135"/>
                    <a:pt x="638" y="134"/>
                  </a:cubicBezTo>
                  <a:cubicBezTo>
                    <a:pt x="639" y="134"/>
                    <a:pt x="639" y="133"/>
                    <a:pt x="639" y="131"/>
                  </a:cubicBezTo>
                  <a:cubicBezTo>
                    <a:pt x="639" y="131"/>
                    <a:pt x="641" y="130"/>
                    <a:pt x="641" y="128"/>
                  </a:cubicBezTo>
                  <a:cubicBezTo>
                    <a:pt x="641" y="126"/>
                    <a:pt x="641" y="126"/>
                    <a:pt x="640" y="125"/>
                  </a:cubicBezTo>
                  <a:cubicBezTo>
                    <a:pt x="639" y="125"/>
                    <a:pt x="639" y="125"/>
                    <a:pt x="639" y="125"/>
                  </a:cubicBezTo>
                  <a:cubicBezTo>
                    <a:pt x="639" y="124"/>
                    <a:pt x="640" y="123"/>
                    <a:pt x="640" y="122"/>
                  </a:cubicBezTo>
                  <a:cubicBezTo>
                    <a:pt x="641" y="121"/>
                    <a:pt x="641" y="120"/>
                    <a:pt x="640" y="118"/>
                  </a:cubicBezTo>
                  <a:cubicBezTo>
                    <a:pt x="639" y="117"/>
                    <a:pt x="637" y="116"/>
                    <a:pt x="635" y="116"/>
                  </a:cubicBezTo>
                  <a:cubicBezTo>
                    <a:pt x="635" y="116"/>
                    <a:pt x="635" y="116"/>
                    <a:pt x="635" y="116"/>
                  </a:cubicBezTo>
                  <a:cubicBezTo>
                    <a:pt x="635" y="116"/>
                    <a:pt x="635" y="116"/>
                    <a:pt x="635" y="116"/>
                  </a:cubicBezTo>
                  <a:cubicBezTo>
                    <a:pt x="635" y="115"/>
                    <a:pt x="633" y="114"/>
                    <a:pt x="633" y="113"/>
                  </a:cubicBezTo>
                  <a:cubicBezTo>
                    <a:pt x="633" y="113"/>
                    <a:pt x="632" y="113"/>
                    <a:pt x="632" y="112"/>
                  </a:cubicBezTo>
                  <a:cubicBezTo>
                    <a:pt x="633" y="110"/>
                    <a:pt x="632" y="109"/>
                    <a:pt x="631" y="108"/>
                  </a:cubicBezTo>
                  <a:cubicBezTo>
                    <a:pt x="631" y="107"/>
                    <a:pt x="631" y="106"/>
                    <a:pt x="631" y="105"/>
                  </a:cubicBezTo>
                  <a:cubicBezTo>
                    <a:pt x="631" y="104"/>
                    <a:pt x="630" y="102"/>
                    <a:pt x="629" y="101"/>
                  </a:cubicBezTo>
                  <a:cubicBezTo>
                    <a:pt x="629" y="101"/>
                    <a:pt x="629" y="99"/>
                    <a:pt x="629" y="97"/>
                  </a:cubicBezTo>
                  <a:cubicBezTo>
                    <a:pt x="629" y="95"/>
                    <a:pt x="628" y="93"/>
                    <a:pt x="628" y="93"/>
                  </a:cubicBezTo>
                  <a:cubicBezTo>
                    <a:pt x="628" y="92"/>
                    <a:pt x="628" y="92"/>
                    <a:pt x="628" y="92"/>
                  </a:cubicBezTo>
                  <a:cubicBezTo>
                    <a:pt x="627" y="92"/>
                    <a:pt x="627" y="92"/>
                    <a:pt x="627" y="91"/>
                  </a:cubicBezTo>
                  <a:cubicBezTo>
                    <a:pt x="626" y="89"/>
                    <a:pt x="625" y="88"/>
                    <a:pt x="624" y="88"/>
                  </a:cubicBezTo>
                  <a:cubicBezTo>
                    <a:pt x="624" y="88"/>
                    <a:pt x="624" y="88"/>
                    <a:pt x="624" y="88"/>
                  </a:cubicBezTo>
                  <a:cubicBezTo>
                    <a:pt x="624" y="88"/>
                    <a:pt x="624" y="88"/>
                    <a:pt x="624" y="88"/>
                  </a:cubicBezTo>
                  <a:cubicBezTo>
                    <a:pt x="624" y="88"/>
                    <a:pt x="624" y="88"/>
                    <a:pt x="624" y="87"/>
                  </a:cubicBezTo>
                  <a:cubicBezTo>
                    <a:pt x="624" y="87"/>
                    <a:pt x="624" y="86"/>
                    <a:pt x="624" y="85"/>
                  </a:cubicBezTo>
                  <a:cubicBezTo>
                    <a:pt x="624" y="85"/>
                    <a:pt x="624" y="84"/>
                    <a:pt x="624" y="83"/>
                  </a:cubicBezTo>
                  <a:cubicBezTo>
                    <a:pt x="625" y="81"/>
                    <a:pt x="625" y="80"/>
                    <a:pt x="625" y="79"/>
                  </a:cubicBezTo>
                  <a:cubicBezTo>
                    <a:pt x="624" y="78"/>
                    <a:pt x="624" y="78"/>
                    <a:pt x="624" y="77"/>
                  </a:cubicBezTo>
                  <a:cubicBezTo>
                    <a:pt x="625" y="74"/>
                    <a:pt x="623" y="73"/>
                    <a:pt x="622" y="73"/>
                  </a:cubicBezTo>
                  <a:cubicBezTo>
                    <a:pt x="622" y="73"/>
                    <a:pt x="622" y="73"/>
                    <a:pt x="622" y="73"/>
                  </a:cubicBezTo>
                  <a:cubicBezTo>
                    <a:pt x="622" y="73"/>
                    <a:pt x="622" y="73"/>
                    <a:pt x="622" y="73"/>
                  </a:cubicBezTo>
                  <a:cubicBezTo>
                    <a:pt x="622" y="72"/>
                    <a:pt x="622" y="71"/>
                    <a:pt x="621" y="70"/>
                  </a:cubicBezTo>
                  <a:cubicBezTo>
                    <a:pt x="621" y="70"/>
                    <a:pt x="620" y="69"/>
                    <a:pt x="619" y="69"/>
                  </a:cubicBezTo>
                  <a:cubicBezTo>
                    <a:pt x="619" y="69"/>
                    <a:pt x="618" y="70"/>
                    <a:pt x="618" y="70"/>
                  </a:cubicBezTo>
                  <a:cubicBezTo>
                    <a:pt x="617" y="70"/>
                    <a:pt x="617" y="70"/>
                    <a:pt x="617" y="70"/>
                  </a:cubicBezTo>
                  <a:cubicBezTo>
                    <a:pt x="616" y="69"/>
                    <a:pt x="615" y="69"/>
                    <a:pt x="613" y="69"/>
                  </a:cubicBezTo>
                  <a:cubicBezTo>
                    <a:pt x="611" y="69"/>
                    <a:pt x="609" y="69"/>
                    <a:pt x="607" y="70"/>
                  </a:cubicBezTo>
                  <a:cubicBezTo>
                    <a:pt x="607" y="70"/>
                    <a:pt x="607" y="70"/>
                    <a:pt x="607" y="70"/>
                  </a:cubicBezTo>
                  <a:cubicBezTo>
                    <a:pt x="607" y="68"/>
                    <a:pt x="605" y="68"/>
                    <a:pt x="604" y="69"/>
                  </a:cubicBezTo>
                  <a:cubicBezTo>
                    <a:pt x="602" y="70"/>
                    <a:pt x="601" y="71"/>
                    <a:pt x="602" y="79"/>
                  </a:cubicBezTo>
                  <a:cubicBezTo>
                    <a:pt x="602" y="85"/>
                    <a:pt x="599" y="88"/>
                    <a:pt x="597" y="91"/>
                  </a:cubicBezTo>
                  <a:cubicBezTo>
                    <a:pt x="596" y="91"/>
                    <a:pt x="596" y="91"/>
                    <a:pt x="596" y="91"/>
                  </a:cubicBezTo>
                  <a:cubicBezTo>
                    <a:pt x="596" y="92"/>
                    <a:pt x="595" y="93"/>
                    <a:pt x="595" y="94"/>
                  </a:cubicBezTo>
                  <a:cubicBezTo>
                    <a:pt x="595" y="95"/>
                    <a:pt x="596" y="95"/>
                    <a:pt x="596" y="95"/>
                  </a:cubicBezTo>
                  <a:cubicBezTo>
                    <a:pt x="596" y="96"/>
                    <a:pt x="596" y="97"/>
                    <a:pt x="596" y="98"/>
                  </a:cubicBezTo>
                  <a:cubicBezTo>
                    <a:pt x="596" y="99"/>
                    <a:pt x="597" y="99"/>
                    <a:pt x="597" y="99"/>
                  </a:cubicBezTo>
                  <a:cubicBezTo>
                    <a:pt x="598" y="99"/>
                    <a:pt x="599" y="99"/>
                    <a:pt x="600" y="98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600" y="98"/>
                    <a:pt x="600" y="98"/>
                    <a:pt x="599" y="99"/>
                  </a:cubicBezTo>
                  <a:cubicBezTo>
                    <a:pt x="599" y="101"/>
                    <a:pt x="600" y="103"/>
                    <a:pt x="600" y="103"/>
                  </a:cubicBezTo>
                  <a:cubicBezTo>
                    <a:pt x="600" y="104"/>
                    <a:pt x="600" y="105"/>
                    <a:pt x="600" y="105"/>
                  </a:cubicBezTo>
                  <a:cubicBezTo>
                    <a:pt x="600" y="105"/>
                    <a:pt x="600" y="105"/>
                    <a:pt x="600" y="105"/>
                  </a:cubicBezTo>
                  <a:cubicBezTo>
                    <a:pt x="600" y="105"/>
                    <a:pt x="599" y="105"/>
                    <a:pt x="599" y="105"/>
                  </a:cubicBezTo>
                  <a:cubicBezTo>
                    <a:pt x="598" y="105"/>
                    <a:pt x="598" y="107"/>
                    <a:pt x="598" y="108"/>
                  </a:cubicBezTo>
                  <a:cubicBezTo>
                    <a:pt x="598" y="108"/>
                    <a:pt x="598" y="108"/>
                    <a:pt x="598" y="108"/>
                  </a:cubicBezTo>
                  <a:cubicBezTo>
                    <a:pt x="597" y="109"/>
                    <a:pt x="597" y="110"/>
                    <a:pt x="597" y="110"/>
                  </a:cubicBezTo>
                  <a:cubicBezTo>
                    <a:pt x="597" y="111"/>
                    <a:pt x="598" y="113"/>
                    <a:pt x="599" y="113"/>
                  </a:cubicBezTo>
                  <a:cubicBezTo>
                    <a:pt x="601" y="113"/>
                    <a:pt x="601" y="111"/>
                    <a:pt x="601" y="111"/>
                  </a:cubicBezTo>
                  <a:cubicBezTo>
                    <a:pt x="601" y="111"/>
                    <a:pt x="602" y="111"/>
                    <a:pt x="602" y="111"/>
                  </a:cubicBezTo>
                  <a:cubicBezTo>
                    <a:pt x="603" y="112"/>
                    <a:pt x="604" y="113"/>
                    <a:pt x="605" y="113"/>
                  </a:cubicBezTo>
                  <a:cubicBezTo>
                    <a:pt x="605" y="114"/>
                    <a:pt x="605" y="114"/>
                    <a:pt x="606" y="114"/>
                  </a:cubicBezTo>
                  <a:cubicBezTo>
                    <a:pt x="606" y="115"/>
                    <a:pt x="606" y="115"/>
                    <a:pt x="607" y="115"/>
                  </a:cubicBezTo>
                  <a:cubicBezTo>
                    <a:pt x="607" y="117"/>
                    <a:pt x="609" y="118"/>
                    <a:pt x="611" y="118"/>
                  </a:cubicBezTo>
                  <a:cubicBezTo>
                    <a:pt x="611" y="118"/>
                    <a:pt x="611" y="119"/>
                    <a:pt x="611" y="119"/>
                  </a:cubicBezTo>
                  <a:cubicBezTo>
                    <a:pt x="611" y="119"/>
                    <a:pt x="611" y="120"/>
                    <a:pt x="611" y="120"/>
                  </a:cubicBezTo>
                  <a:cubicBezTo>
                    <a:pt x="611" y="122"/>
                    <a:pt x="611" y="122"/>
                    <a:pt x="611" y="122"/>
                  </a:cubicBezTo>
                  <a:cubicBezTo>
                    <a:pt x="611" y="122"/>
                    <a:pt x="610" y="123"/>
                    <a:pt x="610" y="123"/>
                  </a:cubicBezTo>
                  <a:cubicBezTo>
                    <a:pt x="609" y="122"/>
                    <a:pt x="608" y="121"/>
                    <a:pt x="608" y="121"/>
                  </a:cubicBezTo>
                  <a:cubicBezTo>
                    <a:pt x="608" y="121"/>
                    <a:pt x="608" y="121"/>
                    <a:pt x="608" y="121"/>
                  </a:cubicBezTo>
                  <a:cubicBezTo>
                    <a:pt x="607" y="119"/>
                    <a:pt x="606" y="119"/>
                    <a:pt x="605" y="119"/>
                  </a:cubicBezTo>
                  <a:cubicBezTo>
                    <a:pt x="605" y="118"/>
                    <a:pt x="604" y="118"/>
                    <a:pt x="604" y="118"/>
                  </a:cubicBezTo>
                  <a:cubicBezTo>
                    <a:pt x="604" y="118"/>
                    <a:pt x="603" y="118"/>
                    <a:pt x="603" y="118"/>
                  </a:cubicBezTo>
                  <a:cubicBezTo>
                    <a:pt x="602" y="117"/>
                    <a:pt x="601" y="116"/>
                    <a:pt x="599" y="116"/>
                  </a:cubicBezTo>
                  <a:cubicBezTo>
                    <a:pt x="599" y="116"/>
                    <a:pt x="599" y="116"/>
                    <a:pt x="599" y="116"/>
                  </a:cubicBezTo>
                  <a:cubicBezTo>
                    <a:pt x="599" y="116"/>
                    <a:pt x="599" y="116"/>
                    <a:pt x="598" y="116"/>
                  </a:cubicBezTo>
                  <a:cubicBezTo>
                    <a:pt x="598" y="116"/>
                    <a:pt x="598" y="116"/>
                    <a:pt x="597" y="115"/>
                  </a:cubicBezTo>
                  <a:cubicBezTo>
                    <a:pt x="597" y="115"/>
                    <a:pt x="596" y="114"/>
                    <a:pt x="595" y="114"/>
                  </a:cubicBezTo>
                  <a:cubicBezTo>
                    <a:pt x="594" y="114"/>
                    <a:pt x="594" y="113"/>
                    <a:pt x="593" y="113"/>
                  </a:cubicBezTo>
                  <a:cubicBezTo>
                    <a:pt x="592" y="113"/>
                    <a:pt x="590" y="113"/>
                    <a:pt x="589" y="112"/>
                  </a:cubicBezTo>
                  <a:cubicBezTo>
                    <a:pt x="586" y="110"/>
                    <a:pt x="581" y="109"/>
                    <a:pt x="578" y="109"/>
                  </a:cubicBezTo>
                  <a:cubicBezTo>
                    <a:pt x="576" y="109"/>
                    <a:pt x="573" y="108"/>
                    <a:pt x="572" y="108"/>
                  </a:cubicBezTo>
                  <a:cubicBezTo>
                    <a:pt x="572" y="107"/>
                    <a:pt x="571" y="107"/>
                    <a:pt x="571" y="107"/>
                  </a:cubicBezTo>
                  <a:cubicBezTo>
                    <a:pt x="570" y="107"/>
                    <a:pt x="569" y="108"/>
                    <a:pt x="569" y="109"/>
                  </a:cubicBezTo>
                  <a:cubicBezTo>
                    <a:pt x="569" y="109"/>
                    <a:pt x="569" y="109"/>
                    <a:pt x="569" y="109"/>
                  </a:cubicBezTo>
                  <a:cubicBezTo>
                    <a:pt x="568" y="110"/>
                    <a:pt x="567" y="110"/>
                    <a:pt x="567" y="111"/>
                  </a:cubicBezTo>
                  <a:cubicBezTo>
                    <a:pt x="567" y="112"/>
                    <a:pt x="567" y="114"/>
                    <a:pt x="568" y="114"/>
                  </a:cubicBezTo>
                  <a:cubicBezTo>
                    <a:pt x="568" y="115"/>
                    <a:pt x="568" y="115"/>
                    <a:pt x="569" y="116"/>
                  </a:cubicBezTo>
                  <a:cubicBezTo>
                    <a:pt x="569" y="118"/>
                    <a:pt x="569" y="118"/>
                    <a:pt x="571" y="118"/>
                  </a:cubicBezTo>
                  <a:cubicBezTo>
                    <a:pt x="571" y="119"/>
                    <a:pt x="571" y="119"/>
                    <a:pt x="571" y="119"/>
                  </a:cubicBezTo>
                  <a:cubicBezTo>
                    <a:pt x="571" y="119"/>
                    <a:pt x="570" y="120"/>
                    <a:pt x="570" y="120"/>
                  </a:cubicBezTo>
                  <a:cubicBezTo>
                    <a:pt x="569" y="121"/>
                    <a:pt x="569" y="121"/>
                    <a:pt x="569" y="121"/>
                  </a:cubicBezTo>
                  <a:cubicBezTo>
                    <a:pt x="569" y="121"/>
                    <a:pt x="569" y="121"/>
                    <a:pt x="569" y="121"/>
                  </a:cubicBezTo>
                  <a:cubicBezTo>
                    <a:pt x="569" y="121"/>
                    <a:pt x="569" y="121"/>
                    <a:pt x="569" y="121"/>
                  </a:cubicBezTo>
                  <a:cubicBezTo>
                    <a:pt x="568" y="121"/>
                    <a:pt x="568" y="121"/>
                    <a:pt x="568" y="121"/>
                  </a:cubicBezTo>
                  <a:cubicBezTo>
                    <a:pt x="567" y="121"/>
                    <a:pt x="566" y="121"/>
                    <a:pt x="566" y="122"/>
                  </a:cubicBezTo>
                  <a:cubicBezTo>
                    <a:pt x="566" y="121"/>
                    <a:pt x="565" y="120"/>
                    <a:pt x="564" y="120"/>
                  </a:cubicBezTo>
                  <a:cubicBezTo>
                    <a:pt x="564" y="119"/>
                    <a:pt x="563" y="118"/>
                    <a:pt x="562" y="118"/>
                  </a:cubicBezTo>
                  <a:cubicBezTo>
                    <a:pt x="559" y="118"/>
                    <a:pt x="555" y="122"/>
                    <a:pt x="554" y="123"/>
                  </a:cubicBezTo>
                  <a:cubicBezTo>
                    <a:pt x="554" y="123"/>
                    <a:pt x="552" y="123"/>
                    <a:pt x="551" y="123"/>
                  </a:cubicBezTo>
                  <a:cubicBezTo>
                    <a:pt x="551" y="123"/>
                    <a:pt x="551" y="123"/>
                    <a:pt x="551" y="123"/>
                  </a:cubicBezTo>
                  <a:cubicBezTo>
                    <a:pt x="550" y="123"/>
                    <a:pt x="549" y="122"/>
                    <a:pt x="548" y="122"/>
                  </a:cubicBezTo>
                  <a:cubicBezTo>
                    <a:pt x="547" y="122"/>
                    <a:pt x="546" y="123"/>
                    <a:pt x="545" y="123"/>
                  </a:cubicBezTo>
                  <a:cubicBezTo>
                    <a:pt x="545" y="123"/>
                    <a:pt x="545" y="123"/>
                    <a:pt x="545" y="123"/>
                  </a:cubicBezTo>
                  <a:cubicBezTo>
                    <a:pt x="545" y="123"/>
                    <a:pt x="545" y="123"/>
                    <a:pt x="545" y="12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2" y="124"/>
                    <a:pt x="541" y="125"/>
                    <a:pt x="541" y="128"/>
                  </a:cubicBezTo>
                  <a:cubicBezTo>
                    <a:pt x="540" y="128"/>
                    <a:pt x="539" y="128"/>
                    <a:pt x="538" y="128"/>
                  </a:cubicBezTo>
                  <a:cubicBezTo>
                    <a:pt x="538" y="128"/>
                    <a:pt x="538" y="128"/>
                    <a:pt x="539" y="127"/>
                  </a:cubicBezTo>
                  <a:cubicBezTo>
                    <a:pt x="539" y="126"/>
                    <a:pt x="538" y="125"/>
                    <a:pt x="538" y="125"/>
                  </a:cubicBezTo>
                  <a:cubicBezTo>
                    <a:pt x="538" y="125"/>
                    <a:pt x="538" y="124"/>
                    <a:pt x="538" y="124"/>
                  </a:cubicBezTo>
                  <a:cubicBezTo>
                    <a:pt x="538" y="124"/>
                    <a:pt x="538" y="123"/>
                    <a:pt x="537" y="122"/>
                  </a:cubicBezTo>
                  <a:cubicBezTo>
                    <a:pt x="537" y="122"/>
                    <a:pt x="537" y="122"/>
                    <a:pt x="538" y="122"/>
                  </a:cubicBezTo>
                  <a:cubicBezTo>
                    <a:pt x="539" y="121"/>
                    <a:pt x="539" y="121"/>
                    <a:pt x="539" y="120"/>
                  </a:cubicBezTo>
                  <a:cubicBezTo>
                    <a:pt x="539" y="119"/>
                    <a:pt x="538" y="119"/>
                    <a:pt x="536" y="119"/>
                  </a:cubicBezTo>
                  <a:cubicBezTo>
                    <a:pt x="535" y="119"/>
                    <a:pt x="533" y="120"/>
                    <a:pt x="532" y="121"/>
                  </a:cubicBezTo>
                  <a:cubicBezTo>
                    <a:pt x="531" y="122"/>
                    <a:pt x="530" y="123"/>
                    <a:pt x="529" y="123"/>
                  </a:cubicBezTo>
                  <a:cubicBezTo>
                    <a:pt x="528" y="123"/>
                    <a:pt x="527" y="124"/>
                    <a:pt x="527" y="124"/>
                  </a:cubicBezTo>
                  <a:cubicBezTo>
                    <a:pt x="527" y="125"/>
                    <a:pt x="527" y="125"/>
                    <a:pt x="527" y="125"/>
                  </a:cubicBezTo>
                  <a:cubicBezTo>
                    <a:pt x="527" y="125"/>
                    <a:pt x="527" y="125"/>
                    <a:pt x="527" y="125"/>
                  </a:cubicBezTo>
                  <a:cubicBezTo>
                    <a:pt x="525" y="125"/>
                    <a:pt x="524" y="126"/>
                    <a:pt x="524" y="126"/>
                  </a:cubicBezTo>
                  <a:cubicBezTo>
                    <a:pt x="523" y="127"/>
                    <a:pt x="522" y="127"/>
                    <a:pt x="521" y="127"/>
                  </a:cubicBezTo>
                  <a:cubicBezTo>
                    <a:pt x="521" y="127"/>
                    <a:pt x="521" y="127"/>
                    <a:pt x="521" y="127"/>
                  </a:cubicBezTo>
                  <a:cubicBezTo>
                    <a:pt x="520" y="127"/>
                    <a:pt x="518" y="128"/>
                    <a:pt x="516" y="130"/>
                  </a:cubicBezTo>
                  <a:cubicBezTo>
                    <a:pt x="514" y="132"/>
                    <a:pt x="513" y="132"/>
                    <a:pt x="512" y="132"/>
                  </a:cubicBezTo>
                  <a:cubicBezTo>
                    <a:pt x="510" y="131"/>
                    <a:pt x="508" y="131"/>
                    <a:pt x="508" y="132"/>
                  </a:cubicBezTo>
                  <a:cubicBezTo>
                    <a:pt x="508" y="133"/>
                    <a:pt x="508" y="134"/>
                    <a:pt x="508" y="134"/>
                  </a:cubicBezTo>
                  <a:cubicBezTo>
                    <a:pt x="508" y="134"/>
                    <a:pt x="508" y="134"/>
                    <a:pt x="508" y="134"/>
                  </a:cubicBezTo>
                  <a:cubicBezTo>
                    <a:pt x="507" y="134"/>
                    <a:pt x="507" y="134"/>
                    <a:pt x="507" y="134"/>
                  </a:cubicBezTo>
                  <a:cubicBezTo>
                    <a:pt x="506" y="134"/>
                    <a:pt x="505" y="135"/>
                    <a:pt x="504" y="136"/>
                  </a:cubicBezTo>
                  <a:cubicBezTo>
                    <a:pt x="504" y="136"/>
                    <a:pt x="503" y="137"/>
                    <a:pt x="504" y="138"/>
                  </a:cubicBezTo>
                  <a:cubicBezTo>
                    <a:pt x="504" y="139"/>
                    <a:pt x="504" y="139"/>
                    <a:pt x="504" y="140"/>
                  </a:cubicBezTo>
                  <a:cubicBezTo>
                    <a:pt x="503" y="140"/>
                    <a:pt x="502" y="142"/>
                    <a:pt x="503" y="144"/>
                  </a:cubicBezTo>
                  <a:cubicBezTo>
                    <a:pt x="503" y="144"/>
                    <a:pt x="503" y="144"/>
                    <a:pt x="502" y="144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0" y="144"/>
                    <a:pt x="500" y="145"/>
                    <a:pt x="500" y="145"/>
                  </a:cubicBezTo>
                  <a:cubicBezTo>
                    <a:pt x="499" y="144"/>
                    <a:pt x="498" y="144"/>
                    <a:pt x="498" y="144"/>
                  </a:cubicBezTo>
                  <a:cubicBezTo>
                    <a:pt x="497" y="144"/>
                    <a:pt x="496" y="144"/>
                    <a:pt x="496" y="145"/>
                  </a:cubicBezTo>
                  <a:cubicBezTo>
                    <a:pt x="496" y="145"/>
                    <a:pt x="496" y="145"/>
                    <a:pt x="496" y="145"/>
                  </a:cubicBezTo>
                  <a:cubicBezTo>
                    <a:pt x="495" y="145"/>
                    <a:pt x="495" y="144"/>
                    <a:pt x="495" y="144"/>
                  </a:cubicBezTo>
                  <a:cubicBezTo>
                    <a:pt x="495" y="142"/>
                    <a:pt x="494" y="141"/>
                    <a:pt x="493" y="140"/>
                  </a:cubicBezTo>
                  <a:cubicBezTo>
                    <a:pt x="493" y="140"/>
                    <a:pt x="492" y="140"/>
                    <a:pt x="492" y="139"/>
                  </a:cubicBezTo>
                  <a:cubicBezTo>
                    <a:pt x="492" y="139"/>
                    <a:pt x="491" y="139"/>
                    <a:pt x="491" y="139"/>
                  </a:cubicBezTo>
                  <a:cubicBezTo>
                    <a:pt x="492" y="139"/>
                    <a:pt x="492" y="138"/>
                    <a:pt x="493" y="137"/>
                  </a:cubicBezTo>
                  <a:cubicBezTo>
                    <a:pt x="493" y="136"/>
                    <a:pt x="493" y="136"/>
                    <a:pt x="493" y="136"/>
                  </a:cubicBezTo>
                  <a:cubicBezTo>
                    <a:pt x="494" y="136"/>
                    <a:pt x="495" y="136"/>
                    <a:pt x="495" y="135"/>
                  </a:cubicBezTo>
                  <a:cubicBezTo>
                    <a:pt x="496" y="135"/>
                    <a:pt x="496" y="135"/>
                    <a:pt x="496" y="135"/>
                  </a:cubicBezTo>
                  <a:cubicBezTo>
                    <a:pt x="499" y="136"/>
                    <a:pt x="500" y="135"/>
                    <a:pt x="500" y="134"/>
                  </a:cubicBezTo>
                  <a:cubicBezTo>
                    <a:pt x="500" y="134"/>
                    <a:pt x="500" y="133"/>
                    <a:pt x="499" y="132"/>
                  </a:cubicBezTo>
                  <a:cubicBezTo>
                    <a:pt x="498" y="132"/>
                    <a:pt x="498" y="131"/>
                    <a:pt x="498" y="131"/>
                  </a:cubicBezTo>
                  <a:cubicBezTo>
                    <a:pt x="498" y="131"/>
                    <a:pt x="498" y="131"/>
                    <a:pt x="498" y="131"/>
                  </a:cubicBezTo>
                  <a:cubicBezTo>
                    <a:pt x="498" y="131"/>
                    <a:pt x="499" y="130"/>
                    <a:pt x="498" y="129"/>
                  </a:cubicBezTo>
                  <a:cubicBezTo>
                    <a:pt x="498" y="128"/>
                    <a:pt x="497" y="128"/>
                    <a:pt x="496" y="128"/>
                  </a:cubicBezTo>
                  <a:cubicBezTo>
                    <a:pt x="496" y="128"/>
                    <a:pt x="496" y="128"/>
                    <a:pt x="496" y="128"/>
                  </a:cubicBezTo>
                  <a:cubicBezTo>
                    <a:pt x="496" y="127"/>
                    <a:pt x="495" y="126"/>
                    <a:pt x="495" y="125"/>
                  </a:cubicBezTo>
                  <a:cubicBezTo>
                    <a:pt x="494" y="125"/>
                    <a:pt x="494" y="125"/>
                    <a:pt x="494" y="125"/>
                  </a:cubicBezTo>
                  <a:cubicBezTo>
                    <a:pt x="494" y="125"/>
                    <a:pt x="493" y="125"/>
                    <a:pt x="492" y="124"/>
                  </a:cubicBezTo>
                  <a:cubicBezTo>
                    <a:pt x="492" y="123"/>
                    <a:pt x="491" y="123"/>
                    <a:pt x="490" y="123"/>
                  </a:cubicBezTo>
                  <a:cubicBezTo>
                    <a:pt x="489" y="123"/>
                    <a:pt x="488" y="124"/>
                    <a:pt x="488" y="124"/>
                  </a:cubicBezTo>
                  <a:cubicBezTo>
                    <a:pt x="487" y="125"/>
                    <a:pt x="483" y="124"/>
                    <a:pt x="482" y="123"/>
                  </a:cubicBezTo>
                  <a:cubicBezTo>
                    <a:pt x="482" y="123"/>
                    <a:pt x="482" y="123"/>
                    <a:pt x="482" y="123"/>
                  </a:cubicBezTo>
                  <a:cubicBezTo>
                    <a:pt x="481" y="123"/>
                    <a:pt x="481" y="123"/>
                    <a:pt x="481" y="123"/>
                  </a:cubicBezTo>
                  <a:cubicBezTo>
                    <a:pt x="479" y="123"/>
                    <a:pt x="479" y="124"/>
                    <a:pt x="478" y="124"/>
                  </a:cubicBezTo>
                  <a:cubicBezTo>
                    <a:pt x="478" y="126"/>
                    <a:pt x="481" y="128"/>
                    <a:pt x="483" y="128"/>
                  </a:cubicBezTo>
                  <a:cubicBezTo>
                    <a:pt x="484" y="129"/>
                    <a:pt x="484" y="129"/>
                    <a:pt x="483" y="130"/>
                  </a:cubicBezTo>
                  <a:cubicBezTo>
                    <a:pt x="483" y="130"/>
                    <a:pt x="483" y="132"/>
                    <a:pt x="484" y="133"/>
                  </a:cubicBezTo>
                  <a:cubicBezTo>
                    <a:pt x="483" y="134"/>
                    <a:pt x="483" y="135"/>
                    <a:pt x="483" y="137"/>
                  </a:cubicBezTo>
                  <a:cubicBezTo>
                    <a:pt x="483" y="138"/>
                    <a:pt x="483" y="138"/>
                    <a:pt x="483" y="138"/>
                  </a:cubicBezTo>
                  <a:cubicBezTo>
                    <a:pt x="482" y="139"/>
                    <a:pt x="482" y="139"/>
                    <a:pt x="482" y="139"/>
                  </a:cubicBezTo>
                  <a:cubicBezTo>
                    <a:pt x="482" y="141"/>
                    <a:pt x="482" y="142"/>
                    <a:pt x="482" y="142"/>
                  </a:cubicBezTo>
                  <a:cubicBezTo>
                    <a:pt x="483" y="143"/>
                    <a:pt x="484" y="143"/>
                    <a:pt x="484" y="143"/>
                  </a:cubicBezTo>
                  <a:cubicBezTo>
                    <a:pt x="485" y="143"/>
                    <a:pt x="485" y="143"/>
                    <a:pt x="485" y="143"/>
                  </a:cubicBezTo>
                  <a:cubicBezTo>
                    <a:pt x="485" y="144"/>
                    <a:pt x="485" y="145"/>
                    <a:pt x="486" y="145"/>
                  </a:cubicBezTo>
                  <a:cubicBezTo>
                    <a:pt x="486" y="146"/>
                    <a:pt x="486" y="146"/>
                    <a:pt x="486" y="147"/>
                  </a:cubicBezTo>
                  <a:cubicBezTo>
                    <a:pt x="485" y="147"/>
                    <a:pt x="485" y="149"/>
                    <a:pt x="485" y="151"/>
                  </a:cubicBezTo>
                  <a:cubicBezTo>
                    <a:pt x="485" y="151"/>
                    <a:pt x="485" y="151"/>
                    <a:pt x="485" y="150"/>
                  </a:cubicBezTo>
                  <a:cubicBezTo>
                    <a:pt x="484" y="149"/>
                    <a:pt x="483" y="148"/>
                    <a:pt x="481" y="149"/>
                  </a:cubicBezTo>
                  <a:cubicBezTo>
                    <a:pt x="480" y="149"/>
                    <a:pt x="480" y="149"/>
                    <a:pt x="480" y="149"/>
                  </a:cubicBezTo>
                  <a:cubicBezTo>
                    <a:pt x="479" y="149"/>
                    <a:pt x="478" y="148"/>
                    <a:pt x="477" y="148"/>
                  </a:cubicBezTo>
                  <a:cubicBezTo>
                    <a:pt x="476" y="148"/>
                    <a:pt x="475" y="149"/>
                    <a:pt x="474" y="150"/>
                  </a:cubicBezTo>
                  <a:cubicBezTo>
                    <a:pt x="472" y="152"/>
                    <a:pt x="469" y="154"/>
                    <a:pt x="469" y="154"/>
                  </a:cubicBezTo>
                  <a:cubicBezTo>
                    <a:pt x="469" y="154"/>
                    <a:pt x="469" y="154"/>
                    <a:pt x="469" y="154"/>
                  </a:cubicBezTo>
                  <a:cubicBezTo>
                    <a:pt x="469" y="154"/>
                    <a:pt x="467" y="155"/>
                    <a:pt x="466" y="157"/>
                  </a:cubicBezTo>
                  <a:cubicBezTo>
                    <a:pt x="466" y="157"/>
                    <a:pt x="466" y="158"/>
                    <a:pt x="465" y="158"/>
                  </a:cubicBezTo>
                  <a:cubicBezTo>
                    <a:pt x="463" y="158"/>
                    <a:pt x="463" y="159"/>
                    <a:pt x="463" y="159"/>
                  </a:cubicBezTo>
                  <a:cubicBezTo>
                    <a:pt x="461" y="163"/>
                    <a:pt x="463" y="165"/>
                    <a:pt x="465" y="166"/>
                  </a:cubicBezTo>
                  <a:cubicBezTo>
                    <a:pt x="465" y="167"/>
                    <a:pt x="466" y="167"/>
                    <a:pt x="466" y="168"/>
                  </a:cubicBezTo>
                  <a:cubicBezTo>
                    <a:pt x="466" y="168"/>
                    <a:pt x="466" y="168"/>
                    <a:pt x="466" y="168"/>
                  </a:cubicBezTo>
                  <a:cubicBezTo>
                    <a:pt x="466" y="168"/>
                    <a:pt x="466" y="168"/>
                    <a:pt x="466" y="168"/>
                  </a:cubicBezTo>
                  <a:cubicBezTo>
                    <a:pt x="466" y="169"/>
                    <a:pt x="466" y="169"/>
                    <a:pt x="466" y="169"/>
                  </a:cubicBezTo>
                  <a:cubicBezTo>
                    <a:pt x="466" y="168"/>
                    <a:pt x="466" y="168"/>
                    <a:pt x="466" y="168"/>
                  </a:cubicBezTo>
                  <a:cubicBezTo>
                    <a:pt x="465" y="168"/>
                    <a:pt x="465" y="168"/>
                    <a:pt x="465" y="168"/>
                  </a:cubicBezTo>
                  <a:cubicBezTo>
                    <a:pt x="464" y="168"/>
                    <a:pt x="463" y="169"/>
                    <a:pt x="463" y="170"/>
                  </a:cubicBezTo>
                  <a:cubicBezTo>
                    <a:pt x="463" y="170"/>
                    <a:pt x="463" y="170"/>
                    <a:pt x="463" y="171"/>
                  </a:cubicBezTo>
                  <a:cubicBezTo>
                    <a:pt x="462" y="171"/>
                    <a:pt x="461" y="170"/>
                    <a:pt x="461" y="169"/>
                  </a:cubicBezTo>
                  <a:cubicBezTo>
                    <a:pt x="460" y="169"/>
                    <a:pt x="459" y="168"/>
                    <a:pt x="457" y="168"/>
                  </a:cubicBezTo>
                  <a:cubicBezTo>
                    <a:pt x="456" y="168"/>
                    <a:pt x="456" y="168"/>
                    <a:pt x="455" y="168"/>
                  </a:cubicBezTo>
                  <a:cubicBezTo>
                    <a:pt x="455" y="168"/>
                    <a:pt x="455" y="167"/>
                    <a:pt x="455" y="167"/>
                  </a:cubicBezTo>
                  <a:cubicBezTo>
                    <a:pt x="455" y="167"/>
                    <a:pt x="454" y="166"/>
                    <a:pt x="453" y="166"/>
                  </a:cubicBezTo>
                  <a:cubicBezTo>
                    <a:pt x="453" y="166"/>
                    <a:pt x="453" y="166"/>
                    <a:pt x="453" y="166"/>
                  </a:cubicBezTo>
                  <a:cubicBezTo>
                    <a:pt x="452" y="166"/>
                    <a:pt x="450" y="165"/>
                    <a:pt x="450" y="165"/>
                  </a:cubicBezTo>
                  <a:cubicBezTo>
                    <a:pt x="449" y="164"/>
                    <a:pt x="449" y="163"/>
                    <a:pt x="448" y="163"/>
                  </a:cubicBezTo>
                  <a:cubicBezTo>
                    <a:pt x="447" y="163"/>
                    <a:pt x="446" y="164"/>
                    <a:pt x="446" y="165"/>
                  </a:cubicBezTo>
                  <a:cubicBezTo>
                    <a:pt x="446" y="166"/>
                    <a:pt x="446" y="166"/>
                    <a:pt x="446" y="166"/>
                  </a:cubicBezTo>
                  <a:cubicBezTo>
                    <a:pt x="445" y="166"/>
                    <a:pt x="444" y="167"/>
                    <a:pt x="444" y="168"/>
                  </a:cubicBezTo>
                  <a:cubicBezTo>
                    <a:pt x="444" y="168"/>
                    <a:pt x="444" y="170"/>
                    <a:pt x="445" y="171"/>
                  </a:cubicBezTo>
                  <a:cubicBezTo>
                    <a:pt x="446" y="171"/>
                    <a:pt x="446" y="172"/>
                    <a:pt x="446" y="172"/>
                  </a:cubicBezTo>
                  <a:cubicBezTo>
                    <a:pt x="447" y="174"/>
                    <a:pt x="448" y="176"/>
                    <a:pt x="450" y="175"/>
                  </a:cubicBezTo>
                  <a:cubicBezTo>
                    <a:pt x="450" y="175"/>
                    <a:pt x="450" y="175"/>
                    <a:pt x="450" y="175"/>
                  </a:cubicBezTo>
                  <a:cubicBezTo>
                    <a:pt x="451" y="176"/>
                    <a:pt x="451" y="176"/>
                    <a:pt x="452" y="176"/>
                  </a:cubicBezTo>
                  <a:cubicBezTo>
                    <a:pt x="452" y="177"/>
                    <a:pt x="451" y="177"/>
                    <a:pt x="451" y="178"/>
                  </a:cubicBezTo>
                  <a:cubicBezTo>
                    <a:pt x="451" y="178"/>
                    <a:pt x="451" y="178"/>
                    <a:pt x="451" y="178"/>
                  </a:cubicBezTo>
                  <a:cubicBezTo>
                    <a:pt x="451" y="178"/>
                    <a:pt x="451" y="178"/>
                    <a:pt x="451" y="178"/>
                  </a:cubicBezTo>
                  <a:cubicBezTo>
                    <a:pt x="451" y="178"/>
                    <a:pt x="450" y="178"/>
                    <a:pt x="449" y="178"/>
                  </a:cubicBezTo>
                  <a:cubicBezTo>
                    <a:pt x="449" y="178"/>
                    <a:pt x="449" y="178"/>
                    <a:pt x="449" y="178"/>
                  </a:cubicBezTo>
                  <a:cubicBezTo>
                    <a:pt x="448" y="178"/>
                    <a:pt x="448" y="177"/>
                    <a:pt x="447" y="177"/>
                  </a:cubicBezTo>
                  <a:cubicBezTo>
                    <a:pt x="446" y="177"/>
                    <a:pt x="446" y="177"/>
                    <a:pt x="446" y="177"/>
                  </a:cubicBezTo>
                  <a:cubicBezTo>
                    <a:pt x="446" y="177"/>
                    <a:pt x="446" y="177"/>
                    <a:pt x="446" y="177"/>
                  </a:cubicBezTo>
                  <a:cubicBezTo>
                    <a:pt x="445" y="177"/>
                    <a:pt x="445" y="176"/>
                    <a:pt x="444" y="176"/>
                  </a:cubicBezTo>
                  <a:cubicBezTo>
                    <a:pt x="444" y="176"/>
                    <a:pt x="444" y="175"/>
                    <a:pt x="443" y="175"/>
                  </a:cubicBezTo>
                  <a:cubicBezTo>
                    <a:pt x="443" y="174"/>
                    <a:pt x="442" y="174"/>
                    <a:pt x="441" y="174"/>
                  </a:cubicBezTo>
                  <a:cubicBezTo>
                    <a:pt x="441" y="174"/>
                    <a:pt x="441" y="174"/>
                    <a:pt x="440" y="174"/>
                  </a:cubicBezTo>
                  <a:cubicBezTo>
                    <a:pt x="440" y="174"/>
                    <a:pt x="439" y="173"/>
                    <a:pt x="438" y="173"/>
                  </a:cubicBezTo>
                  <a:cubicBezTo>
                    <a:pt x="438" y="173"/>
                    <a:pt x="437" y="171"/>
                    <a:pt x="437" y="171"/>
                  </a:cubicBezTo>
                  <a:cubicBezTo>
                    <a:pt x="438" y="170"/>
                    <a:pt x="437" y="168"/>
                    <a:pt x="437" y="168"/>
                  </a:cubicBezTo>
                  <a:cubicBezTo>
                    <a:pt x="437" y="168"/>
                    <a:pt x="436" y="168"/>
                    <a:pt x="436" y="168"/>
                  </a:cubicBezTo>
                  <a:cubicBezTo>
                    <a:pt x="436" y="167"/>
                    <a:pt x="436" y="167"/>
                    <a:pt x="436" y="166"/>
                  </a:cubicBezTo>
                  <a:cubicBezTo>
                    <a:pt x="436" y="166"/>
                    <a:pt x="436" y="164"/>
                    <a:pt x="435" y="163"/>
                  </a:cubicBezTo>
                  <a:cubicBezTo>
                    <a:pt x="436" y="163"/>
                    <a:pt x="436" y="162"/>
                    <a:pt x="436" y="162"/>
                  </a:cubicBezTo>
                  <a:cubicBezTo>
                    <a:pt x="436" y="161"/>
                    <a:pt x="436" y="161"/>
                    <a:pt x="436" y="161"/>
                  </a:cubicBezTo>
                  <a:cubicBezTo>
                    <a:pt x="436" y="160"/>
                    <a:pt x="436" y="160"/>
                    <a:pt x="436" y="160"/>
                  </a:cubicBezTo>
                  <a:cubicBezTo>
                    <a:pt x="436" y="159"/>
                    <a:pt x="437" y="158"/>
                    <a:pt x="436" y="157"/>
                  </a:cubicBezTo>
                  <a:cubicBezTo>
                    <a:pt x="436" y="156"/>
                    <a:pt x="435" y="155"/>
                    <a:pt x="434" y="155"/>
                  </a:cubicBezTo>
                  <a:cubicBezTo>
                    <a:pt x="434" y="155"/>
                    <a:pt x="433" y="154"/>
                    <a:pt x="432" y="153"/>
                  </a:cubicBezTo>
                  <a:cubicBezTo>
                    <a:pt x="431" y="152"/>
                    <a:pt x="430" y="152"/>
                    <a:pt x="429" y="152"/>
                  </a:cubicBezTo>
                  <a:cubicBezTo>
                    <a:pt x="430" y="151"/>
                    <a:pt x="430" y="151"/>
                    <a:pt x="430" y="151"/>
                  </a:cubicBezTo>
                  <a:cubicBezTo>
                    <a:pt x="430" y="149"/>
                    <a:pt x="428" y="148"/>
                    <a:pt x="426" y="147"/>
                  </a:cubicBezTo>
                  <a:cubicBezTo>
                    <a:pt x="426" y="147"/>
                    <a:pt x="426" y="147"/>
                    <a:pt x="426" y="147"/>
                  </a:cubicBezTo>
                  <a:cubicBezTo>
                    <a:pt x="426" y="147"/>
                    <a:pt x="427" y="147"/>
                    <a:pt x="427" y="147"/>
                  </a:cubicBezTo>
                  <a:cubicBezTo>
                    <a:pt x="427" y="147"/>
                    <a:pt x="428" y="147"/>
                    <a:pt x="429" y="147"/>
                  </a:cubicBezTo>
                  <a:cubicBezTo>
                    <a:pt x="429" y="148"/>
                    <a:pt x="429" y="148"/>
                    <a:pt x="429" y="148"/>
                  </a:cubicBezTo>
                  <a:cubicBezTo>
                    <a:pt x="430" y="148"/>
                    <a:pt x="430" y="148"/>
                    <a:pt x="431" y="148"/>
                  </a:cubicBezTo>
                  <a:cubicBezTo>
                    <a:pt x="432" y="148"/>
                    <a:pt x="432" y="148"/>
                    <a:pt x="432" y="148"/>
                  </a:cubicBezTo>
                  <a:cubicBezTo>
                    <a:pt x="432" y="148"/>
                    <a:pt x="432" y="148"/>
                    <a:pt x="432" y="148"/>
                  </a:cubicBezTo>
                  <a:cubicBezTo>
                    <a:pt x="432" y="148"/>
                    <a:pt x="432" y="148"/>
                    <a:pt x="432" y="148"/>
                  </a:cubicBezTo>
                  <a:cubicBezTo>
                    <a:pt x="432" y="150"/>
                    <a:pt x="433" y="151"/>
                    <a:pt x="435" y="150"/>
                  </a:cubicBezTo>
                  <a:cubicBezTo>
                    <a:pt x="435" y="150"/>
                    <a:pt x="436" y="151"/>
                    <a:pt x="438" y="152"/>
                  </a:cubicBezTo>
                  <a:cubicBezTo>
                    <a:pt x="440" y="154"/>
                    <a:pt x="446" y="154"/>
                    <a:pt x="448" y="154"/>
                  </a:cubicBezTo>
                  <a:cubicBezTo>
                    <a:pt x="448" y="154"/>
                    <a:pt x="449" y="154"/>
                    <a:pt x="449" y="154"/>
                  </a:cubicBezTo>
                  <a:cubicBezTo>
                    <a:pt x="450" y="154"/>
                    <a:pt x="451" y="154"/>
                    <a:pt x="452" y="155"/>
                  </a:cubicBezTo>
                  <a:cubicBezTo>
                    <a:pt x="454" y="155"/>
                    <a:pt x="455" y="156"/>
                    <a:pt x="456" y="156"/>
                  </a:cubicBezTo>
                  <a:cubicBezTo>
                    <a:pt x="459" y="156"/>
                    <a:pt x="463" y="154"/>
                    <a:pt x="467" y="152"/>
                  </a:cubicBezTo>
                  <a:cubicBezTo>
                    <a:pt x="468" y="152"/>
                    <a:pt x="468" y="152"/>
                    <a:pt x="468" y="152"/>
                  </a:cubicBezTo>
                  <a:cubicBezTo>
                    <a:pt x="469" y="151"/>
                    <a:pt x="471" y="150"/>
                    <a:pt x="472" y="148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73" y="146"/>
                    <a:pt x="474" y="146"/>
                    <a:pt x="474" y="145"/>
                  </a:cubicBezTo>
                  <a:cubicBezTo>
                    <a:pt x="474" y="144"/>
                    <a:pt x="474" y="144"/>
                    <a:pt x="473" y="143"/>
                  </a:cubicBezTo>
                  <a:cubicBezTo>
                    <a:pt x="473" y="142"/>
                    <a:pt x="473" y="142"/>
                    <a:pt x="473" y="142"/>
                  </a:cubicBezTo>
                  <a:cubicBezTo>
                    <a:pt x="473" y="141"/>
                    <a:pt x="472" y="138"/>
                    <a:pt x="471" y="137"/>
                  </a:cubicBezTo>
                  <a:cubicBezTo>
                    <a:pt x="471" y="137"/>
                    <a:pt x="471" y="136"/>
                    <a:pt x="471" y="136"/>
                  </a:cubicBezTo>
                  <a:cubicBezTo>
                    <a:pt x="470" y="134"/>
                    <a:pt x="469" y="133"/>
                    <a:pt x="468" y="133"/>
                  </a:cubicBezTo>
                  <a:cubicBezTo>
                    <a:pt x="468" y="133"/>
                    <a:pt x="468" y="133"/>
                    <a:pt x="468" y="133"/>
                  </a:cubicBezTo>
                  <a:cubicBezTo>
                    <a:pt x="467" y="133"/>
                    <a:pt x="467" y="133"/>
                    <a:pt x="467" y="133"/>
                  </a:cubicBezTo>
                  <a:cubicBezTo>
                    <a:pt x="466" y="134"/>
                    <a:pt x="466" y="134"/>
                    <a:pt x="466" y="134"/>
                  </a:cubicBezTo>
                  <a:cubicBezTo>
                    <a:pt x="467" y="133"/>
                    <a:pt x="467" y="133"/>
                    <a:pt x="467" y="133"/>
                  </a:cubicBezTo>
                  <a:cubicBezTo>
                    <a:pt x="467" y="133"/>
                    <a:pt x="464" y="131"/>
                    <a:pt x="463" y="130"/>
                  </a:cubicBezTo>
                  <a:cubicBezTo>
                    <a:pt x="462" y="129"/>
                    <a:pt x="462" y="129"/>
                    <a:pt x="460" y="130"/>
                  </a:cubicBezTo>
                  <a:cubicBezTo>
                    <a:pt x="460" y="130"/>
                    <a:pt x="460" y="130"/>
                    <a:pt x="460" y="130"/>
                  </a:cubicBezTo>
                  <a:cubicBezTo>
                    <a:pt x="459" y="128"/>
                    <a:pt x="458" y="128"/>
                    <a:pt x="457" y="128"/>
                  </a:cubicBezTo>
                  <a:cubicBezTo>
                    <a:pt x="456" y="128"/>
                    <a:pt x="456" y="128"/>
                    <a:pt x="456" y="128"/>
                  </a:cubicBezTo>
                  <a:cubicBezTo>
                    <a:pt x="455" y="127"/>
                    <a:pt x="455" y="127"/>
                    <a:pt x="455" y="127"/>
                  </a:cubicBezTo>
                  <a:cubicBezTo>
                    <a:pt x="454" y="126"/>
                    <a:pt x="454" y="126"/>
                    <a:pt x="453" y="125"/>
                  </a:cubicBezTo>
                  <a:cubicBezTo>
                    <a:pt x="453" y="125"/>
                    <a:pt x="453" y="125"/>
                    <a:pt x="453" y="125"/>
                  </a:cubicBezTo>
                  <a:cubicBezTo>
                    <a:pt x="452" y="124"/>
                    <a:pt x="452" y="124"/>
                    <a:pt x="451" y="123"/>
                  </a:cubicBezTo>
                  <a:cubicBezTo>
                    <a:pt x="450" y="123"/>
                    <a:pt x="449" y="122"/>
                    <a:pt x="448" y="121"/>
                  </a:cubicBezTo>
                  <a:cubicBezTo>
                    <a:pt x="447" y="121"/>
                    <a:pt x="445" y="120"/>
                    <a:pt x="443" y="119"/>
                  </a:cubicBezTo>
                  <a:cubicBezTo>
                    <a:pt x="442" y="119"/>
                    <a:pt x="442" y="119"/>
                    <a:pt x="442" y="118"/>
                  </a:cubicBezTo>
                  <a:cubicBezTo>
                    <a:pt x="441" y="118"/>
                    <a:pt x="441" y="118"/>
                    <a:pt x="439" y="118"/>
                  </a:cubicBezTo>
                  <a:cubicBezTo>
                    <a:pt x="438" y="118"/>
                    <a:pt x="438" y="118"/>
                    <a:pt x="438" y="118"/>
                  </a:cubicBezTo>
                  <a:cubicBezTo>
                    <a:pt x="437" y="118"/>
                    <a:pt x="437" y="118"/>
                    <a:pt x="436" y="117"/>
                  </a:cubicBezTo>
                  <a:cubicBezTo>
                    <a:pt x="436" y="117"/>
                    <a:pt x="436" y="117"/>
                    <a:pt x="435" y="117"/>
                  </a:cubicBezTo>
                  <a:cubicBezTo>
                    <a:pt x="435" y="117"/>
                    <a:pt x="433" y="117"/>
                    <a:pt x="431" y="117"/>
                  </a:cubicBezTo>
                  <a:cubicBezTo>
                    <a:pt x="431" y="117"/>
                    <a:pt x="431" y="117"/>
                    <a:pt x="431" y="116"/>
                  </a:cubicBezTo>
                  <a:cubicBezTo>
                    <a:pt x="430" y="115"/>
                    <a:pt x="430" y="115"/>
                    <a:pt x="429" y="115"/>
                  </a:cubicBezTo>
                  <a:cubicBezTo>
                    <a:pt x="429" y="115"/>
                    <a:pt x="429" y="115"/>
                    <a:pt x="428" y="115"/>
                  </a:cubicBezTo>
                  <a:cubicBezTo>
                    <a:pt x="428" y="115"/>
                    <a:pt x="428" y="115"/>
                    <a:pt x="428" y="115"/>
                  </a:cubicBezTo>
                  <a:cubicBezTo>
                    <a:pt x="429" y="115"/>
                    <a:pt x="429" y="115"/>
                    <a:pt x="429" y="114"/>
                  </a:cubicBezTo>
                  <a:cubicBezTo>
                    <a:pt x="430" y="113"/>
                    <a:pt x="430" y="112"/>
                    <a:pt x="429" y="112"/>
                  </a:cubicBezTo>
                  <a:cubicBezTo>
                    <a:pt x="429" y="111"/>
                    <a:pt x="428" y="111"/>
                    <a:pt x="428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27" y="110"/>
                    <a:pt x="427" y="109"/>
                    <a:pt x="425" y="109"/>
                  </a:cubicBezTo>
                  <a:cubicBezTo>
                    <a:pt x="425" y="109"/>
                    <a:pt x="425" y="109"/>
                    <a:pt x="425" y="108"/>
                  </a:cubicBezTo>
                  <a:cubicBezTo>
                    <a:pt x="424" y="108"/>
                    <a:pt x="424" y="108"/>
                    <a:pt x="423" y="108"/>
                  </a:cubicBezTo>
                  <a:cubicBezTo>
                    <a:pt x="422" y="108"/>
                    <a:pt x="421" y="109"/>
                    <a:pt x="421" y="110"/>
                  </a:cubicBezTo>
                  <a:cubicBezTo>
                    <a:pt x="421" y="111"/>
                    <a:pt x="421" y="111"/>
                    <a:pt x="420" y="111"/>
                  </a:cubicBezTo>
                  <a:cubicBezTo>
                    <a:pt x="420" y="111"/>
                    <a:pt x="420" y="111"/>
                    <a:pt x="419" y="111"/>
                  </a:cubicBezTo>
                  <a:cubicBezTo>
                    <a:pt x="419" y="110"/>
                    <a:pt x="418" y="110"/>
                    <a:pt x="418" y="110"/>
                  </a:cubicBezTo>
                  <a:cubicBezTo>
                    <a:pt x="418" y="110"/>
                    <a:pt x="418" y="110"/>
                    <a:pt x="418" y="110"/>
                  </a:cubicBezTo>
                  <a:cubicBezTo>
                    <a:pt x="417" y="110"/>
                    <a:pt x="417" y="110"/>
                    <a:pt x="417" y="110"/>
                  </a:cubicBezTo>
                  <a:cubicBezTo>
                    <a:pt x="417" y="110"/>
                    <a:pt x="416" y="110"/>
                    <a:pt x="416" y="110"/>
                  </a:cubicBezTo>
                  <a:cubicBezTo>
                    <a:pt x="416" y="110"/>
                    <a:pt x="416" y="110"/>
                    <a:pt x="416" y="110"/>
                  </a:cubicBezTo>
                  <a:cubicBezTo>
                    <a:pt x="416" y="110"/>
                    <a:pt x="415" y="109"/>
                    <a:pt x="415" y="109"/>
                  </a:cubicBezTo>
                  <a:cubicBezTo>
                    <a:pt x="414" y="109"/>
                    <a:pt x="414" y="109"/>
                    <a:pt x="414" y="109"/>
                  </a:cubicBezTo>
                  <a:cubicBezTo>
                    <a:pt x="414" y="109"/>
                    <a:pt x="413" y="109"/>
                    <a:pt x="413" y="110"/>
                  </a:cubicBezTo>
                  <a:cubicBezTo>
                    <a:pt x="413" y="109"/>
                    <a:pt x="412" y="109"/>
                    <a:pt x="412" y="109"/>
                  </a:cubicBezTo>
                  <a:cubicBezTo>
                    <a:pt x="412" y="109"/>
                    <a:pt x="412" y="109"/>
                    <a:pt x="412" y="109"/>
                  </a:cubicBezTo>
                  <a:cubicBezTo>
                    <a:pt x="412" y="109"/>
                    <a:pt x="412" y="109"/>
                    <a:pt x="412" y="109"/>
                  </a:cubicBezTo>
                  <a:cubicBezTo>
                    <a:pt x="414" y="109"/>
                    <a:pt x="415" y="108"/>
                    <a:pt x="416" y="107"/>
                  </a:cubicBezTo>
                  <a:cubicBezTo>
                    <a:pt x="416" y="106"/>
                    <a:pt x="417" y="106"/>
                    <a:pt x="417" y="106"/>
                  </a:cubicBezTo>
                  <a:cubicBezTo>
                    <a:pt x="417" y="106"/>
                    <a:pt x="417" y="106"/>
                    <a:pt x="418" y="106"/>
                  </a:cubicBezTo>
                  <a:cubicBezTo>
                    <a:pt x="419" y="106"/>
                    <a:pt x="419" y="105"/>
                    <a:pt x="419" y="104"/>
                  </a:cubicBezTo>
                  <a:cubicBezTo>
                    <a:pt x="419" y="104"/>
                    <a:pt x="419" y="104"/>
                    <a:pt x="419" y="103"/>
                  </a:cubicBezTo>
                  <a:cubicBezTo>
                    <a:pt x="420" y="103"/>
                    <a:pt x="419" y="102"/>
                    <a:pt x="419" y="102"/>
                  </a:cubicBezTo>
                  <a:cubicBezTo>
                    <a:pt x="418" y="101"/>
                    <a:pt x="417" y="101"/>
                    <a:pt x="416" y="101"/>
                  </a:cubicBezTo>
                  <a:cubicBezTo>
                    <a:pt x="416" y="101"/>
                    <a:pt x="416" y="101"/>
                    <a:pt x="416" y="100"/>
                  </a:cubicBezTo>
                  <a:cubicBezTo>
                    <a:pt x="416" y="100"/>
                    <a:pt x="416" y="100"/>
                    <a:pt x="416" y="100"/>
                  </a:cubicBezTo>
                  <a:cubicBezTo>
                    <a:pt x="416" y="99"/>
                    <a:pt x="416" y="99"/>
                    <a:pt x="416" y="98"/>
                  </a:cubicBezTo>
                  <a:cubicBezTo>
                    <a:pt x="415" y="98"/>
                    <a:pt x="415" y="97"/>
                    <a:pt x="414" y="97"/>
                  </a:cubicBezTo>
                  <a:cubicBezTo>
                    <a:pt x="413" y="97"/>
                    <a:pt x="413" y="97"/>
                    <a:pt x="413" y="98"/>
                  </a:cubicBezTo>
                  <a:cubicBezTo>
                    <a:pt x="412" y="97"/>
                    <a:pt x="411" y="96"/>
                    <a:pt x="409" y="96"/>
                  </a:cubicBezTo>
                  <a:cubicBezTo>
                    <a:pt x="409" y="96"/>
                    <a:pt x="409" y="96"/>
                    <a:pt x="409" y="96"/>
                  </a:cubicBezTo>
                  <a:cubicBezTo>
                    <a:pt x="409" y="96"/>
                    <a:pt x="408" y="96"/>
                    <a:pt x="408" y="96"/>
                  </a:cubicBezTo>
                  <a:cubicBezTo>
                    <a:pt x="408" y="95"/>
                    <a:pt x="407" y="94"/>
                    <a:pt x="406" y="94"/>
                  </a:cubicBezTo>
                  <a:cubicBezTo>
                    <a:pt x="406" y="94"/>
                    <a:pt x="406" y="93"/>
                    <a:pt x="406" y="93"/>
                  </a:cubicBezTo>
                  <a:cubicBezTo>
                    <a:pt x="405" y="92"/>
                    <a:pt x="403" y="92"/>
                    <a:pt x="402" y="93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1" y="94"/>
                    <a:pt x="400" y="94"/>
                    <a:pt x="400" y="95"/>
                  </a:cubicBezTo>
                  <a:cubicBezTo>
                    <a:pt x="399" y="95"/>
                    <a:pt x="399" y="96"/>
                    <a:pt x="400" y="97"/>
                  </a:cubicBezTo>
                  <a:cubicBezTo>
                    <a:pt x="399" y="97"/>
                    <a:pt x="399" y="98"/>
                    <a:pt x="399" y="98"/>
                  </a:cubicBezTo>
                  <a:cubicBezTo>
                    <a:pt x="399" y="99"/>
                    <a:pt x="399" y="99"/>
                    <a:pt x="398" y="99"/>
                  </a:cubicBezTo>
                  <a:cubicBezTo>
                    <a:pt x="398" y="99"/>
                    <a:pt x="398" y="100"/>
                    <a:pt x="398" y="100"/>
                  </a:cubicBezTo>
                  <a:cubicBezTo>
                    <a:pt x="398" y="99"/>
                    <a:pt x="398" y="99"/>
                    <a:pt x="398" y="99"/>
                  </a:cubicBezTo>
                  <a:cubicBezTo>
                    <a:pt x="398" y="98"/>
                    <a:pt x="398" y="98"/>
                    <a:pt x="398" y="98"/>
                  </a:cubicBezTo>
                  <a:cubicBezTo>
                    <a:pt x="399" y="98"/>
                    <a:pt x="399" y="97"/>
                    <a:pt x="399" y="97"/>
                  </a:cubicBezTo>
                  <a:cubicBezTo>
                    <a:pt x="399" y="96"/>
                    <a:pt x="399" y="96"/>
                    <a:pt x="399" y="96"/>
                  </a:cubicBezTo>
                  <a:cubicBezTo>
                    <a:pt x="398" y="95"/>
                    <a:pt x="398" y="95"/>
                    <a:pt x="397" y="95"/>
                  </a:cubicBezTo>
                  <a:cubicBezTo>
                    <a:pt x="397" y="95"/>
                    <a:pt x="396" y="95"/>
                    <a:pt x="396" y="96"/>
                  </a:cubicBezTo>
                  <a:cubicBezTo>
                    <a:pt x="396" y="95"/>
                    <a:pt x="396" y="95"/>
                    <a:pt x="396" y="95"/>
                  </a:cubicBezTo>
                  <a:cubicBezTo>
                    <a:pt x="396" y="94"/>
                    <a:pt x="396" y="93"/>
                    <a:pt x="395" y="93"/>
                  </a:cubicBezTo>
                  <a:cubicBezTo>
                    <a:pt x="395" y="92"/>
                    <a:pt x="394" y="92"/>
                    <a:pt x="394" y="92"/>
                  </a:cubicBezTo>
                  <a:cubicBezTo>
                    <a:pt x="393" y="92"/>
                    <a:pt x="392" y="92"/>
                    <a:pt x="392" y="92"/>
                  </a:cubicBezTo>
                  <a:cubicBezTo>
                    <a:pt x="390" y="92"/>
                    <a:pt x="390" y="93"/>
                    <a:pt x="390" y="94"/>
                  </a:cubicBezTo>
                  <a:cubicBezTo>
                    <a:pt x="390" y="94"/>
                    <a:pt x="390" y="94"/>
                    <a:pt x="390" y="95"/>
                  </a:cubicBezTo>
                  <a:cubicBezTo>
                    <a:pt x="390" y="95"/>
                    <a:pt x="390" y="95"/>
                    <a:pt x="390" y="95"/>
                  </a:cubicBezTo>
                  <a:cubicBezTo>
                    <a:pt x="389" y="94"/>
                    <a:pt x="387" y="94"/>
                    <a:pt x="386" y="95"/>
                  </a:cubicBezTo>
                  <a:cubicBezTo>
                    <a:pt x="386" y="95"/>
                    <a:pt x="386" y="95"/>
                    <a:pt x="386" y="95"/>
                  </a:cubicBezTo>
                  <a:cubicBezTo>
                    <a:pt x="385" y="96"/>
                    <a:pt x="385" y="96"/>
                    <a:pt x="385" y="97"/>
                  </a:cubicBezTo>
                  <a:cubicBezTo>
                    <a:pt x="384" y="97"/>
                    <a:pt x="384" y="97"/>
                    <a:pt x="384" y="96"/>
                  </a:cubicBezTo>
                  <a:cubicBezTo>
                    <a:pt x="383" y="96"/>
                    <a:pt x="383" y="96"/>
                    <a:pt x="383" y="96"/>
                  </a:cubicBezTo>
                  <a:cubicBezTo>
                    <a:pt x="382" y="95"/>
                    <a:pt x="382" y="95"/>
                    <a:pt x="382" y="95"/>
                  </a:cubicBezTo>
                  <a:cubicBezTo>
                    <a:pt x="381" y="95"/>
                    <a:pt x="381" y="96"/>
                    <a:pt x="381" y="96"/>
                  </a:cubicBezTo>
                  <a:cubicBezTo>
                    <a:pt x="380" y="96"/>
                    <a:pt x="380" y="96"/>
                    <a:pt x="380" y="96"/>
                  </a:cubicBezTo>
                  <a:cubicBezTo>
                    <a:pt x="380" y="96"/>
                    <a:pt x="380" y="97"/>
                    <a:pt x="380" y="97"/>
                  </a:cubicBezTo>
                  <a:cubicBezTo>
                    <a:pt x="379" y="97"/>
                    <a:pt x="379" y="97"/>
                    <a:pt x="379" y="97"/>
                  </a:cubicBezTo>
                  <a:cubicBezTo>
                    <a:pt x="379" y="97"/>
                    <a:pt x="379" y="97"/>
                    <a:pt x="379" y="97"/>
                  </a:cubicBezTo>
                  <a:cubicBezTo>
                    <a:pt x="378" y="97"/>
                    <a:pt x="378" y="97"/>
                    <a:pt x="377" y="97"/>
                  </a:cubicBezTo>
                  <a:cubicBezTo>
                    <a:pt x="377" y="97"/>
                    <a:pt x="376" y="97"/>
                    <a:pt x="375" y="98"/>
                  </a:cubicBezTo>
                  <a:cubicBezTo>
                    <a:pt x="375" y="98"/>
                    <a:pt x="374" y="98"/>
                    <a:pt x="374" y="99"/>
                  </a:cubicBezTo>
                  <a:cubicBezTo>
                    <a:pt x="373" y="99"/>
                    <a:pt x="373" y="100"/>
                    <a:pt x="373" y="101"/>
                  </a:cubicBezTo>
                  <a:cubicBezTo>
                    <a:pt x="374" y="102"/>
                    <a:pt x="374" y="102"/>
                    <a:pt x="374" y="102"/>
                  </a:cubicBezTo>
                  <a:cubicBezTo>
                    <a:pt x="374" y="102"/>
                    <a:pt x="374" y="102"/>
                    <a:pt x="374" y="102"/>
                  </a:cubicBezTo>
                  <a:cubicBezTo>
                    <a:pt x="375" y="102"/>
                    <a:pt x="375" y="102"/>
                    <a:pt x="375" y="102"/>
                  </a:cubicBezTo>
                  <a:cubicBezTo>
                    <a:pt x="375" y="102"/>
                    <a:pt x="375" y="102"/>
                    <a:pt x="375" y="102"/>
                  </a:cubicBezTo>
                  <a:cubicBezTo>
                    <a:pt x="375" y="103"/>
                    <a:pt x="375" y="103"/>
                    <a:pt x="375" y="104"/>
                  </a:cubicBezTo>
                  <a:cubicBezTo>
                    <a:pt x="375" y="104"/>
                    <a:pt x="375" y="104"/>
                    <a:pt x="375" y="104"/>
                  </a:cubicBezTo>
                  <a:cubicBezTo>
                    <a:pt x="375" y="104"/>
                    <a:pt x="375" y="104"/>
                    <a:pt x="375" y="104"/>
                  </a:cubicBezTo>
                  <a:cubicBezTo>
                    <a:pt x="375" y="104"/>
                    <a:pt x="375" y="104"/>
                    <a:pt x="375" y="104"/>
                  </a:cubicBezTo>
                  <a:cubicBezTo>
                    <a:pt x="374" y="104"/>
                    <a:pt x="374" y="104"/>
                    <a:pt x="374" y="104"/>
                  </a:cubicBezTo>
                  <a:cubicBezTo>
                    <a:pt x="374" y="103"/>
                    <a:pt x="373" y="103"/>
                    <a:pt x="372" y="103"/>
                  </a:cubicBezTo>
                  <a:cubicBezTo>
                    <a:pt x="372" y="103"/>
                    <a:pt x="371" y="103"/>
                    <a:pt x="371" y="103"/>
                  </a:cubicBezTo>
                  <a:cubicBezTo>
                    <a:pt x="370" y="103"/>
                    <a:pt x="370" y="103"/>
                    <a:pt x="369" y="104"/>
                  </a:cubicBezTo>
                  <a:cubicBezTo>
                    <a:pt x="369" y="104"/>
                    <a:pt x="368" y="104"/>
                    <a:pt x="368" y="105"/>
                  </a:cubicBezTo>
                  <a:cubicBezTo>
                    <a:pt x="368" y="105"/>
                    <a:pt x="369" y="106"/>
                    <a:pt x="369" y="106"/>
                  </a:cubicBezTo>
                  <a:cubicBezTo>
                    <a:pt x="368" y="106"/>
                    <a:pt x="367" y="106"/>
                    <a:pt x="367" y="108"/>
                  </a:cubicBezTo>
                  <a:cubicBezTo>
                    <a:pt x="367" y="108"/>
                    <a:pt x="366" y="108"/>
                    <a:pt x="366" y="108"/>
                  </a:cubicBezTo>
                  <a:cubicBezTo>
                    <a:pt x="365" y="109"/>
                    <a:pt x="365" y="109"/>
                    <a:pt x="365" y="109"/>
                  </a:cubicBezTo>
                  <a:cubicBezTo>
                    <a:pt x="365" y="109"/>
                    <a:pt x="365" y="109"/>
                    <a:pt x="365" y="109"/>
                  </a:cubicBezTo>
                  <a:cubicBezTo>
                    <a:pt x="365" y="108"/>
                    <a:pt x="365" y="108"/>
                    <a:pt x="365" y="108"/>
                  </a:cubicBezTo>
                  <a:cubicBezTo>
                    <a:pt x="364" y="107"/>
                    <a:pt x="364" y="107"/>
                    <a:pt x="363" y="107"/>
                  </a:cubicBezTo>
                  <a:cubicBezTo>
                    <a:pt x="363" y="107"/>
                    <a:pt x="363" y="107"/>
                    <a:pt x="363" y="107"/>
                  </a:cubicBezTo>
                  <a:cubicBezTo>
                    <a:pt x="362" y="107"/>
                    <a:pt x="361" y="108"/>
                    <a:pt x="361" y="108"/>
                  </a:cubicBezTo>
                  <a:cubicBezTo>
                    <a:pt x="361" y="108"/>
                    <a:pt x="361" y="108"/>
                    <a:pt x="361" y="108"/>
                  </a:cubicBezTo>
                  <a:cubicBezTo>
                    <a:pt x="361" y="108"/>
                    <a:pt x="361" y="108"/>
                    <a:pt x="361" y="108"/>
                  </a:cubicBezTo>
                  <a:cubicBezTo>
                    <a:pt x="361" y="109"/>
                    <a:pt x="360" y="109"/>
                    <a:pt x="360" y="109"/>
                  </a:cubicBezTo>
                  <a:cubicBezTo>
                    <a:pt x="360" y="109"/>
                    <a:pt x="360" y="109"/>
                    <a:pt x="360" y="109"/>
                  </a:cubicBezTo>
                  <a:cubicBezTo>
                    <a:pt x="360" y="109"/>
                    <a:pt x="360" y="109"/>
                    <a:pt x="360" y="109"/>
                  </a:cubicBezTo>
                  <a:cubicBezTo>
                    <a:pt x="360" y="108"/>
                    <a:pt x="360" y="107"/>
                    <a:pt x="360" y="107"/>
                  </a:cubicBezTo>
                  <a:cubicBezTo>
                    <a:pt x="360" y="106"/>
                    <a:pt x="359" y="105"/>
                    <a:pt x="358" y="105"/>
                  </a:cubicBezTo>
                  <a:cubicBezTo>
                    <a:pt x="357" y="105"/>
                    <a:pt x="357" y="105"/>
                    <a:pt x="357" y="105"/>
                  </a:cubicBezTo>
                  <a:cubicBezTo>
                    <a:pt x="357" y="105"/>
                    <a:pt x="357" y="105"/>
                    <a:pt x="357" y="105"/>
                  </a:cubicBezTo>
                  <a:cubicBezTo>
                    <a:pt x="357" y="101"/>
                    <a:pt x="357" y="101"/>
                    <a:pt x="357" y="101"/>
                  </a:cubicBezTo>
                  <a:cubicBezTo>
                    <a:pt x="354" y="108"/>
                    <a:pt x="354" y="108"/>
                    <a:pt x="354" y="108"/>
                  </a:cubicBezTo>
                  <a:cubicBezTo>
                    <a:pt x="353" y="108"/>
                    <a:pt x="353" y="108"/>
                    <a:pt x="352" y="109"/>
                  </a:cubicBezTo>
                  <a:cubicBezTo>
                    <a:pt x="352" y="109"/>
                    <a:pt x="352" y="109"/>
                    <a:pt x="352" y="109"/>
                  </a:cubicBezTo>
                  <a:cubicBezTo>
                    <a:pt x="352" y="109"/>
                    <a:pt x="351" y="110"/>
                    <a:pt x="351" y="112"/>
                  </a:cubicBezTo>
                  <a:cubicBezTo>
                    <a:pt x="350" y="111"/>
                    <a:pt x="349" y="111"/>
                    <a:pt x="348" y="111"/>
                  </a:cubicBezTo>
                  <a:cubicBezTo>
                    <a:pt x="348" y="111"/>
                    <a:pt x="348" y="111"/>
                    <a:pt x="348" y="111"/>
                  </a:cubicBezTo>
                  <a:cubicBezTo>
                    <a:pt x="347" y="111"/>
                    <a:pt x="347" y="112"/>
                    <a:pt x="347" y="112"/>
                  </a:cubicBezTo>
                  <a:cubicBezTo>
                    <a:pt x="346" y="112"/>
                    <a:pt x="346" y="112"/>
                    <a:pt x="346" y="113"/>
                  </a:cubicBezTo>
                  <a:cubicBezTo>
                    <a:pt x="345" y="113"/>
                    <a:pt x="345" y="113"/>
                    <a:pt x="344" y="113"/>
                  </a:cubicBezTo>
                  <a:cubicBezTo>
                    <a:pt x="343" y="114"/>
                    <a:pt x="344" y="115"/>
                    <a:pt x="344" y="116"/>
                  </a:cubicBezTo>
                  <a:cubicBezTo>
                    <a:pt x="345" y="116"/>
                    <a:pt x="345" y="116"/>
                    <a:pt x="345" y="116"/>
                  </a:cubicBezTo>
                  <a:cubicBezTo>
                    <a:pt x="345" y="116"/>
                    <a:pt x="345" y="116"/>
                    <a:pt x="345" y="116"/>
                  </a:cubicBezTo>
                  <a:cubicBezTo>
                    <a:pt x="344" y="116"/>
                    <a:pt x="344" y="116"/>
                    <a:pt x="344" y="116"/>
                  </a:cubicBezTo>
                  <a:cubicBezTo>
                    <a:pt x="344" y="117"/>
                    <a:pt x="344" y="117"/>
                    <a:pt x="344" y="117"/>
                  </a:cubicBezTo>
                  <a:cubicBezTo>
                    <a:pt x="343" y="118"/>
                    <a:pt x="343" y="119"/>
                    <a:pt x="343" y="120"/>
                  </a:cubicBezTo>
                  <a:cubicBezTo>
                    <a:pt x="343" y="121"/>
                    <a:pt x="343" y="121"/>
                    <a:pt x="343" y="121"/>
                  </a:cubicBezTo>
                  <a:cubicBezTo>
                    <a:pt x="344" y="121"/>
                    <a:pt x="344" y="121"/>
                    <a:pt x="344" y="121"/>
                  </a:cubicBezTo>
                  <a:cubicBezTo>
                    <a:pt x="344" y="121"/>
                    <a:pt x="343" y="122"/>
                    <a:pt x="343" y="122"/>
                  </a:cubicBezTo>
                  <a:cubicBezTo>
                    <a:pt x="343" y="122"/>
                    <a:pt x="343" y="121"/>
                    <a:pt x="343" y="121"/>
                  </a:cubicBezTo>
                  <a:cubicBezTo>
                    <a:pt x="342" y="120"/>
                    <a:pt x="342" y="120"/>
                    <a:pt x="341" y="120"/>
                  </a:cubicBezTo>
                  <a:cubicBezTo>
                    <a:pt x="341" y="120"/>
                    <a:pt x="341" y="120"/>
                    <a:pt x="340" y="120"/>
                  </a:cubicBezTo>
                  <a:cubicBezTo>
                    <a:pt x="341" y="119"/>
                    <a:pt x="341" y="118"/>
                    <a:pt x="341" y="118"/>
                  </a:cubicBezTo>
                  <a:cubicBezTo>
                    <a:pt x="340" y="118"/>
                    <a:pt x="340" y="118"/>
                    <a:pt x="340" y="118"/>
                  </a:cubicBezTo>
                  <a:cubicBezTo>
                    <a:pt x="341" y="117"/>
                    <a:pt x="341" y="117"/>
                    <a:pt x="341" y="117"/>
                  </a:cubicBezTo>
                  <a:cubicBezTo>
                    <a:pt x="341" y="117"/>
                    <a:pt x="341" y="115"/>
                    <a:pt x="340" y="115"/>
                  </a:cubicBezTo>
                  <a:cubicBezTo>
                    <a:pt x="339" y="114"/>
                    <a:pt x="338" y="114"/>
                    <a:pt x="337" y="116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337" y="117"/>
                    <a:pt x="337" y="117"/>
                    <a:pt x="337" y="118"/>
                  </a:cubicBezTo>
                  <a:cubicBezTo>
                    <a:pt x="336" y="118"/>
                    <a:pt x="336" y="118"/>
                    <a:pt x="336" y="119"/>
                  </a:cubicBezTo>
                  <a:cubicBezTo>
                    <a:pt x="334" y="115"/>
                    <a:pt x="334" y="115"/>
                    <a:pt x="334" y="115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34" y="119"/>
                    <a:pt x="333" y="120"/>
                    <a:pt x="333" y="120"/>
                  </a:cubicBezTo>
                  <a:cubicBezTo>
                    <a:pt x="333" y="120"/>
                    <a:pt x="333" y="120"/>
                    <a:pt x="333" y="120"/>
                  </a:cubicBezTo>
                  <a:cubicBezTo>
                    <a:pt x="332" y="121"/>
                    <a:pt x="332" y="121"/>
                    <a:pt x="332" y="121"/>
                  </a:cubicBezTo>
                  <a:cubicBezTo>
                    <a:pt x="332" y="121"/>
                    <a:pt x="331" y="121"/>
                    <a:pt x="330" y="121"/>
                  </a:cubicBezTo>
                  <a:cubicBezTo>
                    <a:pt x="330" y="122"/>
                    <a:pt x="329" y="123"/>
                    <a:pt x="330" y="124"/>
                  </a:cubicBezTo>
                  <a:cubicBezTo>
                    <a:pt x="330" y="125"/>
                    <a:pt x="331" y="125"/>
                    <a:pt x="332" y="124"/>
                  </a:cubicBezTo>
                  <a:cubicBezTo>
                    <a:pt x="333" y="125"/>
                    <a:pt x="333" y="125"/>
                    <a:pt x="333" y="125"/>
                  </a:cubicBezTo>
                  <a:cubicBezTo>
                    <a:pt x="333" y="125"/>
                    <a:pt x="333" y="125"/>
                    <a:pt x="333" y="125"/>
                  </a:cubicBezTo>
                  <a:cubicBezTo>
                    <a:pt x="333" y="125"/>
                    <a:pt x="333" y="125"/>
                    <a:pt x="333" y="125"/>
                  </a:cubicBezTo>
                  <a:cubicBezTo>
                    <a:pt x="333" y="125"/>
                    <a:pt x="332" y="125"/>
                    <a:pt x="332" y="125"/>
                  </a:cubicBezTo>
                  <a:cubicBezTo>
                    <a:pt x="331" y="125"/>
                    <a:pt x="331" y="125"/>
                    <a:pt x="331" y="125"/>
                  </a:cubicBezTo>
                  <a:cubicBezTo>
                    <a:pt x="331" y="125"/>
                    <a:pt x="331" y="125"/>
                    <a:pt x="331" y="125"/>
                  </a:cubicBezTo>
                  <a:cubicBezTo>
                    <a:pt x="330" y="125"/>
                    <a:pt x="330" y="125"/>
                    <a:pt x="330" y="125"/>
                  </a:cubicBezTo>
                  <a:cubicBezTo>
                    <a:pt x="329" y="126"/>
                    <a:pt x="328" y="126"/>
                    <a:pt x="328" y="127"/>
                  </a:cubicBezTo>
                  <a:cubicBezTo>
                    <a:pt x="328" y="127"/>
                    <a:pt x="328" y="127"/>
                    <a:pt x="327" y="126"/>
                  </a:cubicBezTo>
                  <a:cubicBezTo>
                    <a:pt x="327" y="126"/>
                    <a:pt x="326" y="126"/>
                    <a:pt x="326" y="126"/>
                  </a:cubicBezTo>
                  <a:cubicBezTo>
                    <a:pt x="325" y="126"/>
                    <a:pt x="324" y="127"/>
                    <a:pt x="324" y="127"/>
                  </a:cubicBezTo>
                  <a:cubicBezTo>
                    <a:pt x="323" y="128"/>
                    <a:pt x="323" y="129"/>
                    <a:pt x="323" y="130"/>
                  </a:cubicBezTo>
                  <a:cubicBezTo>
                    <a:pt x="324" y="131"/>
                    <a:pt x="324" y="131"/>
                    <a:pt x="325" y="131"/>
                  </a:cubicBezTo>
                  <a:cubicBezTo>
                    <a:pt x="325" y="131"/>
                    <a:pt x="325" y="131"/>
                    <a:pt x="325" y="131"/>
                  </a:cubicBezTo>
                  <a:cubicBezTo>
                    <a:pt x="326" y="131"/>
                    <a:pt x="326" y="131"/>
                    <a:pt x="326" y="130"/>
                  </a:cubicBezTo>
                  <a:cubicBezTo>
                    <a:pt x="326" y="129"/>
                    <a:pt x="326" y="129"/>
                    <a:pt x="326" y="129"/>
                  </a:cubicBezTo>
                  <a:cubicBezTo>
                    <a:pt x="326" y="129"/>
                    <a:pt x="326" y="129"/>
                    <a:pt x="326" y="129"/>
                  </a:cubicBezTo>
                  <a:cubicBezTo>
                    <a:pt x="327" y="130"/>
                    <a:pt x="327" y="130"/>
                    <a:pt x="327" y="130"/>
                  </a:cubicBezTo>
                  <a:cubicBezTo>
                    <a:pt x="327" y="130"/>
                    <a:pt x="328" y="130"/>
                    <a:pt x="328" y="129"/>
                  </a:cubicBezTo>
                  <a:cubicBezTo>
                    <a:pt x="328" y="129"/>
                    <a:pt x="328" y="129"/>
                    <a:pt x="328" y="129"/>
                  </a:cubicBezTo>
                  <a:cubicBezTo>
                    <a:pt x="329" y="130"/>
                    <a:pt x="329" y="130"/>
                    <a:pt x="329" y="130"/>
                  </a:cubicBezTo>
                  <a:cubicBezTo>
                    <a:pt x="329" y="130"/>
                    <a:pt x="329" y="130"/>
                    <a:pt x="329" y="130"/>
                  </a:cubicBezTo>
                  <a:cubicBezTo>
                    <a:pt x="330" y="130"/>
                    <a:pt x="330" y="130"/>
                    <a:pt x="330" y="130"/>
                  </a:cubicBezTo>
                  <a:cubicBezTo>
                    <a:pt x="330" y="130"/>
                    <a:pt x="331" y="130"/>
                    <a:pt x="331" y="130"/>
                  </a:cubicBezTo>
                  <a:cubicBezTo>
                    <a:pt x="331" y="130"/>
                    <a:pt x="331" y="130"/>
                    <a:pt x="331" y="130"/>
                  </a:cubicBezTo>
                  <a:cubicBezTo>
                    <a:pt x="332" y="130"/>
                    <a:pt x="332" y="129"/>
                    <a:pt x="332" y="129"/>
                  </a:cubicBezTo>
                  <a:cubicBezTo>
                    <a:pt x="333" y="129"/>
                    <a:pt x="333" y="129"/>
                    <a:pt x="334" y="128"/>
                  </a:cubicBezTo>
                  <a:cubicBezTo>
                    <a:pt x="334" y="128"/>
                    <a:pt x="334" y="128"/>
                    <a:pt x="334" y="127"/>
                  </a:cubicBezTo>
                  <a:cubicBezTo>
                    <a:pt x="334" y="128"/>
                    <a:pt x="334" y="128"/>
                    <a:pt x="334" y="128"/>
                  </a:cubicBezTo>
                  <a:cubicBezTo>
                    <a:pt x="333" y="131"/>
                    <a:pt x="333" y="131"/>
                    <a:pt x="333" y="131"/>
                  </a:cubicBezTo>
                  <a:cubicBezTo>
                    <a:pt x="333" y="131"/>
                    <a:pt x="333" y="131"/>
                    <a:pt x="333" y="131"/>
                  </a:cubicBezTo>
                  <a:cubicBezTo>
                    <a:pt x="332" y="131"/>
                    <a:pt x="330" y="131"/>
                    <a:pt x="330" y="133"/>
                  </a:cubicBezTo>
                  <a:cubicBezTo>
                    <a:pt x="330" y="133"/>
                    <a:pt x="330" y="134"/>
                    <a:pt x="331" y="135"/>
                  </a:cubicBezTo>
                  <a:cubicBezTo>
                    <a:pt x="330" y="135"/>
                    <a:pt x="330" y="135"/>
                    <a:pt x="329" y="136"/>
                  </a:cubicBezTo>
                  <a:cubicBezTo>
                    <a:pt x="329" y="136"/>
                    <a:pt x="328" y="137"/>
                    <a:pt x="328" y="137"/>
                  </a:cubicBezTo>
                  <a:cubicBezTo>
                    <a:pt x="327" y="137"/>
                    <a:pt x="327" y="137"/>
                    <a:pt x="326" y="138"/>
                  </a:cubicBezTo>
                  <a:cubicBezTo>
                    <a:pt x="326" y="139"/>
                    <a:pt x="326" y="140"/>
                    <a:pt x="326" y="141"/>
                  </a:cubicBezTo>
                  <a:cubicBezTo>
                    <a:pt x="326" y="141"/>
                    <a:pt x="326" y="141"/>
                    <a:pt x="326" y="141"/>
                  </a:cubicBezTo>
                  <a:cubicBezTo>
                    <a:pt x="326" y="141"/>
                    <a:pt x="326" y="141"/>
                    <a:pt x="326" y="141"/>
                  </a:cubicBezTo>
                  <a:cubicBezTo>
                    <a:pt x="326" y="141"/>
                    <a:pt x="325" y="141"/>
                    <a:pt x="324" y="141"/>
                  </a:cubicBezTo>
                  <a:cubicBezTo>
                    <a:pt x="323" y="141"/>
                    <a:pt x="323" y="141"/>
                    <a:pt x="322" y="141"/>
                  </a:cubicBezTo>
                  <a:cubicBezTo>
                    <a:pt x="321" y="142"/>
                    <a:pt x="321" y="142"/>
                    <a:pt x="321" y="143"/>
                  </a:cubicBezTo>
                  <a:cubicBezTo>
                    <a:pt x="321" y="143"/>
                    <a:pt x="321" y="143"/>
                    <a:pt x="321" y="144"/>
                  </a:cubicBezTo>
                  <a:cubicBezTo>
                    <a:pt x="320" y="144"/>
                    <a:pt x="319" y="144"/>
                    <a:pt x="319" y="145"/>
                  </a:cubicBezTo>
                  <a:cubicBezTo>
                    <a:pt x="318" y="145"/>
                    <a:pt x="318" y="146"/>
                    <a:pt x="318" y="147"/>
                  </a:cubicBezTo>
                  <a:cubicBezTo>
                    <a:pt x="318" y="147"/>
                    <a:pt x="317" y="147"/>
                    <a:pt x="317" y="147"/>
                  </a:cubicBezTo>
                  <a:cubicBezTo>
                    <a:pt x="316" y="148"/>
                    <a:pt x="317" y="149"/>
                    <a:pt x="317" y="150"/>
                  </a:cubicBezTo>
                  <a:cubicBezTo>
                    <a:pt x="317" y="151"/>
                    <a:pt x="317" y="151"/>
                    <a:pt x="317" y="151"/>
                  </a:cubicBezTo>
                  <a:cubicBezTo>
                    <a:pt x="316" y="151"/>
                    <a:pt x="316" y="151"/>
                    <a:pt x="316" y="151"/>
                  </a:cubicBezTo>
                  <a:cubicBezTo>
                    <a:pt x="316" y="151"/>
                    <a:pt x="315" y="152"/>
                    <a:pt x="315" y="153"/>
                  </a:cubicBezTo>
                  <a:cubicBezTo>
                    <a:pt x="315" y="153"/>
                    <a:pt x="314" y="153"/>
                    <a:pt x="314" y="154"/>
                  </a:cubicBezTo>
                  <a:cubicBezTo>
                    <a:pt x="313" y="154"/>
                    <a:pt x="313" y="155"/>
                    <a:pt x="313" y="155"/>
                  </a:cubicBezTo>
                  <a:cubicBezTo>
                    <a:pt x="313" y="155"/>
                    <a:pt x="313" y="155"/>
                    <a:pt x="313" y="155"/>
                  </a:cubicBezTo>
                  <a:cubicBezTo>
                    <a:pt x="312" y="155"/>
                    <a:pt x="312" y="156"/>
                    <a:pt x="311" y="156"/>
                  </a:cubicBezTo>
                  <a:cubicBezTo>
                    <a:pt x="311" y="157"/>
                    <a:pt x="311" y="158"/>
                    <a:pt x="311" y="158"/>
                  </a:cubicBezTo>
                  <a:cubicBezTo>
                    <a:pt x="311" y="158"/>
                    <a:pt x="310" y="159"/>
                    <a:pt x="309" y="160"/>
                  </a:cubicBezTo>
                  <a:cubicBezTo>
                    <a:pt x="308" y="161"/>
                    <a:pt x="308" y="161"/>
                    <a:pt x="308" y="162"/>
                  </a:cubicBezTo>
                  <a:cubicBezTo>
                    <a:pt x="307" y="162"/>
                    <a:pt x="306" y="163"/>
                    <a:pt x="306" y="164"/>
                  </a:cubicBezTo>
                  <a:cubicBezTo>
                    <a:pt x="305" y="164"/>
                    <a:pt x="305" y="164"/>
                    <a:pt x="304" y="165"/>
                  </a:cubicBezTo>
                  <a:cubicBezTo>
                    <a:pt x="304" y="165"/>
                    <a:pt x="304" y="165"/>
                    <a:pt x="303" y="165"/>
                  </a:cubicBezTo>
                  <a:cubicBezTo>
                    <a:pt x="302" y="166"/>
                    <a:pt x="302" y="167"/>
                    <a:pt x="302" y="167"/>
                  </a:cubicBezTo>
                  <a:cubicBezTo>
                    <a:pt x="303" y="167"/>
                    <a:pt x="303" y="168"/>
                    <a:pt x="303" y="168"/>
                  </a:cubicBezTo>
                  <a:cubicBezTo>
                    <a:pt x="303" y="168"/>
                    <a:pt x="303" y="168"/>
                    <a:pt x="303" y="168"/>
                  </a:cubicBezTo>
                  <a:cubicBezTo>
                    <a:pt x="303" y="168"/>
                    <a:pt x="303" y="168"/>
                    <a:pt x="303" y="168"/>
                  </a:cubicBezTo>
                  <a:cubicBezTo>
                    <a:pt x="302" y="168"/>
                    <a:pt x="301" y="168"/>
                    <a:pt x="300" y="169"/>
                  </a:cubicBezTo>
                  <a:cubicBezTo>
                    <a:pt x="300" y="169"/>
                    <a:pt x="299" y="169"/>
                    <a:pt x="299" y="170"/>
                  </a:cubicBezTo>
                  <a:cubicBezTo>
                    <a:pt x="298" y="170"/>
                    <a:pt x="297" y="170"/>
                    <a:pt x="297" y="171"/>
                  </a:cubicBezTo>
                  <a:cubicBezTo>
                    <a:pt x="297" y="171"/>
                    <a:pt x="297" y="171"/>
                    <a:pt x="297" y="171"/>
                  </a:cubicBezTo>
                  <a:cubicBezTo>
                    <a:pt x="296" y="171"/>
                    <a:pt x="296" y="172"/>
                    <a:pt x="295" y="172"/>
                  </a:cubicBezTo>
                  <a:cubicBezTo>
                    <a:pt x="295" y="173"/>
                    <a:pt x="295" y="173"/>
                    <a:pt x="295" y="174"/>
                  </a:cubicBezTo>
                  <a:cubicBezTo>
                    <a:pt x="295" y="174"/>
                    <a:pt x="295" y="174"/>
                    <a:pt x="295" y="174"/>
                  </a:cubicBezTo>
                  <a:cubicBezTo>
                    <a:pt x="294" y="174"/>
                    <a:pt x="294" y="174"/>
                    <a:pt x="293" y="174"/>
                  </a:cubicBezTo>
                  <a:cubicBezTo>
                    <a:pt x="293" y="175"/>
                    <a:pt x="293" y="175"/>
                    <a:pt x="293" y="176"/>
                  </a:cubicBezTo>
                  <a:cubicBezTo>
                    <a:pt x="293" y="176"/>
                    <a:pt x="293" y="176"/>
                    <a:pt x="292" y="176"/>
                  </a:cubicBezTo>
                  <a:cubicBezTo>
                    <a:pt x="292" y="176"/>
                    <a:pt x="292" y="176"/>
                    <a:pt x="292" y="176"/>
                  </a:cubicBezTo>
                  <a:cubicBezTo>
                    <a:pt x="291" y="176"/>
                    <a:pt x="290" y="177"/>
                    <a:pt x="290" y="178"/>
                  </a:cubicBezTo>
                  <a:cubicBezTo>
                    <a:pt x="290" y="178"/>
                    <a:pt x="290" y="179"/>
                    <a:pt x="290" y="179"/>
                  </a:cubicBezTo>
                  <a:cubicBezTo>
                    <a:pt x="289" y="179"/>
                    <a:pt x="289" y="180"/>
                    <a:pt x="289" y="18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7" y="181"/>
                    <a:pt x="287" y="181"/>
                    <a:pt x="287" y="181"/>
                  </a:cubicBezTo>
                  <a:cubicBezTo>
                    <a:pt x="287" y="181"/>
                    <a:pt x="287" y="181"/>
                    <a:pt x="286" y="181"/>
                  </a:cubicBezTo>
                  <a:cubicBezTo>
                    <a:pt x="286" y="181"/>
                    <a:pt x="285" y="181"/>
                    <a:pt x="284" y="181"/>
                  </a:cubicBezTo>
                  <a:cubicBezTo>
                    <a:pt x="283" y="182"/>
                    <a:pt x="283" y="182"/>
                    <a:pt x="283" y="183"/>
                  </a:cubicBezTo>
                  <a:cubicBezTo>
                    <a:pt x="283" y="183"/>
                    <a:pt x="283" y="183"/>
                    <a:pt x="283" y="184"/>
                  </a:cubicBezTo>
                  <a:cubicBezTo>
                    <a:pt x="283" y="184"/>
                    <a:pt x="283" y="184"/>
                    <a:pt x="282" y="184"/>
                  </a:cubicBezTo>
                  <a:cubicBezTo>
                    <a:pt x="282" y="184"/>
                    <a:pt x="282" y="184"/>
                    <a:pt x="282" y="184"/>
                  </a:cubicBezTo>
                  <a:cubicBezTo>
                    <a:pt x="281" y="184"/>
                    <a:pt x="280" y="184"/>
                    <a:pt x="280" y="185"/>
                  </a:cubicBezTo>
                  <a:cubicBezTo>
                    <a:pt x="279" y="184"/>
                    <a:pt x="278" y="185"/>
                    <a:pt x="278" y="186"/>
                  </a:cubicBezTo>
                  <a:cubicBezTo>
                    <a:pt x="277" y="186"/>
                    <a:pt x="277" y="186"/>
                    <a:pt x="277" y="186"/>
                  </a:cubicBezTo>
                  <a:cubicBezTo>
                    <a:pt x="277" y="186"/>
                    <a:pt x="277" y="186"/>
                    <a:pt x="276" y="186"/>
                  </a:cubicBezTo>
                  <a:cubicBezTo>
                    <a:pt x="276" y="186"/>
                    <a:pt x="275" y="186"/>
                    <a:pt x="275" y="187"/>
                  </a:cubicBezTo>
                  <a:cubicBezTo>
                    <a:pt x="275" y="187"/>
                    <a:pt x="275" y="188"/>
                    <a:pt x="275" y="189"/>
                  </a:cubicBezTo>
                  <a:cubicBezTo>
                    <a:pt x="275" y="189"/>
                    <a:pt x="275" y="189"/>
                    <a:pt x="275" y="189"/>
                  </a:cubicBezTo>
                  <a:cubicBezTo>
                    <a:pt x="275" y="189"/>
                    <a:pt x="275" y="189"/>
                    <a:pt x="275" y="190"/>
                  </a:cubicBezTo>
                  <a:cubicBezTo>
                    <a:pt x="275" y="189"/>
                    <a:pt x="274" y="189"/>
                    <a:pt x="274" y="189"/>
                  </a:cubicBezTo>
                  <a:cubicBezTo>
                    <a:pt x="273" y="189"/>
                    <a:pt x="272" y="189"/>
                    <a:pt x="272" y="189"/>
                  </a:cubicBezTo>
                  <a:cubicBezTo>
                    <a:pt x="271" y="189"/>
                    <a:pt x="270" y="189"/>
                    <a:pt x="269" y="189"/>
                  </a:cubicBezTo>
                  <a:cubicBezTo>
                    <a:pt x="269" y="190"/>
                    <a:pt x="268" y="190"/>
                    <a:pt x="269" y="191"/>
                  </a:cubicBezTo>
                  <a:cubicBezTo>
                    <a:pt x="269" y="192"/>
                    <a:pt x="269" y="192"/>
                    <a:pt x="269" y="192"/>
                  </a:cubicBezTo>
                  <a:cubicBezTo>
                    <a:pt x="269" y="193"/>
                    <a:pt x="269" y="193"/>
                    <a:pt x="269" y="193"/>
                  </a:cubicBezTo>
                  <a:cubicBezTo>
                    <a:pt x="268" y="192"/>
                    <a:pt x="267" y="193"/>
                    <a:pt x="266" y="194"/>
                  </a:cubicBezTo>
                  <a:cubicBezTo>
                    <a:pt x="266" y="194"/>
                    <a:pt x="266" y="194"/>
                    <a:pt x="265" y="194"/>
                  </a:cubicBezTo>
                  <a:cubicBezTo>
                    <a:pt x="265" y="194"/>
                    <a:pt x="264" y="193"/>
                    <a:pt x="263" y="194"/>
                  </a:cubicBezTo>
                  <a:cubicBezTo>
                    <a:pt x="262" y="193"/>
                    <a:pt x="260" y="194"/>
                    <a:pt x="260" y="195"/>
                  </a:cubicBezTo>
                  <a:cubicBezTo>
                    <a:pt x="260" y="195"/>
                    <a:pt x="260" y="195"/>
                    <a:pt x="260" y="196"/>
                  </a:cubicBezTo>
                  <a:cubicBezTo>
                    <a:pt x="260" y="196"/>
                    <a:pt x="260" y="196"/>
                    <a:pt x="260" y="196"/>
                  </a:cubicBezTo>
                  <a:cubicBezTo>
                    <a:pt x="260" y="197"/>
                    <a:pt x="261" y="197"/>
                    <a:pt x="261" y="197"/>
                  </a:cubicBezTo>
                  <a:cubicBezTo>
                    <a:pt x="261" y="198"/>
                    <a:pt x="260" y="198"/>
                    <a:pt x="260" y="198"/>
                  </a:cubicBezTo>
                  <a:cubicBezTo>
                    <a:pt x="259" y="198"/>
                    <a:pt x="259" y="199"/>
                    <a:pt x="258" y="200"/>
                  </a:cubicBezTo>
                  <a:cubicBezTo>
                    <a:pt x="258" y="201"/>
                    <a:pt x="259" y="201"/>
                    <a:pt x="259" y="202"/>
                  </a:cubicBezTo>
                  <a:cubicBezTo>
                    <a:pt x="259" y="202"/>
                    <a:pt x="258" y="203"/>
                    <a:pt x="258" y="203"/>
                  </a:cubicBezTo>
                  <a:cubicBezTo>
                    <a:pt x="258" y="203"/>
                    <a:pt x="258" y="203"/>
                    <a:pt x="258" y="203"/>
                  </a:cubicBezTo>
                  <a:cubicBezTo>
                    <a:pt x="258" y="204"/>
                    <a:pt x="257" y="204"/>
                    <a:pt x="257" y="205"/>
                  </a:cubicBezTo>
                  <a:cubicBezTo>
                    <a:pt x="257" y="205"/>
                    <a:pt x="258" y="206"/>
                    <a:pt x="258" y="206"/>
                  </a:cubicBezTo>
                  <a:cubicBezTo>
                    <a:pt x="257" y="206"/>
                    <a:pt x="257" y="207"/>
                    <a:pt x="256" y="208"/>
                  </a:cubicBezTo>
                  <a:cubicBezTo>
                    <a:pt x="256" y="208"/>
                    <a:pt x="256" y="208"/>
                    <a:pt x="256" y="209"/>
                  </a:cubicBezTo>
                  <a:cubicBezTo>
                    <a:pt x="255" y="210"/>
                    <a:pt x="255" y="211"/>
                    <a:pt x="255" y="212"/>
                  </a:cubicBezTo>
                  <a:cubicBezTo>
                    <a:pt x="256" y="212"/>
                    <a:pt x="256" y="212"/>
                    <a:pt x="256" y="212"/>
                  </a:cubicBezTo>
                  <a:cubicBezTo>
                    <a:pt x="256" y="213"/>
                    <a:pt x="257" y="214"/>
                    <a:pt x="259" y="213"/>
                  </a:cubicBezTo>
                  <a:cubicBezTo>
                    <a:pt x="259" y="213"/>
                    <a:pt x="259" y="214"/>
                    <a:pt x="259" y="214"/>
                  </a:cubicBezTo>
                  <a:cubicBezTo>
                    <a:pt x="259" y="214"/>
                    <a:pt x="259" y="214"/>
                    <a:pt x="258" y="215"/>
                  </a:cubicBezTo>
                  <a:cubicBezTo>
                    <a:pt x="258" y="215"/>
                    <a:pt x="258" y="216"/>
                    <a:pt x="258" y="217"/>
                  </a:cubicBezTo>
                  <a:cubicBezTo>
                    <a:pt x="258" y="217"/>
                    <a:pt x="258" y="218"/>
                    <a:pt x="258" y="219"/>
                  </a:cubicBezTo>
                  <a:cubicBezTo>
                    <a:pt x="258" y="219"/>
                    <a:pt x="258" y="219"/>
                    <a:pt x="258" y="219"/>
                  </a:cubicBezTo>
                  <a:cubicBezTo>
                    <a:pt x="257" y="219"/>
                    <a:pt x="257" y="220"/>
                    <a:pt x="257" y="221"/>
                  </a:cubicBezTo>
                  <a:cubicBezTo>
                    <a:pt x="257" y="221"/>
                    <a:pt x="257" y="221"/>
                    <a:pt x="257" y="221"/>
                  </a:cubicBezTo>
                  <a:cubicBezTo>
                    <a:pt x="257" y="221"/>
                    <a:pt x="257" y="221"/>
                    <a:pt x="257" y="221"/>
                  </a:cubicBezTo>
                  <a:cubicBezTo>
                    <a:pt x="257" y="221"/>
                    <a:pt x="257" y="221"/>
                    <a:pt x="256" y="221"/>
                  </a:cubicBezTo>
                  <a:cubicBezTo>
                    <a:pt x="255" y="221"/>
                    <a:pt x="254" y="222"/>
                    <a:pt x="254" y="223"/>
                  </a:cubicBezTo>
                  <a:cubicBezTo>
                    <a:pt x="253" y="224"/>
                    <a:pt x="253" y="226"/>
                    <a:pt x="254" y="227"/>
                  </a:cubicBezTo>
                  <a:cubicBezTo>
                    <a:pt x="254" y="227"/>
                    <a:pt x="254" y="228"/>
                    <a:pt x="255" y="228"/>
                  </a:cubicBezTo>
                  <a:cubicBezTo>
                    <a:pt x="256" y="228"/>
                    <a:pt x="256" y="227"/>
                    <a:pt x="257" y="227"/>
                  </a:cubicBezTo>
                  <a:cubicBezTo>
                    <a:pt x="257" y="227"/>
                    <a:pt x="257" y="227"/>
                    <a:pt x="257" y="227"/>
                  </a:cubicBezTo>
                  <a:cubicBezTo>
                    <a:pt x="257" y="227"/>
                    <a:pt x="257" y="227"/>
                    <a:pt x="257" y="227"/>
                  </a:cubicBezTo>
                  <a:cubicBezTo>
                    <a:pt x="257" y="227"/>
                    <a:pt x="257" y="228"/>
                    <a:pt x="257" y="228"/>
                  </a:cubicBezTo>
                  <a:cubicBezTo>
                    <a:pt x="256" y="229"/>
                    <a:pt x="256" y="229"/>
                    <a:pt x="256" y="230"/>
                  </a:cubicBezTo>
                  <a:cubicBezTo>
                    <a:pt x="256" y="230"/>
                    <a:pt x="256" y="230"/>
                    <a:pt x="256" y="231"/>
                  </a:cubicBezTo>
                  <a:cubicBezTo>
                    <a:pt x="256" y="231"/>
                    <a:pt x="256" y="231"/>
                    <a:pt x="255" y="231"/>
                  </a:cubicBezTo>
                  <a:cubicBezTo>
                    <a:pt x="254" y="231"/>
                    <a:pt x="253" y="232"/>
                    <a:pt x="253" y="232"/>
                  </a:cubicBezTo>
                  <a:cubicBezTo>
                    <a:pt x="252" y="234"/>
                    <a:pt x="253" y="235"/>
                    <a:pt x="254" y="236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5" y="237"/>
                    <a:pt x="255" y="237"/>
                    <a:pt x="255" y="237"/>
                  </a:cubicBezTo>
                  <a:cubicBezTo>
                    <a:pt x="255" y="237"/>
                    <a:pt x="255" y="237"/>
                    <a:pt x="255" y="237"/>
                  </a:cubicBezTo>
                  <a:cubicBezTo>
                    <a:pt x="255" y="239"/>
                    <a:pt x="256" y="239"/>
                    <a:pt x="258" y="239"/>
                  </a:cubicBezTo>
                  <a:cubicBezTo>
                    <a:pt x="258" y="240"/>
                    <a:pt x="258" y="241"/>
                    <a:pt x="259" y="241"/>
                  </a:cubicBezTo>
                  <a:cubicBezTo>
                    <a:pt x="259" y="242"/>
                    <a:pt x="260" y="242"/>
                    <a:pt x="261" y="242"/>
                  </a:cubicBezTo>
                  <a:cubicBezTo>
                    <a:pt x="262" y="243"/>
                    <a:pt x="263" y="243"/>
                    <a:pt x="264" y="243"/>
                  </a:cubicBezTo>
                  <a:cubicBezTo>
                    <a:pt x="265" y="243"/>
                    <a:pt x="267" y="242"/>
                    <a:pt x="268" y="242"/>
                  </a:cubicBezTo>
                  <a:cubicBezTo>
                    <a:pt x="268" y="242"/>
                    <a:pt x="269" y="242"/>
                    <a:pt x="269" y="242"/>
                  </a:cubicBezTo>
                  <a:cubicBezTo>
                    <a:pt x="270" y="242"/>
                    <a:pt x="270" y="242"/>
                    <a:pt x="271" y="241"/>
                  </a:cubicBezTo>
                  <a:cubicBezTo>
                    <a:pt x="272" y="241"/>
                    <a:pt x="275" y="237"/>
                    <a:pt x="276" y="237"/>
                  </a:cubicBezTo>
                  <a:cubicBezTo>
                    <a:pt x="277" y="236"/>
                    <a:pt x="277" y="236"/>
                    <a:pt x="277" y="236"/>
                  </a:cubicBezTo>
                  <a:cubicBezTo>
                    <a:pt x="278" y="236"/>
                    <a:pt x="279" y="235"/>
                    <a:pt x="280" y="234"/>
                  </a:cubicBezTo>
                  <a:cubicBezTo>
                    <a:pt x="280" y="234"/>
                    <a:pt x="280" y="234"/>
                    <a:pt x="280" y="234"/>
                  </a:cubicBezTo>
                  <a:cubicBezTo>
                    <a:pt x="280" y="234"/>
                    <a:pt x="281" y="233"/>
                    <a:pt x="281" y="232"/>
                  </a:cubicBezTo>
                  <a:cubicBezTo>
                    <a:pt x="282" y="233"/>
                    <a:pt x="284" y="233"/>
                    <a:pt x="284" y="232"/>
                  </a:cubicBezTo>
                  <a:cubicBezTo>
                    <a:pt x="284" y="231"/>
                    <a:pt x="284" y="231"/>
                    <a:pt x="284" y="231"/>
                  </a:cubicBezTo>
                  <a:cubicBezTo>
                    <a:pt x="285" y="231"/>
                    <a:pt x="286" y="230"/>
                    <a:pt x="286" y="229"/>
                  </a:cubicBezTo>
                  <a:cubicBezTo>
                    <a:pt x="286" y="229"/>
                    <a:pt x="286" y="229"/>
                    <a:pt x="286" y="229"/>
                  </a:cubicBezTo>
                  <a:cubicBezTo>
                    <a:pt x="286" y="229"/>
                    <a:pt x="286" y="229"/>
                    <a:pt x="286" y="229"/>
                  </a:cubicBezTo>
                  <a:cubicBezTo>
                    <a:pt x="287" y="230"/>
                    <a:pt x="287" y="230"/>
                    <a:pt x="287" y="230"/>
                  </a:cubicBezTo>
                  <a:cubicBezTo>
                    <a:pt x="287" y="231"/>
                    <a:pt x="288" y="231"/>
                    <a:pt x="288" y="232"/>
                  </a:cubicBezTo>
                  <a:cubicBezTo>
                    <a:pt x="288" y="232"/>
                    <a:pt x="288" y="232"/>
                    <a:pt x="288" y="232"/>
                  </a:cubicBezTo>
                  <a:cubicBezTo>
                    <a:pt x="288" y="232"/>
                    <a:pt x="289" y="232"/>
                    <a:pt x="289" y="232"/>
                  </a:cubicBezTo>
                  <a:cubicBezTo>
                    <a:pt x="288" y="233"/>
                    <a:pt x="288" y="233"/>
                    <a:pt x="288" y="235"/>
                  </a:cubicBezTo>
                  <a:cubicBezTo>
                    <a:pt x="288" y="235"/>
                    <a:pt x="288" y="236"/>
                    <a:pt x="288" y="236"/>
                  </a:cubicBezTo>
                  <a:cubicBezTo>
                    <a:pt x="288" y="237"/>
                    <a:pt x="288" y="237"/>
                    <a:pt x="288" y="237"/>
                  </a:cubicBezTo>
                  <a:cubicBezTo>
                    <a:pt x="288" y="238"/>
                    <a:pt x="288" y="239"/>
                    <a:pt x="288" y="239"/>
                  </a:cubicBezTo>
                  <a:cubicBezTo>
                    <a:pt x="289" y="240"/>
                    <a:pt x="289" y="240"/>
                    <a:pt x="290" y="240"/>
                  </a:cubicBezTo>
                  <a:cubicBezTo>
                    <a:pt x="290" y="240"/>
                    <a:pt x="290" y="240"/>
                    <a:pt x="290" y="240"/>
                  </a:cubicBezTo>
                  <a:cubicBezTo>
                    <a:pt x="290" y="241"/>
                    <a:pt x="290" y="241"/>
                    <a:pt x="290" y="242"/>
                  </a:cubicBezTo>
                  <a:cubicBezTo>
                    <a:pt x="290" y="242"/>
                    <a:pt x="290" y="244"/>
                    <a:pt x="289" y="246"/>
                  </a:cubicBezTo>
                  <a:cubicBezTo>
                    <a:pt x="289" y="248"/>
                    <a:pt x="289" y="249"/>
                    <a:pt x="289" y="250"/>
                  </a:cubicBezTo>
                  <a:cubicBezTo>
                    <a:pt x="290" y="250"/>
                    <a:pt x="290" y="251"/>
                    <a:pt x="291" y="251"/>
                  </a:cubicBezTo>
                  <a:cubicBezTo>
                    <a:pt x="291" y="251"/>
                    <a:pt x="291" y="251"/>
                    <a:pt x="291" y="251"/>
                  </a:cubicBezTo>
                  <a:cubicBezTo>
                    <a:pt x="291" y="255"/>
                    <a:pt x="292" y="256"/>
                    <a:pt x="292" y="257"/>
                  </a:cubicBezTo>
                  <a:cubicBezTo>
                    <a:pt x="292" y="257"/>
                    <a:pt x="293" y="257"/>
                    <a:pt x="293" y="258"/>
                  </a:cubicBezTo>
                  <a:cubicBezTo>
                    <a:pt x="293" y="258"/>
                    <a:pt x="293" y="258"/>
                    <a:pt x="293" y="258"/>
                  </a:cubicBezTo>
                  <a:cubicBezTo>
                    <a:pt x="292" y="258"/>
                    <a:pt x="292" y="259"/>
                    <a:pt x="292" y="259"/>
                  </a:cubicBezTo>
                  <a:cubicBezTo>
                    <a:pt x="292" y="259"/>
                    <a:pt x="292" y="259"/>
                    <a:pt x="292" y="259"/>
                  </a:cubicBezTo>
                  <a:cubicBezTo>
                    <a:pt x="291" y="259"/>
                    <a:pt x="291" y="260"/>
                    <a:pt x="290" y="260"/>
                  </a:cubicBezTo>
                  <a:cubicBezTo>
                    <a:pt x="290" y="260"/>
                    <a:pt x="290" y="261"/>
                    <a:pt x="290" y="261"/>
                  </a:cubicBezTo>
                  <a:cubicBezTo>
                    <a:pt x="290" y="261"/>
                    <a:pt x="290" y="261"/>
                    <a:pt x="290" y="261"/>
                  </a:cubicBezTo>
                  <a:cubicBezTo>
                    <a:pt x="290" y="261"/>
                    <a:pt x="290" y="261"/>
                    <a:pt x="290" y="261"/>
                  </a:cubicBezTo>
                  <a:cubicBezTo>
                    <a:pt x="288" y="261"/>
                    <a:pt x="288" y="262"/>
                    <a:pt x="287" y="263"/>
                  </a:cubicBezTo>
                  <a:cubicBezTo>
                    <a:pt x="287" y="263"/>
                    <a:pt x="287" y="263"/>
                    <a:pt x="287" y="263"/>
                  </a:cubicBezTo>
                  <a:cubicBezTo>
                    <a:pt x="287" y="263"/>
                    <a:pt x="287" y="263"/>
                    <a:pt x="286" y="264"/>
                  </a:cubicBezTo>
                  <a:cubicBezTo>
                    <a:pt x="286" y="264"/>
                    <a:pt x="286" y="264"/>
                    <a:pt x="286" y="264"/>
                  </a:cubicBezTo>
                  <a:cubicBezTo>
                    <a:pt x="286" y="264"/>
                    <a:pt x="286" y="264"/>
                    <a:pt x="286" y="264"/>
                  </a:cubicBezTo>
                  <a:cubicBezTo>
                    <a:pt x="286" y="263"/>
                    <a:pt x="286" y="263"/>
                    <a:pt x="286" y="263"/>
                  </a:cubicBezTo>
                  <a:cubicBezTo>
                    <a:pt x="284" y="263"/>
                    <a:pt x="284" y="263"/>
                    <a:pt x="284" y="263"/>
                  </a:cubicBezTo>
                  <a:cubicBezTo>
                    <a:pt x="283" y="263"/>
                    <a:pt x="283" y="264"/>
                    <a:pt x="282" y="265"/>
                  </a:cubicBezTo>
                  <a:cubicBezTo>
                    <a:pt x="281" y="265"/>
                    <a:pt x="281" y="265"/>
                    <a:pt x="281" y="265"/>
                  </a:cubicBezTo>
                  <a:cubicBezTo>
                    <a:pt x="281" y="265"/>
                    <a:pt x="281" y="265"/>
                    <a:pt x="281" y="265"/>
                  </a:cubicBezTo>
                  <a:cubicBezTo>
                    <a:pt x="281" y="264"/>
                    <a:pt x="280" y="264"/>
                    <a:pt x="280" y="264"/>
                  </a:cubicBezTo>
                  <a:cubicBezTo>
                    <a:pt x="280" y="264"/>
                    <a:pt x="280" y="264"/>
                    <a:pt x="280" y="264"/>
                  </a:cubicBezTo>
                  <a:cubicBezTo>
                    <a:pt x="280" y="263"/>
                    <a:pt x="280" y="263"/>
                    <a:pt x="280" y="263"/>
                  </a:cubicBezTo>
                  <a:cubicBezTo>
                    <a:pt x="280" y="263"/>
                    <a:pt x="280" y="263"/>
                    <a:pt x="280" y="263"/>
                  </a:cubicBezTo>
                  <a:cubicBezTo>
                    <a:pt x="282" y="263"/>
                    <a:pt x="283" y="261"/>
                    <a:pt x="283" y="259"/>
                  </a:cubicBezTo>
                  <a:cubicBezTo>
                    <a:pt x="283" y="258"/>
                    <a:pt x="283" y="258"/>
                    <a:pt x="283" y="257"/>
                  </a:cubicBezTo>
                  <a:cubicBezTo>
                    <a:pt x="282" y="256"/>
                    <a:pt x="281" y="256"/>
                    <a:pt x="280" y="257"/>
                  </a:cubicBezTo>
                  <a:cubicBezTo>
                    <a:pt x="280" y="257"/>
                    <a:pt x="280" y="257"/>
                    <a:pt x="280" y="257"/>
                  </a:cubicBezTo>
                  <a:cubicBezTo>
                    <a:pt x="281" y="256"/>
                    <a:pt x="281" y="255"/>
                    <a:pt x="281" y="254"/>
                  </a:cubicBezTo>
                  <a:cubicBezTo>
                    <a:pt x="281" y="254"/>
                    <a:pt x="281" y="253"/>
                    <a:pt x="281" y="253"/>
                  </a:cubicBezTo>
                  <a:cubicBezTo>
                    <a:pt x="281" y="253"/>
                    <a:pt x="281" y="253"/>
                    <a:pt x="281" y="253"/>
                  </a:cubicBezTo>
                  <a:cubicBezTo>
                    <a:pt x="281" y="253"/>
                    <a:pt x="281" y="252"/>
                    <a:pt x="282" y="252"/>
                  </a:cubicBezTo>
                  <a:cubicBezTo>
                    <a:pt x="284" y="251"/>
                    <a:pt x="283" y="249"/>
                    <a:pt x="283" y="248"/>
                  </a:cubicBezTo>
                  <a:cubicBezTo>
                    <a:pt x="283" y="247"/>
                    <a:pt x="283" y="247"/>
                    <a:pt x="284" y="247"/>
                  </a:cubicBezTo>
                  <a:cubicBezTo>
                    <a:pt x="284" y="246"/>
                    <a:pt x="284" y="246"/>
                    <a:pt x="284" y="245"/>
                  </a:cubicBezTo>
                  <a:cubicBezTo>
                    <a:pt x="284" y="244"/>
                    <a:pt x="284" y="244"/>
                    <a:pt x="284" y="244"/>
                  </a:cubicBezTo>
                  <a:cubicBezTo>
                    <a:pt x="283" y="243"/>
                    <a:pt x="283" y="243"/>
                    <a:pt x="282" y="243"/>
                  </a:cubicBezTo>
                  <a:cubicBezTo>
                    <a:pt x="281" y="243"/>
                    <a:pt x="280" y="244"/>
                    <a:pt x="280" y="245"/>
                  </a:cubicBezTo>
                  <a:cubicBezTo>
                    <a:pt x="280" y="245"/>
                    <a:pt x="280" y="245"/>
                    <a:pt x="280" y="245"/>
                  </a:cubicBezTo>
                  <a:cubicBezTo>
                    <a:pt x="279" y="245"/>
                    <a:pt x="279" y="245"/>
                    <a:pt x="279" y="245"/>
                  </a:cubicBezTo>
                  <a:cubicBezTo>
                    <a:pt x="277" y="246"/>
                    <a:pt x="275" y="247"/>
                    <a:pt x="274" y="248"/>
                  </a:cubicBezTo>
                  <a:cubicBezTo>
                    <a:pt x="274" y="248"/>
                    <a:pt x="274" y="248"/>
                    <a:pt x="273" y="248"/>
                  </a:cubicBezTo>
                  <a:cubicBezTo>
                    <a:pt x="273" y="249"/>
                    <a:pt x="272" y="249"/>
                    <a:pt x="272" y="249"/>
                  </a:cubicBezTo>
                  <a:cubicBezTo>
                    <a:pt x="271" y="250"/>
                    <a:pt x="271" y="250"/>
                    <a:pt x="270" y="250"/>
                  </a:cubicBezTo>
                  <a:cubicBezTo>
                    <a:pt x="268" y="250"/>
                    <a:pt x="267" y="251"/>
                    <a:pt x="266" y="252"/>
                  </a:cubicBezTo>
                  <a:cubicBezTo>
                    <a:pt x="266" y="252"/>
                    <a:pt x="266" y="252"/>
                    <a:pt x="266" y="252"/>
                  </a:cubicBezTo>
                  <a:cubicBezTo>
                    <a:pt x="265" y="253"/>
                    <a:pt x="265" y="254"/>
                    <a:pt x="265" y="254"/>
                  </a:cubicBezTo>
                  <a:cubicBezTo>
                    <a:pt x="265" y="255"/>
                    <a:pt x="265" y="255"/>
                    <a:pt x="265" y="255"/>
                  </a:cubicBezTo>
                  <a:cubicBezTo>
                    <a:pt x="264" y="255"/>
                    <a:pt x="264" y="256"/>
                    <a:pt x="264" y="256"/>
                  </a:cubicBezTo>
                  <a:cubicBezTo>
                    <a:pt x="263" y="257"/>
                    <a:pt x="263" y="258"/>
                    <a:pt x="263" y="259"/>
                  </a:cubicBezTo>
                  <a:cubicBezTo>
                    <a:pt x="263" y="259"/>
                    <a:pt x="263" y="259"/>
                    <a:pt x="262" y="260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1" y="262"/>
                    <a:pt x="262" y="263"/>
                    <a:pt x="262" y="264"/>
                  </a:cubicBezTo>
                  <a:cubicBezTo>
                    <a:pt x="261" y="264"/>
                    <a:pt x="261" y="265"/>
                    <a:pt x="261" y="266"/>
                  </a:cubicBezTo>
                  <a:cubicBezTo>
                    <a:pt x="261" y="267"/>
                    <a:pt x="261" y="267"/>
                    <a:pt x="261" y="268"/>
                  </a:cubicBezTo>
                  <a:cubicBezTo>
                    <a:pt x="261" y="268"/>
                    <a:pt x="261" y="269"/>
                    <a:pt x="261" y="270"/>
                  </a:cubicBezTo>
                  <a:cubicBezTo>
                    <a:pt x="262" y="270"/>
                    <a:pt x="262" y="270"/>
                    <a:pt x="263" y="270"/>
                  </a:cubicBezTo>
                  <a:cubicBezTo>
                    <a:pt x="263" y="270"/>
                    <a:pt x="263" y="270"/>
                    <a:pt x="263" y="270"/>
                  </a:cubicBezTo>
                  <a:cubicBezTo>
                    <a:pt x="263" y="270"/>
                    <a:pt x="264" y="271"/>
                    <a:pt x="264" y="271"/>
                  </a:cubicBezTo>
                  <a:cubicBezTo>
                    <a:pt x="264" y="271"/>
                    <a:pt x="264" y="271"/>
                    <a:pt x="264" y="271"/>
                  </a:cubicBezTo>
                  <a:cubicBezTo>
                    <a:pt x="264" y="272"/>
                    <a:pt x="264" y="272"/>
                    <a:pt x="264" y="272"/>
                  </a:cubicBezTo>
                  <a:cubicBezTo>
                    <a:pt x="263" y="273"/>
                    <a:pt x="263" y="273"/>
                    <a:pt x="263" y="274"/>
                  </a:cubicBezTo>
                  <a:cubicBezTo>
                    <a:pt x="263" y="274"/>
                    <a:pt x="263" y="274"/>
                    <a:pt x="263" y="274"/>
                  </a:cubicBezTo>
                  <a:cubicBezTo>
                    <a:pt x="263" y="275"/>
                    <a:pt x="263" y="275"/>
                    <a:pt x="263" y="275"/>
                  </a:cubicBezTo>
                  <a:cubicBezTo>
                    <a:pt x="263" y="275"/>
                    <a:pt x="263" y="275"/>
                    <a:pt x="263" y="275"/>
                  </a:cubicBezTo>
                  <a:cubicBezTo>
                    <a:pt x="263" y="276"/>
                    <a:pt x="263" y="277"/>
                    <a:pt x="263" y="278"/>
                  </a:cubicBezTo>
                  <a:cubicBezTo>
                    <a:pt x="261" y="278"/>
                    <a:pt x="261" y="281"/>
                    <a:pt x="261" y="282"/>
                  </a:cubicBezTo>
                  <a:cubicBezTo>
                    <a:pt x="261" y="283"/>
                    <a:pt x="262" y="284"/>
                    <a:pt x="263" y="284"/>
                  </a:cubicBezTo>
                  <a:cubicBezTo>
                    <a:pt x="263" y="284"/>
                    <a:pt x="263" y="285"/>
                    <a:pt x="263" y="285"/>
                  </a:cubicBezTo>
                  <a:cubicBezTo>
                    <a:pt x="263" y="285"/>
                    <a:pt x="263" y="285"/>
                    <a:pt x="262" y="285"/>
                  </a:cubicBezTo>
                  <a:cubicBezTo>
                    <a:pt x="261" y="285"/>
                    <a:pt x="260" y="287"/>
                    <a:pt x="259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8" y="288"/>
                    <a:pt x="258" y="287"/>
                    <a:pt x="257" y="287"/>
                  </a:cubicBezTo>
                  <a:cubicBezTo>
                    <a:pt x="257" y="287"/>
                    <a:pt x="257" y="287"/>
                    <a:pt x="256" y="287"/>
                  </a:cubicBezTo>
                  <a:cubicBezTo>
                    <a:pt x="255" y="287"/>
                    <a:pt x="253" y="287"/>
                    <a:pt x="252" y="287"/>
                  </a:cubicBezTo>
                  <a:cubicBezTo>
                    <a:pt x="251" y="287"/>
                    <a:pt x="250" y="288"/>
                    <a:pt x="250" y="289"/>
                  </a:cubicBezTo>
                  <a:cubicBezTo>
                    <a:pt x="250" y="289"/>
                    <a:pt x="250" y="289"/>
                    <a:pt x="250" y="289"/>
                  </a:cubicBezTo>
                  <a:cubicBezTo>
                    <a:pt x="249" y="289"/>
                    <a:pt x="249" y="290"/>
                    <a:pt x="249" y="290"/>
                  </a:cubicBezTo>
                  <a:cubicBezTo>
                    <a:pt x="249" y="290"/>
                    <a:pt x="249" y="290"/>
                    <a:pt x="249" y="290"/>
                  </a:cubicBezTo>
                  <a:cubicBezTo>
                    <a:pt x="248" y="289"/>
                    <a:pt x="247" y="289"/>
                    <a:pt x="246" y="290"/>
                  </a:cubicBezTo>
                  <a:cubicBezTo>
                    <a:pt x="245" y="290"/>
                    <a:pt x="245" y="290"/>
                    <a:pt x="244" y="290"/>
                  </a:cubicBezTo>
                  <a:cubicBezTo>
                    <a:pt x="243" y="290"/>
                    <a:pt x="242" y="291"/>
                    <a:pt x="242" y="291"/>
                  </a:cubicBezTo>
                  <a:cubicBezTo>
                    <a:pt x="242" y="292"/>
                    <a:pt x="241" y="292"/>
                    <a:pt x="241" y="292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38" y="293"/>
                    <a:pt x="238" y="294"/>
                    <a:pt x="238" y="295"/>
                  </a:cubicBezTo>
                  <a:cubicBezTo>
                    <a:pt x="239" y="295"/>
                    <a:pt x="239" y="295"/>
                    <a:pt x="239" y="295"/>
                  </a:cubicBezTo>
                  <a:cubicBezTo>
                    <a:pt x="238" y="296"/>
                    <a:pt x="239" y="296"/>
                    <a:pt x="239" y="297"/>
                  </a:cubicBezTo>
                  <a:cubicBezTo>
                    <a:pt x="238" y="296"/>
                    <a:pt x="238" y="295"/>
                    <a:pt x="237" y="295"/>
                  </a:cubicBezTo>
                  <a:cubicBezTo>
                    <a:pt x="237" y="295"/>
                    <a:pt x="237" y="295"/>
                    <a:pt x="237" y="295"/>
                  </a:cubicBezTo>
                  <a:cubicBezTo>
                    <a:pt x="237" y="295"/>
                    <a:pt x="237" y="295"/>
                    <a:pt x="237" y="295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35" y="295"/>
                    <a:pt x="233" y="296"/>
                    <a:pt x="233" y="297"/>
                  </a:cubicBezTo>
                  <a:cubicBezTo>
                    <a:pt x="233" y="298"/>
                    <a:pt x="232" y="298"/>
                    <a:pt x="232" y="299"/>
                  </a:cubicBezTo>
                  <a:cubicBezTo>
                    <a:pt x="231" y="300"/>
                    <a:pt x="231" y="301"/>
                    <a:pt x="231" y="302"/>
                  </a:cubicBezTo>
                  <a:cubicBezTo>
                    <a:pt x="231" y="302"/>
                    <a:pt x="231" y="302"/>
                    <a:pt x="231" y="302"/>
                  </a:cubicBezTo>
                  <a:cubicBezTo>
                    <a:pt x="230" y="302"/>
                    <a:pt x="230" y="303"/>
                    <a:pt x="230" y="303"/>
                  </a:cubicBezTo>
                  <a:cubicBezTo>
                    <a:pt x="230" y="304"/>
                    <a:pt x="230" y="304"/>
                    <a:pt x="229" y="304"/>
                  </a:cubicBezTo>
                  <a:cubicBezTo>
                    <a:pt x="229" y="305"/>
                    <a:pt x="229" y="305"/>
                    <a:pt x="228" y="305"/>
                  </a:cubicBezTo>
                  <a:cubicBezTo>
                    <a:pt x="228" y="305"/>
                    <a:pt x="227" y="306"/>
                    <a:pt x="227" y="307"/>
                  </a:cubicBezTo>
                  <a:cubicBezTo>
                    <a:pt x="227" y="308"/>
                    <a:pt x="228" y="309"/>
                    <a:pt x="228" y="309"/>
                  </a:cubicBezTo>
                  <a:cubicBezTo>
                    <a:pt x="228" y="309"/>
                    <a:pt x="228" y="310"/>
                    <a:pt x="228" y="310"/>
                  </a:cubicBezTo>
                  <a:cubicBezTo>
                    <a:pt x="228" y="310"/>
                    <a:pt x="228" y="310"/>
                    <a:pt x="227" y="310"/>
                  </a:cubicBezTo>
                  <a:cubicBezTo>
                    <a:pt x="227" y="310"/>
                    <a:pt x="227" y="310"/>
                    <a:pt x="226" y="310"/>
                  </a:cubicBezTo>
                  <a:cubicBezTo>
                    <a:pt x="225" y="310"/>
                    <a:pt x="224" y="310"/>
                    <a:pt x="224" y="311"/>
                  </a:cubicBezTo>
                  <a:cubicBezTo>
                    <a:pt x="223" y="311"/>
                    <a:pt x="223" y="311"/>
                    <a:pt x="223" y="312"/>
                  </a:cubicBezTo>
                  <a:cubicBezTo>
                    <a:pt x="223" y="312"/>
                    <a:pt x="222" y="312"/>
                    <a:pt x="222" y="313"/>
                  </a:cubicBezTo>
                  <a:cubicBezTo>
                    <a:pt x="222" y="313"/>
                    <a:pt x="222" y="313"/>
                    <a:pt x="222" y="313"/>
                  </a:cubicBezTo>
                  <a:cubicBezTo>
                    <a:pt x="221" y="313"/>
                    <a:pt x="221" y="313"/>
                    <a:pt x="220" y="313"/>
                  </a:cubicBezTo>
                  <a:cubicBezTo>
                    <a:pt x="219" y="313"/>
                    <a:pt x="217" y="314"/>
                    <a:pt x="216" y="314"/>
                  </a:cubicBezTo>
                  <a:cubicBezTo>
                    <a:pt x="216" y="314"/>
                    <a:pt x="216" y="314"/>
                    <a:pt x="216" y="314"/>
                  </a:cubicBezTo>
                  <a:cubicBezTo>
                    <a:pt x="215" y="315"/>
                    <a:pt x="215" y="315"/>
                    <a:pt x="215" y="315"/>
                  </a:cubicBezTo>
                  <a:cubicBezTo>
                    <a:pt x="215" y="315"/>
                    <a:pt x="215" y="315"/>
                    <a:pt x="215" y="315"/>
                  </a:cubicBezTo>
                  <a:cubicBezTo>
                    <a:pt x="215" y="315"/>
                    <a:pt x="215" y="315"/>
                    <a:pt x="215" y="315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2" y="316"/>
                    <a:pt x="211" y="317"/>
                    <a:pt x="210" y="317"/>
                  </a:cubicBezTo>
                  <a:cubicBezTo>
                    <a:pt x="210" y="317"/>
                    <a:pt x="209" y="317"/>
                    <a:pt x="209" y="317"/>
                  </a:cubicBezTo>
                  <a:cubicBezTo>
                    <a:pt x="207" y="318"/>
                    <a:pt x="207" y="319"/>
                    <a:pt x="207" y="320"/>
                  </a:cubicBezTo>
                  <a:cubicBezTo>
                    <a:pt x="207" y="321"/>
                    <a:pt x="207" y="321"/>
                    <a:pt x="207" y="321"/>
                  </a:cubicBezTo>
                  <a:cubicBezTo>
                    <a:pt x="207" y="321"/>
                    <a:pt x="207" y="321"/>
                    <a:pt x="207" y="321"/>
                  </a:cubicBezTo>
                  <a:cubicBezTo>
                    <a:pt x="207" y="322"/>
                    <a:pt x="207" y="322"/>
                    <a:pt x="207" y="324"/>
                  </a:cubicBezTo>
                  <a:cubicBezTo>
                    <a:pt x="207" y="325"/>
                    <a:pt x="207" y="325"/>
                    <a:pt x="207" y="325"/>
                  </a:cubicBezTo>
                  <a:cubicBezTo>
                    <a:pt x="207" y="325"/>
                    <a:pt x="206" y="325"/>
                    <a:pt x="206" y="325"/>
                  </a:cubicBezTo>
                  <a:cubicBezTo>
                    <a:pt x="206" y="325"/>
                    <a:pt x="205" y="325"/>
                    <a:pt x="205" y="326"/>
                  </a:cubicBezTo>
                  <a:cubicBezTo>
                    <a:pt x="204" y="326"/>
                    <a:pt x="202" y="327"/>
                    <a:pt x="201" y="327"/>
                  </a:cubicBezTo>
                  <a:cubicBezTo>
                    <a:pt x="201" y="327"/>
                    <a:pt x="200" y="327"/>
                    <a:pt x="199" y="327"/>
                  </a:cubicBezTo>
                  <a:cubicBezTo>
                    <a:pt x="198" y="328"/>
                    <a:pt x="197" y="329"/>
                    <a:pt x="196" y="330"/>
                  </a:cubicBezTo>
                  <a:cubicBezTo>
                    <a:pt x="195" y="331"/>
                    <a:pt x="195" y="332"/>
                    <a:pt x="194" y="332"/>
                  </a:cubicBezTo>
                  <a:cubicBezTo>
                    <a:pt x="194" y="333"/>
                    <a:pt x="193" y="333"/>
                    <a:pt x="192" y="333"/>
                  </a:cubicBezTo>
                  <a:cubicBezTo>
                    <a:pt x="191" y="332"/>
                    <a:pt x="190" y="332"/>
                    <a:pt x="189" y="332"/>
                  </a:cubicBezTo>
                  <a:cubicBezTo>
                    <a:pt x="189" y="332"/>
                    <a:pt x="188" y="332"/>
                    <a:pt x="188" y="332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88" y="331"/>
                    <a:pt x="189" y="330"/>
                    <a:pt x="188" y="329"/>
                  </a:cubicBezTo>
                  <a:cubicBezTo>
                    <a:pt x="188" y="328"/>
                    <a:pt x="186" y="328"/>
                    <a:pt x="184" y="329"/>
                  </a:cubicBezTo>
                  <a:cubicBezTo>
                    <a:pt x="184" y="329"/>
                    <a:pt x="184" y="329"/>
                    <a:pt x="184" y="329"/>
                  </a:cubicBezTo>
                  <a:cubicBezTo>
                    <a:pt x="184" y="328"/>
                    <a:pt x="182" y="328"/>
                    <a:pt x="182" y="329"/>
                  </a:cubicBezTo>
                  <a:cubicBezTo>
                    <a:pt x="181" y="330"/>
                    <a:pt x="181" y="331"/>
                    <a:pt x="182" y="332"/>
                  </a:cubicBezTo>
                  <a:cubicBezTo>
                    <a:pt x="182" y="333"/>
                    <a:pt x="182" y="334"/>
                    <a:pt x="182" y="334"/>
                  </a:cubicBezTo>
                  <a:cubicBezTo>
                    <a:pt x="182" y="335"/>
                    <a:pt x="182" y="335"/>
                    <a:pt x="183" y="336"/>
                  </a:cubicBezTo>
                  <a:cubicBezTo>
                    <a:pt x="183" y="336"/>
                    <a:pt x="182" y="336"/>
                    <a:pt x="182" y="336"/>
                  </a:cubicBezTo>
                  <a:cubicBezTo>
                    <a:pt x="182" y="337"/>
                    <a:pt x="182" y="337"/>
                    <a:pt x="182" y="337"/>
                  </a:cubicBezTo>
                  <a:cubicBezTo>
                    <a:pt x="181" y="338"/>
                    <a:pt x="181" y="339"/>
                    <a:pt x="181" y="340"/>
                  </a:cubicBezTo>
                  <a:cubicBezTo>
                    <a:pt x="181" y="340"/>
                    <a:pt x="181" y="340"/>
                    <a:pt x="181" y="340"/>
                  </a:cubicBezTo>
                  <a:cubicBezTo>
                    <a:pt x="181" y="340"/>
                    <a:pt x="181" y="339"/>
                    <a:pt x="180" y="339"/>
                  </a:cubicBezTo>
                  <a:cubicBezTo>
                    <a:pt x="179" y="339"/>
                    <a:pt x="178" y="339"/>
                    <a:pt x="178" y="340"/>
                  </a:cubicBezTo>
                  <a:cubicBezTo>
                    <a:pt x="178" y="340"/>
                    <a:pt x="178" y="340"/>
                    <a:pt x="178" y="340"/>
                  </a:cubicBezTo>
                  <a:cubicBezTo>
                    <a:pt x="177" y="339"/>
                    <a:pt x="176" y="339"/>
                    <a:pt x="175" y="340"/>
                  </a:cubicBezTo>
                  <a:cubicBezTo>
                    <a:pt x="174" y="338"/>
                    <a:pt x="173" y="337"/>
                    <a:pt x="172" y="337"/>
                  </a:cubicBezTo>
                  <a:cubicBezTo>
                    <a:pt x="171" y="337"/>
                    <a:pt x="170" y="338"/>
                    <a:pt x="170" y="338"/>
                  </a:cubicBezTo>
                  <a:cubicBezTo>
                    <a:pt x="169" y="338"/>
                    <a:pt x="169" y="338"/>
                    <a:pt x="168" y="339"/>
                  </a:cubicBezTo>
                  <a:cubicBezTo>
                    <a:pt x="167" y="339"/>
                    <a:pt x="165" y="339"/>
                    <a:pt x="163" y="339"/>
                  </a:cubicBezTo>
                  <a:cubicBezTo>
                    <a:pt x="162" y="339"/>
                    <a:pt x="162" y="340"/>
                    <a:pt x="161" y="340"/>
                  </a:cubicBezTo>
                  <a:cubicBezTo>
                    <a:pt x="161" y="340"/>
                    <a:pt x="161" y="341"/>
                    <a:pt x="161" y="342"/>
                  </a:cubicBezTo>
                  <a:cubicBezTo>
                    <a:pt x="161" y="342"/>
                    <a:pt x="160" y="342"/>
                    <a:pt x="159" y="342"/>
                  </a:cubicBezTo>
                  <a:cubicBezTo>
                    <a:pt x="159" y="342"/>
                    <a:pt x="159" y="342"/>
                    <a:pt x="159" y="343"/>
                  </a:cubicBezTo>
                  <a:cubicBezTo>
                    <a:pt x="158" y="343"/>
                    <a:pt x="158" y="343"/>
                    <a:pt x="158" y="344"/>
                  </a:cubicBezTo>
                  <a:cubicBezTo>
                    <a:pt x="158" y="345"/>
                    <a:pt x="159" y="346"/>
                    <a:pt x="160" y="346"/>
                  </a:cubicBezTo>
                  <a:cubicBezTo>
                    <a:pt x="160" y="346"/>
                    <a:pt x="160" y="346"/>
                    <a:pt x="160" y="346"/>
                  </a:cubicBezTo>
                  <a:cubicBezTo>
                    <a:pt x="160" y="346"/>
                    <a:pt x="159" y="347"/>
                    <a:pt x="159" y="347"/>
                  </a:cubicBezTo>
                  <a:cubicBezTo>
                    <a:pt x="159" y="348"/>
                    <a:pt x="159" y="348"/>
                    <a:pt x="160" y="349"/>
                  </a:cubicBezTo>
                  <a:cubicBezTo>
                    <a:pt x="160" y="349"/>
                    <a:pt x="160" y="349"/>
                    <a:pt x="160" y="349"/>
                  </a:cubicBezTo>
                  <a:cubicBezTo>
                    <a:pt x="160" y="350"/>
                    <a:pt x="160" y="351"/>
                    <a:pt x="160" y="351"/>
                  </a:cubicBezTo>
                  <a:cubicBezTo>
                    <a:pt x="161" y="352"/>
                    <a:pt x="162" y="352"/>
                    <a:pt x="163" y="351"/>
                  </a:cubicBezTo>
                  <a:cubicBezTo>
                    <a:pt x="163" y="351"/>
                    <a:pt x="163" y="351"/>
                    <a:pt x="163" y="351"/>
                  </a:cubicBezTo>
                  <a:cubicBezTo>
                    <a:pt x="164" y="353"/>
                    <a:pt x="166" y="353"/>
                    <a:pt x="166" y="353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167" y="353"/>
                    <a:pt x="168" y="353"/>
                    <a:pt x="168" y="353"/>
                  </a:cubicBezTo>
                  <a:cubicBezTo>
                    <a:pt x="168" y="354"/>
                    <a:pt x="169" y="354"/>
                    <a:pt x="171" y="354"/>
                  </a:cubicBezTo>
                  <a:cubicBezTo>
                    <a:pt x="171" y="354"/>
                    <a:pt x="171" y="354"/>
                    <a:pt x="171" y="354"/>
                  </a:cubicBezTo>
                  <a:cubicBezTo>
                    <a:pt x="171" y="354"/>
                    <a:pt x="171" y="355"/>
                    <a:pt x="171" y="356"/>
                  </a:cubicBezTo>
                  <a:cubicBezTo>
                    <a:pt x="172" y="356"/>
                    <a:pt x="172" y="357"/>
                    <a:pt x="172" y="358"/>
                  </a:cubicBezTo>
                  <a:cubicBezTo>
                    <a:pt x="173" y="358"/>
                    <a:pt x="173" y="358"/>
                    <a:pt x="174" y="358"/>
                  </a:cubicBezTo>
                  <a:cubicBezTo>
                    <a:pt x="174" y="359"/>
                    <a:pt x="174" y="359"/>
                    <a:pt x="174" y="359"/>
                  </a:cubicBezTo>
                  <a:cubicBezTo>
                    <a:pt x="174" y="359"/>
                    <a:pt x="174" y="360"/>
                    <a:pt x="174" y="360"/>
                  </a:cubicBezTo>
                  <a:cubicBezTo>
                    <a:pt x="174" y="360"/>
                    <a:pt x="174" y="360"/>
                    <a:pt x="174" y="360"/>
                  </a:cubicBezTo>
                  <a:cubicBezTo>
                    <a:pt x="173" y="361"/>
                    <a:pt x="173" y="361"/>
                    <a:pt x="173" y="362"/>
                  </a:cubicBezTo>
                  <a:cubicBezTo>
                    <a:pt x="173" y="363"/>
                    <a:pt x="174" y="363"/>
                    <a:pt x="174" y="364"/>
                  </a:cubicBezTo>
                  <a:cubicBezTo>
                    <a:pt x="174" y="364"/>
                    <a:pt x="174" y="364"/>
                    <a:pt x="174" y="364"/>
                  </a:cubicBezTo>
                  <a:cubicBezTo>
                    <a:pt x="175" y="365"/>
                    <a:pt x="177" y="367"/>
                    <a:pt x="178" y="368"/>
                  </a:cubicBezTo>
                  <a:cubicBezTo>
                    <a:pt x="178" y="369"/>
                    <a:pt x="177" y="371"/>
                    <a:pt x="177" y="372"/>
                  </a:cubicBezTo>
                  <a:cubicBezTo>
                    <a:pt x="177" y="372"/>
                    <a:pt x="177" y="373"/>
                    <a:pt x="177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5" y="375"/>
                    <a:pt x="175" y="376"/>
                    <a:pt x="175" y="377"/>
                  </a:cubicBezTo>
                  <a:cubicBezTo>
                    <a:pt x="175" y="377"/>
                    <a:pt x="175" y="377"/>
                    <a:pt x="175" y="377"/>
                  </a:cubicBezTo>
                  <a:cubicBezTo>
                    <a:pt x="175" y="378"/>
                    <a:pt x="175" y="378"/>
                    <a:pt x="175" y="378"/>
                  </a:cubicBezTo>
                  <a:cubicBezTo>
                    <a:pt x="175" y="379"/>
                    <a:pt x="175" y="380"/>
                    <a:pt x="175" y="380"/>
                  </a:cubicBezTo>
                  <a:cubicBezTo>
                    <a:pt x="175" y="380"/>
                    <a:pt x="175" y="380"/>
                    <a:pt x="175" y="380"/>
                  </a:cubicBezTo>
                  <a:cubicBezTo>
                    <a:pt x="174" y="381"/>
                    <a:pt x="174" y="381"/>
                    <a:pt x="174" y="381"/>
                  </a:cubicBezTo>
                  <a:cubicBezTo>
                    <a:pt x="173" y="382"/>
                    <a:pt x="173" y="383"/>
                    <a:pt x="173" y="383"/>
                  </a:cubicBezTo>
                  <a:cubicBezTo>
                    <a:pt x="173" y="384"/>
                    <a:pt x="174" y="384"/>
                    <a:pt x="174" y="384"/>
                  </a:cubicBezTo>
                  <a:cubicBezTo>
                    <a:pt x="174" y="384"/>
                    <a:pt x="174" y="385"/>
                    <a:pt x="174" y="385"/>
                  </a:cubicBezTo>
                  <a:cubicBezTo>
                    <a:pt x="174" y="386"/>
                    <a:pt x="173" y="386"/>
                    <a:pt x="173" y="386"/>
                  </a:cubicBezTo>
                  <a:cubicBezTo>
                    <a:pt x="173" y="387"/>
                    <a:pt x="169" y="393"/>
                    <a:pt x="169" y="394"/>
                  </a:cubicBezTo>
                  <a:cubicBezTo>
                    <a:pt x="169" y="394"/>
                    <a:pt x="168" y="394"/>
                    <a:pt x="168" y="394"/>
                  </a:cubicBezTo>
                  <a:cubicBezTo>
                    <a:pt x="168" y="394"/>
                    <a:pt x="168" y="395"/>
                    <a:pt x="168" y="395"/>
                  </a:cubicBezTo>
                  <a:cubicBezTo>
                    <a:pt x="167" y="395"/>
                    <a:pt x="167" y="395"/>
                    <a:pt x="166" y="395"/>
                  </a:cubicBezTo>
                  <a:cubicBezTo>
                    <a:pt x="166" y="395"/>
                    <a:pt x="166" y="395"/>
                    <a:pt x="166" y="395"/>
                  </a:cubicBezTo>
                  <a:cubicBezTo>
                    <a:pt x="166" y="396"/>
                    <a:pt x="166" y="396"/>
                    <a:pt x="166" y="396"/>
                  </a:cubicBezTo>
                  <a:cubicBezTo>
                    <a:pt x="166" y="396"/>
                    <a:pt x="166" y="396"/>
                    <a:pt x="166" y="396"/>
                  </a:cubicBezTo>
                  <a:cubicBezTo>
                    <a:pt x="165" y="397"/>
                    <a:pt x="165" y="397"/>
                    <a:pt x="165" y="397"/>
                  </a:cubicBezTo>
                  <a:cubicBezTo>
                    <a:pt x="165" y="397"/>
                    <a:pt x="164" y="396"/>
                    <a:pt x="164" y="396"/>
                  </a:cubicBezTo>
                  <a:cubicBezTo>
                    <a:pt x="164" y="396"/>
                    <a:pt x="163" y="396"/>
                    <a:pt x="163" y="395"/>
                  </a:cubicBezTo>
                  <a:cubicBezTo>
                    <a:pt x="161" y="394"/>
                    <a:pt x="159" y="395"/>
                    <a:pt x="158" y="395"/>
                  </a:cubicBezTo>
                  <a:cubicBezTo>
                    <a:pt x="158" y="395"/>
                    <a:pt x="157" y="394"/>
                    <a:pt x="155" y="394"/>
                  </a:cubicBezTo>
                  <a:cubicBezTo>
                    <a:pt x="155" y="394"/>
                    <a:pt x="155" y="394"/>
                    <a:pt x="155" y="394"/>
                  </a:cubicBezTo>
                  <a:cubicBezTo>
                    <a:pt x="155" y="394"/>
                    <a:pt x="154" y="394"/>
                    <a:pt x="151" y="395"/>
                  </a:cubicBezTo>
                  <a:cubicBezTo>
                    <a:pt x="151" y="395"/>
                    <a:pt x="151" y="394"/>
                    <a:pt x="151" y="394"/>
                  </a:cubicBezTo>
                  <a:cubicBezTo>
                    <a:pt x="150" y="394"/>
                    <a:pt x="150" y="394"/>
                    <a:pt x="149" y="394"/>
                  </a:cubicBezTo>
                  <a:cubicBezTo>
                    <a:pt x="149" y="394"/>
                    <a:pt x="148" y="394"/>
                    <a:pt x="147" y="394"/>
                  </a:cubicBezTo>
                  <a:cubicBezTo>
                    <a:pt x="147" y="393"/>
                    <a:pt x="147" y="393"/>
                    <a:pt x="147" y="393"/>
                  </a:cubicBezTo>
                  <a:cubicBezTo>
                    <a:pt x="146" y="393"/>
                    <a:pt x="145" y="392"/>
                    <a:pt x="144" y="393"/>
                  </a:cubicBezTo>
                  <a:cubicBezTo>
                    <a:pt x="143" y="393"/>
                    <a:pt x="142" y="393"/>
                    <a:pt x="142" y="392"/>
                  </a:cubicBezTo>
                  <a:cubicBezTo>
                    <a:pt x="141" y="391"/>
                    <a:pt x="139" y="391"/>
                    <a:pt x="138" y="392"/>
                  </a:cubicBezTo>
                  <a:cubicBezTo>
                    <a:pt x="137" y="392"/>
                    <a:pt x="135" y="392"/>
                    <a:pt x="135" y="392"/>
                  </a:cubicBezTo>
                  <a:cubicBezTo>
                    <a:pt x="134" y="392"/>
                    <a:pt x="133" y="392"/>
                    <a:pt x="131" y="392"/>
                  </a:cubicBezTo>
                  <a:cubicBezTo>
                    <a:pt x="131" y="392"/>
                    <a:pt x="131" y="392"/>
                    <a:pt x="131" y="392"/>
                  </a:cubicBezTo>
                  <a:cubicBezTo>
                    <a:pt x="130" y="391"/>
                    <a:pt x="129" y="391"/>
                    <a:pt x="128" y="391"/>
                  </a:cubicBezTo>
                  <a:cubicBezTo>
                    <a:pt x="128" y="391"/>
                    <a:pt x="127" y="391"/>
                    <a:pt x="127" y="391"/>
                  </a:cubicBezTo>
                  <a:cubicBezTo>
                    <a:pt x="126" y="391"/>
                    <a:pt x="126" y="391"/>
                    <a:pt x="126" y="391"/>
                  </a:cubicBezTo>
                  <a:cubicBezTo>
                    <a:pt x="124" y="390"/>
                    <a:pt x="123" y="391"/>
                    <a:pt x="120" y="394"/>
                  </a:cubicBezTo>
                  <a:cubicBezTo>
                    <a:pt x="120" y="395"/>
                    <a:pt x="119" y="395"/>
                    <a:pt x="118" y="395"/>
                  </a:cubicBezTo>
                  <a:cubicBezTo>
                    <a:pt x="117" y="395"/>
                    <a:pt x="117" y="395"/>
                    <a:pt x="116" y="396"/>
                  </a:cubicBezTo>
                  <a:cubicBezTo>
                    <a:pt x="115" y="396"/>
                    <a:pt x="114" y="398"/>
                    <a:pt x="114" y="399"/>
                  </a:cubicBezTo>
                  <a:cubicBezTo>
                    <a:pt x="114" y="400"/>
                    <a:pt x="114" y="400"/>
                    <a:pt x="114" y="400"/>
                  </a:cubicBezTo>
                  <a:cubicBezTo>
                    <a:pt x="113" y="400"/>
                    <a:pt x="113" y="401"/>
                    <a:pt x="114" y="402"/>
                  </a:cubicBezTo>
                  <a:cubicBezTo>
                    <a:pt x="114" y="402"/>
                    <a:pt x="114" y="402"/>
                    <a:pt x="114" y="403"/>
                  </a:cubicBezTo>
                  <a:cubicBezTo>
                    <a:pt x="114" y="403"/>
                    <a:pt x="114" y="403"/>
                    <a:pt x="114" y="403"/>
                  </a:cubicBezTo>
                  <a:cubicBezTo>
                    <a:pt x="114" y="403"/>
                    <a:pt x="114" y="404"/>
                    <a:pt x="114" y="404"/>
                  </a:cubicBezTo>
                  <a:cubicBezTo>
                    <a:pt x="114" y="404"/>
                    <a:pt x="114" y="405"/>
                    <a:pt x="115" y="405"/>
                  </a:cubicBezTo>
                  <a:cubicBezTo>
                    <a:pt x="115" y="405"/>
                    <a:pt x="115" y="406"/>
                    <a:pt x="115" y="406"/>
                  </a:cubicBezTo>
                  <a:cubicBezTo>
                    <a:pt x="115" y="407"/>
                    <a:pt x="115" y="407"/>
                    <a:pt x="115" y="407"/>
                  </a:cubicBezTo>
                  <a:cubicBezTo>
                    <a:pt x="115" y="408"/>
                    <a:pt x="114" y="409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3" y="411"/>
                    <a:pt x="113" y="411"/>
                    <a:pt x="113" y="412"/>
                  </a:cubicBezTo>
                  <a:cubicBezTo>
                    <a:pt x="113" y="412"/>
                    <a:pt x="113" y="412"/>
                    <a:pt x="113" y="413"/>
                  </a:cubicBezTo>
                  <a:cubicBezTo>
                    <a:pt x="113" y="414"/>
                    <a:pt x="113" y="415"/>
                    <a:pt x="113" y="417"/>
                  </a:cubicBezTo>
                  <a:cubicBezTo>
                    <a:pt x="113" y="419"/>
                    <a:pt x="112" y="421"/>
                    <a:pt x="112" y="422"/>
                  </a:cubicBezTo>
                  <a:cubicBezTo>
                    <a:pt x="111" y="422"/>
                    <a:pt x="111" y="423"/>
                    <a:pt x="112" y="424"/>
                  </a:cubicBezTo>
                  <a:cubicBezTo>
                    <a:pt x="112" y="424"/>
                    <a:pt x="111" y="425"/>
                    <a:pt x="110" y="426"/>
                  </a:cubicBezTo>
                  <a:cubicBezTo>
                    <a:pt x="108" y="427"/>
                    <a:pt x="108" y="429"/>
                    <a:pt x="109" y="430"/>
                  </a:cubicBezTo>
                  <a:cubicBezTo>
                    <a:pt x="110" y="430"/>
                    <a:pt x="110" y="430"/>
                    <a:pt x="110" y="430"/>
                  </a:cubicBezTo>
                  <a:cubicBezTo>
                    <a:pt x="110" y="430"/>
                    <a:pt x="110" y="430"/>
                    <a:pt x="110" y="430"/>
                  </a:cubicBezTo>
                  <a:cubicBezTo>
                    <a:pt x="109" y="430"/>
                    <a:pt x="109" y="430"/>
                    <a:pt x="109" y="430"/>
                  </a:cubicBezTo>
                  <a:cubicBezTo>
                    <a:pt x="108" y="431"/>
                    <a:pt x="108" y="431"/>
                    <a:pt x="106" y="434"/>
                  </a:cubicBezTo>
                  <a:cubicBezTo>
                    <a:pt x="107" y="435"/>
                    <a:pt x="107" y="435"/>
                    <a:pt x="107" y="435"/>
                  </a:cubicBezTo>
                  <a:cubicBezTo>
                    <a:pt x="107" y="435"/>
                    <a:pt x="107" y="435"/>
                    <a:pt x="107" y="435"/>
                  </a:cubicBezTo>
                  <a:cubicBezTo>
                    <a:pt x="106" y="434"/>
                    <a:pt x="106" y="434"/>
                    <a:pt x="106" y="434"/>
                  </a:cubicBezTo>
                  <a:cubicBezTo>
                    <a:pt x="106" y="434"/>
                    <a:pt x="105" y="435"/>
                    <a:pt x="105" y="436"/>
                  </a:cubicBezTo>
                  <a:cubicBezTo>
                    <a:pt x="105" y="436"/>
                    <a:pt x="105" y="436"/>
                    <a:pt x="105" y="436"/>
                  </a:cubicBezTo>
                  <a:cubicBezTo>
                    <a:pt x="105" y="436"/>
                    <a:pt x="104" y="436"/>
                    <a:pt x="104" y="436"/>
                  </a:cubicBezTo>
                  <a:cubicBezTo>
                    <a:pt x="103" y="436"/>
                    <a:pt x="102" y="437"/>
                    <a:pt x="103" y="440"/>
                  </a:cubicBezTo>
                  <a:cubicBezTo>
                    <a:pt x="103" y="440"/>
                    <a:pt x="103" y="440"/>
                    <a:pt x="103" y="440"/>
                  </a:cubicBezTo>
                  <a:cubicBezTo>
                    <a:pt x="103" y="441"/>
                    <a:pt x="103" y="441"/>
                    <a:pt x="103" y="441"/>
                  </a:cubicBezTo>
                  <a:cubicBezTo>
                    <a:pt x="102" y="441"/>
                    <a:pt x="102" y="442"/>
                    <a:pt x="102" y="443"/>
                  </a:cubicBezTo>
                  <a:cubicBezTo>
                    <a:pt x="102" y="444"/>
                    <a:pt x="104" y="444"/>
                    <a:pt x="105" y="444"/>
                  </a:cubicBezTo>
                  <a:cubicBezTo>
                    <a:pt x="105" y="444"/>
                    <a:pt x="105" y="444"/>
                    <a:pt x="105" y="444"/>
                  </a:cubicBezTo>
                  <a:cubicBezTo>
                    <a:pt x="105" y="444"/>
                    <a:pt x="105" y="444"/>
                    <a:pt x="105" y="445"/>
                  </a:cubicBezTo>
                  <a:cubicBezTo>
                    <a:pt x="104" y="445"/>
                    <a:pt x="103" y="446"/>
                    <a:pt x="103" y="447"/>
                  </a:cubicBezTo>
                  <a:cubicBezTo>
                    <a:pt x="103" y="448"/>
                    <a:pt x="103" y="449"/>
                    <a:pt x="104" y="449"/>
                  </a:cubicBezTo>
                  <a:cubicBezTo>
                    <a:pt x="104" y="449"/>
                    <a:pt x="104" y="449"/>
                    <a:pt x="105" y="449"/>
                  </a:cubicBezTo>
                  <a:cubicBezTo>
                    <a:pt x="105" y="449"/>
                    <a:pt x="105" y="450"/>
                    <a:pt x="105" y="450"/>
                  </a:cubicBezTo>
                  <a:cubicBezTo>
                    <a:pt x="105" y="450"/>
                    <a:pt x="105" y="451"/>
                    <a:pt x="105" y="451"/>
                  </a:cubicBezTo>
                  <a:cubicBezTo>
                    <a:pt x="105" y="453"/>
                    <a:pt x="104" y="454"/>
                    <a:pt x="104" y="455"/>
                  </a:cubicBezTo>
                  <a:cubicBezTo>
                    <a:pt x="104" y="456"/>
                    <a:pt x="103" y="459"/>
                    <a:pt x="103" y="459"/>
                  </a:cubicBezTo>
                  <a:cubicBezTo>
                    <a:pt x="102" y="460"/>
                    <a:pt x="102" y="461"/>
                    <a:pt x="102" y="462"/>
                  </a:cubicBezTo>
                  <a:cubicBezTo>
                    <a:pt x="102" y="463"/>
                    <a:pt x="103" y="463"/>
                    <a:pt x="105" y="463"/>
                  </a:cubicBezTo>
                  <a:cubicBezTo>
                    <a:pt x="105" y="463"/>
                    <a:pt x="106" y="463"/>
                    <a:pt x="106" y="462"/>
                  </a:cubicBezTo>
                  <a:cubicBezTo>
                    <a:pt x="106" y="462"/>
                    <a:pt x="107" y="462"/>
                    <a:pt x="108" y="463"/>
                  </a:cubicBezTo>
                  <a:cubicBezTo>
                    <a:pt x="109" y="464"/>
                    <a:pt x="110" y="465"/>
                    <a:pt x="112" y="465"/>
                  </a:cubicBezTo>
                  <a:cubicBezTo>
                    <a:pt x="113" y="465"/>
                    <a:pt x="115" y="464"/>
                    <a:pt x="117" y="463"/>
                  </a:cubicBezTo>
                  <a:cubicBezTo>
                    <a:pt x="117" y="463"/>
                    <a:pt x="117" y="463"/>
                    <a:pt x="117" y="463"/>
                  </a:cubicBezTo>
                  <a:cubicBezTo>
                    <a:pt x="118" y="463"/>
                    <a:pt x="118" y="463"/>
                    <a:pt x="118" y="463"/>
                  </a:cubicBezTo>
                  <a:cubicBezTo>
                    <a:pt x="118" y="463"/>
                    <a:pt x="120" y="464"/>
                    <a:pt x="120" y="465"/>
                  </a:cubicBezTo>
                  <a:cubicBezTo>
                    <a:pt x="120" y="465"/>
                    <a:pt x="120" y="465"/>
                    <a:pt x="120" y="466"/>
                  </a:cubicBezTo>
                  <a:cubicBezTo>
                    <a:pt x="120" y="466"/>
                    <a:pt x="120" y="467"/>
                    <a:pt x="120" y="468"/>
                  </a:cubicBezTo>
                  <a:cubicBezTo>
                    <a:pt x="120" y="468"/>
                    <a:pt x="121" y="468"/>
                    <a:pt x="121" y="469"/>
                  </a:cubicBezTo>
                  <a:cubicBezTo>
                    <a:pt x="121" y="470"/>
                    <a:pt x="122" y="472"/>
                    <a:pt x="123" y="473"/>
                  </a:cubicBezTo>
                  <a:cubicBezTo>
                    <a:pt x="124" y="473"/>
                    <a:pt x="124" y="473"/>
                    <a:pt x="124" y="473"/>
                  </a:cubicBezTo>
                  <a:cubicBezTo>
                    <a:pt x="124" y="473"/>
                    <a:pt x="123" y="474"/>
                    <a:pt x="124" y="474"/>
                  </a:cubicBezTo>
                  <a:cubicBezTo>
                    <a:pt x="124" y="475"/>
                    <a:pt x="124" y="475"/>
                    <a:pt x="125" y="475"/>
                  </a:cubicBezTo>
                  <a:cubicBezTo>
                    <a:pt x="124" y="475"/>
                    <a:pt x="123" y="475"/>
                    <a:pt x="123" y="476"/>
                  </a:cubicBezTo>
                  <a:cubicBezTo>
                    <a:pt x="122" y="477"/>
                    <a:pt x="121" y="478"/>
                    <a:pt x="120" y="479"/>
                  </a:cubicBezTo>
                  <a:cubicBezTo>
                    <a:pt x="120" y="480"/>
                    <a:pt x="119" y="481"/>
                    <a:pt x="118" y="482"/>
                  </a:cubicBezTo>
                  <a:cubicBezTo>
                    <a:pt x="118" y="483"/>
                    <a:pt x="117" y="484"/>
                    <a:pt x="116" y="486"/>
                  </a:cubicBezTo>
                  <a:cubicBezTo>
                    <a:pt x="116" y="486"/>
                    <a:pt x="116" y="486"/>
                    <a:pt x="116" y="487"/>
                  </a:cubicBezTo>
                  <a:cubicBezTo>
                    <a:pt x="116" y="488"/>
                    <a:pt x="116" y="488"/>
                    <a:pt x="115" y="489"/>
                  </a:cubicBezTo>
                  <a:cubicBezTo>
                    <a:pt x="115" y="490"/>
                    <a:pt x="114" y="490"/>
                    <a:pt x="114" y="491"/>
                  </a:cubicBezTo>
                  <a:cubicBezTo>
                    <a:pt x="113" y="491"/>
                    <a:pt x="113" y="491"/>
                    <a:pt x="113" y="491"/>
                  </a:cubicBezTo>
                  <a:cubicBezTo>
                    <a:pt x="112" y="492"/>
                    <a:pt x="112" y="492"/>
                    <a:pt x="111" y="493"/>
                  </a:cubicBezTo>
                  <a:cubicBezTo>
                    <a:pt x="111" y="493"/>
                    <a:pt x="111" y="493"/>
                    <a:pt x="111" y="493"/>
                  </a:cubicBezTo>
                  <a:cubicBezTo>
                    <a:pt x="111" y="493"/>
                    <a:pt x="110" y="493"/>
                    <a:pt x="110" y="493"/>
                  </a:cubicBezTo>
                  <a:cubicBezTo>
                    <a:pt x="109" y="494"/>
                    <a:pt x="109" y="494"/>
                    <a:pt x="108" y="494"/>
                  </a:cubicBezTo>
                  <a:cubicBezTo>
                    <a:pt x="108" y="494"/>
                    <a:pt x="108" y="495"/>
                    <a:pt x="107" y="495"/>
                  </a:cubicBezTo>
                  <a:cubicBezTo>
                    <a:pt x="107" y="495"/>
                    <a:pt x="106" y="495"/>
                    <a:pt x="105" y="496"/>
                  </a:cubicBezTo>
                  <a:cubicBezTo>
                    <a:pt x="105" y="496"/>
                    <a:pt x="105" y="496"/>
                    <a:pt x="104" y="497"/>
                  </a:cubicBezTo>
                  <a:cubicBezTo>
                    <a:pt x="104" y="497"/>
                    <a:pt x="104" y="497"/>
                    <a:pt x="103" y="497"/>
                  </a:cubicBezTo>
                  <a:cubicBezTo>
                    <a:pt x="102" y="498"/>
                    <a:pt x="101" y="498"/>
                    <a:pt x="100" y="499"/>
                  </a:cubicBezTo>
                  <a:cubicBezTo>
                    <a:pt x="100" y="499"/>
                    <a:pt x="100" y="499"/>
                    <a:pt x="99" y="500"/>
                  </a:cubicBezTo>
                  <a:cubicBezTo>
                    <a:pt x="99" y="500"/>
                    <a:pt x="98" y="500"/>
                    <a:pt x="98" y="500"/>
                  </a:cubicBezTo>
                  <a:cubicBezTo>
                    <a:pt x="96" y="501"/>
                    <a:pt x="96" y="502"/>
                    <a:pt x="95" y="504"/>
                  </a:cubicBezTo>
                  <a:cubicBezTo>
                    <a:pt x="95" y="504"/>
                    <a:pt x="95" y="504"/>
                    <a:pt x="94" y="504"/>
                  </a:cubicBezTo>
                  <a:cubicBezTo>
                    <a:pt x="94" y="505"/>
                    <a:pt x="94" y="505"/>
                    <a:pt x="94" y="505"/>
                  </a:cubicBezTo>
                  <a:cubicBezTo>
                    <a:pt x="93" y="505"/>
                    <a:pt x="92" y="505"/>
                    <a:pt x="91" y="506"/>
                  </a:cubicBezTo>
                  <a:cubicBezTo>
                    <a:pt x="91" y="507"/>
                    <a:pt x="91" y="508"/>
                    <a:pt x="90" y="509"/>
                  </a:cubicBezTo>
                  <a:cubicBezTo>
                    <a:pt x="90" y="509"/>
                    <a:pt x="90" y="509"/>
                    <a:pt x="90" y="509"/>
                  </a:cubicBezTo>
                  <a:cubicBezTo>
                    <a:pt x="90" y="510"/>
                    <a:pt x="90" y="512"/>
                    <a:pt x="89" y="512"/>
                  </a:cubicBezTo>
                  <a:cubicBezTo>
                    <a:pt x="89" y="512"/>
                    <a:pt x="89" y="512"/>
                    <a:pt x="89" y="512"/>
                  </a:cubicBezTo>
                  <a:cubicBezTo>
                    <a:pt x="89" y="512"/>
                    <a:pt x="89" y="513"/>
                    <a:pt x="88" y="513"/>
                  </a:cubicBezTo>
                  <a:cubicBezTo>
                    <a:pt x="88" y="513"/>
                    <a:pt x="88" y="513"/>
                    <a:pt x="88" y="514"/>
                  </a:cubicBezTo>
                  <a:cubicBezTo>
                    <a:pt x="88" y="514"/>
                    <a:pt x="87" y="514"/>
                    <a:pt x="87" y="514"/>
                  </a:cubicBezTo>
                  <a:cubicBezTo>
                    <a:pt x="87" y="515"/>
                    <a:pt x="86" y="516"/>
                    <a:pt x="86" y="516"/>
                  </a:cubicBezTo>
                  <a:cubicBezTo>
                    <a:pt x="86" y="517"/>
                    <a:pt x="86" y="517"/>
                    <a:pt x="86" y="517"/>
                  </a:cubicBezTo>
                  <a:cubicBezTo>
                    <a:pt x="86" y="517"/>
                    <a:pt x="85" y="518"/>
                    <a:pt x="85" y="518"/>
                  </a:cubicBezTo>
                  <a:cubicBezTo>
                    <a:pt x="85" y="518"/>
                    <a:pt x="84" y="519"/>
                    <a:pt x="84" y="520"/>
                  </a:cubicBezTo>
                  <a:cubicBezTo>
                    <a:pt x="84" y="521"/>
                    <a:pt x="84" y="522"/>
                    <a:pt x="84" y="523"/>
                  </a:cubicBezTo>
                  <a:cubicBezTo>
                    <a:pt x="83" y="524"/>
                    <a:pt x="83" y="524"/>
                    <a:pt x="83" y="525"/>
                  </a:cubicBezTo>
                  <a:cubicBezTo>
                    <a:pt x="83" y="525"/>
                    <a:pt x="83" y="525"/>
                    <a:pt x="83" y="526"/>
                  </a:cubicBezTo>
                  <a:cubicBezTo>
                    <a:pt x="83" y="526"/>
                    <a:pt x="82" y="526"/>
                    <a:pt x="82" y="526"/>
                  </a:cubicBezTo>
                  <a:cubicBezTo>
                    <a:pt x="82" y="527"/>
                    <a:pt x="81" y="528"/>
                    <a:pt x="81" y="529"/>
                  </a:cubicBezTo>
                  <a:cubicBezTo>
                    <a:pt x="81" y="530"/>
                    <a:pt x="82" y="530"/>
                    <a:pt x="83" y="531"/>
                  </a:cubicBezTo>
                  <a:cubicBezTo>
                    <a:pt x="83" y="531"/>
                    <a:pt x="83" y="531"/>
                    <a:pt x="83" y="531"/>
                  </a:cubicBezTo>
                  <a:cubicBezTo>
                    <a:pt x="83" y="531"/>
                    <a:pt x="83" y="533"/>
                    <a:pt x="83" y="533"/>
                  </a:cubicBezTo>
                  <a:cubicBezTo>
                    <a:pt x="82" y="534"/>
                    <a:pt x="82" y="534"/>
                    <a:pt x="82" y="534"/>
                  </a:cubicBezTo>
                  <a:cubicBezTo>
                    <a:pt x="82" y="534"/>
                    <a:pt x="82" y="535"/>
                    <a:pt x="81" y="535"/>
                  </a:cubicBezTo>
                  <a:cubicBezTo>
                    <a:pt x="80" y="536"/>
                    <a:pt x="79" y="537"/>
                    <a:pt x="79" y="538"/>
                  </a:cubicBezTo>
                  <a:cubicBezTo>
                    <a:pt x="78" y="538"/>
                    <a:pt x="77" y="539"/>
                    <a:pt x="77" y="539"/>
                  </a:cubicBezTo>
                  <a:cubicBezTo>
                    <a:pt x="76" y="540"/>
                    <a:pt x="75" y="541"/>
                    <a:pt x="75" y="541"/>
                  </a:cubicBezTo>
                  <a:cubicBezTo>
                    <a:pt x="74" y="542"/>
                    <a:pt x="74" y="542"/>
                    <a:pt x="74" y="542"/>
                  </a:cubicBezTo>
                  <a:cubicBezTo>
                    <a:pt x="74" y="542"/>
                    <a:pt x="73" y="543"/>
                    <a:pt x="73" y="543"/>
                  </a:cubicBezTo>
                  <a:cubicBezTo>
                    <a:pt x="73" y="543"/>
                    <a:pt x="72" y="543"/>
                    <a:pt x="72" y="543"/>
                  </a:cubicBezTo>
                  <a:cubicBezTo>
                    <a:pt x="72" y="543"/>
                    <a:pt x="72" y="543"/>
                    <a:pt x="72" y="543"/>
                  </a:cubicBezTo>
                  <a:cubicBezTo>
                    <a:pt x="71" y="544"/>
                    <a:pt x="70" y="544"/>
                    <a:pt x="69" y="545"/>
                  </a:cubicBezTo>
                  <a:cubicBezTo>
                    <a:pt x="69" y="546"/>
                    <a:pt x="69" y="546"/>
                    <a:pt x="69" y="546"/>
                  </a:cubicBezTo>
                  <a:cubicBezTo>
                    <a:pt x="69" y="546"/>
                    <a:pt x="69" y="547"/>
                    <a:pt x="68" y="547"/>
                  </a:cubicBezTo>
                  <a:cubicBezTo>
                    <a:pt x="68" y="547"/>
                    <a:pt x="68" y="547"/>
                    <a:pt x="68" y="547"/>
                  </a:cubicBezTo>
                  <a:cubicBezTo>
                    <a:pt x="67" y="548"/>
                    <a:pt x="67" y="548"/>
                    <a:pt x="67" y="548"/>
                  </a:cubicBezTo>
                  <a:cubicBezTo>
                    <a:pt x="67" y="548"/>
                    <a:pt x="66" y="549"/>
                    <a:pt x="66" y="549"/>
                  </a:cubicBezTo>
                  <a:cubicBezTo>
                    <a:pt x="66" y="549"/>
                    <a:pt x="66" y="549"/>
                    <a:pt x="65" y="549"/>
                  </a:cubicBezTo>
                  <a:cubicBezTo>
                    <a:pt x="65" y="549"/>
                    <a:pt x="65" y="549"/>
                    <a:pt x="64" y="550"/>
                  </a:cubicBezTo>
                  <a:cubicBezTo>
                    <a:pt x="64" y="550"/>
                    <a:pt x="64" y="550"/>
                    <a:pt x="64" y="550"/>
                  </a:cubicBezTo>
                  <a:cubicBezTo>
                    <a:pt x="63" y="550"/>
                    <a:pt x="63" y="550"/>
                    <a:pt x="62" y="551"/>
                  </a:cubicBezTo>
                  <a:cubicBezTo>
                    <a:pt x="62" y="551"/>
                    <a:pt x="62" y="551"/>
                    <a:pt x="62" y="551"/>
                  </a:cubicBezTo>
                  <a:cubicBezTo>
                    <a:pt x="62" y="551"/>
                    <a:pt x="62" y="551"/>
                    <a:pt x="61" y="551"/>
                  </a:cubicBezTo>
                  <a:cubicBezTo>
                    <a:pt x="61" y="551"/>
                    <a:pt x="61" y="551"/>
                    <a:pt x="61" y="551"/>
                  </a:cubicBezTo>
                  <a:cubicBezTo>
                    <a:pt x="61" y="551"/>
                    <a:pt x="61" y="551"/>
                    <a:pt x="61" y="551"/>
                  </a:cubicBezTo>
                  <a:cubicBezTo>
                    <a:pt x="61" y="551"/>
                    <a:pt x="60" y="551"/>
                    <a:pt x="60" y="551"/>
                  </a:cubicBezTo>
                  <a:cubicBezTo>
                    <a:pt x="58" y="551"/>
                    <a:pt x="57" y="551"/>
                    <a:pt x="56" y="552"/>
                  </a:cubicBezTo>
                  <a:cubicBezTo>
                    <a:pt x="56" y="552"/>
                    <a:pt x="56" y="552"/>
                    <a:pt x="56" y="552"/>
                  </a:cubicBezTo>
                  <a:cubicBezTo>
                    <a:pt x="55" y="552"/>
                    <a:pt x="55" y="553"/>
                    <a:pt x="54" y="553"/>
                  </a:cubicBezTo>
                  <a:cubicBezTo>
                    <a:pt x="53" y="554"/>
                    <a:pt x="53" y="555"/>
                    <a:pt x="53" y="556"/>
                  </a:cubicBezTo>
                  <a:cubicBezTo>
                    <a:pt x="53" y="556"/>
                    <a:pt x="53" y="556"/>
                    <a:pt x="53" y="556"/>
                  </a:cubicBezTo>
                  <a:cubicBezTo>
                    <a:pt x="53" y="556"/>
                    <a:pt x="53" y="557"/>
                    <a:pt x="52" y="557"/>
                  </a:cubicBezTo>
                  <a:cubicBezTo>
                    <a:pt x="52" y="557"/>
                    <a:pt x="52" y="557"/>
                    <a:pt x="52" y="558"/>
                  </a:cubicBezTo>
                  <a:cubicBezTo>
                    <a:pt x="51" y="558"/>
                    <a:pt x="50" y="559"/>
                    <a:pt x="50" y="560"/>
                  </a:cubicBezTo>
                  <a:cubicBezTo>
                    <a:pt x="49" y="561"/>
                    <a:pt x="49" y="563"/>
                    <a:pt x="48" y="564"/>
                  </a:cubicBezTo>
                  <a:cubicBezTo>
                    <a:pt x="48" y="565"/>
                    <a:pt x="48" y="565"/>
                    <a:pt x="47" y="565"/>
                  </a:cubicBezTo>
                  <a:cubicBezTo>
                    <a:pt x="47" y="566"/>
                    <a:pt x="47" y="567"/>
                    <a:pt x="46" y="567"/>
                  </a:cubicBezTo>
                  <a:cubicBezTo>
                    <a:pt x="46" y="567"/>
                    <a:pt x="46" y="568"/>
                    <a:pt x="45" y="568"/>
                  </a:cubicBezTo>
                  <a:cubicBezTo>
                    <a:pt x="46" y="569"/>
                    <a:pt x="46" y="569"/>
                    <a:pt x="46" y="569"/>
                  </a:cubicBezTo>
                  <a:cubicBezTo>
                    <a:pt x="45" y="568"/>
                    <a:pt x="45" y="568"/>
                    <a:pt x="45" y="568"/>
                  </a:cubicBezTo>
                  <a:cubicBezTo>
                    <a:pt x="45" y="568"/>
                    <a:pt x="45" y="568"/>
                    <a:pt x="45" y="568"/>
                  </a:cubicBezTo>
                  <a:cubicBezTo>
                    <a:pt x="44" y="568"/>
                    <a:pt x="42" y="569"/>
                    <a:pt x="41" y="570"/>
                  </a:cubicBezTo>
                  <a:cubicBezTo>
                    <a:pt x="41" y="571"/>
                    <a:pt x="41" y="571"/>
                    <a:pt x="41" y="572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40" y="574"/>
                    <a:pt x="40" y="574"/>
                    <a:pt x="40" y="575"/>
                  </a:cubicBezTo>
                  <a:cubicBezTo>
                    <a:pt x="39" y="575"/>
                    <a:pt x="39" y="576"/>
                    <a:pt x="38" y="577"/>
                  </a:cubicBezTo>
                  <a:cubicBezTo>
                    <a:pt x="38" y="577"/>
                    <a:pt x="38" y="577"/>
                    <a:pt x="38" y="577"/>
                  </a:cubicBezTo>
                  <a:cubicBezTo>
                    <a:pt x="37" y="578"/>
                    <a:pt x="37" y="579"/>
                    <a:pt x="36" y="581"/>
                  </a:cubicBezTo>
                  <a:cubicBezTo>
                    <a:pt x="36" y="581"/>
                    <a:pt x="36" y="582"/>
                    <a:pt x="36" y="582"/>
                  </a:cubicBezTo>
                  <a:cubicBezTo>
                    <a:pt x="36" y="583"/>
                    <a:pt x="36" y="583"/>
                    <a:pt x="36" y="584"/>
                  </a:cubicBezTo>
                  <a:cubicBezTo>
                    <a:pt x="36" y="585"/>
                    <a:pt x="35" y="585"/>
                    <a:pt x="34" y="586"/>
                  </a:cubicBezTo>
                  <a:cubicBezTo>
                    <a:pt x="34" y="587"/>
                    <a:pt x="33" y="587"/>
                    <a:pt x="32" y="588"/>
                  </a:cubicBezTo>
                  <a:cubicBezTo>
                    <a:pt x="31" y="589"/>
                    <a:pt x="31" y="589"/>
                    <a:pt x="31" y="589"/>
                  </a:cubicBezTo>
                  <a:cubicBezTo>
                    <a:pt x="30" y="590"/>
                    <a:pt x="30" y="590"/>
                    <a:pt x="30" y="590"/>
                  </a:cubicBezTo>
                  <a:cubicBezTo>
                    <a:pt x="29" y="590"/>
                    <a:pt x="29" y="590"/>
                    <a:pt x="29" y="590"/>
                  </a:cubicBezTo>
                  <a:cubicBezTo>
                    <a:pt x="29" y="591"/>
                    <a:pt x="29" y="591"/>
                    <a:pt x="29" y="591"/>
                  </a:cubicBezTo>
                  <a:cubicBezTo>
                    <a:pt x="29" y="591"/>
                    <a:pt x="29" y="591"/>
                    <a:pt x="28" y="591"/>
                  </a:cubicBezTo>
                  <a:cubicBezTo>
                    <a:pt x="28" y="591"/>
                    <a:pt x="28" y="591"/>
                    <a:pt x="27" y="592"/>
                  </a:cubicBezTo>
                  <a:cubicBezTo>
                    <a:pt x="26" y="592"/>
                    <a:pt x="26" y="593"/>
                    <a:pt x="25" y="594"/>
                  </a:cubicBezTo>
                  <a:cubicBezTo>
                    <a:pt x="25" y="595"/>
                    <a:pt x="25" y="595"/>
                    <a:pt x="25" y="596"/>
                  </a:cubicBezTo>
                  <a:cubicBezTo>
                    <a:pt x="25" y="596"/>
                    <a:pt x="25" y="597"/>
                    <a:pt x="24" y="597"/>
                  </a:cubicBezTo>
                  <a:cubicBezTo>
                    <a:pt x="24" y="597"/>
                    <a:pt x="24" y="598"/>
                    <a:pt x="23" y="598"/>
                  </a:cubicBezTo>
                  <a:cubicBezTo>
                    <a:pt x="23" y="599"/>
                    <a:pt x="23" y="599"/>
                    <a:pt x="22" y="599"/>
                  </a:cubicBezTo>
                  <a:cubicBezTo>
                    <a:pt x="22" y="600"/>
                    <a:pt x="22" y="601"/>
                    <a:pt x="21" y="601"/>
                  </a:cubicBezTo>
                  <a:cubicBezTo>
                    <a:pt x="21" y="602"/>
                    <a:pt x="21" y="602"/>
                    <a:pt x="21" y="602"/>
                  </a:cubicBezTo>
                  <a:cubicBezTo>
                    <a:pt x="21" y="602"/>
                    <a:pt x="20" y="603"/>
                    <a:pt x="20" y="603"/>
                  </a:cubicBezTo>
                  <a:cubicBezTo>
                    <a:pt x="20" y="603"/>
                    <a:pt x="19" y="603"/>
                    <a:pt x="19" y="604"/>
                  </a:cubicBezTo>
                  <a:cubicBezTo>
                    <a:pt x="18" y="604"/>
                    <a:pt x="19" y="605"/>
                    <a:pt x="19" y="606"/>
                  </a:cubicBezTo>
                  <a:cubicBezTo>
                    <a:pt x="19" y="606"/>
                    <a:pt x="19" y="606"/>
                    <a:pt x="18" y="607"/>
                  </a:cubicBezTo>
                  <a:cubicBezTo>
                    <a:pt x="18" y="607"/>
                    <a:pt x="18" y="607"/>
                    <a:pt x="18" y="607"/>
                  </a:cubicBezTo>
                  <a:cubicBezTo>
                    <a:pt x="17" y="608"/>
                    <a:pt x="17" y="609"/>
                    <a:pt x="17" y="609"/>
                  </a:cubicBezTo>
                  <a:cubicBezTo>
                    <a:pt x="17" y="610"/>
                    <a:pt x="17" y="610"/>
                    <a:pt x="17" y="610"/>
                  </a:cubicBezTo>
                  <a:cubicBezTo>
                    <a:pt x="17" y="610"/>
                    <a:pt x="17" y="610"/>
                    <a:pt x="16" y="611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4" y="611"/>
                    <a:pt x="14" y="612"/>
                    <a:pt x="13" y="613"/>
                  </a:cubicBezTo>
                  <a:cubicBezTo>
                    <a:pt x="13" y="614"/>
                    <a:pt x="13" y="614"/>
                    <a:pt x="13" y="614"/>
                  </a:cubicBezTo>
                  <a:cubicBezTo>
                    <a:pt x="13" y="615"/>
                    <a:pt x="12" y="615"/>
                    <a:pt x="12" y="616"/>
                  </a:cubicBezTo>
                  <a:cubicBezTo>
                    <a:pt x="12" y="617"/>
                    <a:pt x="12" y="617"/>
                    <a:pt x="12" y="617"/>
                  </a:cubicBezTo>
                  <a:cubicBezTo>
                    <a:pt x="12" y="618"/>
                    <a:pt x="12" y="618"/>
                    <a:pt x="12" y="619"/>
                  </a:cubicBezTo>
                  <a:cubicBezTo>
                    <a:pt x="12" y="619"/>
                    <a:pt x="12" y="620"/>
                    <a:pt x="11" y="620"/>
                  </a:cubicBezTo>
                  <a:cubicBezTo>
                    <a:pt x="11" y="621"/>
                    <a:pt x="11" y="621"/>
                    <a:pt x="11" y="621"/>
                  </a:cubicBezTo>
                  <a:cubicBezTo>
                    <a:pt x="10" y="622"/>
                    <a:pt x="10" y="623"/>
                    <a:pt x="10" y="625"/>
                  </a:cubicBezTo>
                  <a:cubicBezTo>
                    <a:pt x="10" y="625"/>
                    <a:pt x="10" y="626"/>
                    <a:pt x="10" y="626"/>
                  </a:cubicBezTo>
                  <a:cubicBezTo>
                    <a:pt x="9" y="627"/>
                    <a:pt x="9" y="628"/>
                    <a:pt x="10" y="629"/>
                  </a:cubicBezTo>
                  <a:cubicBezTo>
                    <a:pt x="11" y="631"/>
                    <a:pt x="11" y="631"/>
                    <a:pt x="11" y="631"/>
                  </a:cubicBezTo>
                  <a:cubicBezTo>
                    <a:pt x="12" y="629"/>
                    <a:pt x="12" y="629"/>
                    <a:pt x="12" y="629"/>
                  </a:cubicBezTo>
                  <a:cubicBezTo>
                    <a:pt x="12" y="629"/>
                    <a:pt x="13" y="629"/>
                    <a:pt x="13" y="628"/>
                  </a:cubicBezTo>
                  <a:cubicBezTo>
                    <a:pt x="13" y="629"/>
                    <a:pt x="14" y="629"/>
                    <a:pt x="14" y="630"/>
                  </a:cubicBezTo>
                  <a:cubicBezTo>
                    <a:pt x="14" y="630"/>
                    <a:pt x="15" y="630"/>
                    <a:pt x="15" y="630"/>
                  </a:cubicBezTo>
                  <a:cubicBezTo>
                    <a:pt x="15" y="630"/>
                    <a:pt x="15" y="630"/>
                    <a:pt x="15" y="631"/>
                  </a:cubicBezTo>
                  <a:cubicBezTo>
                    <a:pt x="15" y="631"/>
                    <a:pt x="15" y="631"/>
                    <a:pt x="15" y="631"/>
                  </a:cubicBezTo>
                  <a:cubicBezTo>
                    <a:pt x="15" y="632"/>
                    <a:pt x="15" y="633"/>
                    <a:pt x="15" y="633"/>
                  </a:cubicBezTo>
                  <a:cubicBezTo>
                    <a:pt x="15" y="634"/>
                    <a:pt x="15" y="634"/>
                    <a:pt x="15" y="635"/>
                  </a:cubicBezTo>
                  <a:cubicBezTo>
                    <a:pt x="15" y="635"/>
                    <a:pt x="14" y="637"/>
                    <a:pt x="14" y="637"/>
                  </a:cubicBezTo>
                  <a:cubicBezTo>
                    <a:pt x="14" y="638"/>
                    <a:pt x="14" y="638"/>
                    <a:pt x="14" y="638"/>
                  </a:cubicBezTo>
                  <a:cubicBezTo>
                    <a:pt x="13" y="638"/>
                    <a:pt x="12" y="639"/>
                    <a:pt x="13" y="641"/>
                  </a:cubicBezTo>
                  <a:cubicBezTo>
                    <a:pt x="13" y="641"/>
                    <a:pt x="13" y="641"/>
                    <a:pt x="14" y="641"/>
                  </a:cubicBezTo>
                  <a:cubicBezTo>
                    <a:pt x="13" y="642"/>
                    <a:pt x="14" y="644"/>
                    <a:pt x="14" y="644"/>
                  </a:cubicBezTo>
                  <a:cubicBezTo>
                    <a:pt x="15" y="644"/>
                    <a:pt x="15" y="644"/>
                    <a:pt x="15" y="644"/>
                  </a:cubicBezTo>
                  <a:cubicBezTo>
                    <a:pt x="14" y="645"/>
                    <a:pt x="14" y="645"/>
                    <a:pt x="14" y="645"/>
                  </a:cubicBezTo>
                  <a:cubicBezTo>
                    <a:pt x="14" y="645"/>
                    <a:pt x="14" y="645"/>
                    <a:pt x="14" y="645"/>
                  </a:cubicBezTo>
                  <a:cubicBezTo>
                    <a:pt x="14" y="646"/>
                    <a:pt x="15" y="647"/>
                    <a:pt x="15" y="647"/>
                  </a:cubicBezTo>
                  <a:cubicBezTo>
                    <a:pt x="15" y="648"/>
                    <a:pt x="15" y="648"/>
                    <a:pt x="15" y="648"/>
                  </a:cubicBezTo>
                  <a:cubicBezTo>
                    <a:pt x="15" y="649"/>
                    <a:pt x="15" y="649"/>
                    <a:pt x="15" y="650"/>
                  </a:cubicBezTo>
                  <a:cubicBezTo>
                    <a:pt x="15" y="651"/>
                    <a:pt x="15" y="651"/>
                    <a:pt x="15" y="651"/>
                  </a:cubicBezTo>
                  <a:cubicBezTo>
                    <a:pt x="15" y="651"/>
                    <a:pt x="15" y="652"/>
                    <a:pt x="15" y="653"/>
                  </a:cubicBezTo>
                  <a:cubicBezTo>
                    <a:pt x="15" y="653"/>
                    <a:pt x="15" y="654"/>
                    <a:pt x="14" y="655"/>
                  </a:cubicBezTo>
                  <a:cubicBezTo>
                    <a:pt x="14" y="655"/>
                    <a:pt x="14" y="656"/>
                    <a:pt x="14" y="656"/>
                  </a:cubicBezTo>
                  <a:cubicBezTo>
                    <a:pt x="14" y="656"/>
                    <a:pt x="14" y="656"/>
                    <a:pt x="14" y="657"/>
                  </a:cubicBezTo>
                  <a:cubicBezTo>
                    <a:pt x="13" y="657"/>
                    <a:pt x="13" y="658"/>
                    <a:pt x="13" y="658"/>
                  </a:cubicBezTo>
                  <a:cubicBezTo>
                    <a:pt x="13" y="659"/>
                    <a:pt x="13" y="659"/>
                    <a:pt x="13" y="660"/>
                  </a:cubicBezTo>
                  <a:cubicBezTo>
                    <a:pt x="12" y="661"/>
                    <a:pt x="12" y="661"/>
                    <a:pt x="12" y="662"/>
                  </a:cubicBezTo>
                  <a:cubicBezTo>
                    <a:pt x="12" y="663"/>
                    <a:pt x="12" y="663"/>
                    <a:pt x="11" y="664"/>
                  </a:cubicBezTo>
                  <a:cubicBezTo>
                    <a:pt x="11" y="664"/>
                    <a:pt x="11" y="664"/>
                    <a:pt x="11" y="664"/>
                  </a:cubicBezTo>
                  <a:cubicBezTo>
                    <a:pt x="11" y="665"/>
                    <a:pt x="10" y="665"/>
                    <a:pt x="10" y="666"/>
                  </a:cubicBezTo>
                  <a:cubicBezTo>
                    <a:pt x="10" y="666"/>
                    <a:pt x="10" y="666"/>
                    <a:pt x="10" y="666"/>
                  </a:cubicBezTo>
                  <a:cubicBezTo>
                    <a:pt x="10" y="666"/>
                    <a:pt x="10" y="667"/>
                    <a:pt x="10" y="667"/>
                  </a:cubicBezTo>
                  <a:cubicBezTo>
                    <a:pt x="10" y="667"/>
                    <a:pt x="9" y="668"/>
                    <a:pt x="9" y="668"/>
                  </a:cubicBezTo>
                  <a:cubicBezTo>
                    <a:pt x="9" y="668"/>
                    <a:pt x="9" y="669"/>
                    <a:pt x="9" y="669"/>
                  </a:cubicBezTo>
                  <a:cubicBezTo>
                    <a:pt x="9" y="669"/>
                    <a:pt x="9" y="670"/>
                    <a:pt x="8" y="670"/>
                  </a:cubicBezTo>
                  <a:cubicBezTo>
                    <a:pt x="8" y="671"/>
                    <a:pt x="8" y="671"/>
                    <a:pt x="8" y="672"/>
                  </a:cubicBezTo>
                  <a:cubicBezTo>
                    <a:pt x="8" y="672"/>
                    <a:pt x="8" y="673"/>
                    <a:pt x="8" y="673"/>
                  </a:cubicBezTo>
                  <a:cubicBezTo>
                    <a:pt x="8" y="673"/>
                    <a:pt x="8" y="673"/>
                    <a:pt x="8" y="673"/>
                  </a:cubicBezTo>
                  <a:cubicBezTo>
                    <a:pt x="8" y="673"/>
                    <a:pt x="8" y="673"/>
                    <a:pt x="8" y="674"/>
                  </a:cubicBezTo>
                  <a:cubicBezTo>
                    <a:pt x="7" y="674"/>
                    <a:pt x="7" y="675"/>
                    <a:pt x="7" y="676"/>
                  </a:cubicBezTo>
                  <a:cubicBezTo>
                    <a:pt x="7" y="677"/>
                    <a:pt x="7" y="677"/>
                    <a:pt x="7" y="677"/>
                  </a:cubicBezTo>
                  <a:cubicBezTo>
                    <a:pt x="7" y="677"/>
                    <a:pt x="7" y="677"/>
                    <a:pt x="7" y="677"/>
                  </a:cubicBezTo>
                  <a:cubicBezTo>
                    <a:pt x="7" y="677"/>
                    <a:pt x="7" y="677"/>
                    <a:pt x="7" y="677"/>
                  </a:cubicBezTo>
                  <a:cubicBezTo>
                    <a:pt x="7" y="678"/>
                    <a:pt x="7" y="678"/>
                    <a:pt x="6" y="679"/>
                  </a:cubicBezTo>
                  <a:cubicBezTo>
                    <a:pt x="6" y="679"/>
                    <a:pt x="6" y="679"/>
                    <a:pt x="6" y="679"/>
                  </a:cubicBezTo>
                  <a:cubicBezTo>
                    <a:pt x="5" y="680"/>
                    <a:pt x="5" y="680"/>
                    <a:pt x="5" y="681"/>
                  </a:cubicBezTo>
                  <a:cubicBezTo>
                    <a:pt x="4" y="682"/>
                    <a:pt x="4" y="683"/>
                    <a:pt x="3" y="684"/>
                  </a:cubicBezTo>
                  <a:cubicBezTo>
                    <a:pt x="3" y="684"/>
                    <a:pt x="3" y="684"/>
                    <a:pt x="2" y="684"/>
                  </a:cubicBezTo>
                  <a:cubicBezTo>
                    <a:pt x="2" y="684"/>
                    <a:pt x="1" y="685"/>
                    <a:pt x="1" y="685"/>
                  </a:cubicBezTo>
                  <a:cubicBezTo>
                    <a:pt x="0" y="687"/>
                    <a:pt x="0" y="689"/>
                    <a:pt x="1" y="691"/>
                  </a:cubicBezTo>
                  <a:cubicBezTo>
                    <a:pt x="2" y="692"/>
                    <a:pt x="2" y="692"/>
                    <a:pt x="2" y="692"/>
                  </a:cubicBezTo>
                  <a:cubicBezTo>
                    <a:pt x="2" y="692"/>
                    <a:pt x="3" y="693"/>
                    <a:pt x="3" y="693"/>
                  </a:cubicBezTo>
                  <a:cubicBezTo>
                    <a:pt x="3" y="693"/>
                    <a:pt x="3" y="694"/>
                    <a:pt x="3" y="695"/>
                  </a:cubicBezTo>
                  <a:cubicBezTo>
                    <a:pt x="3" y="696"/>
                    <a:pt x="3" y="696"/>
                    <a:pt x="4" y="697"/>
                  </a:cubicBezTo>
                  <a:cubicBezTo>
                    <a:pt x="4" y="697"/>
                    <a:pt x="3" y="699"/>
                    <a:pt x="4" y="700"/>
                  </a:cubicBezTo>
                  <a:cubicBezTo>
                    <a:pt x="5" y="701"/>
                    <a:pt x="5" y="701"/>
                    <a:pt x="5" y="701"/>
                  </a:cubicBezTo>
                  <a:cubicBezTo>
                    <a:pt x="5" y="701"/>
                    <a:pt x="5" y="701"/>
                    <a:pt x="5" y="701"/>
                  </a:cubicBezTo>
                  <a:cubicBezTo>
                    <a:pt x="5" y="702"/>
                    <a:pt x="5" y="702"/>
                    <a:pt x="5" y="702"/>
                  </a:cubicBezTo>
                  <a:cubicBezTo>
                    <a:pt x="4" y="703"/>
                    <a:pt x="4" y="703"/>
                    <a:pt x="3" y="704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6"/>
                  </a:cubicBezTo>
                  <a:cubicBezTo>
                    <a:pt x="3" y="707"/>
                    <a:pt x="3" y="707"/>
                    <a:pt x="3" y="707"/>
                  </a:cubicBezTo>
                  <a:cubicBezTo>
                    <a:pt x="3" y="707"/>
                    <a:pt x="3" y="707"/>
                    <a:pt x="3" y="707"/>
                  </a:cubicBezTo>
                  <a:cubicBezTo>
                    <a:pt x="3" y="708"/>
                    <a:pt x="3" y="708"/>
                    <a:pt x="3" y="708"/>
                  </a:cubicBezTo>
                  <a:cubicBezTo>
                    <a:pt x="2" y="709"/>
                    <a:pt x="2" y="710"/>
                    <a:pt x="3" y="711"/>
                  </a:cubicBezTo>
                  <a:cubicBezTo>
                    <a:pt x="3" y="712"/>
                    <a:pt x="3" y="712"/>
                    <a:pt x="3" y="712"/>
                  </a:cubicBezTo>
                  <a:cubicBezTo>
                    <a:pt x="3" y="712"/>
                    <a:pt x="3" y="712"/>
                    <a:pt x="3" y="712"/>
                  </a:cubicBezTo>
                  <a:cubicBezTo>
                    <a:pt x="3" y="712"/>
                    <a:pt x="3" y="712"/>
                    <a:pt x="3" y="712"/>
                  </a:cubicBezTo>
                  <a:cubicBezTo>
                    <a:pt x="3" y="713"/>
                    <a:pt x="3" y="713"/>
                    <a:pt x="3" y="713"/>
                  </a:cubicBezTo>
                  <a:cubicBezTo>
                    <a:pt x="3" y="713"/>
                    <a:pt x="3" y="713"/>
                    <a:pt x="3" y="713"/>
                  </a:cubicBezTo>
                  <a:cubicBezTo>
                    <a:pt x="3" y="713"/>
                    <a:pt x="3" y="713"/>
                    <a:pt x="3" y="713"/>
                  </a:cubicBezTo>
                  <a:cubicBezTo>
                    <a:pt x="2" y="715"/>
                    <a:pt x="2" y="715"/>
                    <a:pt x="2" y="715"/>
                  </a:cubicBezTo>
                  <a:cubicBezTo>
                    <a:pt x="3" y="715"/>
                    <a:pt x="3" y="715"/>
                    <a:pt x="3" y="715"/>
                  </a:cubicBezTo>
                  <a:cubicBezTo>
                    <a:pt x="3" y="715"/>
                    <a:pt x="3" y="715"/>
                    <a:pt x="3" y="715"/>
                  </a:cubicBezTo>
                  <a:cubicBezTo>
                    <a:pt x="4" y="716"/>
                    <a:pt x="5" y="716"/>
                    <a:pt x="5" y="716"/>
                  </a:cubicBezTo>
                  <a:cubicBezTo>
                    <a:pt x="5" y="716"/>
                    <a:pt x="5" y="716"/>
                    <a:pt x="5" y="716"/>
                  </a:cubicBezTo>
                  <a:cubicBezTo>
                    <a:pt x="5" y="717"/>
                    <a:pt x="6" y="718"/>
                    <a:pt x="8" y="718"/>
                  </a:cubicBezTo>
                  <a:cubicBezTo>
                    <a:pt x="8" y="718"/>
                    <a:pt x="9" y="718"/>
                    <a:pt x="9" y="718"/>
                  </a:cubicBezTo>
                  <a:cubicBezTo>
                    <a:pt x="9" y="719"/>
                    <a:pt x="10" y="720"/>
                    <a:pt x="12" y="719"/>
                  </a:cubicBezTo>
                  <a:cubicBezTo>
                    <a:pt x="12" y="720"/>
                    <a:pt x="12" y="720"/>
                    <a:pt x="12" y="721"/>
                  </a:cubicBezTo>
                  <a:cubicBezTo>
                    <a:pt x="12" y="721"/>
                    <a:pt x="12" y="721"/>
                    <a:pt x="12" y="721"/>
                  </a:cubicBezTo>
                  <a:cubicBezTo>
                    <a:pt x="12" y="721"/>
                    <a:pt x="12" y="722"/>
                    <a:pt x="12" y="722"/>
                  </a:cubicBezTo>
                  <a:cubicBezTo>
                    <a:pt x="12" y="722"/>
                    <a:pt x="13" y="723"/>
                    <a:pt x="13" y="723"/>
                  </a:cubicBezTo>
                  <a:cubicBezTo>
                    <a:pt x="13" y="723"/>
                    <a:pt x="13" y="724"/>
                    <a:pt x="14" y="725"/>
                  </a:cubicBezTo>
                  <a:cubicBezTo>
                    <a:pt x="14" y="725"/>
                    <a:pt x="14" y="725"/>
                    <a:pt x="14" y="725"/>
                  </a:cubicBezTo>
                  <a:cubicBezTo>
                    <a:pt x="14" y="726"/>
                    <a:pt x="13" y="726"/>
                    <a:pt x="14" y="727"/>
                  </a:cubicBezTo>
                  <a:cubicBezTo>
                    <a:pt x="14" y="728"/>
                    <a:pt x="15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7" y="728"/>
                    <a:pt x="17" y="728"/>
                    <a:pt x="17" y="728"/>
                  </a:cubicBezTo>
                  <a:cubicBezTo>
                    <a:pt x="17" y="728"/>
                    <a:pt x="17" y="728"/>
                    <a:pt x="17" y="728"/>
                  </a:cubicBezTo>
                  <a:cubicBezTo>
                    <a:pt x="17" y="729"/>
                    <a:pt x="17" y="729"/>
                    <a:pt x="17" y="729"/>
                  </a:cubicBezTo>
                  <a:cubicBezTo>
                    <a:pt x="17" y="729"/>
                    <a:pt x="18" y="729"/>
                    <a:pt x="18" y="729"/>
                  </a:cubicBezTo>
                  <a:cubicBezTo>
                    <a:pt x="17" y="730"/>
                    <a:pt x="17" y="731"/>
                    <a:pt x="18" y="732"/>
                  </a:cubicBezTo>
                  <a:cubicBezTo>
                    <a:pt x="18" y="732"/>
                    <a:pt x="18" y="732"/>
                    <a:pt x="18" y="733"/>
                  </a:cubicBezTo>
                  <a:cubicBezTo>
                    <a:pt x="18" y="733"/>
                    <a:pt x="18" y="734"/>
                    <a:pt x="18" y="735"/>
                  </a:cubicBezTo>
                  <a:cubicBezTo>
                    <a:pt x="19" y="736"/>
                    <a:pt x="20" y="736"/>
                    <a:pt x="20" y="736"/>
                  </a:cubicBezTo>
                  <a:cubicBezTo>
                    <a:pt x="21" y="736"/>
                    <a:pt x="21" y="736"/>
                    <a:pt x="22" y="736"/>
                  </a:cubicBezTo>
                  <a:cubicBezTo>
                    <a:pt x="22" y="736"/>
                    <a:pt x="22" y="737"/>
                    <a:pt x="22" y="737"/>
                  </a:cubicBezTo>
                  <a:cubicBezTo>
                    <a:pt x="23" y="737"/>
                    <a:pt x="23" y="737"/>
                    <a:pt x="23" y="737"/>
                  </a:cubicBezTo>
                  <a:cubicBezTo>
                    <a:pt x="23" y="738"/>
                    <a:pt x="23" y="738"/>
                    <a:pt x="23" y="738"/>
                  </a:cubicBezTo>
                  <a:cubicBezTo>
                    <a:pt x="24" y="739"/>
                    <a:pt x="24" y="739"/>
                    <a:pt x="25" y="739"/>
                  </a:cubicBezTo>
                  <a:cubicBezTo>
                    <a:pt x="25" y="739"/>
                    <a:pt x="25" y="740"/>
                    <a:pt x="26" y="740"/>
                  </a:cubicBezTo>
                  <a:cubicBezTo>
                    <a:pt x="25" y="740"/>
                    <a:pt x="26" y="741"/>
                    <a:pt x="26" y="742"/>
                  </a:cubicBezTo>
                  <a:cubicBezTo>
                    <a:pt x="26" y="742"/>
                    <a:pt x="26" y="742"/>
                    <a:pt x="26" y="742"/>
                  </a:cubicBezTo>
                  <a:cubicBezTo>
                    <a:pt x="26" y="743"/>
                    <a:pt x="27" y="745"/>
                    <a:pt x="28" y="745"/>
                  </a:cubicBezTo>
                  <a:cubicBezTo>
                    <a:pt x="28" y="745"/>
                    <a:pt x="28" y="745"/>
                    <a:pt x="28" y="746"/>
                  </a:cubicBezTo>
                  <a:cubicBezTo>
                    <a:pt x="27" y="746"/>
                    <a:pt x="27" y="746"/>
                    <a:pt x="27" y="746"/>
                  </a:cubicBezTo>
                  <a:cubicBezTo>
                    <a:pt x="29" y="747"/>
                    <a:pt x="29" y="747"/>
                    <a:pt x="29" y="747"/>
                  </a:cubicBezTo>
                  <a:cubicBezTo>
                    <a:pt x="29" y="747"/>
                    <a:pt x="29" y="747"/>
                    <a:pt x="29" y="747"/>
                  </a:cubicBezTo>
                  <a:cubicBezTo>
                    <a:pt x="29" y="748"/>
                    <a:pt x="29" y="748"/>
                    <a:pt x="29" y="748"/>
                  </a:cubicBezTo>
                  <a:cubicBezTo>
                    <a:pt x="29" y="748"/>
                    <a:pt x="28" y="749"/>
                    <a:pt x="29" y="750"/>
                  </a:cubicBezTo>
                  <a:cubicBezTo>
                    <a:pt x="29" y="751"/>
                    <a:pt x="30" y="751"/>
                    <a:pt x="31" y="752"/>
                  </a:cubicBezTo>
                  <a:cubicBezTo>
                    <a:pt x="31" y="752"/>
                    <a:pt x="31" y="752"/>
                    <a:pt x="31" y="752"/>
                  </a:cubicBezTo>
                  <a:cubicBezTo>
                    <a:pt x="30" y="753"/>
                    <a:pt x="31" y="754"/>
                    <a:pt x="31" y="755"/>
                  </a:cubicBezTo>
                  <a:cubicBezTo>
                    <a:pt x="31" y="755"/>
                    <a:pt x="31" y="756"/>
                    <a:pt x="31" y="756"/>
                  </a:cubicBezTo>
                  <a:cubicBezTo>
                    <a:pt x="31" y="756"/>
                    <a:pt x="31" y="756"/>
                    <a:pt x="31" y="757"/>
                  </a:cubicBezTo>
                  <a:cubicBezTo>
                    <a:pt x="31" y="757"/>
                    <a:pt x="31" y="758"/>
                    <a:pt x="32" y="759"/>
                  </a:cubicBezTo>
                  <a:cubicBezTo>
                    <a:pt x="32" y="759"/>
                    <a:pt x="32" y="759"/>
                    <a:pt x="33" y="759"/>
                  </a:cubicBezTo>
                  <a:cubicBezTo>
                    <a:pt x="33" y="760"/>
                    <a:pt x="33" y="760"/>
                    <a:pt x="33" y="760"/>
                  </a:cubicBezTo>
                  <a:cubicBezTo>
                    <a:pt x="33" y="760"/>
                    <a:pt x="34" y="761"/>
                    <a:pt x="35" y="761"/>
                  </a:cubicBezTo>
                  <a:cubicBezTo>
                    <a:pt x="35" y="761"/>
                    <a:pt x="35" y="761"/>
                    <a:pt x="35" y="762"/>
                  </a:cubicBezTo>
                  <a:cubicBezTo>
                    <a:pt x="36" y="762"/>
                    <a:pt x="36" y="762"/>
                    <a:pt x="36" y="762"/>
                  </a:cubicBezTo>
                  <a:cubicBezTo>
                    <a:pt x="36" y="762"/>
                    <a:pt x="36" y="762"/>
                    <a:pt x="36" y="762"/>
                  </a:cubicBezTo>
                  <a:cubicBezTo>
                    <a:pt x="36" y="763"/>
                    <a:pt x="36" y="763"/>
                    <a:pt x="36" y="763"/>
                  </a:cubicBezTo>
                  <a:cubicBezTo>
                    <a:pt x="36" y="763"/>
                    <a:pt x="36" y="763"/>
                    <a:pt x="35" y="764"/>
                  </a:cubicBezTo>
                  <a:cubicBezTo>
                    <a:pt x="35" y="764"/>
                    <a:pt x="35" y="765"/>
                    <a:pt x="36" y="766"/>
                  </a:cubicBezTo>
                  <a:cubicBezTo>
                    <a:pt x="36" y="766"/>
                    <a:pt x="37" y="766"/>
                    <a:pt x="37" y="766"/>
                  </a:cubicBezTo>
                  <a:cubicBezTo>
                    <a:pt x="37" y="766"/>
                    <a:pt x="37" y="766"/>
                    <a:pt x="37" y="766"/>
                  </a:cubicBezTo>
                  <a:cubicBezTo>
                    <a:pt x="38" y="767"/>
                    <a:pt x="40" y="768"/>
                    <a:pt x="41" y="768"/>
                  </a:cubicBezTo>
                  <a:cubicBezTo>
                    <a:pt x="41" y="768"/>
                    <a:pt x="41" y="768"/>
                    <a:pt x="41" y="768"/>
                  </a:cubicBezTo>
                  <a:cubicBezTo>
                    <a:pt x="41" y="768"/>
                    <a:pt x="41" y="768"/>
                    <a:pt x="41" y="768"/>
                  </a:cubicBezTo>
                  <a:cubicBezTo>
                    <a:pt x="41" y="768"/>
                    <a:pt x="41" y="768"/>
                    <a:pt x="41" y="768"/>
                  </a:cubicBezTo>
                  <a:cubicBezTo>
                    <a:pt x="42" y="769"/>
                    <a:pt x="42" y="769"/>
                    <a:pt x="42" y="769"/>
                  </a:cubicBezTo>
                  <a:cubicBezTo>
                    <a:pt x="43" y="769"/>
                    <a:pt x="43" y="769"/>
                    <a:pt x="43" y="769"/>
                  </a:cubicBezTo>
                  <a:cubicBezTo>
                    <a:pt x="43" y="769"/>
                    <a:pt x="44" y="770"/>
                    <a:pt x="45" y="770"/>
                  </a:cubicBezTo>
                  <a:cubicBezTo>
                    <a:pt x="45" y="770"/>
                    <a:pt x="45" y="770"/>
                    <a:pt x="45" y="771"/>
                  </a:cubicBezTo>
                  <a:cubicBezTo>
                    <a:pt x="45" y="772"/>
                    <a:pt x="47" y="773"/>
                    <a:pt x="48" y="774"/>
                  </a:cubicBezTo>
                  <a:cubicBezTo>
                    <a:pt x="48" y="773"/>
                    <a:pt x="48" y="773"/>
                    <a:pt x="48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8" y="774"/>
                    <a:pt x="49" y="774"/>
                    <a:pt x="49" y="775"/>
                  </a:cubicBezTo>
                  <a:cubicBezTo>
                    <a:pt x="49" y="775"/>
                    <a:pt x="49" y="775"/>
                    <a:pt x="50" y="775"/>
                  </a:cubicBezTo>
                  <a:cubicBezTo>
                    <a:pt x="50" y="776"/>
                    <a:pt x="50" y="776"/>
                    <a:pt x="51" y="776"/>
                  </a:cubicBezTo>
                  <a:cubicBezTo>
                    <a:pt x="51" y="776"/>
                    <a:pt x="51" y="776"/>
                    <a:pt x="51" y="776"/>
                  </a:cubicBezTo>
                  <a:cubicBezTo>
                    <a:pt x="52" y="777"/>
                    <a:pt x="53" y="778"/>
                    <a:pt x="54" y="779"/>
                  </a:cubicBezTo>
                  <a:cubicBezTo>
                    <a:pt x="54" y="779"/>
                    <a:pt x="54" y="779"/>
                    <a:pt x="54" y="779"/>
                  </a:cubicBezTo>
                  <a:cubicBezTo>
                    <a:pt x="55" y="779"/>
                    <a:pt x="55" y="780"/>
                    <a:pt x="55" y="780"/>
                  </a:cubicBezTo>
                  <a:cubicBezTo>
                    <a:pt x="56" y="781"/>
                    <a:pt x="57" y="781"/>
                    <a:pt x="58" y="782"/>
                  </a:cubicBezTo>
                  <a:cubicBezTo>
                    <a:pt x="58" y="783"/>
                    <a:pt x="58" y="783"/>
                    <a:pt x="58" y="783"/>
                  </a:cubicBezTo>
                  <a:cubicBezTo>
                    <a:pt x="59" y="785"/>
                    <a:pt x="60" y="786"/>
                    <a:pt x="62" y="788"/>
                  </a:cubicBezTo>
                  <a:cubicBezTo>
                    <a:pt x="63" y="789"/>
                    <a:pt x="64" y="790"/>
                    <a:pt x="66" y="791"/>
                  </a:cubicBezTo>
                  <a:cubicBezTo>
                    <a:pt x="66" y="791"/>
                    <a:pt x="67" y="791"/>
                    <a:pt x="67" y="791"/>
                  </a:cubicBezTo>
                  <a:cubicBezTo>
                    <a:pt x="68" y="792"/>
                    <a:pt x="68" y="792"/>
                    <a:pt x="69" y="792"/>
                  </a:cubicBezTo>
                  <a:cubicBezTo>
                    <a:pt x="70" y="793"/>
                    <a:pt x="70" y="793"/>
                    <a:pt x="70" y="793"/>
                  </a:cubicBezTo>
                  <a:cubicBezTo>
                    <a:pt x="71" y="793"/>
                    <a:pt x="71" y="793"/>
                    <a:pt x="71" y="793"/>
                  </a:cubicBezTo>
                  <a:cubicBezTo>
                    <a:pt x="72" y="793"/>
                    <a:pt x="72" y="793"/>
                    <a:pt x="72" y="793"/>
                  </a:cubicBezTo>
                  <a:cubicBezTo>
                    <a:pt x="72" y="794"/>
                    <a:pt x="73" y="794"/>
                    <a:pt x="73" y="794"/>
                  </a:cubicBezTo>
                  <a:cubicBezTo>
                    <a:pt x="73" y="794"/>
                    <a:pt x="74" y="794"/>
                    <a:pt x="74" y="794"/>
                  </a:cubicBezTo>
                  <a:cubicBezTo>
                    <a:pt x="74" y="794"/>
                    <a:pt x="74" y="794"/>
                    <a:pt x="74" y="794"/>
                  </a:cubicBezTo>
                  <a:cubicBezTo>
                    <a:pt x="76" y="794"/>
                    <a:pt x="76" y="794"/>
                    <a:pt x="76" y="794"/>
                  </a:cubicBezTo>
                  <a:cubicBezTo>
                    <a:pt x="76" y="794"/>
                    <a:pt x="77" y="794"/>
                    <a:pt x="77" y="794"/>
                  </a:cubicBezTo>
                  <a:cubicBezTo>
                    <a:pt x="78" y="794"/>
                    <a:pt x="78" y="794"/>
                    <a:pt x="79" y="794"/>
                  </a:cubicBezTo>
                  <a:cubicBezTo>
                    <a:pt x="79" y="793"/>
                    <a:pt x="80" y="793"/>
                    <a:pt x="80" y="793"/>
                  </a:cubicBezTo>
                  <a:cubicBezTo>
                    <a:pt x="80" y="793"/>
                    <a:pt x="80" y="793"/>
                    <a:pt x="80" y="793"/>
                  </a:cubicBezTo>
                  <a:cubicBezTo>
                    <a:pt x="81" y="793"/>
                    <a:pt x="81" y="793"/>
                    <a:pt x="82" y="793"/>
                  </a:cubicBezTo>
                  <a:cubicBezTo>
                    <a:pt x="83" y="793"/>
                    <a:pt x="85" y="792"/>
                    <a:pt x="86" y="791"/>
                  </a:cubicBezTo>
                  <a:cubicBezTo>
                    <a:pt x="86" y="791"/>
                    <a:pt x="87" y="791"/>
                    <a:pt x="87" y="790"/>
                  </a:cubicBezTo>
                  <a:cubicBezTo>
                    <a:pt x="87" y="790"/>
                    <a:pt x="87" y="789"/>
                    <a:pt x="88" y="789"/>
                  </a:cubicBezTo>
                  <a:cubicBezTo>
                    <a:pt x="88" y="789"/>
                    <a:pt x="89" y="789"/>
                    <a:pt x="89" y="788"/>
                  </a:cubicBezTo>
                  <a:cubicBezTo>
                    <a:pt x="90" y="788"/>
                    <a:pt x="91" y="788"/>
                    <a:pt x="92" y="788"/>
                  </a:cubicBezTo>
                  <a:cubicBezTo>
                    <a:pt x="94" y="788"/>
                    <a:pt x="94" y="788"/>
                    <a:pt x="94" y="788"/>
                  </a:cubicBezTo>
                  <a:cubicBezTo>
                    <a:pt x="95" y="787"/>
                    <a:pt x="95" y="787"/>
                    <a:pt x="96" y="787"/>
                  </a:cubicBezTo>
                  <a:cubicBezTo>
                    <a:pt x="97" y="787"/>
                    <a:pt x="98" y="787"/>
                    <a:pt x="98" y="788"/>
                  </a:cubicBezTo>
                  <a:cubicBezTo>
                    <a:pt x="99" y="788"/>
                    <a:pt x="101" y="788"/>
                    <a:pt x="102" y="788"/>
                  </a:cubicBezTo>
                  <a:cubicBezTo>
                    <a:pt x="103" y="788"/>
                    <a:pt x="104" y="787"/>
                    <a:pt x="104" y="786"/>
                  </a:cubicBezTo>
                  <a:cubicBezTo>
                    <a:pt x="104" y="786"/>
                    <a:pt x="104" y="785"/>
                    <a:pt x="104" y="785"/>
                  </a:cubicBezTo>
                  <a:cubicBezTo>
                    <a:pt x="104" y="785"/>
                    <a:pt x="104" y="785"/>
                    <a:pt x="104" y="785"/>
                  </a:cubicBezTo>
                  <a:cubicBezTo>
                    <a:pt x="104" y="785"/>
                    <a:pt x="105" y="784"/>
                    <a:pt x="105" y="784"/>
                  </a:cubicBezTo>
                  <a:cubicBezTo>
                    <a:pt x="105" y="784"/>
                    <a:pt x="105" y="785"/>
                    <a:pt x="105" y="785"/>
                  </a:cubicBezTo>
                  <a:cubicBezTo>
                    <a:pt x="105" y="785"/>
                    <a:pt x="106" y="786"/>
                    <a:pt x="106" y="786"/>
                  </a:cubicBezTo>
                  <a:cubicBezTo>
                    <a:pt x="107" y="787"/>
                    <a:pt x="108" y="787"/>
                    <a:pt x="109" y="787"/>
                  </a:cubicBezTo>
                  <a:cubicBezTo>
                    <a:pt x="110" y="788"/>
                    <a:pt x="110" y="788"/>
                    <a:pt x="112" y="788"/>
                  </a:cubicBezTo>
                  <a:cubicBezTo>
                    <a:pt x="112" y="788"/>
                    <a:pt x="112" y="788"/>
                    <a:pt x="112" y="788"/>
                  </a:cubicBezTo>
                  <a:cubicBezTo>
                    <a:pt x="112" y="787"/>
                    <a:pt x="112" y="787"/>
                    <a:pt x="112" y="787"/>
                  </a:cubicBezTo>
                  <a:cubicBezTo>
                    <a:pt x="113" y="788"/>
                    <a:pt x="113" y="788"/>
                    <a:pt x="113" y="788"/>
                  </a:cubicBezTo>
                  <a:cubicBezTo>
                    <a:pt x="113" y="788"/>
                    <a:pt x="114" y="788"/>
                    <a:pt x="114" y="788"/>
                  </a:cubicBezTo>
                  <a:cubicBezTo>
                    <a:pt x="115" y="789"/>
                    <a:pt x="115" y="789"/>
                    <a:pt x="115" y="789"/>
                  </a:cubicBezTo>
                  <a:cubicBezTo>
                    <a:pt x="115" y="789"/>
                    <a:pt x="116" y="789"/>
                    <a:pt x="117" y="790"/>
                  </a:cubicBezTo>
                  <a:cubicBezTo>
                    <a:pt x="117" y="790"/>
                    <a:pt x="117" y="790"/>
                    <a:pt x="117" y="790"/>
                  </a:cubicBezTo>
                  <a:cubicBezTo>
                    <a:pt x="117" y="790"/>
                    <a:pt x="117" y="790"/>
                    <a:pt x="118" y="790"/>
                  </a:cubicBezTo>
                  <a:cubicBezTo>
                    <a:pt x="118" y="790"/>
                    <a:pt x="118" y="790"/>
                    <a:pt x="118" y="791"/>
                  </a:cubicBezTo>
                  <a:cubicBezTo>
                    <a:pt x="118" y="791"/>
                    <a:pt x="119" y="791"/>
                    <a:pt x="119" y="791"/>
                  </a:cubicBezTo>
                  <a:cubicBezTo>
                    <a:pt x="119" y="792"/>
                    <a:pt x="120" y="792"/>
                    <a:pt x="120" y="792"/>
                  </a:cubicBezTo>
                  <a:cubicBezTo>
                    <a:pt x="121" y="792"/>
                    <a:pt x="122" y="791"/>
                    <a:pt x="122" y="791"/>
                  </a:cubicBezTo>
                  <a:cubicBezTo>
                    <a:pt x="122" y="790"/>
                    <a:pt x="122" y="790"/>
                    <a:pt x="122" y="790"/>
                  </a:cubicBezTo>
                  <a:cubicBezTo>
                    <a:pt x="123" y="790"/>
                    <a:pt x="123" y="790"/>
                    <a:pt x="124" y="789"/>
                  </a:cubicBezTo>
                  <a:cubicBezTo>
                    <a:pt x="124" y="789"/>
                    <a:pt x="124" y="789"/>
                    <a:pt x="124" y="789"/>
                  </a:cubicBezTo>
                  <a:cubicBezTo>
                    <a:pt x="124" y="788"/>
                    <a:pt x="124" y="788"/>
                    <a:pt x="124" y="788"/>
                  </a:cubicBezTo>
                  <a:cubicBezTo>
                    <a:pt x="124" y="789"/>
                    <a:pt x="124" y="789"/>
                    <a:pt x="124" y="789"/>
                  </a:cubicBezTo>
                  <a:cubicBezTo>
                    <a:pt x="125" y="789"/>
                    <a:pt x="125" y="789"/>
                    <a:pt x="125" y="789"/>
                  </a:cubicBezTo>
                  <a:cubicBezTo>
                    <a:pt x="125" y="789"/>
                    <a:pt x="125" y="789"/>
                    <a:pt x="126" y="789"/>
                  </a:cubicBezTo>
                  <a:cubicBezTo>
                    <a:pt x="126" y="788"/>
                    <a:pt x="127" y="788"/>
                    <a:pt x="127" y="787"/>
                  </a:cubicBezTo>
                  <a:cubicBezTo>
                    <a:pt x="128" y="787"/>
                    <a:pt x="128" y="787"/>
                    <a:pt x="128" y="787"/>
                  </a:cubicBezTo>
                  <a:cubicBezTo>
                    <a:pt x="128" y="787"/>
                    <a:pt x="129" y="786"/>
                    <a:pt x="129" y="786"/>
                  </a:cubicBezTo>
                  <a:cubicBezTo>
                    <a:pt x="129" y="786"/>
                    <a:pt x="130" y="787"/>
                    <a:pt x="130" y="787"/>
                  </a:cubicBezTo>
                  <a:cubicBezTo>
                    <a:pt x="131" y="787"/>
                    <a:pt x="131" y="787"/>
                    <a:pt x="131" y="787"/>
                  </a:cubicBezTo>
                  <a:cubicBezTo>
                    <a:pt x="131" y="786"/>
                    <a:pt x="132" y="786"/>
                    <a:pt x="132" y="786"/>
                  </a:cubicBezTo>
                  <a:cubicBezTo>
                    <a:pt x="132" y="785"/>
                    <a:pt x="132" y="785"/>
                    <a:pt x="132" y="785"/>
                  </a:cubicBezTo>
                  <a:cubicBezTo>
                    <a:pt x="133" y="785"/>
                    <a:pt x="133" y="785"/>
                    <a:pt x="133" y="785"/>
                  </a:cubicBezTo>
                  <a:cubicBezTo>
                    <a:pt x="134" y="785"/>
                    <a:pt x="134" y="785"/>
                    <a:pt x="135" y="784"/>
                  </a:cubicBezTo>
                  <a:cubicBezTo>
                    <a:pt x="136" y="784"/>
                    <a:pt x="137" y="783"/>
                    <a:pt x="138" y="783"/>
                  </a:cubicBezTo>
                  <a:cubicBezTo>
                    <a:pt x="138" y="783"/>
                    <a:pt x="138" y="783"/>
                    <a:pt x="138" y="783"/>
                  </a:cubicBezTo>
                  <a:cubicBezTo>
                    <a:pt x="139" y="782"/>
                    <a:pt x="139" y="782"/>
                    <a:pt x="140" y="782"/>
                  </a:cubicBezTo>
                  <a:cubicBezTo>
                    <a:pt x="140" y="782"/>
                    <a:pt x="141" y="782"/>
                    <a:pt x="142" y="782"/>
                  </a:cubicBezTo>
                  <a:cubicBezTo>
                    <a:pt x="143" y="782"/>
                    <a:pt x="144" y="781"/>
                    <a:pt x="145" y="781"/>
                  </a:cubicBezTo>
                  <a:cubicBezTo>
                    <a:pt x="146" y="781"/>
                    <a:pt x="146" y="780"/>
                    <a:pt x="146" y="780"/>
                  </a:cubicBezTo>
                  <a:cubicBezTo>
                    <a:pt x="146" y="780"/>
                    <a:pt x="146" y="780"/>
                    <a:pt x="146" y="780"/>
                  </a:cubicBezTo>
                  <a:cubicBezTo>
                    <a:pt x="148" y="779"/>
                    <a:pt x="148" y="779"/>
                    <a:pt x="148" y="779"/>
                  </a:cubicBezTo>
                  <a:cubicBezTo>
                    <a:pt x="148" y="779"/>
                    <a:pt x="148" y="779"/>
                    <a:pt x="148" y="779"/>
                  </a:cubicBezTo>
                  <a:cubicBezTo>
                    <a:pt x="148" y="779"/>
                    <a:pt x="148" y="779"/>
                    <a:pt x="148" y="779"/>
                  </a:cubicBezTo>
                  <a:cubicBezTo>
                    <a:pt x="149" y="778"/>
                    <a:pt x="149" y="778"/>
                    <a:pt x="149" y="778"/>
                  </a:cubicBezTo>
                  <a:cubicBezTo>
                    <a:pt x="148" y="778"/>
                    <a:pt x="148" y="778"/>
                    <a:pt x="148" y="778"/>
                  </a:cubicBezTo>
                  <a:cubicBezTo>
                    <a:pt x="149" y="778"/>
                    <a:pt x="149" y="778"/>
                    <a:pt x="149" y="778"/>
                  </a:cubicBezTo>
                  <a:cubicBezTo>
                    <a:pt x="149" y="777"/>
                    <a:pt x="149" y="777"/>
                    <a:pt x="149" y="777"/>
                  </a:cubicBezTo>
                  <a:cubicBezTo>
                    <a:pt x="149" y="777"/>
                    <a:pt x="149" y="777"/>
                    <a:pt x="149" y="777"/>
                  </a:cubicBezTo>
                  <a:cubicBezTo>
                    <a:pt x="150" y="777"/>
                    <a:pt x="150" y="777"/>
                    <a:pt x="150" y="777"/>
                  </a:cubicBezTo>
                  <a:cubicBezTo>
                    <a:pt x="150" y="777"/>
                    <a:pt x="150" y="777"/>
                    <a:pt x="150" y="777"/>
                  </a:cubicBezTo>
                  <a:cubicBezTo>
                    <a:pt x="150" y="777"/>
                    <a:pt x="150" y="777"/>
                    <a:pt x="150" y="777"/>
                  </a:cubicBezTo>
                  <a:cubicBezTo>
                    <a:pt x="152" y="777"/>
                    <a:pt x="152" y="777"/>
                    <a:pt x="152" y="777"/>
                  </a:cubicBezTo>
                  <a:cubicBezTo>
                    <a:pt x="153" y="776"/>
                    <a:pt x="154" y="776"/>
                    <a:pt x="156" y="776"/>
                  </a:cubicBezTo>
                  <a:cubicBezTo>
                    <a:pt x="156" y="776"/>
                    <a:pt x="157" y="776"/>
                    <a:pt x="157" y="776"/>
                  </a:cubicBezTo>
                  <a:cubicBezTo>
                    <a:pt x="158" y="776"/>
                    <a:pt x="158" y="776"/>
                    <a:pt x="158" y="776"/>
                  </a:cubicBezTo>
                  <a:cubicBezTo>
                    <a:pt x="158" y="776"/>
                    <a:pt x="158" y="776"/>
                    <a:pt x="159" y="776"/>
                  </a:cubicBezTo>
                  <a:cubicBezTo>
                    <a:pt x="160" y="776"/>
                    <a:pt x="160" y="776"/>
                    <a:pt x="161" y="776"/>
                  </a:cubicBezTo>
                  <a:cubicBezTo>
                    <a:pt x="161" y="776"/>
                    <a:pt x="161" y="776"/>
                    <a:pt x="161" y="776"/>
                  </a:cubicBezTo>
                  <a:cubicBezTo>
                    <a:pt x="162" y="776"/>
                    <a:pt x="162" y="776"/>
                    <a:pt x="162" y="776"/>
                  </a:cubicBezTo>
                  <a:cubicBezTo>
                    <a:pt x="162" y="776"/>
                    <a:pt x="163" y="776"/>
                    <a:pt x="163" y="776"/>
                  </a:cubicBezTo>
                  <a:cubicBezTo>
                    <a:pt x="164" y="776"/>
                    <a:pt x="165" y="776"/>
                    <a:pt x="166" y="776"/>
                  </a:cubicBezTo>
                  <a:cubicBezTo>
                    <a:pt x="166" y="776"/>
                    <a:pt x="167" y="776"/>
                    <a:pt x="167" y="776"/>
                  </a:cubicBezTo>
                  <a:cubicBezTo>
                    <a:pt x="168" y="776"/>
                    <a:pt x="168" y="776"/>
                    <a:pt x="168" y="776"/>
                  </a:cubicBezTo>
                  <a:cubicBezTo>
                    <a:pt x="169" y="776"/>
                    <a:pt x="170" y="776"/>
                    <a:pt x="170" y="776"/>
                  </a:cubicBezTo>
                  <a:cubicBezTo>
                    <a:pt x="171" y="776"/>
                    <a:pt x="171" y="776"/>
                    <a:pt x="171" y="776"/>
                  </a:cubicBezTo>
                  <a:cubicBezTo>
                    <a:pt x="172" y="776"/>
                    <a:pt x="173" y="776"/>
                    <a:pt x="173" y="777"/>
                  </a:cubicBezTo>
                  <a:cubicBezTo>
                    <a:pt x="174" y="777"/>
                    <a:pt x="174" y="777"/>
                    <a:pt x="174" y="778"/>
                  </a:cubicBezTo>
                  <a:cubicBezTo>
                    <a:pt x="175" y="778"/>
                    <a:pt x="175" y="779"/>
                    <a:pt x="175" y="779"/>
                  </a:cubicBezTo>
                  <a:cubicBezTo>
                    <a:pt x="176" y="780"/>
                    <a:pt x="177" y="780"/>
                    <a:pt x="178" y="780"/>
                  </a:cubicBezTo>
                  <a:cubicBezTo>
                    <a:pt x="178" y="780"/>
                    <a:pt x="178" y="780"/>
                    <a:pt x="178" y="780"/>
                  </a:cubicBezTo>
                  <a:cubicBezTo>
                    <a:pt x="178" y="780"/>
                    <a:pt x="178" y="781"/>
                    <a:pt x="178" y="781"/>
                  </a:cubicBezTo>
                  <a:cubicBezTo>
                    <a:pt x="178" y="781"/>
                    <a:pt x="178" y="781"/>
                    <a:pt x="178" y="781"/>
                  </a:cubicBezTo>
                  <a:cubicBezTo>
                    <a:pt x="178" y="782"/>
                    <a:pt x="178" y="782"/>
                    <a:pt x="178" y="783"/>
                  </a:cubicBezTo>
                  <a:cubicBezTo>
                    <a:pt x="178" y="783"/>
                    <a:pt x="178" y="784"/>
                    <a:pt x="179" y="785"/>
                  </a:cubicBezTo>
                  <a:cubicBezTo>
                    <a:pt x="179" y="785"/>
                    <a:pt x="179" y="785"/>
                    <a:pt x="179" y="785"/>
                  </a:cubicBezTo>
                  <a:cubicBezTo>
                    <a:pt x="178" y="786"/>
                    <a:pt x="179" y="787"/>
                    <a:pt x="180" y="788"/>
                  </a:cubicBezTo>
                  <a:cubicBezTo>
                    <a:pt x="180" y="789"/>
                    <a:pt x="180" y="790"/>
                    <a:pt x="180" y="790"/>
                  </a:cubicBezTo>
                  <a:cubicBezTo>
                    <a:pt x="181" y="791"/>
                    <a:pt x="181" y="791"/>
                    <a:pt x="181" y="791"/>
                  </a:cubicBezTo>
                  <a:cubicBezTo>
                    <a:pt x="181" y="791"/>
                    <a:pt x="181" y="791"/>
                    <a:pt x="181" y="791"/>
                  </a:cubicBezTo>
                  <a:cubicBezTo>
                    <a:pt x="181" y="792"/>
                    <a:pt x="181" y="793"/>
                    <a:pt x="182" y="794"/>
                  </a:cubicBezTo>
                  <a:cubicBezTo>
                    <a:pt x="183" y="795"/>
                    <a:pt x="183" y="796"/>
                    <a:pt x="184" y="796"/>
                  </a:cubicBezTo>
                  <a:cubicBezTo>
                    <a:pt x="185" y="797"/>
                    <a:pt x="186" y="797"/>
                    <a:pt x="187" y="797"/>
                  </a:cubicBezTo>
                  <a:cubicBezTo>
                    <a:pt x="187" y="797"/>
                    <a:pt x="187" y="797"/>
                    <a:pt x="187" y="797"/>
                  </a:cubicBezTo>
                  <a:cubicBezTo>
                    <a:pt x="188" y="797"/>
                    <a:pt x="189" y="797"/>
                    <a:pt x="189" y="797"/>
                  </a:cubicBezTo>
                  <a:cubicBezTo>
                    <a:pt x="189" y="796"/>
                    <a:pt x="189" y="796"/>
                    <a:pt x="189" y="796"/>
                  </a:cubicBezTo>
                  <a:cubicBezTo>
                    <a:pt x="189" y="797"/>
                    <a:pt x="189" y="797"/>
                    <a:pt x="189" y="797"/>
                  </a:cubicBezTo>
                  <a:cubicBezTo>
                    <a:pt x="189" y="797"/>
                    <a:pt x="190" y="797"/>
                    <a:pt x="190" y="797"/>
                  </a:cubicBezTo>
                  <a:cubicBezTo>
                    <a:pt x="190" y="797"/>
                    <a:pt x="190" y="797"/>
                    <a:pt x="190" y="797"/>
                  </a:cubicBezTo>
                  <a:cubicBezTo>
                    <a:pt x="191" y="797"/>
                    <a:pt x="191" y="797"/>
                    <a:pt x="191" y="797"/>
                  </a:cubicBezTo>
                  <a:cubicBezTo>
                    <a:pt x="192" y="797"/>
                    <a:pt x="192" y="796"/>
                    <a:pt x="192" y="796"/>
                  </a:cubicBezTo>
                  <a:cubicBezTo>
                    <a:pt x="192" y="797"/>
                    <a:pt x="192" y="797"/>
                    <a:pt x="192" y="797"/>
                  </a:cubicBezTo>
                  <a:cubicBezTo>
                    <a:pt x="193" y="797"/>
                    <a:pt x="194" y="797"/>
                    <a:pt x="194" y="797"/>
                  </a:cubicBezTo>
                  <a:cubicBezTo>
                    <a:pt x="195" y="797"/>
                    <a:pt x="195" y="797"/>
                    <a:pt x="195" y="797"/>
                  </a:cubicBezTo>
                  <a:cubicBezTo>
                    <a:pt x="196" y="797"/>
                    <a:pt x="196" y="797"/>
                    <a:pt x="196" y="796"/>
                  </a:cubicBezTo>
                  <a:cubicBezTo>
                    <a:pt x="197" y="796"/>
                    <a:pt x="197" y="797"/>
                    <a:pt x="197" y="797"/>
                  </a:cubicBezTo>
                  <a:cubicBezTo>
                    <a:pt x="198" y="797"/>
                    <a:pt x="198" y="797"/>
                    <a:pt x="198" y="797"/>
                  </a:cubicBezTo>
                  <a:cubicBezTo>
                    <a:pt x="198" y="797"/>
                    <a:pt x="199" y="796"/>
                    <a:pt x="199" y="796"/>
                  </a:cubicBezTo>
                  <a:cubicBezTo>
                    <a:pt x="200" y="796"/>
                    <a:pt x="200" y="795"/>
                    <a:pt x="201" y="795"/>
                  </a:cubicBezTo>
                  <a:cubicBezTo>
                    <a:pt x="201" y="795"/>
                    <a:pt x="202" y="795"/>
                    <a:pt x="202" y="795"/>
                  </a:cubicBezTo>
                  <a:cubicBezTo>
                    <a:pt x="203" y="795"/>
                    <a:pt x="204" y="795"/>
                    <a:pt x="204" y="795"/>
                  </a:cubicBezTo>
                  <a:cubicBezTo>
                    <a:pt x="205" y="794"/>
                    <a:pt x="205" y="794"/>
                    <a:pt x="206" y="794"/>
                  </a:cubicBezTo>
                  <a:cubicBezTo>
                    <a:pt x="206" y="794"/>
                    <a:pt x="206" y="794"/>
                    <a:pt x="206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8" y="794"/>
                    <a:pt x="208" y="794"/>
                    <a:pt x="209" y="794"/>
                  </a:cubicBezTo>
                  <a:cubicBezTo>
                    <a:pt x="209" y="794"/>
                    <a:pt x="209" y="794"/>
                    <a:pt x="209" y="794"/>
                  </a:cubicBezTo>
                  <a:cubicBezTo>
                    <a:pt x="209" y="794"/>
                    <a:pt x="210" y="794"/>
                    <a:pt x="210" y="794"/>
                  </a:cubicBezTo>
                  <a:cubicBezTo>
                    <a:pt x="210" y="794"/>
                    <a:pt x="210" y="795"/>
                    <a:pt x="210" y="795"/>
                  </a:cubicBezTo>
                  <a:cubicBezTo>
                    <a:pt x="210" y="796"/>
                    <a:pt x="210" y="796"/>
                    <a:pt x="210" y="797"/>
                  </a:cubicBezTo>
                  <a:cubicBezTo>
                    <a:pt x="210" y="797"/>
                    <a:pt x="210" y="798"/>
                    <a:pt x="210" y="799"/>
                  </a:cubicBezTo>
                  <a:cubicBezTo>
                    <a:pt x="211" y="799"/>
                    <a:pt x="211" y="799"/>
                    <a:pt x="212" y="800"/>
                  </a:cubicBezTo>
                  <a:cubicBezTo>
                    <a:pt x="212" y="800"/>
                    <a:pt x="213" y="800"/>
                    <a:pt x="213" y="800"/>
                  </a:cubicBezTo>
                  <a:cubicBezTo>
                    <a:pt x="214" y="800"/>
                    <a:pt x="215" y="799"/>
                    <a:pt x="215" y="799"/>
                  </a:cubicBezTo>
                  <a:cubicBezTo>
                    <a:pt x="215" y="799"/>
                    <a:pt x="215" y="799"/>
                    <a:pt x="215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5" y="799"/>
                  </a:cubicBezTo>
                  <a:cubicBezTo>
                    <a:pt x="214" y="800"/>
                    <a:pt x="215" y="802"/>
                    <a:pt x="215" y="802"/>
                  </a:cubicBezTo>
                  <a:cubicBezTo>
                    <a:pt x="215" y="802"/>
                    <a:pt x="215" y="802"/>
                    <a:pt x="215" y="803"/>
                  </a:cubicBezTo>
                  <a:cubicBezTo>
                    <a:pt x="215" y="803"/>
                    <a:pt x="215" y="803"/>
                    <a:pt x="216" y="804"/>
                  </a:cubicBezTo>
                  <a:cubicBezTo>
                    <a:pt x="216" y="804"/>
                    <a:pt x="216" y="804"/>
                    <a:pt x="216" y="805"/>
                  </a:cubicBezTo>
                  <a:cubicBezTo>
                    <a:pt x="217" y="804"/>
                    <a:pt x="217" y="804"/>
                    <a:pt x="217" y="804"/>
                  </a:cubicBezTo>
                  <a:cubicBezTo>
                    <a:pt x="217" y="804"/>
                    <a:pt x="217" y="804"/>
                    <a:pt x="217" y="804"/>
                  </a:cubicBezTo>
                  <a:cubicBezTo>
                    <a:pt x="216" y="805"/>
                    <a:pt x="216" y="805"/>
                    <a:pt x="216" y="805"/>
                  </a:cubicBezTo>
                  <a:cubicBezTo>
                    <a:pt x="216" y="805"/>
                    <a:pt x="217" y="806"/>
                    <a:pt x="217" y="806"/>
                  </a:cubicBezTo>
                  <a:cubicBezTo>
                    <a:pt x="217" y="806"/>
                    <a:pt x="217" y="807"/>
                    <a:pt x="217" y="807"/>
                  </a:cubicBezTo>
                  <a:cubicBezTo>
                    <a:pt x="217" y="807"/>
                    <a:pt x="217" y="807"/>
                    <a:pt x="217" y="808"/>
                  </a:cubicBezTo>
                  <a:cubicBezTo>
                    <a:pt x="217" y="808"/>
                    <a:pt x="217" y="808"/>
                    <a:pt x="217" y="809"/>
                  </a:cubicBezTo>
                  <a:cubicBezTo>
                    <a:pt x="218" y="810"/>
                    <a:pt x="218" y="810"/>
                    <a:pt x="218" y="811"/>
                  </a:cubicBezTo>
                  <a:cubicBezTo>
                    <a:pt x="218" y="812"/>
                    <a:pt x="218" y="812"/>
                    <a:pt x="218" y="812"/>
                  </a:cubicBezTo>
                  <a:cubicBezTo>
                    <a:pt x="217" y="812"/>
                    <a:pt x="217" y="813"/>
                    <a:pt x="217" y="814"/>
                  </a:cubicBezTo>
                  <a:cubicBezTo>
                    <a:pt x="217" y="814"/>
                    <a:pt x="217" y="814"/>
                    <a:pt x="217" y="814"/>
                  </a:cubicBezTo>
                  <a:cubicBezTo>
                    <a:pt x="217" y="814"/>
                    <a:pt x="217" y="814"/>
                    <a:pt x="217" y="814"/>
                  </a:cubicBezTo>
                  <a:cubicBezTo>
                    <a:pt x="217" y="815"/>
                    <a:pt x="217" y="815"/>
                    <a:pt x="217" y="815"/>
                  </a:cubicBezTo>
                  <a:cubicBezTo>
                    <a:pt x="217" y="815"/>
                    <a:pt x="217" y="815"/>
                    <a:pt x="217" y="815"/>
                  </a:cubicBezTo>
                  <a:cubicBezTo>
                    <a:pt x="217" y="815"/>
                    <a:pt x="217" y="815"/>
                    <a:pt x="217" y="815"/>
                  </a:cubicBezTo>
                  <a:cubicBezTo>
                    <a:pt x="216" y="817"/>
                    <a:pt x="216" y="817"/>
                    <a:pt x="216" y="817"/>
                  </a:cubicBezTo>
                  <a:cubicBezTo>
                    <a:pt x="216" y="817"/>
                    <a:pt x="216" y="817"/>
                    <a:pt x="216" y="817"/>
                  </a:cubicBezTo>
                  <a:cubicBezTo>
                    <a:pt x="216" y="817"/>
                    <a:pt x="216" y="817"/>
                    <a:pt x="216" y="817"/>
                  </a:cubicBezTo>
                  <a:cubicBezTo>
                    <a:pt x="216" y="818"/>
                    <a:pt x="216" y="818"/>
                    <a:pt x="216" y="819"/>
                  </a:cubicBezTo>
                  <a:cubicBezTo>
                    <a:pt x="216" y="819"/>
                    <a:pt x="216" y="819"/>
                    <a:pt x="216" y="820"/>
                  </a:cubicBezTo>
                  <a:cubicBezTo>
                    <a:pt x="215" y="820"/>
                    <a:pt x="215" y="820"/>
                    <a:pt x="215" y="821"/>
                  </a:cubicBezTo>
                  <a:cubicBezTo>
                    <a:pt x="214" y="822"/>
                    <a:pt x="213" y="824"/>
                    <a:pt x="214" y="825"/>
                  </a:cubicBezTo>
                  <a:cubicBezTo>
                    <a:pt x="214" y="826"/>
                    <a:pt x="214" y="826"/>
                    <a:pt x="215" y="827"/>
                  </a:cubicBezTo>
                  <a:cubicBezTo>
                    <a:pt x="215" y="827"/>
                    <a:pt x="215" y="827"/>
                    <a:pt x="216" y="827"/>
                  </a:cubicBezTo>
                  <a:cubicBezTo>
                    <a:pt x="215" y="827"/>
                    <a:pt x="215" y="828"/>
                    <a:pt x="215" y="829"/>
                  </a:cubicBezTo>
                  <a:cubicBezTo>
                    <a:pt x="215" y="829"/>
                    <a:pt x="215" y="829"/>
                    <a:pt x="215" y="829"/>
                  </a:cubicBezTo>
                  <a:cubicBezTo>
                    <a:pt x="215" y="829"/>
                    <a:pt x="215" y="829"/>
                    <a:pt x="215" y="829"/>
                  </a:cubicBezTo>
                  <a:cubicBezTo>
                    <a:pt x="215" y="829"/>
                    <a:pt x="215" y="829"/>
                    <a:pt x="215" y="829"/>
                  </a:cubicBezTo>
                  <a:cubicBezTo>
                    <a:pt x="215" y="829"/>
                    <a:pt x="214" y="829"/>
                    <a:pt x="214" y="830"/>
                  </a:cubicBezTo>
                  <a:cubicBezTo>
                    <a:pt x="214" y="831"/>
                    <a:pt x="214" y="832"/>
                    <a:pt x="214" y="832"/>
                  </a:cubicBezTo>
                  <a:cubicBezTo>
                    <a:pt x="214" y="832"/>
                    <a:pt x="214" y="832"/>
                    <a:pt x="214" y="832"/>
                  </a:cubicBezTo>
                  <a:cubicBezTo>
                    <a:pt x="212" y="830"/>
                    <a:pt x="212" y="830"/>
                    <a:pt x="212" y="830"/>
                  </a:cubicBezTo>
                  <a:cubicBezTo>
                    <a:pt x="212" y="834"/>
                    <a:pt x="212" y="834"/>
                    <a:pt x="212" y="834"/>
                  </a:cubicBezTo>
                  <a:cubicBezTo>
                    <a:pt x="212" y="835"/>
                    <a:pt x="212" y="835"/>
                    <a:pt x="212" y="836"/>
                  </a:cubicBezTo>
                  <a:cubicBezTo>
                    <a:pt x="212" y="836"/>
                    <a:pt x="213" y="836"/>
                    <a:pt x="213" y="837"/>
                  </a:cubicBezTo>
                  <a:cubicBezTo>
                    <a:pt x="213" y="837"/>
                    <a:pt x="213" y="838"/>
                    <a:pt x="213" y="838"/>
                  </a:cubicBezTo>
                  <a:cubicBezTo>
                    <a:pt x="213" y="838"/>
                    <a:pt x="213" y="839"/>
                    <a:pt x="213" y="839"/>
                  </a:cubicBezTo>
                  <a:cubicBezTo>
                    <a:pt x="213" y="839"/>
                    <a:pt x="213" y="840"/>
                    <a:pt x="213" y="840"/>
                  </a:cubicBezTo>
                  <a:cubicBezTo>
                    <a:pt x="213" y="841"/>
                    <a:pt x="213" y="841"/>
                    <a:pt x="213" y="841"/>
                  </a:cubicBezTo>
                  <a:cubicBezTo>
                    <a:pt x="213" y="841"/>
                    <a:pt x="213" y="841"/>
                    <a:pt x="213" y="841"/>
                  </a:cubicBezTo>
                  <a:cubicBezTo>
                    <a:pt x="212" y="841"/>
                    <a:pt x="212" y="841"/>
                    <a:pt x="211" y="841"/>
                  </a:cubicBezTo>
                  <a:cubicBezTo>
                    <a:pt x="211" y="841"/>
                    <a:pt x="211" y="841"/>
                    <a:pt x="211" y="841"/>
                  </a:cubicBezTo>
                  <a:cubicBezTo>
                    <a:pt x="211" y="841"/>
                    <a:pt x="211" y="841"/>
                    <a:pt x="211" y="841"/>
                  </a:cubicBezTo>
                  <a:cubicBezTo>
                    <a:pt x="211" y="839"/>
                    <a:pt x="209" y="839"/>
                    <a:pt x="208" y="840"/>
                  </a:cubicBezTo>
                  <a:cubicBezTo>
                    <a:pt x="207" y="841"/>
                    <a:pt x="207" y="842"/>
                    <a:pt x="207" y="842"/>
                  </a:cubicBezTo>
                  <a:cubicBezTo>
                    <a:pt x="207" y="843"/>
                    <a:pt x="207" y="844"/>
                    <a:pt x="207" y="844"/>
                  </a:cubicBezTo>
                  <a:cubicBezTo>
                    <a:pt x="208" y="845"/>
                    <a:pt x="208" y="845"/>
                    <a:pt x="209" y="846"/>
                  </a:cubicBezTo>
                  <a:cubicBezTo>
                    <a:pt x="209" y="846"/>
                    <a:pt x="209" y="846"/>
                    <a:pt x="209" y="847"/>
                  </a:cubicBezTo>
                  <a:cubicBezTo>
                    <a:pt x="210" y="847"/>
                    <a:pt x="210" y="848"/>
                    <a:pt x="211" y="848"/>
                  </a:cubicBezTo>
                  <a:cubicBezTo>
                    <a:pt x="211" y="848"/>
                    <a:pt x="211" y="848"/>
                    <a:pt x="211" y="849"/>
                  </a:cubicBezTo>
                  <a:cubicBezTo>
                    <a:pt x="211" y="849"/>
                    <a:pt x="211" y="849"/>
                    <a:pt x="211" y="849"/>
                  </a:cubicBezTo>
                  <a:cubicBezTo>
                    <a:pt x="211" y="850"/>
                    <a:pt x="211" y="850"/>
                    <a:pt x="212" y="851"/>
                  </a:cubicBezTo>
                  <a:cubicBezTo>
                    <a:pt x="212" y="851"/>
                    <a:pt x="212" y="851"/>
                    <a:pt x="213" y="851"/>
                  </a:cubicBezTo>
                  <a:cubicBezTo>
                    <a:pt x="212" y="851"/>
                    <a:pt x="212" y="852"/>
                    <a:pt x="212" y="852"/>
                  </a:cubicBezTo>
                  <a:cubicBezTo>
                    <a:pt x="212" y="852"/>
                    <a:pt x="212" y="852"/>
                    <a:pt x="212" y="852"/>
                  </a:cubicBezTo>
                  <a:cubicBezTo>
                    <a:pt x="211" y="853"/>
                    <a:pt x="212" y="854"/>
                    <a:pt x="212" y="855"/>
                  </a:cubicBezTo>
                  <a:cubicBezTo>
                    <a:pt x="213" y="856"/>
                    <a:pt x="213" y="856"/>
                    <a:pt x="214" y="856"/>
                  </a:cubicBezTo>
                  <a:cubicBezTo>
                    <a:pt x="214" y="856"/>
                    <a:pt x="214" y="856"/>
                    <a:pt x="214" y="856"/>
                  </a:cubicBezTo>
                  <a:cubicBezTo>
                    <a:pt x="213" y="857"/>
                    <a:pt x="214" y="858"/>
                    <a:pt x="214" y="859"/>
                  </a:cubicBezTo>
                  <a:cubicBezTo>
                    <a:pt x="214" y="859"/>
                    <a:pt x="215" y="859"/>
                    <a:pt x="215" y="860"/>
                  </a:cubicBezTo>
                  <a:cubicBezTo>
                    <a:pt x="215" y="860"/>
                    <a:pt x="215" y="860"/>
                    <a:pt x="215" y="860"/>
                  </a:cubicBezTo>
                  <a:cubicBezTo>
                    <a:pt x="215" y="860"/>
                    <a:pt x="215" y="860"/>
                    <a:pt x="216" y="860"/>
                  </a:cubicBezTo>
                  <a:cubicBezTo>
                    <a:pt x="216" y="860"/>
                    <a:pt x="216" y="861"/>
                    <a:pt x="216" y="861"/>
                  </a:cubicBezTo>
                  <a:cubicBezTo>
                    <a:pt x="216" y="861"/>
                    <a:pt x="216" y="861"/>
                    <a:pt x="216" y="861"/>
                  </a:cubicBezTo>
                  <a:cubicBezTo>
                    <a:pt x="215" y="863"/>
                    <a:pt x="218" y="864"/>
                    <a:pt x="218" y="864"/>
                  </a:cubicBezTo>
                  <a:cubicBezTo>
                    <a:pt x="218" y="865"/>
                    <a:pt x="219" y="865"/>
                    <a:pt x="219" y="865"/>
                  </a:cubicBezTo>
                  <a:cubicBezTo>
                    <a:pt x="219" y="865"/>
                    <a:pt x="220" y="865"/>
                    <a:pt x="220" y="865"/>
                  </a:cubicBezTo>
                  <a:cubicBezTo>
                    <a:pt x="220" y="866"/>
                    <a:pt x="220" y="866"/>
                    <a:pt x="220" y="866"/>
                  </a:cubicBezTo>
                  <a:cubicBezTo>
                    <a:pt x="220" y="866"/>
                    <a:pt x="221" y="867"/>
                    <a:pt x="221" y="867"/>
                  </a:cubicBezTo>
                  <a:cubicBezTo>
                    <a:pt x="222" y="867"/>
                    <a:pt x="222" y="868"/>
                    <a:pt x="222" y="868"/>
                  </a:cubicBezTo>
                  <a:cubicBezTo>
                    <a:pt x="222" y="868"/>
                    <a:pt x="223" y="869"/>
                    <a:pt x="223" y="870"/>
                  </a:cubicBezTo>
                  <a:cubicBezTo>
                    <a:pt x="224" y="870"/>
                    <a:pt x="224" y="870"/>
                    <a:pt x="224" y="870"/>
                  </a:cubicBezTo>
                  <a:cubicBezTo>
                    <a:pt x="224" y="870"/>
                    <a:pt x="224" y="871"/>
                    <a:pt x="224" y="872"/>
                  </a:cubicBezTo>
                  <a:cubicBezTo>
                    <a:pt x="225" y="872"/>
                    <a:pt x="225" y="873"/>
                    <a:pt x="226" y="873"/>
                  </a:cubicBezTo>
                  <a:cubicBezTo>
                    <a:pt x="226" y="873"/>
                    <a:pt x="226" y="873"/>
                    <a:pt x="226" y="873"/>
                  </a:cubicBezTo>
                  <a:cubicBezTo>
                    <a:pt x="227" y="873"/>
                    <a:pt x="227" y="874"/>
                    <a:pt x="227" y="874"/>
                  </a:cubicBezTo>
                  <a:cubicBezTo>
                    <a:pt x="227" y="874"/>
                    <a:pt x="227" y="875"/>
                    <a:pt x="228" y="875"/>
                  </a:cubicBezTo>
                  <a:cubicBezTo>
                    <a:pt x="228" y="875"/>
                    <a:pt x="228" y="876"/>
                    <a:pt x="228" y="876"/>
                  </a:cubicBezTo>
                  <a:cubicBezTo>
                    <a:pt x="228" y="876"/>
                    <a:pt x="228" y="876"/>
                    <a:pt x="229" y="876"/>
                  </a:cubicBezTo>
                  <a:cubicBezTo>
                    <a:pt x="229" y="876"/>
                    <a:pt x="229" y="876"/>
                    <a:pt x="229" y="876"/>
                  </a:cubicBezTo>
                  <a:cubicBezTo>
                    <a:pt x="229" y="876"/>
                    <a:pt x="229" y="876"/>
                    <a:pt x="229" y="876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30" y="877"/>
                    <a:pt x="230" y="877"/>
                  </a:cubicBezTo>
                  <a:cubicBezTo>
                    <a:pt x="230" y="878"/>
                    <a:pt x="231" y="879"/>
                    <a:pt x="231" y="880"/>
                  </a:cubicBezTo>
                  <a:cubicBezTo>
                    <a:pt x="232" y="880"/>
                    <a:pt x="232" y="880"/>
                    <a:pt x="232" y="881"/>
                  </a:cubicBezTo>
                  <a:cubicBezTo>
                    <a:pt x="233" y="881"/>
                    <a:pt x="233" y="882"/>
                    <a:pt x="233" y="882"/>
                  </a:cubicBezTo>
                  <a:cubicBezTo>
                    <a:pt x="233" y="882"/>
                    <a:pt x="233" y="883"/>
                    <a:pt x="233" y="884"/>
                  </a:cubicBezTo>
                  <a:cubicBezTo>
                    <a:pt x="233" y="885"/>
                    <a:pt x="234" y="886"/>
                    <a:pt x="235" y="887"/>
                  </a:cubicBezTo>
                  <a:cubicBezTo>
                    <a:pt x="235" y="887"/>
                    <a:pt x="236" y="888"/>
                    <a:pt x="236" y="888"/>
                  </a:cubicBezTo>
                  <a:cubicBezTo>
                    <a:pt x="236" y="888"/>
                    <a:pt x="236" y="888"/>
                    <a:pt x="237" y="889"/>
                  </a:cubicBezTo>
                  <a:cubicBezTo>
                    <a:pt x="237" y="889"/>
                    <a:pt x="237" y="889"/>
                    <a:pt x="237" y="889"/>
                  </a:cubicBezTo>
                  <a:cubicBezTo>
                    <a:pt x="237" y="889"/>
                    <a:pt x="237" y="889"/>
                    <a:pt x="237" y="889"/>
                  </a:cubicBezTo>
                  <a:cubicBezTo>
                    <a:pt x="237" y="889"/>
                    <a:pt x="237" y="889"/>
                    <a:pt x="237" y="889"/>
                  </a:cubicBezTo>
                  <a:cubicBezTo>
                    <a:pt x="237" y="890"/>
                    <a:pt x="236" y="890"/>
                    <a:pt x="236" y="891"/>
                  </a:cubicBezTo>
                  <a:cubicBezTo>
                    <a:pt x="236" y="892"/>
                    <a:pt x="236" y="892"/>
                    <a:pt x="236" y="893"/>
                  </a:cubicBezTo>
                  <a:cubicBezTo>
                    <a:pt x="235" y="893"/>
                    <a:pt x="235" y="893"/>
                    <a:pt x="235" y="893"/>
                  </a:cubicBezTo>
                  <a:cubicBezTo>
                    <a:pt x="238" y="895"/>
                    <a:pt x="238" y="895"/>
                    <a:pt x="238" y="895"/>
                  </a:cubicBezTo>
                  <a:cubicBezTo>
                    <a:pt x="238" y="895"/>
                    <a:pt x="238" y="895"/>
                    <a:pt x="238" y="895"/>
                  </a:cubicBezTo>
                  <a:cubicBezTo>
                    <a:pt x="238" y="895"/>
                    <a:pt x="238" y="895"/>
                    <a:pt x="238" y="895"/>
                  </a:cubicBezTo>
                  <a:cubicBezTo>
                    <a:pt x="238" y="895"/>
                    <a:pt x="239" y="895"/>
                    <a:pt x="239" y="895"/>
                  </a:cubicBezTo>
                  <a:cubicBezTo>
                    <a:pt x="239" y="895"/>
                    <a:pt x="239" y="896"/>
                    <a:pt x="238" y="896"/>
                  </a:cubicBezTo>
                  <a:cubicBezTo>
                    <a:pt x="238" y="897"/>
                    <a:pt x="238" y="897"/>
                    <a:pt x="239" y="898"/>
                  </a:cubicBezTo>
                  <a:cubicBezTo>
                    <a:pt x="239" y="899"/>
                    <a:pt x="240" y="900"/>
                    <a:pt x="240" y="900"/>
                  </a:cubicBezTo>
                  <a:cubicBezTo>
                    <a:pt x="241" y="901"/>
                    <a:pt x="241" y="902"/>
                    <a:pt x="242" y="903"/>
                  </a:cubicBezTo>
                  <a:cubicBezTo>
                    <a:pt x="242" y="903"/>
                    <a:pt x="242" y="903"/>
                    <a:pt x="242" y="903"/>
                  </a:cubicBezTo>
                  <a:cubicBezTo>
                    <a:pt x="242" y="903"/>
                    <a:pt x="242" y="903"/>
                    <a:pt x="242" y="903"/>
                  </a:cubicBezTo>
                  <a:cubicBezTo>
                    <a:pt x="242" y="904"/>
                    <a:pt x="242" y="904"/>
                    <a:pt x="242" y="904"/>
                  </a:cubicBezTo>
                  <a:cubicBezTo>
                    <a:pt x="242" y="905"/>
                    <a:pt x="242" y="905"/>
                    <a:pt x="242" y="905"/>
                  </a:cubicBezTo>
                  <a:cubicBezTo>
                    <a:pt x="243" y="905"/>
                    <a:pt x="243" y="905"/>
                    <a:pt x="243" y="906"/>
                  </a:cubicBezTo>
                  <a:cubicBezTo>
                    <a:pt x="243" y="906"/>
                    <a:pt x="243" y="906"/>
                    <a:pt x="243" y="906"/>
                  </a:cubicBezTo>
                  <a:cubicBezTo>
                    <a:pt x="243" y="907"/>
                    <a:pt x="243" y="907"/>
                    <a:pt x="243" y="908"/>
                  </a:cubicBezTo>
                  <a:cubicBezTo>
                    <a:pt x="243" y="909"/>
                    <a:pt x="243" y="910"/>
                    <a:pt x="243" y="911"/>
                  </a:cubicBezTo>
                  <a:cubicBezTo>
                    <a:pt x="244" y="912"/>
                    <a:pt x="244" y="913"/>
                    <a:pt x="245" y="914"/>
                  </a:cubicBezTo>
                  <a:cubicBezTo>
                    <a:pt x="245" y="914"/>
                    <a:pt x="245" y="914"/>
                    <a:pt x="245" y="914"/>
                  </a:cubicBezTo>
                  <a:cubicBezTo>
                    <a:pt x="245" y="915"/>
                    <a:pt x="245" y="915"/>
                    <a:pt x="246" y="915"/>
                  </a:cubicBezTo>
                  <a:cubicBezTo>
                    <a:pt x="246" y="915"/>
                    <a:pt x="246" y="916"/>
                    <a:pt x="246" y="916"/>
                  </a:cubicBezTo>
                  <a:cubicBezTo>
                    <a:pt x="246" y="917"/>
                    <a:pt x="246" y="917"/>
                    <a:pt x="246" y="917"/>
                  </a:cubicBezTo>
                  <a:cubicBezTo>
                    <a:pt x="246" y="918"/>
                    <a:pt x="246" y="918"/>
                    <a:pt x="247" y="919"/>
                  </a:cubicBezTo>
                  <a:cubicBezTo>
                    <a:pt x="247" y="920"/>
                    <a:pt x="247" y="920"/>
                    <a:pt x="247" y="920"/>
                  </a:cubicBezTo>
                  <a:cubicBezTo>
                    <a:pt x="247" y="921"/>
                    <a:pt x="248" y="922"/>
                    <a:pt x="248" y="922"/>
                  </a:cubicBezTo>
                  <a:cubicBezTo>
                    <a:pt x="248" y="922"/>
                    <a:pt x="247" y="922"/>
                    <a:pt x="247" y="922"/>
                  </a:cubicBezTo>
                  <a:cubicBezTo>
                    <a:pt x="247" y="922"/>
                    <a:pt x="245" y="921"/>
                    <a:pt x="245" y="922"/>
                  </a:cubicBezTo>
                  <a:cubicBezTo>
                    <a:pt x="244" y="923"/>
                    <a:pt x="244" y="925"/>
                    <a:pt x="244" y="926"/>
                  </a:cubicBezTo>
                  <a:cubicBezTo>
                    <a:pt x="245" y="928"/>
                    <a:pt x="245" y="929"/>
                    <a:pt x="246" y="930"/>
                  </a:cubicBezTo>
                  <a:cubicBezTo>
                    <a:pt x="247" y="931"/>
                    <a:pt x="248" y="933"/>
                    <a:pt x="248" y="934"/>
                  </a:cubicBezTo>
                  <a:cubicBezTo>
                    <a:pt x="248" y="934"/>
                    <a:pt x="248" y="935"/>
                    <a:pt x="248" y="935"/>
                  </a:cubicBezTo>
                  <a:cubicBezTo>
                    <a:pt x="248" y="936"/>
                    <a:pt x="248" y="936"/>
                    <a:pt x="248" y="937"/>
                  </a:cubicBezTo>
                  <a:cubicBezTo>
                    <a:pt x="249" y="938"/>
                    <a:pt x="249" y="939"/>
                    <a:pt x="249" y="939"/>
                  </a:cubicBezTo>
                  <a:cubicBezTo>
                    <a:pt x="250" y="940"/>
                    <a:pt x="250" y="940"/>
                    <a:pt x="250" y="940"/>
                  </a:cubicBezTo>
                  <a:cubicBezTo>
                    <a:pt x="250" y="941"/>
                    <a:pt x="250" y="941"/>
                    <a:pt x="250" y="942"/>
                  </a:cubicBezTo>
                  <a:cubicBezTo>
                    <a:pt x="250" y="943"/>
                    <a:pt x="250" y="943"/>
                    <a:pt x="250" y="943"/>
                  </a:cubicBezTo>
                  <a:cubicBezTo>
                    <a:pt x="251" y="944"/>
                    <a:pt x="251" y="945"/>
                    <a:pt x="252" y="946"/>
                  </a:cubicBezTo>
                  <a:cubicBezTo>
                    <a:pt x="252" y="948"/>
                    <a:pt x="252" y="949"/>
                    <a:pt x="252" y="950"/>
                  </a:cubicBezTo>
                  <a:cubicBezTo>
                    <a:pt x="252" y="951"/>
                    <a:pt x="252" y="952"/>
                    <a:pt x="252" y="952"/>
                  </a:cubicBezTo>
                  <a:cubicBezTo>
                    <a:pt x="252" y="953"/>
                    <a:pt x="252" y="953"/>
                    <a:pt x="252" y="954"/>
                  </a:cubicBezTo>
                  <a:cubicBezTo>
                    <a:pt x="252" y="954"/>
                    <a:pt x="252" y="955"/>
                    <a:pt x="252" y="955"/>
                  </a:cubicBezTo>
                  <a:cubicBezTo>
                    <a:pt x="252" y="956"/>
                    <a:pt x="252" y="956"/>
                    <a:pt x="251" y="956"/>
                  </a:cubicBezTo>
                  <a:cubicBezTo>
                    <a:pt x="251" y="956"/>
                    <a:pt x="251" y="957"/>
                    <a:pt x="250" y="957"/>
                  </a:cubicBezTo>
                  <a:cubicBezTo>
                    <a:pt x="249" y="958"/>
                    <a:pt x="248" y="960"/>
                    <a:pt x="247" y="961"/>
                  </a:cubicBezTo>
                  <a:cubicBezTo>
                    <a:pt x="246" y="962"/>
                    <a:pt x="245" y="965"/>
                    <a:pt x="243" y="967"/>
                  </a:cubicBezTo>
                  <a:cubicBezTo>
                    <a:pt x="243" y="968"/>
                    <a:pt x="243" y="969"/>
                    <a:pt x="242" y="970"/>
                  </a:cubicBezTo>
                  <a:cubicBezTo>
                    <a:pt x="242" y="971"/>
                    <a:pt x="242" y="971"/>
                    <a:pt x="242" y="972"/>
                  </a:cubicBezTo>
                  <a:cubicBezTo>
                    <a:pt x="242" y="972"/>
                    <a:pt x="242" y="973"/>
                    <a:pt x="242" y="973"/>
                  </a:cubicBezTo>
                  <a:cubicBezTo>
                    <a:pt x="242" y="973"/>
                    <a:pt x="242" y="973"/>
                    <a:pt x="242" y="974"/>
                  </a:cubicBezTo>
                  <a:cubicBezTo>
                    <a:pt x="242" y="974"/>
                    <a:pt x="242" y="975"/>
                    <a:pt x="242" y="976"/>
                  </a:cubicBezTo>
                  <a:cubicBezTo>
                    <a:pt x="242" y="977"/>
                    <a:pt x="242" y="977"/>
                    <a:pt x="242" y="978"/>
                  </a:cubicBezTo>
                  <a:cubicBezTo>
                    <a:pt x="242" y="979"/>
                    <a:pt x="242" y="980"/>
                    <a:pt x="242" y="981"/>
                  </a:cubicBezTo>
                  <a:cubicBezTo>
                    <a:pt x="241" y="982"/>
                    <a:pt x="241" y="983"/>
                    <a:pt x="241" y="984"/>
                  </a:cubicBezTo>
                  <a:cubicBezTo>
                    <a:pt x="240" y="986"/>
                    <a:pt x="240" y="987"/>
                    <a:pt x="239" y="989"/>
                  </a:cubicBezTo>
                  <a:cubicBezTo>
                    <a:pt x="239" y="989"/>
                    <a:pt x="238" y="990"/>
                    <a:pt x="238" y="990"/>
                  </a:cubicBezTo>
                  <a:cubicBezTo>
                    <a:pt x="238" y="990"/>
                    <a:pt x="237" y="991"/>
                    <a:pt x="238" y="995"/>
                  </a:cubicBezTo>
                  <a:cubicBezTo>
                    <a:pt x="238" y="995"/>
                    <a:pt x="238" y="995"/>
                    <a:pt x="238" y="996"/>
                  </a:cubicBezTo>
                  <a:cubicBezTo>
                    <a:pt x="238" y="996"/>
                    <a:pt x="238" y="996"/>
                    <a:pt x="238" y="996"/>
                  </a:cubicBezTo>
                  <a:cubicBezTo>
                    <a:pt x="238" y="997"/>
                    <a:pt x="238" y="998"/>
                    <a:pt x="238" y="1000"/>
                  </a:cubicBezTo>
                  <a:cubicBezTo>
                    <a:pt x="238" y="1000"/>
                    <a:pt x="238" y="1000"/>
                    <a:pt x="238" y="1000"/>
                  </a:cubicBezTo>
                  <a:cubicBezTo>
                    <a:pt x="238" y="1000"/>
                    <a:pt x="237" y="1000"/>
                    <a:pt x="237" y="1000"/>
                  </a:cubicBezTo>
                  <a:cubicBezTo>
                    <a:pt x="236" y="1001"/>
                    <a:pt x="237" y="1003"/>
                    <a:pt x="237" y="1005"/>
                  </a:cubicBezTo>
                  <a:cubicBezTo>
                    <a:pt x="237" y="1005"/>
                    <a:pt x="237" y="1005"/>
                    <a:pt x="237" y="1005"/>
                  </a:cubicBezTo>
                  <a:cubicBezTo>
                    <a:pt x="238" y="1007"/>
                    <a:pt x="238" y="1008"/>
                    <a:pt x="238" y="1010"/>
                  </a:cubicBezTo>
                  <a:cubicBezTo>
                    <a:pt x="238" y="1010"/>
                    <a:pt x="238" y="1010"/>
                    <a:pt x="238" y="1010"/>
                  </a:cubicBezTo>
                  <a:cubicBezTo>
                    <a:pt x="238" y="1010"/>
                    <a:pt x="238" y="1011"/>
                    <a:pt x="238" y="1011"/>
                  </a:cubicBezTo>
                  <a:cubicBezTo>
                    <a:pt x="238" y="1012"/>
                    <a:pt x="238" y="1013"/>
                    <a:pt x="238" y="1015"/>
                  </a:cubicBezTo>
                  <a:cubicBezTo>
                    <a:pt x="239" y="1015"/>
                    <a:pt x="239" y="1016"/>
                    <a:pt x="240" y="1016"/>
                  </a:cubicBezTo>
                  <a:cubicBezTo>
                    <a:pt x="240" y="1017"/>
                    <a:pt x="240" y="1017"/>
                    <a:pt x="240" y="1017"/>
                  </a:cubicBezTo>
                  <a:cubicBezTo>
                    <a:pt x="240" y="1017"/>
                    <a:pt x="240" y="1017"/>
                    <a:pt x="240" y="1018"/>
                  </a:cubicBezTo>
                  <a:cubicBezTo>
                    <a:pt x="240" y="1018"/>
                    <a:pt x="240" y="1019"/>
                    <a:pt x="240" y="1020"/>
                  </a:cubicBezTo>
                  <a:cubicBezTo>
                    <a:pt x="241" y="1020"/>
                    <a:pt x="241" y="1021"/>
                    <a:pt x="242" y="1021"/>
                  </a:cubicBezTo>
                  <a:cubicBezTo>
                    <a:pt x="242" y="1021"/>
                    <a:pt x="242" y="1021"/>
                    <a:pt x="242" y="1021"/>
                  </a:cubicBezTo>
                  <a:cubicBezTo>
                    <a:pt x="242" y="1022"/>
                    <a:pt x="243" y="1022"/>
                    <a:pt x="243" y="1023"/>
                  </a:cubicBezTo>
                  <a:cubicBezTo>
                    <a:pt x="243" y="1023"/>
                    <a:pt x="244" y="1024"/>
                    <a:pt x="244" y="1024"/>
                  </a:cubicBezTo>
                  <a:cubicBezTo>
                    <a:pt x="245" y="1026"/>
                    <a:pt x="246" y="1028"/>
                    <a:pt x="246" y="1030"/>
                  </a:cubicBezTo>
                  <a:cubicBezTo>
                    <a:pt x="247" y="1032"/>
                    <a:pt x="248" y="1033"/>
                    <a:pt x="249" y="1034"/>
                  </a:cubicBezTo>
                  <a:cubicBezTo>
                    <a:pt x="250" y="1035"/>
                    <a:pt x="250" y="1035"/>
                    <a:pt x="250" y="1035"/>
                  </a:cubicBezTo>
                  <a:cubicBezTo>
                    <a:pt x="252" y="1037"/>
                    <a:pt x="253" y="1038"/>
                    <a:pt x="253" y="1040"/>
                  </a:cubicBezTo>
                  <a:cubicBezTo>
                    <a:pt x="254" y="1043"/>
                    <a:pt x="255" y="1045"/>
                    <a:pt x="256" y="1047"/>
                  </a:cubicBezTo>
                  <a:cubicBezTo>
                    <a:pt x="257" y="1048"/>
                    <a:pt x="257" y="1049"/>
                    <a:pt x="258" y="1050"/>
                  </a:cubicBezTo>
                  <a:cubicBezTo>
                    <a:pt x="258" y="1051"/>
                    <a:pt x="259" y="1053"/>
                    <a:pt x="259" y="1054"/>
                  </a:cubicBezTo>
                  <a:cubicBezTo>
                    <a:pt x="260" y="1055"/>
                    <a:pt x="261" y="1057"/>
                    <a:pt x="263" y="1059"/>
                  </a:cubicBezTo>
                  <a:cubicBezTo>
                    <a:pt x="264" y="1061"/>
                    <a:pt x="264" y="1062"/>
                    <a:pt x="263" y="1064"/>
                  </a:cubicBezTo>
                  <a:cubicBezTo>
                    <a:pt x="263" y="1065"/>
                    <a:pt x="263" y="1065"/>
                    <a:pt x="263" y="1066"/>
                  </a:cubicBezTo>
                  <a:cubicBezTo>
                    <a:pt x="264" y="1066"/>
                    <a:pt x="264" y="1066"/>
                    <a:pt x="264" y="1067"/>
                  </a:cubicBezTo>
                  <a:cubicBezTo>
                    <a:pt x="263" y="1067"/>
                    <a:pt x="263" y="1067"/>
                    <a:pt x="263" y="1067"/>
                  </a:cubicBezTo>
                  <a:cubicBezTo>
                    <a:pt x="262" y="1069"/>
                    <a:pt x="263" y="1070"/>
                    <a:pt x="263" y="1070"/>
                  </a:cubicBezTo>
                  <a:cubicBezTo>
                    <a:pt x="263" y="1070"/>
                    <a:pt x="263" y="1070"/>
                    <a:pt x="263" y="1071"/>
                  </a:cubicBezTo>
                  <a:cubicBezTo>
                    <a:pt x="264" y="1071"/>
                    <a:pt x="264" y="1072"/>
                    <a:pt x="264" y="1073"/>
                  </a:cubicBezTo>
                  <a:cubicBezTo>
                    <a:pt x="264" y="1074"/>
                    <a:pt x="264" y="1074"/>
                    <a:pt x="264" y="1074"/>
                  </a:cubicBezTo>
                  <a:cubicBezTo>
                    <a:pt x="264" y="1075"/>
                    <a:pt x="264" y="1076"/>
                    <a:pt x="265" y="1076"/>
                  </a:cubicBezTo>
                  <a:cubicBezTo>
                    <a:pt x="266" y="1077"/>
                    <a:pt x="266" y="1077"/>
                    <a:pt x="266" y="1077"/>
                  </a:cubicBezTo>
                  <a:cubicBezTo>
                    <a:pt x="266" y="1078"/>
                    <a:pt x="266" y="1078"/>
                    <a:pt x="266" y="1079"/>
                  </a:cubicBezTo>
                  <a:cubicBezTo>
                    <a:pt x="267" y="1079"/>
                    <a:pt x="267" y="1079"/>
                    <a:pt x="267" y="1080"/>
                  </a:cubicBezTo>
                  <a:cubicBezTo>
                    <a:pt x="267" y="1080"/>
                    <a:pt x="267" y="1081"/>
                    <a:pt x="268" y="1082"/>
                  </a:cubicBezTo>
                  <a:cubicBezTo>
                    <a:pt x="268" y="1082"/>
                    <a:pt x="268" y="1083"/>
                    <a:pt x="269" y="1083"/>
                  </a:cubicBezTo>
                  <a:cubicBezTo>
                    <a:pt x="269" y="1084"/>
                    <a:pt x="269" y="1084"/>
                    <a:pt x="268" y="1085"/>
                  </a:cubicBezTo>
                  <a:cubicBezTo>
                    <a:pt x="268" y="1085"/>
                    <a:pt x="268" y="1085"/>
                    <a:pt x="268" y="1085"/>
                  </a:cubicBezTo>
                  <a:cubicBezTo>
                    <a:pt x="268" y="1086"/>
                    <a:pt x="268" y="1087"/>
                    <a:pt x="268" y="1088"/>
                  </a:cubicBezTo>
                  <a:cubicBezTo>
                    <a:pt x="268" y="1088"/>
                    <a:pt x="268" y="1088"/>
                    <a:pt x="268" y="1088"/>
                  </a:cubicBezTo>
                  <a:cubicBezTo>
                    <a:pt x="268" y="1089"/>
                    <a:pt x="268" y="1090"/>
                    <a:pt x="269" y="1091"/>
                  </a:cubicBezTo>
                  <a:cubicBezTo>
                    <a:pt x="269" y="1092"/>
                    <a:pt x="269" y="1093"/>
                    <a:pt x="269" y="1093"/>
                  </a:cubicBezTo>
                  <a:cubicBezTo>
                    <a:pt x="269" y="1093"/>
                    <a:pt x="269" y="1094"/>
                    <a:pt x="269" y="1094"/>
                  </a:cubicBezTo>
                  <a:cubicBezTo>
                    <a:pt x="269" y="1094"/>
                    <a:pt x="269" y="1095"/>
                    <a:pt x="269" y="1095"/>
                  </a:cubicBezTo>
                  <a:cubicBezTo>
                    <a:pt x="269" y="1096"/>
                    <a:pt x="269" y="1097"/>
                    <a:pt x="270" y="1098"/>
                  </a:cubicBezTo>
                  <a:cubicBezTo>
                    <a:pt x="270" y="1098"/>
                    <a:pt x="270" y="1099"/>
                    <a:pt x="271" y="1099"/>
                  </a:cubicBezTo>
                  <a:cubicBezTo>
                    <a:pt x="271" y="1099"/>
                    <a:pt x="271" y="1100"/>
                    <a:pt x="271" y="1100"/>
                  </a:cubicBezTo>
                  <a:cubicBezTo>
                    <a:pt x="271" y="1100"/>
                    <a:pt x="271" y="1100"/>
                    <a:pt x="271" y="1100"/>
                  </a:cubicBezTo>
                  <a:cubicBezTo>
                    <a:pt x="271" y="1101"/>
                    <a:pt x="269" y="1102"/>
                    <a:pt x="271" y="1104"/>
                  </a:cubicBezTo>
                  <a:cubicBezTo>
                    <a:pt x="271" y="1105"/>
                    <a:pt x="271" y="1105"/>
                    <a:pt x="272" y="1106"/>
                  </a:cubicBezTo>
                  <a:cubicBezTo>
                    <a:pt x="272" y="1106"/>
                    <a:pt x="272" y="1106"/>
                    <a:pt x="272" y="1107"/>
                  </a:cubicBezTo>
                  <a:cubicBezTo>
                    <a:pt x="272" y="1107"/>
                    <a:pt x="272" y="1108"/>
                    <a:pt x="272" y="1108"/>
                  </a:cubicBezTo>
                  <a:cubicBezTo>
                    <a:pt x="272" y="1108"/>
                    <a:pt x="273" y="1110"/>
                    <a:pt x="273" y="1110"/>
                  </a:cubicBezTo>
                  <a:cubicBezTo>
                    <a:pt x="274" y="1111"/>
                    <a:pt x="275" y="1111"/>
                    <a:pt x="275" y="1112"/>
                  </a:cubicBezTo>
                  <a:cubicBezTo>
                    <a:pt x="276" y="1112"/>
                    <a:pt x="276" y="1113"/>
                    <a:pt x="277" y="1113"/>
                  </a:cubicBezTo>
                  <a:cubicBezTo>
                    <a:pt x="277" y="1114"/>
                    <a:pt x="277" y="1114"/>
                    <a:pt x="277" y="1114"/>
                  </a:cubicBezTo>
                  <a:cubicBezTo>
                    <a:pt x="277" y="1114"/>
                    <a:pt x="277" y="1115"/>
                    <a:pt x="277" y="1115"/>
                  </a:cubicBezTo>
                  <a:cubicBezTo>
                    <a:pt x="277" y="1115"/>
                    <a:pt x="278" y="1116"/>
                    <a:pt x="278" y="1116"/>
                  </a:cubicBezTo>
                  <a:cubicBezTo>
                    <a:pt x="278" y="1116"/>
                    <a:pt x="278" y="1116"/>
                    <a:pt x="278" y="1116"/>
                  </a:cubicBezTo>
                  <a:cubicBezTo>
                    <a:pt x="279" y="1117"/>
                    <a:pt x="279" y="1119"/>
                    <a:pt x="280" y="1120"/>
                  </a:cubicBezTo>
                  <a:cubicBezTo>
                    <a:pt x="281" y="1120"/>
                    <a:pt x="281" y="1120"/>
                    <a:pt x="281" y="1120"/>
                  </a:cubicBezTo>
                  <a:cubicBezTo>
                    <a:pt x="281" y="1120"/>
                    <a:pt x="281" y="1120"/>
                    <a:pt x="281" y="1121"/>
                  </a:cubicBezTo>
                  <a:cubicBezTo>
                    <a:pt x="281" y="1121"/>
                    <a:pt x="281" y="1121"/>
                    <a:pt x="281" y="1121"/>
                  </a:cubicBezTo>
                  <a:cubicBezTo>
                    <a:pt x="282" y="1122"/>
                    <a:pt x="282" y="1122"/>
                    <a:pt x="282" y="1122"/>
                  </a:cubicBezTo>
                  <a:cubicBezTo>
                    <a:pt x="282" y="1122"/>
                    <a:pt x="282" y="1122"/>
                    <a:pt x="282" y="1122"/>
                  </a:cubicBezTo>
                  <a:cubicBezTo>
                    <a:pt x="283" y="1123"/>
                    <a:pt x="283" y="1123"/>
                    <a:pt x="283" y="1123"/>
                  </a:cubicBezTo>
                  <a:cubicBezTo>
                    <a:pt x="283" y="1123"/>
                    <a:pt x="283" y="1123"/>
                    <a:pt x="283" y="1123"/>
                  </a:cubicBezTo>
                  <a:cubicBezTo>
                    <a:pt x="283" y="1123"/>
                    <a:pt x="283" y="1123"/>
                    <a:pt x="283" y="1123"/>
                  </a:cubicBezTo>
                  <a:cubicBezTo>
                    <a:pt x="283" y="1123"/>
                    <a:pt x="283" y="1124"/>
                    <a:pt x="283" y="1124"/>
                  </a:cubicBezTo>
                  <a:cubicBezTo>
                    <a:pt x="283" y="1125"/>
                    <a:pt x="283" y="1125"/>
                    <a:pt x="284" y="1125"/>
                  </a:cubicBezTo>
                  <a:cubicBezTo>
                    <a:pt x="284" y="1127"/>
                    <a:pt x="285" y="1128"/>
                    <a:pt x="286" y="1129"/>
                  </a:cubicBezTo>
                  <a:cubicBezTo>
                    <a:pt x="286" y="1129"/>
                    <a:pt x="287" y="1130"/>
                    <a:pt x="287" y="1131"/>
                  </a:cubicBezTo>
                  <a:cubicBezTo>
                    <a:pt x="287" y="1131"/>
                    <a:pt x="288" y="1132"/>
                    <a:pt x="288" y="1132"/>
                  </a:cubicBezTo>
                  <a:cubicBezTo>
                    <a:pt x="289" y="1132"/>
                    <a:pt x="289" y="1132"/>
                    <a:pt x="289" y="1132"/>
                  </a:cubicBezTo>
                  <a:cubicBezTo>
                    <a:pt x="288" y="1133"/>
                    <a:pt x="288" y="1133"/>
                    <a:pt x="288" y="1133"/>
                  </a:cubicBezTo>
                  <a:cubicBezTo>
                    <a:pt x="288" y="1133"/>
                    <a:pt x="288" y="1133"/>
                    <a:pt x="288" y="1133"/>
                  </a:cubicBezTo>
                  <a:cubicBezTo>
                    <a:pt x="288" y="1134"/>
                    <a:pt x="288" y="1134"/>
                    <a:pt x="288" y="1134"/>
                  </a:cubicBezTo>
                  <a:cubicBezTo>
                    <a:pt x="289" y="1134"/>
                    <a:pt x="289" y="1135"/>
                    <a:pt x="289" y="1136"/>
                  </a:cubicBezTo>
                  <a:cubicBezTo>
                    <a:pt x="289" y="1136"/>
                    <a:pt x="289" y="1136"/>
                    <a:pt x="289" y="1137"/>
                  </a:cubicBezTo>
                  <a:cubicBezTo>
                    <a:pt x="290" y="1137"/>
                    <a:pt x="290" y="1137"/>
                    <a:pt x="290" y="1137"/>
                  </a:cubicBezTo>
                  <a:cubicBezTo>
                    <a:pt x="290" y="1138"/>
                    <a:pt x="290" y="1138"/>
                    <a:pt x="290" y="1138"/>
                  </a:cubicBezTo>
                  <a:cubicBezTo>
                    <a:pt x="291" y="1138"/>
                    <a:pt x="291" y="1138"/>
                    <a:pt x="291" y="1138"/>
                  </a:cubicBezTo>
                  <a:cubicBezTo>
                    <a:pt x="291" y="1138"/>
                    <a:pt x="291" y="1139"/>
                    <a:pt x="292" y="1140"/>
                  </a:cubicBezTo>
                  <a:cubicBezTo>
                    <a:pt x="292" y="1140"/>
                    <a:pt x="292" y="1140"/>
                    <a:pt x="292" y="1141"/>
                  </a:cubicBezTo>
                  <a:cubicBezTo>
                    <a:pt x="292" y="1141"/>
                    <a:pt x="293" y="1141"/>
                    <a:pt x="293" y="1141"/>
                  </a:cubicBezTo>
                  <a:cubicBezTo>
                    <a:pt x="293" y="1141"/>
                    <a:pt x="293" y="1142"/>
                    <a:pt x="293" y="1142"/>
                  </a:cubicBezTo>
                  <a:cubicBezTo>
                    <a:pt x="293" y="1142"/>
                    <a:pt x="293" y="1142"/>
                    <a:pt x="293" y="1143"/>
                  </a:cubicBezTo>
                  <a:cubicBezTo>
                    <a:pt x="294" y="1143"/>
                    <a:pt x="294" y="1143"/>
                    <a:pt x="294" y="1144"/>
                  </a:cubicBezTo>
                  <a:cubicBezTo>
                    <a:pt x="295" y="1144"/>
                    <a:pt x="295" y="1145"/>
                    <a:pt x="296" y="1146"/>
                  </a:cubicBezTo>
                  <a:cubicBezTo>
                    <a:pt x="296" y="1146"/>
                    <a:pt x="296" y="1147"/>
                    <a:pt x="296" y="1147"/>
                  </a:cubicBezTo>
                  <a:cubicBezTo>
                    <a:pt x="296" y="1148"/>
                    <a:pt x="297" y="1148"/>
                    <a:pt x="297" y="1149"/>
                  </a:cubicBezTo>
                  <a:cubicBezTo>
                    <a:pt x="297" y="1149"/>
                    <a:pt x="297" y="1149"/>
                    <a:pt x="297" y="1149"/>
                  </a:cubicBezTo>
                  <a:cubicBezTo>
                    <a:pt x="298" y="1149"/>
                    <a:pt x="298" y="1150"/>
                    <a:pt x="298" y="1150"/>
                  </a:cubicBezTo>
                  <a:cubicBezTo>
                    <a:pt x="298" y="1150"/>
                    <a:pt x="298" y="1150"/>
                    <a:pt x="298" y="1151"/>
                  </a:cubicBezTo>
                  <a:cubicBezTo>
                    <a:pt x="299" y="1151"/>
                    <a:pt x="299" y="1151"/>
                    <a:pt x="299" y="1151"/>
                  </a:cubicBezTo>
                  <a:cubicBezTo>
                    <a:pt x="299" y="1152"/>
                    <a:pt x="299" y="1152"/>
                    <a:pt x="299" y="1152"/>
                  </a:cubicBezTo>
                  <a:cubicBezTo>
                    <a:pt x="299" y="1152"/>
                    <a:pt x="299" y="1152"/>
                    <a:pt x="300" y="1152"/>
                  </a:cubicBezTo>
                  <a:cubicBezTo>
                    <a:pt x="300" y="1152"/>
                    <a:pt x="300" y="1153"/>
                    <a:pt x="299" y="1153"/>
                  </a:cubicBezTo>
                  <a:cubicBezTo>
                    <a:pt x="299" y="1153"/>
                    <a:pt x="299" y="1154"/>
                    <a:pt x="300" y="1154"/>
                  </a:cubicBezTo>
                  <a:cubicBezTo>
                    <a:pt x="300" y="1154"/>
                    <a:pt x="300" y="1155"/>
                    <a:pt x="300" y="1155"/>
                  </a:cubicBezTo>
                  <a:cubicBezTo>
                    <a:pt x="300" y="1155"/>
                    <a:pt x="300" y="1156"/>
                    <a:pt x="300" y="1156"/>
                  </a:cubicBezTo>
                  <a:cubicBezTo>
                    <a:pt x="300" y="1156"/>
                    <a:pt x="300" y="1156"/>
                    <a:pt x="300" y="1156"/>
                  </a:cubicBezTo>
                  <a:cubicBezTo>
                    <a:pt x="300" y="1156"/>
                    <a:pt x="300" y="1157"/>
                    <a:pt x="300" y="1157"/>
                  </a:cubicBezTo>
                  <a:cubicBezTo>
                    <a:pt x="299" y="1158"/>
                    <a:pt x="300" y="1159"/>
                    <a:pt x="300" y="1159"/>
                  </a:cubicBezTo>
                  <a:cubicBezTo>
                    <a:pt x="300" y="1160"/>
                    <a:pt x="300" y="1160"/>
                    <a:pt x="300" y="1160"/>
                  </a:cubicBezTo>
                  <a:cubicBezTo>
                    <a:pt x="299" y="1161"/>
                    <a:pt x="297" y="1161"/>
                    <a:pt x="298" y="1164"/>
                  </a:cubicBezTo>
                  <a:cubicBezTo>
                    <a:pt x="298" y="1165"/>
                    <a:pt x="298" y="1165"/>
                    <a:pt x="299" y="1166"/>
                  </a:cubicBezTo>
                  <a:cubicBezTo>
                    <a:pt x="299" y="1167"/>
                    <a:pt x="299" y="1167"/>
                    <a:pt x="299" y="1167"/>
                  </a:cubicBezTo>
                  <a:cubicBezTo>
                    <a:pt x="299" y="1168"/>
                    <a:pt x="300" y="1169"/>
                    <a:pt x="301" y="1169"/>
                  </a:cubicBezTo>
                  <a:cubicBezTo>
                    <a:pt x="301" y="1169"/>
                    <a:pt x="301" y="1169"/>
                    <a:pt x="302" y="1170"/>
                  </a:cubicBezTo>
                  <a:cubicBezTo>
                    <a:pt x="302" y="1170"/>
                    <a:pt x="302" y="1172"/>
                    <a:pt x="302" y="1173"/>
                  </a:cubicBezTo>
                  <a:cubicBezTo>
                    <a:pt x="302" y="1174"/>
                    <a:pt x="302" y="1175"/>
                    <a:pt x="302" y="1175"/>
                  </a:cubicBezTo>
                  <a:cubicBezTo>
                    <a:pt x="302" y="1176"/>
                    <a:pt x="303" y="1178"/>
                    <a:pt x="303" y="1179"/>
                  </a:cubicBezTo>
                  <a:cubicBezTo>
                    <a:pt x="304" y="1180"/>
                    <a:pt x="304" y="1180"/>
                    <a:pt x="305" y="1180"/>
                  </a:cubicBezTo>
                  <a:cubicBezTo>
                    <a:pt x="306" y="1180"/>
                    <a:pt x="306" y="1180"/>
                    <a:pt x="306" y="1179"/>
                  </a:cubicBezTo>
                  <a:cubicBezTo>
                    <a:pt x="306" y="1181"/>
                    <a:pt x="306" y="1181"/>
                    <a:pt x="306" y="1181"/>
                  </a:cubicBezTo>
                  <a:cubicBezTo>
                    <a:pt x="309" y="1180"/>
                    <a:pt x="309" y="1180"/>
                    <a:pt x="309" y="1180"/>
                  </a:cubicBezTo>
                  <a:cubicBezTo>
                    <a:pt x="309" y="1180"/>
                    <a:pt x="309" y="1179"/>
                    <a:pt x="309" y="1179"/>
                  </a:cubicBezTo>
                  <a:cubicBezTo>
                    <a:pt x="309" y="1179"/>
                    <a:pt x="309" y="1179"/>
                    <a:pt x="310" y="1179"/>
                  </a:cubicBezTo>
                  <a:cubicBezTo>
                    <a:pt x="310" y="1179"/>
                    <a:pt x="311" y="1180"/>
                    <a:pt x="311" y="1179"/>
                  </a:cubicBezTo>
                  <a:cubicBezTo>
                    <a:pt x="311" y="1180"/>
                    <a:pt x="310" y="1181"/>
                    <a:pt x="311" y="1182"/>
                  </a:cubicBezTo>
                  <a:cubicBezTo>
                    <a:pt x="311" y="1183"/>
                    <a:pt x="312" y="1183"/>
                    <a:pt x="312" y="1183"/>
                  </a:cubicBezTo>
                  <a:cubicBezTo>
                    <a:pt x="312" y="1183"/>
                    <a:pt x="313" y="1183"/>
                    <a:pt x="313" y="1183"/>
                  </a:cubicBezTo>
                  <a:cubicBezTo>
                    <a:pt x="313" y="1184"/>
                    <a:pt x="314" y="1184"/>
                    <a:pt x="315" y="1184"/>
                  </a:cubicBezTo>
                  <a:cubicBezTo>
                    <a:pt x="316" y="1184"/>
                    <a:pt x="316" y="1184"/>
                    <a:pt x="316" y="1184"/>
                  </a:cubicBezTo>
                  <a:cubicBezTo>
                    <a:pt x="316" y="1184"/>
                    <a:pt x="316" y="1184"/>
                    <a:pt x="316" y="1184"/>
                  </a:cubicBezTo>
                  <a:cubicBezTo>
                    <a:pt x="316" y="1184"/>
                    <a:pt x="317" y="1184"/>
                    <a:pt x="317" y="1184"/>
                  </a:cubicBezTo>
                  <a:cubicBezTo>
                    <a:pt x="317" y="1184"/>
                    <a:pt x="318" y="1184"/>
                    <a:pt x="318" y="1184"/>
                  </a:cubicBezTo>
                  <a:cubicBezTo>
                    <a:pt x="319" y="1184"/>
                    <a:pt x="320" y="1183"/>
                    <a:pt x="320" y="1182"/>
                  </a:cubicBezTo>
                  <a:cubicBezTo>
                    <a:pt x="320" y="1182"/>
                    <a:pt x="320" y="1182"/>
                    <a:pt x="320" y="1182"/>
                  </a:cubicBezTo>
                  <a:cubicBezTo>
                    <a:pt x="320" y="1181"/>
                    <a:pt x="321" y="1181"/>
                    <a:pt x="321" y="1181"/>
                  </a:cubicBezTo>
                  <a:cubicBezTo>
                    <a:pt x="321" y="1181"/>
                    <a:pt x="321" y="1181"/>
                    <a:pt x="321" y="1181"/>
                  </a:cubicBezTo>
                  <a:cubicBezTo>
                    <a:pt x="322" y="1180"/>
                    <a:pt x="323" y="1180"/>
                    <a:pt x="324" y="1180"/>
                  </a:cubicBezTo>
                  <a:cubicBezTo>
                    <a:pt x="325" y="1180"/>
                    <a:pt x="325" y="1180"/>
                    <a:pt x="325" y="1180"/>
                  </a:cubicBezTo>
                  <a:cubicBezTo>
                    <a:pt x="325" y="1180"/>
                    <a:pt x="326" y="1180"/>
                    <a:pt x="327" y="1180"/>
                  </a:cubicBezTo>
                  <a:cubicBezTo>
                    <a:pt x="327" y="1180"/>
                    <a:pt x="328" y="1180"/>
                    <a:pt x="329" y="1180"/>
                  </a:cubicBezTo>
                  <a:cubicBezTo>
                    <a:pt x="331" y="1180"/>
                    <a:pt x="333" y="1179"/>
                    <a:pt x="334" y="1177"/>
                  </a:cubicBezTo>
                  <a:cubicBezTo>
                    <a:pt x="334" y="1176"/>
                    <a:pt x="334" y="1176"/>
                    <a:pt x="334" y="1176"/>
                  </a:cubicBezTo>
                  <a:cubicBezTo>
                    <a:pt x="335" y="1176"/>
                    <a:pt x="335" y="1176"/>
                    <a:pt x="335" y="1176"/>
                  </a:cubicBezTo>
                  <a:cubicBezTo>
                    <a:pt x="336" y="1177"/>
                    <a:pt x="336" y="1177"/>
                    <a:pt x="336" y="1177"/>
                  </a:cubicBezTo>
                  <a:cubicBezTo>
                    <a:pt x="336" y="1177"/>
                    <a:pt x="336" y="1177"/>
                    <a:pt x="337" y="1177"/>
                  </a:cubicBezTo>
                  <a:cubicBezTo>
                    <a:pt x="337" y="1177"/>
                    <a:pt x="337" y="1177"/>
                    <a:pt x="338" y="1177"/>
                  </a:cubicBezTo>
                  <a:cubicBezTo>
                    <a:pt x="338" y="1177"/>
                    <a:pt x="338" y="1177"/>
                    <a:pt x="338" y="1177"/>
                  </a:cubicBezTo>
                  <a:cubicBezTo>
                    <a:pt x="338" y="1177"/>
                    <a:pt x="339" y="1178"/>
                    <a:pt x="340" y="1178"/>
                  </a:cubicBezTo>
                  <a:cubicBezTo>
                    <a:pt x="341" y="1178"/>
                    <a:pt x="342" y="1177"/>
                    <a:pt x="343" y="1177"/>
                  </a:cubicBezTo>
                  <a:cubicBezTo>
                    <a:pt x="343" y="1177"/>
                    <a:pt x="343" y="1176"/>
                    <a:pt x="343" y="1175"/>
                  </a:cubicBezTo>
                  <a:cubicBezTo>
                    <a:pt x="345" y="1175"/>
                    <a:pt x="346" y="1175"/>
                    <a:pt x="346" y="1175"/>
                  </a:cubicBezTo>
                  <a:cubicBezTo>
                    <a:pt x="346" y="1176"/>
                    <a:pt x="347" y="1177"/>
                    <a:pt x="348" y="1177"/>
                  </a:cubicBezTo>
                  <a:cubicBezTo>
                    <a:pt x="348" y="1178"/>
                    <a:pt x="349" y="1177"/>
                    <a:pt x="350" y="1177"/>
                  </a:cubicBezTo>
                  <a:cubicBezTo>
                    <a:pt x="350" y="1177"/>
                    <a:pt x="350" y="1177"/>
                    <a:pt x="351" y="1177"/>
                  </a:cubicBezTo>
                  <a:cubicBezTo>
                    <a:pt x="352" y="1177"/>
                    <a:pt x="354" y="1177"/>
                    <a:pt x="354" y="1175"/>
                  </a:cubicBezTo>
                  <a:cubicBezTo>
                    <a:pt x="355" y="1175"/>
                    <a:pt x="356" y="1175"/>
                    <a:pt x="357" y="1176"/>
                  </a:cubicBezTo>
                  <a:cubicBezTo>
                    <a:pt x="358" y="1175"/>
                    <a:pt x="358" y="1175"/>
                    <a:pt x="358" y="1175"/>
                  </a:cubicBezTo>
                  <a:cubicBezTo>
                    <a:pt x="357" y="1176"/>
                    <a:pt x="357" y="1176"/>
                    <a:pt x="357" y="1176"/>
                  </a:cubicBezTo>
                  <a:cubicBezTo>
                    <a:pt x="358" y="1176"/>
                    <a:pt x="358" y="1177"/>
                    <a:pt x="359" y="1177"/>
                  </a:cubicBezTo>
                  <a:cubicBezTo>
                    <a:pt x="359" y="1177"/>
                    <a:pt x="360" y="1176"/>
                    <a:pt x="361" y="1175"/>
                  </a:cubicBezTo>
                  <a:cubicBezTo>
                    <a:pt x="361" y="1174"/>
                    <a:pt x="361" y="1174"/>
                    <a:pt x="361" y="1174"/>
                  </a:cubicBezTo>
                  <a:cubicBezTo>
                    <a:pt x="361" y="1172"/>
                    <a:pt x="361" y="1172"/>
                    <a:pt x="362" y="1172"/>
                  </a:cubicBezTo>
                  <a:cubicBezTo>
                    <a:pt x="363" y="1172"/>
                    <a:pt x="363" y="1172"/>
                    <a:pt x="364" y="1173"/>
                  </a:cubicBezTo>
                  <a:cubicBezTo>
                    <a:pt x="365" y="1173"/>
                    <a:pt x="366" y="1173"/>
                    <a:pt x="367" y="1173"/>
                  </a:cubicBezTo>
                  <a:cubicBezTo>
                    <a:pt x="367" y="1173"/>
                    <a:pt x="367" y="1173"/>
                    <a:pt x="367" y="1173"/>
                  </a:cubicBezTo>
                  <a:cubicBezTo>
                    <a:pt x="369" y="1173"/>
                    <a:pt x="370" y="1171"/>
                    <a:pt x="371" y="1170"/>
                  </a:cubicBezTo>
                  <a:cubicBezTo>
                    <a:pt x="371" y="1170"/>
                    <a:pt x="372" y="1170"/>
                    <a:pt x="372" y="1169"/>
                  </a:cubicBezTo>
                  <a:cubicBezTo>
                    <a:pt x="373" y="1169"/>
                    <a:pt x="373" y="1168"/>
                    <a:pt x="374" y="1168"/>
                  </a:cubicBezTo>
                  <a:cubicBezTo>
                    <a:pt x="375" y="1167"/>
                    <a:pt x="376" y="1166"/>
                    <a:pt x="376" y="1166"/>
                  </a:cubicBezTo>
                  <a:cubicBezTo>
                    <a:pt x="377" y="1165"/>
                    <a:pt x="377" y="1164"/>
                    <a:pt x="378" y="1163"/>
                  </a:cubicBezTo>
                  <a:cubicBezTo>
                    <a:pt x="378" y="1163"/>
                    <a:pt x="378" y="1162"/>
                    <a:pt x="379" y="1162"/>
                  </a:cubicBezTo>
                  <a:cubicBezTo>
                    <a:pt x="379" y="1162"/>
                    <a:pt x="380" y="1162"/>
                    <a:pt x="380" y="1161"/>
                  </a:cubicBezTo>
                  <a:cubicBezTo>
                    <a:pt x="381" y="1161"/>
                    <a:pt x="382" y="1160"/>
                    <a:pt x="383" y="1159"/>
                  </a:cubicBezTo>
                  <a:cubicBezTo>
                    <a:pt x="384" y="1157"/>
                    <a:pt x="384" y="1157"/>
                    <a:pt x="384" y="1157"/>
                  </a:cubicBezTo>
                  <a:cubicBezTo>
                    <a:pt x="384" y="1156"/>
                    <a:pt x="385" y="1155"/>
                    <a:pt x="385" y="1155"/>
                  </a:cubicBezTo>
                  <a:cubicBezTo>
                    <a:pt x="386" y="1154"/>
                    <a:pt x="386" y="1154"/>
                    <a:pt x="386" y="1153"/>
                  </a:cubicBezTo>
                  <a:cubicBezTo>
                    <a:pt x="387" y="1152"/>
                    <a:pt x="387" y="1152"/>
                    <a:pt x="387" y="1151"/>
                  </a:cubicBezTo>
                  <a:cubicBezTo>
                    <a:pt x="388" y="1151"/>
                    <a:pt x="388" y="1151"/>
                    <a:pt x="388" y="1151"/>
                  </a:cubicBezTo>
                  <a:cubicBezTo>
                    <a:pt x="389" y="1150"/>
                    <a:pt x="389" y="1150"/>
                    <a:pt x="390" y="1149"/>
                  </a:cubicBezTo>
                  <a:cubicBezTo>
                    <a:pt x="390" y="1149"/>
                    <a:pt x="390" y="1149"/>
                    <a:pt x="390" y="1149"/>
                  </a:cubicBezTo>
                  <a:cubicBezTo>
                    <a:pt x="391" y="1148"/>
                    <a:pt x="391" y="1148"/>
                    <a:pt x="391" y="1147"/>
                  </a:cubicBezTo>
                  <a:cubicBezTo>
                    <a:pt x="392" y="1147"/>
                    <a:pt x="392" y="1147"/>
                    <a:pt x="392" y="1146"/>
                  </a:cubicBezTo>
                  <a:cubicBezTo>
                    <a:pt x="392" y="1146"/>
                    <a:pt x="392" y="1145"/>
                    <a:pt x="393" y="1145"/>
                  </a:cubicBezTo>
                  <a:cubicBezTo>
                    <a:pt x="393" y="1144"/>
                    <a:pt x="393" y="1144"/>
                    <a:pt x="394" y="1143"/>
                  </a:cubicBezTo>
                  <a:cubicBezTo>
                    <a:pt x="395" y="1142"/>
                    <a:pt x="396" y="1141"/>
                    <a:pt x="396" y="1140"/>
                  </a:cubicBezTo>
                  <a:cubicBezTo>
                    <a:pt x="397" y="1140"/>
                    <a:pt x="397" y="1139"/>
                    <a:pt x="397" y="1139"/>
                  </a:cubicBezTo>
                  <a:cubicBezTo>
                    <a:pt x="397" y="1138"/>
                    <a:pt x="397" y="1138"/>
                    <a:pt x="397" y="1137"/>
                  </a:cubicBezTo>
                  <a:cubicBezTo>
                    <a:pt x="398" y="1136"/>
                    <a:pt x="398" y="1135"/>
                    <a:pt x="398" y="1134"/>
                  </a:cubicBezTo>
                  <a:cubicBezTo>
                    <a:pt x="399" y="1133"/>
                    <a:pt x="399" y="1131"/>
                    <a:pt x="400" y="1130"/>
                  </a:cubicBezTo>
                  <a:cubicBezTo>
                    <a:pt x="400" y="1130"/>
                    <a:pt x="400" y="1130"/>
                    <a:pt x="400" y="1130"/>
                  </a:cubicBezTo>
                  <a:cubicBezTo>
                    <a:pt x="401" y="1128"/>
                    <a:pt x="402" y="1127"/>
                    <a:pt x="403" y="1126"/>
                  </a:cubicBezTo>
                  <a:cubicBezTo>
                    <a:pt x="404" y="1125"/>
                    <a:pt x="405" y="1124"/>
                    <a:pt x="406" y="1122"/>
                  </a:cubicBezTo>
                  <a:cubicBezTo>
                    <a:pt x="406" y="1122"/>
                    <a:pt x="407" y="1121"/>
                    <a:pt x="407" y="1120"/>
                  </a:cubicBezTo>
                  <a:cubicBezTo>
                    <a:pt x="408" y="1119"/>
                    <a:pt x="409" y="1118"/>
                    <a:pt x="409" y="1116"/>
                  </a:cubicBezTo>
                  <a:cubicBezTo>
                    <a:pt x="410" y="1114"/>
                    <a:pt x="410" y="1114"/>
                    <a:pt x="410" y="1114"/>
                  </a:cubicBezTo>
                  <a:cubicBezTo>
                    <a:pt x="410" y="1112"/>
                    <a:pt x="410" y="1110"/>
                    <a:pt x="411" y="1108"/>
                  </a:cubicBezTo>
                  <a:cubicBezTo>
                    <a:pt x="411" y="1108"/>
                    <a:pt x="411" y="1107"/>
                    <a:pt x="412" y="1107"/>
                  </a:cubicBezTo>
                  <a:cubicBezTo>
                    <a:pt x="412" y="1106"/>
                    <a:pt x="413" y="1105"/>
                    <a:pt x="413" y="1104"/>
                  </a:cubicBezTo>
                  <a:cubicBezTo>
                    <a:pt x="413" y="1103"/>
                    <a:pt x="412" y="1102"/>
                    <a:pt x="412" y="1102"/>
                  </a:cubicBezTo>
                  <a:cubicBezTo>
                    <a:pt x="412" y="1102"/>
                    <a:pt x="412" y="1102"/>
                    <a:pt x="412" y="1101"/>
                  </a:cubicBezTo>
                  <a:cubicBezTo>
                    <a:pt x="412" y="1101"/>
                    <a:pt x="412" y="1101"/>
                    <a:pt x="412" y="1101"/>
                  </a:cubicBezTo>
                  <a:cubicBezTo>
                    <a:pt x="412" y="1101"/>
                    <a:pt x="412" y="1101"/>
                    <a:pt x="412" y="1100"/>
                  </a:cubicBezTo>
                  <a:cubicBezTo>
                    <a:pt x="413" y="1100"/>
                    <a:pt x="413" y="1099"/>
                    <a:pt x="413" y="1097"/>
                  </a:cubicBezTo>
                  <a:cubicBezTo>
                    <a:pt x="413" y="1097"/>
                    <a:pt x="413" y="1096"/>
                    <a:pt x="413" y="1095"/>
                  </a:cubicBezTo>
                  <a:cubicBezTo>
                    <a:pt x="413" y="1094"/>
                    <a:pt x="412" y="1093"/>
                    <a:pt x="411" y="1093"/>
                  </a:cubicBezTo>
                  <a:cubicBezTo>
                    <a:pt x="410" y="1093"/>
                    <a:pt x="410" y="1092"/>
                    <a:pt x="411" y="1091"/>
                  </a:cubicBezTo>
                  <a:cubicBezTo>
                    <a:pt x="411" y="1090"/>
                    <a:pt x="412" y="1089"/>
                    <a:pt x="412" y="1089"/>
                  </a:cubicBezTo>
                  <a:cubicBezTo>
                    <a:pt x="414" y="1087"/>
                    <a:pt x="416" y="1086"/>
                    <a:pt x="418" y="1086"/>
                  </a:cubicBezTo>
                  <a:cubicBezTo>
                    <a:pt x="418" y="1085"/>
                    <a:pt x="419" y="1085"/>
                    <a:pt x="420" y="1085"/>
                  </a:cubicBezTo>
                  <a:cubicBezTo>
                    <a:pt x="420" y="1085"/>
                    <a:pt x="421" y="1084"/>
                    <a:pt x="422" y="1084"/>
                  </a:cubicBezTo>
                  <a:cubicBezTo>
                    <a:pt x="424" y="1084"/>
                    <a:pt x="426" y="1083"/>
                    <a:pt x="427" y="1081"/>
                  </a:cubicBezTo>
                  <a:cubicBezTo>
                    <a:pt x="429" y="1080"/>
                    <a:pt x="432" y="1077"/>
                    <a:pt x="431" y="1073"/>
                  </a:cubicBezTo>
                  <a:cubicBezTo>
                    <a:pt x="431" y="1071"/>
                    <a:pt x="431" y="1071"/>
                    <a:pt x="431" y="1069"/>
                  </a:cubicBezTo>
                  <a:cubicBezTo>
                    <a:pt x="431" y="1068"/>
                    <a:pt x="431" y="1068"/>
                    <a:pt x="431" y="1068"/>
                  </a:cubicBezTo>
                  <a:cubicBezTo>
                    <a:pt x="431" y="1067"/>
                    <a:pt x="432" y="1065"/>
                    <a:pt x="432" y="1064"/>
                  </a:cubicBezTo>
                  <a:cubicBezTo>
                    <a:pt x="433" y="1062"/>
                    <a:pt x="433" y="1062"/>
                    <a:pt x="432" y="1061"/>
                  </a:cubicBezTo>
                  <a:cubicBezTo>
                    <a:pt x="431" y="1061"/>
                    <a:pt x="431" y="1061"/>
                    <a:pt x="431" y="1061"/>
                  </a:cubicBezTo>
                  <a:cubicBezTo>
                    <a:pt x="432" y="1061"/>
                    <a:pt x="432" y="1061"/>
                    <a:pt x="432" y="1061"/>
                  </a:cubicBezTo>
                  <a:cubicBezTo>
                    <a:pt x="432" y="1060"/>
                    <a:pt x="432" y="1060"/>
                    <a:pt x="433" y="1059"/>
                  </a:cubicBezTo>
                  <a:cubicBezTo>
                    <a:pt x="433" y="1059"/>
                    <a:pt x="433" y="1059"/>
                    <a:pt x="433" y="1059"/>
                  </a:cubicBezTo>
                  <a:cubicBezTo>
                    <a:pt x="433" y="1057"/>
                    <a:pt x="433" y="1056"/>
                    <a:pt x="433" y="1055"/>
                  </a:cubicBezTo>
                  <a:cubicBezTo>
                    <a:pt x="433" y="1054"/>
                    <a:pt x="432" y="1053"/>
                    <a:pt x="430" y="1053"/>
                  </a:cubicBezTo>
                  <a:cubicBezTo>
                    <a:pt x="430" y="1053"/>
                    <a:pt x="430" y="1053"/>
                    <a:pt x="430" y="1053"/>
                  </a:cubicBezTo>
                  <a:cubicBezTo>
                    <a:pt x="430" y="1052"/>
                    <a:pt x="430" y="1052"/>
                    <a:pt x="430" y="1052"/>
                  </a:cubicBezTo>
                  <a:cubicBezTo>
                    <a:pt x="430" y="1051"/>
                    <a:pt x="430" y="1050"/>
                    <a:pt x="430" y="1049"/>
                  </a:cubicBezTo>
                  <a:cubicBezTo>
                    <a:pt x="429" y="1049"/>
                    <a:pt x="429" y="1049"/>
                    <a:pt x="429" y="1049"/>
                  </a:cubicBezTo>
                  <a:cubicBezTo>
                    <a:pt x="429" y="1049"/>
                    <a:pt x="429" y="1048"/>
                    <a:pt x="430" y="1048"/>
                  </a:cubicBezTo>
                  <a:cubicBezTo>
                    <a:pt x="430" y="1047"/>
                    <a:pt x="430" y="1047"/>
                    <a:pt x="430" y="1046"/>
                  </a:cubicBezTo>
                  <a:cubicBezTo>
                    <a:pt x="430" y="1045"/>
                    <a:pt x="430" y="1045"/>
                    <a:pt x="429" y="1044"/>
                  </a:cubicBezTo>
                  <a:cubicBezTo>
                    <a:pt x="429" y="1044"/>
                    <a:pt x="429" y="1043"/>
                    <a:pt x="428" y="1043"/>
                  </a:cubicBezTo>
                  <a:cubicBezTo>
                    <a:pt x="428" y="1043"/>
                    <a:pt x="428" y="1042"/>
                    <a:pt x="428" y="1041"/>
                  </a:cubicBezTo>
                  <a:cubicBezTo>
                    <a:pt x="428" y="1040"/>
                    <a:pt x="427" y="1039"/>
                    <a:pt x="426" y="1038"/>
                  </a:cubicBezTo>
                  <a:cubicBezTo>
                    <a:pt x="425" y="1038"/>
                    <a:pt x="425" y="1037"/>
                    <a:pt x="425" y="1037"/>
                  </a:cubicBezTo>
                  <a:cubicBezTo>
                    <a:pt x="425" y="1036"/>
                    <a:pt x="425" y="1035"/>
                    <a:pt x="425" y="1035"/>
                  </a:cubicBezTo>
                  <a:cubicBezTo>
                    <a:pt x="425" y="1034"/>
                    <a:pt x="425" y="1033"/>
                    <a:pt x="425" y="1032"/>
                  </a:cubicBezTo>
                  <a:cubicBezTo>
                    <a:pt x="425" y="1032"/>
                    <a:pt x="426" y="1032"/>
                    <a:pt x="427" y="1031"/>
                  </a:cubicBezTo>
                  <a:cubicBezTo>
                    <a:pt x="427" y="1031"/>
                    <a:pt x="428" y="1030"/>
                    <a:pt x="428" y="1030"/>
                  </a:cubicBezTo>
                  <a:cubicBezTo>
                    <a:pt x="428" y="1029"/>
                    <a:pt x="428" y="1029"/>
                    <a:pt x="429" y="1029"/>
                  </a:cubicBezTo>
                  <a:cubicBezTo>
                    <a:pt x="429" y="1029"/>
                    <a:pt x="429" y="1028"/>
                    <a:pt x="430" y="1028"/>
                  </a:cubicBezTo>
                  <a:cubicBezTo>
                    <a:pt x="430" y="1028"/>
                    <a:pt x="431" y="1027"/>
                    <a:pt x="431" y="1027"/>
                  </a:cubicBezTo>
                  <a:cubicBezTo>
                    <a:pt x="431" y="1027"/>
                    <a:pt x="432" y="1026"/>
                    <a:pt x="432" y="1026"/>
                  </a:cubicBezTo>
                  <a:cubicBezTo>
                    <a:pt x="432" y="1025"/>
                    <a:pt x="432" y="1025"/>
                    <a:pt x="433" y="1025"/>
                  </a:cubicBezTo>
                  <a:cubicBezTo>
                    <a:pt x="433" y="1024"/>
                    <a:pt x="434" y="1024"/>
                    <a:pt x="435" y="1023"/>
                  </a:cubicBezTo>
                  <a:cubicBezTo>
                    <a:pt x="436" y="1023"/>
                    <a:pt x="436" y="1023"/>
                    <a:pt x="437" y="1022"/>
                  </a:cubicBezTo>
                  <a:cubicBezTo>
                    <a:pt x="439" y="1021"/>
                    <a:pt x="440" y="1020"/>
                    <a:pt x="441" y="1017"/>
                  </a:cubicBezTo>
                  <a:cubicBezTo>
                    <a:pt x="441" y="1016"/>
                    <a:pt x="442" y="1015"/>
                    <a:pt x="442" y="1015"/>
                  </a:cubicBezTo>
                  <a:cubicBezTo>
                    <a:pt x="443" y="1014"/>
                    <a:pt x="443" y="1014"/>
                    <a:pt x="444" y="1013"/>
                  </a:cubicBezTo>
                  <a:cubicBezTo>
                    <a:pt x="444" y="1013"/>
                    <a:pt x="445" y="1012"/>
                    <a:pt x="445" y="1012"/>
                  </a:cubicBezTo>
                  <a:cubicBezTo>
                    <a:pt x="445" y="1011"/>
                    <a:pt x="446" y="1010"/>
                    <a:pt x="447" y="1010"/>
                  </a:cubicBezTo>
                  <a:cubicBezTo>
                    <a:pt x="448" y="1009"/>
                    <a:pt x="450" y="1007"/>
                    <a:pt x="452" y="1007"/>
                  </a:cubicBezTo>
                  <a:cubicBezTo>
                    <a:pt x="454" y="1006"/>
                    <a:pt x="455" y="1005"/>
                    <a:pt x="456" y="1005"/>
                  </a:cubicBezTo>
                  <a:cubicBezTo>
                    <a:pt x="456" y="1004"/>
                    <a:pt x="456" y="1004"/>
                    <a:pt x="456" y="1004"/>
                  </a:cubicBezTo>
                  <a:cubicBezTo>
                    <a:pt x="457" y="1004"/>
                    <a:pt x="457" y="1004"/>
                    <a:pt x="458" y="1003"/>
                  </a:cubicBezTo>
                  <a:cubicBezTo>
                    <a:pt x="458" y="1003"/>
                    <a:pt x="459" y="1003"/>
                    <a:pt x="460" y="1002"/>
                  </a:cubicBezTo>
                  <a:cubicBezTo>
                    <a:pt x="461" y="1001"/>
                    <a:pt x="462" y="1000"/>
                    <a:pt x="463" y="999"/>
                  </a:cubicBezTo>
                  <a:cubicBezTo>
                    <a:pt x="463" y="998"/>
                    <a:pt x="463" y="998"/>
                    <a:pt x="463" y="997"/>
                  </a:cubicBezTo>
                  <a:cubicBezTo>
                    <a:pt x="464" y="996"/>
                    <a:pt x="464" y="995"/>
                    <a:pt x="465" y="994"/>
                  </a:cubicBezTo>
                  <a:cubicBezTo>
                    <a:pt x="465" y="994"/>
                    <a:pt x="466" y="994"/>
                    <a:pt x="466" y="993"/>
                  </a:cubicBezTo>
                  <a:cubicBezTo>
                    <a:pt x="468" y="993"/>
                    <a:pt x="469" y="992"/>
                    <a:pt x="470" y="990"/>
                  </a:cubicBezTo>
                  <a:cubicBezTo>
                    <a:pt x="470" y="989"/>
                    <a:pt x="470" y="989"/>
                    <a:pt x="470" y="989"/>
                  </a:cubicBezTo>
                  <a:cubicBezTo>
                    <a:pt x="470" y="987"/>
                    <a:pt x="471" y="986"/>
                    <a:pt x="471" y="984"/>
                  </a:cubicBezTo>
                  <a:cubicBezTo>
                    <a:pt x="471" y="983"/>
                    <a:pt x="472" y="983"/>
                    <a:pt x="472" y="982"/>
                  </a:cubicBezTo>
                  <a:cubicBezTo>
                    <a:pt x="473" y="981"/>
                    <a:pt x="474" y="980"/>
                    <a:pt x="474" y="978"/>
                  </a:cubicBezTo>
                  <a:cubicBezTo>
                    <a:pt x="474" y="976"/>
                    <a:pt x="473" y="976"/>
                    <a:pt x="472" y="975"/>
                  </a:cubicBezTo>
                  <a:cubicBezTo>
                    <a:pt x="472" y="975"/>
                    <a:pt x="472" y="975"/>
                    <a:pt x="472" y="975"/>
                  </a:cubicBezTo>
                  <a:cubicBezTo>
                    <a:pt x="471" y="975"/>
                    <a:pt x="471" y="975"/>
                    <a:pt x="471" y="974"/>
                  </a:cubicBezTo>
                  <a:cubicBezTo>
                    <a:pt x="472" y="973"/>
                    <a:pt x="471" y="971"/>
                    <a:pt x="471" y="970"/>
                  </a:cubicBezTo>
                  <a:cubicBezTo>
                    <a:pt x="471" y="969"/>
                    <a:pt x="471" y="968"/>
                    <a:pt x="471" y="967"/>
                  </a:cubicBezTo>
                  <a:cubicBezTo>
                    <a:pt x="471" y="966"/>
                    <a:pt x="471" y="965"/>
                    <a:pt x="471" y="963"/>
                  </a:cubicBezTo>
                  <a:cubicBezTo>
                    <a:pt x="470" y="962"/>
                    <a:pt x="470" y="961"/>
                    <a:pt x="470" y="961"/>
                  </a:cubicBezTo>
                  <a:cubicBezTo>
                    <a:pt x="470" y="960"/>
                    <a:pt x="471" y="960"/>
                    <a:pt x="471" y="960"/>
                  </a:cubicBezTo>
                  <a:cubicBezTo>
                    <a:pt x="471" y="959"/>
                    <a:pt x="472" y="959"/>
                    <a:pt x="472" y="958"/>
                  </a:cubicBezTo>
                  <a:cubicBezTo>
                    <a:pt x="472" y="956"/>
                    <a:pt x="472" y="955"/>
                    <a:pt x="471" y="954"/>
                  </a:cubicBezTo>
                  <a:cubicBezTo>
                    <a:pt x="471" y="954"/>
                    <a:pt x="471" y="954"/>
                    <a:pt x="471" y="954"/>
                  </a:cubicBezTo>
                  <a:cubicBezTo>
                    <a:pt x="471" y="953"/>
                    <a:pt x="471" y="952"/>
                    <a:pt x="471" y="950"/>
                  </a:cubicBezTo>
                  <a:cubicBezTo>
                    <a:pt x="471" y="949"/>
                    <a:pt x="471" y="949"/>
                    <a:pt x="471" y="949"/>
                  </a:cubicBezTo>
                  <a:cubicBezTo>
                    <a:pt x="471" y="949"/>
                    <a:pt x="470" y="949"/>
                    <a:pt x="470" y="948"/>
                  </a:cubicBezTo>
                  <a:cubicBezTo>
                    <a:pt x="470" y="948"/>
                    <a:pt x="470" y="947"/>
                    <a:pt x="470" y="946"/>
                  </a:cubicBezTo>
                  <a:cubicBezTo>
                    <a:pt x="470" y="946"/>
                    <a:pt x="470" y="946"/>
                    <a:pt x="470" y="946"/>
                  </a:cubicBezTo>
                  <a:cubicBezTo>
                    <a:pt x="471" y="945"/>
                    <a:pt x="471" y="944"/>
                    <a:pt x="471" y="943"/>
                  </a:cubicBezTo>
                  <a:cubicBezTo>
                    <a:pt x="471" y="943"/>
                    <a:pt x="471" y="942"/>
                    <a:pt x="471" y="942"/>
                  </a:cubicBezTo>
                  <a:cubicBezTo>
                    <a:pt x="471" y="942"/>
                    <a:pt x="471" y="942"/>
                    <a:pt x="471" y="942"/>
                  </a:cubicBezTo>
                  <a:cubicBezTo>
                    <a:pt x="471" y="941"/>
                    <a:pt x="472" y="940"/>
                    <a:pt x="471" y="939"/>
                  </a:cubicBezTo>
                  <a:cubicBezTo>
                    <a:pt x="471" y="938"/>
                    <a:pt x="471" y="938"/>
                    <a:pt x="471" y="938"/>
                  </a:cubicBezTo>
                  <a:cubicBezTo>
                    <a:pt x="471" y="938"/>
                    <a:pt x="471" y="938"/>
                    <a:pt x="471" y="938"/>
                  </a:cubicBezTo>
                  <a:cubicBezTo>
                    <a:pt x="470" y="938"/>
                    <a:pt x="470" y="938"/>
                    <a:pt x="470" y="938"/>
                  </a:cubicBezTo>
                  <a:cubicBezTo>
                    <a:pt x="470" y="937"/>
                    <a:pt x="470" y="937"/>
                    <a:pt x="469" y="937"/>
                  </a:cubicBezTo>
                  <a:cubicBezTo>
                    <a:pt x="469" y="936"/>
                    <a:pt x="468" y="934"/>
                    <a:pt x="467" y="933"/>
                  </a:cubicBezTo>
                  <a:cubicBezTo>
                    <a:pt x="466" y="933"/>
                    <a:pt x="466" y="933"/>
                    <a:pt x="466" y="932"/>
                  </a:cubicBezTo>
                  <a:cubicBezTo>
                    <a:pt x="465" y="932"/>
                    <a:pt x="465" y="932"/>
                    <a:pt x="465" y="932"/>
                  </a:cubicBezTo>
                  <a:cubicBezTo>
                    <a:pt x="465" y="932"/>
                    <a:pt x="465" y="931"/>
                    <a:pt x="465" y="931"/>
                  </a:cubicBezTo>
                  <a:cubicBezTo>
                    <a:pt x="465" y="931"/>
                    <a:pt x="466" y="930"/>
                    <a:pt x="465" y="929"/>
                  </a:cubicBezTo>
                  <a:cubicBezTo>
                    <a:pt x="465" y="928"/>
                    <a:pt x="464" y="928"/>
                    <a:pt x="464" y="928"/>
                  </a:cubicBezTo>
                  <a:cubicBezTo>
                    <a:pt x="464" y="927"/>
                    <a:pt x="464" y="927"/>
                    <a:pt x="464" y="927"/>
                  </a:cubicBezTo>
                  <a:cubicBezTo>
                    <a:pt x="464" y="927"/>
                    <a:pt x="464" y="926"/>
                    <a:pt x="464" y="925"/>
                  </a:cubicBezTo>
                  <a:cubicBezTo>
                    <a:pt x="464" y="925"/>
                    <a:pt x="464" y="924"/>
                    <a:pt x="463" y="923"/>
                  </a:cubicBezTo>
                  <a:cubicBezTo>
                    <a:pt x="463" y="923"/>
                    <a:pt x="463" y="922"/>
                    <a:pt x="463" y="922"/>
                  </a:cubicBezTo>
                  <a:cubicBezTo>
                    <a:pt x="463" y="922"/>
                    <a:pt x="463" y="922"/>
                    <a:pt x="463" y="922"/>
                  </a:cubicBezTo>
                  <a:cubicBezTo>
                    <a:pt x="463" y="921"/>
                    <a:pt x="463" y="921"/>
                    <a:pt x="463" y="921"/>
                  </a:cubicBezTo>
                  <a:cubicBezTo>
                    <a:pt x="463" y="920"/>
                    <a:pt x="462" y="919"/>
                    <a:pt x="462" y="919"/>
                  </a:cubicBezTo>
                  <a:cubicBezTo>
                    <a:pt x="461" y="918"/>
                    <a:pt x="461" y="918"/>
                    <a:pt x="461" y="918"/>
                  </a:cubicBezTo>
                  <a:cubicBezTo>
                    <a:pt x="461" y="918"/>
                    <a:pt x="461" y="917"/>
                    <a:pt x="461" y="915"/>
                  </a:cubicBezTo>
                  <a:cubicBezTo>
                    <a:pt x="461" y="915"/>
                    <a:pt x="461" y="914"/>
                    <a:pt x="461" y="914"/>
                  </a:cubicBezTo>
                  <a:cubicBezTo>
                    <a:pt x="461" y="913"/>
                    <a:pt x="462" y="912"/>
                    <a:pt x="461" y="912"/>
                  </a:cubicBezTo>
                  <a:cubicBezTo>
                    <a:pt x="461" y="911"/>
                    <a:pt x="461" y="910"/>
                    <a:pt x="462" y="909"/>
                  </a:cubicBezTo>
                  <a:cubicBezTo>
                    <a:pt x="462" y="908"/>
                    <a:pt x="462" y="908"/>
                    <a:pt x="462" y="907"/>
                  </a:cubicBezTo>
                  <a:cubicBezTo>
                    <a:pt x="462" y="906"/>
                    <a:pt x="462" y="906"/>
                    <a:pt x="462" y="906"/>
                  </a:cubicBezTo>
                  <a:cubicBezTo>
                    <a:pt x="462" y="905"/>
                    <a:pt x="462" y="905"/>
                    <a:pt x="462" y="905"/>
                  </a:cubicBezTo>
                  <a:cubicBezTo>
                    <a:pt x="462" y="904"/>
                    <a:pt x="463" y="903"/>
                    <a:pt x="462" y="902"/>
                  </a:cubicBezTo>
                  <a:cubicBezTo>
                    <a:pt x="462" y="901"/>
                    <a:pt x="462" y="900"/>
                    <a:pt x="461" y="899"/>
                  </a:cubicBezTo>
                  <a:cubicBezTo>
                    <a:pt x="460" y="898"/>
                    <a:pt x="459" y="898"/>
                    <a:pt x="459" y="897"/>
                  </a:cubicBezTo>
                  <a:cubicBezTo>
                    <a:pt x="458" y="896"/>
                    <a:pt x="458" y="892"/>
                    <a:pt x="459" y="890"/>
                  </a:cubicBezTo>
                  <a:cubicBezTo>
                    <a:pt x="459" y="890"/>
                    <a:pt x="459" y="890"/>
                    <a:pt x="459" y="890"/>
                  </a:cubicBezTo>
                  <a:cubicBezTo>
                    <a:pt x="459" y="889"/>
                    <a:pt x="460" y="889"/>
                    <a:pt x="460" y="888"/>
                  </a:cubicBezTo>
                  <a:cubicBezTo>
                    <a:pt x="460" y="887"/>
                    <a:pt x="460" y="885"/>
                    <a:pt x="460" y="884"/>
                  </a:cubicBezTo>
                  <a:cubicBezTo>
                    <a:pt x="460" y="884"/>
                    <a:pt x="460" y="884"/>
                    <a:pt x="460" y="884"/>
                  </a:cubicBezTo>
                  <a:cubicBezTo>
                    <a:pt x="460" y="884"/>
                    <a:pt x="460" y="884"/>
                    <a:pt x="460" y="884"/>
                  </a:cubicBezTo>
                  <a:cubicBezTo>
                    <a:pt x="461" y="883"/>
                    <a:pt x="461" y="883"/>
                    <a:pt x="461" y="883"/>
                  </a:cubicBezTo>
                  <a:cubicBezTo>
                    <a:pt x="462" y="882"/>
                    <a:pt x="462" y="882"/>
                    <a:pt x="462" y="881"/>
                  </a:cubicBezTo>
                  <a:cubicBezTo>
                    <a:pt x="462" y="881"/>
                    <a:pt x="462" y="881"/>
                    <a:pt x="462" y="881"/>
                  </a:cubicBezTo>
                  <a:cubicBezTo>
                    <a:pt x="464" y="880"/>
                    <a:pt x="464" y="878"/>
                    <a:pt x="465" y="877"/>
                  </a:cubicBezTo>
                  <a:cubicBezTo>
                    <a:pt x="463" y="877"/>
                    <a:pt x="463" y="877"/>
                    <a:pt x="463" y="877"/>
                  </a:cubicBezTo>
                  <a:cubicBezTo>
                    <a:pt x="463" y="877"/>
                    <a:pt x="463" y="877"/>
                    <a:pt x="463" y="877"/>
                  </a:cubicBezTo>
                  <a:cubicBezTo>
                    <a:pt x="463" y="877"/>
                    <a:pt x="463" y="877"/>
                    <a:pt x="463" y="877"/>
                  </a:cubicBezTo>
                  <a:cubicBezTo>
                    <a:pt x="465" y="877"/>
                    <a:pt x="465" y="877"/>
                    <a:pt x="465" y="877"/>
                  </a:cubicBezTo>
                  <a:cubicBezTo>
                    <a:pt x="465" y="875"/>
                    <a:pt x="465" y="874"/>
                    <a:pt x="465" y="872"/>
                  </a:cubicBezTo>
                  <a:cubicBezTo>
                    <a:pt x="465" y="872"/>
                    <a:pt x="465" y="871"/>
                    <a:pt x="465" y="870"/>
                  </a:cubicBezTo>
                  <a:cubicBezTo>
                    <a:pt x="465" y="870"/>
                    <a:pt x="465" y="870"/>
                    <a:pt x="465" y="870"/>
                  </a:cubicBezTo>
                  <a:cubicBezTo>
                    <a:pt x="466" y="870"/>
                    <a:pt x="466" y="870"/>
                    <a:pt x="466" y="869"/>
                  </a:cubicBezTo>
                  <a:cubicBezTo>
                    <a:pt x="467" y="869"/>
                    <a:pt x="468" y="867"/>
                    <a:pt x="468" y="866"/>
                  </a:cubicBezTo>
                  <a:cubicBezTo>
                    <a:pt x="468" y="865"/>
                    <a:pt x="468" y="865"/>
                    <a:pt x="468" y="864"/>
                  </a:cubicBezTo>
                  <a:cubicBezTo>
                    <a:pt x="468" y="864"/>
                    <a:pt x="468" y="864"/>
                    <a:pt x="468" y="864"/>
                  </a:cubicBezTo>
                  <a:cubicBezTo>
                    <a:pt x="468" y="863"/>
                    <a:pt x="469" y="863"/>
                    <a:pt x="470" y="862"/>
                  </a:cubicBezTo>
                  <a:cubicBezTo>
                    <a:pt x="470" y="862"/>
                    <a:pt x="470" y="862"/>
                    <a:pt x="471" y="862"/>
                  </a:cubicBezTo>
                  <a:cubicBezTo>
                    <a:pt x="471" y="861"/>
                    <a:pt x="472" y="861"/>
                    <a:pt x="473" y="860"/>
                  </a:cubicBezTo>
                  <a:cubicBezTo>
                    <a:pt x="473" y="859"/>
                    <a:pt x="473" y="859"/>
                    <a:pt x="474" y="858"/>
                  </a:cubicBezTo>
                  <a:cubicBezTo>
                    <a:pt x="474" y="857"/>
                    <a:pt x="474" y="856"/>
                    <a:pt x="474" y="856"/>
                  </a:cubicBezTo>
                  <a:cubicBezTo>
                    <a:pt x="475" y="856"/>
                    <a:pt x="475" y="856"/>
                    <a:pt x="475" y="856"/>
                  </a:cubicBezTo>
                  <a:cubicBezTo>
                    <a:pt x="476" y="856"/>
                    <a:pt x="476" y="856"/>
                    <a:pt x="476" y="856"/>
                  </a:cubicBezTo>
                  <a:cubicBezTo>
                    <a:pt x="477" y="856"/>
                    <a:pt x="478" y="856"/>
                    <a:pt x="479" y="855"/>
                  </a:cubicBezTo>
                  <a:cubicBezTo>
                    <a:pt x="479" y="855"/>
                    <a:pt x="479" y="854"/>
                    <a:pt x="479" y="854"/>
                  </a:cubicBezTo>
                  <a:cubicBezTo>
                    <a:pt x="479" y="854"/>
                    <a:pt x="479" y="854"/>
                    <a:pt x="479" y="854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1" y="851"/>
                    <a:pt x="481" y="851"/>
                    <a:pt x="481" y="850"/>
                  </a:cubicBezTo>
                  <a:cubicBezTo>
                    <a:pt x="481" y="849"/>
                    <a:pt x="482" y="848"/>
                    <a:pt x="482" y="847"/>
                  </a:cubicBezTo>
                  <a:cubicBezTo>
                    <a:pt x="483" y="846"/>
                    <a:pt x="484" y="845"/>
                    <a:pt x="485" y="844"/>
                  </a:cubicBezTo>
                  <a:cubicBezTo>
                    <a:pt x="486" y="843"/>
                    <a:pt x="486" y="843"/>
                    <a:pt x="486" y="843"/>
                  </a:cubicBezTo>
                  <a:cubicBezTo>
                    <a:pt x="487" y="842"/>
                    <a:pt x="488" y="841"/>
                    <a:pt x="489" y="840"/>
                  </a:cubicBezTo>
                  <a:cubicBezTo>
                    <a:pt x="489" y="839"/>
                    <a:pt x="489" y="839"/>
                    <a:pt x="489" y="839"/>
                  </a:cubicBezTo>
                  <a:cubicBezTo>
                    <a:pt x="490" y="837"/>
                    <a:pt x="491" y="837"/>
                    <a:pt x="492" y="836"/>
                  </a:cubicBezTo>
                  <a:cubicBezTo>
                    <a:pt x="492" y="835"/>
                    <a:pt x="493" y="835"/>
                    <a:pt x="493" y="834"/>
                  </a:cubicBezTo>
                  <a:cubicBezTo>
                    <a:pt x="494" y="833"/>
                    <a:pt x="495" y="832"/>
                    <a:pt x="496" y="830"/>
                  </a:cubicBezTo>
                  <a:cubicBezTo>
                    <a:pt x="496" y="830"/>
                    <a:pt x="496" y="830"/>
                    <a:pt x="497" y="829"/>
                  </a:cubicBezTo>
                  <a:cubicBezTo>
                    <a:pt x="497" y="828"/>
                    <a:pt x="497" y="828"/>
                    <a:pt x="498" y="827"/>
                  </a:cubicBezTo>
                  <a:cubicBezTo>
                    <a:pt x="499" y="826"/>
                    <a:pt x="500" y="825"/>
                    <a:pt x="502" y="824"/>
                  </a:cubicBezTo>
                  <a:cubicBezTo>
                    <a:pt x="502" y="823"/>
                    <a:pt x="503" y="822"/>
                    <a:pt x="504" y="821"/>
                  </a:cubicBezTo>
                  <a:cubicBezTo>
                    <a:pt x="505" y="821"/>
                    <a:pt x="505" y="821"/>
                    <a:pt x="505" y="821"/>
                  </a:cubicBezTo>
                  <a:cubicBezTo>
                    <a:pt x="505" y="820"/>
                    <a:pt x="506" y="820"/>
                    <a:pt x="507" y="819"/>
                  </a:cubicBezTo>
                  <a:cubicBezTo>
                    <a:pt x="509" y="818"/>
                    <a:pt x="511" y="816"/>
                    <a:pt x="513" y="815"/>
                  </a:cubicBezTo>
                  <a:cubicBezTo>
                    <a:pt x="513" y="814"/>
                    <a:pt x="513" y="814"/>
                    <a:pt x="513" y="814"/>
                  </a:cubicBezTo>
                  <a:cubicBezTo>
                    <a:pt x="514" y="813"/>
                    <a:pt x="515" y="813"/>
                    <a:pt x="515" y="812"/>
                  </a:cubicBezTo>
                  <a:cubicBezTo>
                    <a:pt x="517" y="811"/>
                    <a:pt x="519" y="810"/>
                    <a:pt x="520" y="808"/>
                  </a:cubicBezTo>
                  <a:cubicBezTo>
                    <a:pt x="520" y="807"/>
                    <a:pt x="520" y="807"/>
                    <a:pt x="520" y="807"/>
                  </a:cubicBezTo>
                  <a:cubicBezTo>
                    <a:pt x="521" y="805"/>
                    <a:pt x="522" y="804"/>
                    <a:pt x="524" y="802"/>
                  </a:cubicBezTo>
                  <a:cubicBezTo>
                    <a:pt x="525" y="801"/>
                    <a:pt x="526" y="799"/>
                    <a:pt x="527" y="798"/>
                  </a:cubicBezTo>
                  <a:cubicBezTo>
                    <a:pt x="528" y="797"/>
                    <a:pt x="528" y="796"/>
                    <a:pt x="528" y="796"/>
                  </a:cubicBezTo>
                  <a:cubicBezTo>
                    <a:pt x="530" y="794"/>
                    <a:pt x="531" y="792"/>
                    <a:pt x="532" y="790"/>
                  </a:cubicBezTo>
                  <a:cubicBezTo>
                    <a:pt x="532" y="789"/>
                    <a:pt x="533" y="788"/>
                    <a:pt x="533" y="787"/>
                  </a:cubicBezTo>
                  <a:cubicBezTo>
                    <a:pt x="534" y="786"/>
                    <a:pt x="534" y="786"/>
                    <a:pt x="534" y="786"/>
                  </a:cubicBezTo>
                  <a:cubicBezTo>
                    <a:pt x="535" y="784"/>
                    <a:pt x="536" y="783"/>
                    <a:pt x="537" y="780"/>
                  </a:cubicBezTo>
                  <a:cubicBezTo>
                    <a:pt x="537" y="779"/>
                    <a:pt x="538" y="778"/>
                    <a:pt x="538" y="777"/>
                  </a:cubicBezTo>
                  <a:cubicBezTo>
                    <a:pt x="539" y="775"/>
                    <a:pt x="539" y="774"/>
                    <a:pt x="539" y="772"/>
                  </a:cubicBezTo>
                  <a:cubicBezTo>
                    <a:pt x="540" y="771"/>
                    <a:pt x="541" y="769"/>
                    <a:pt x="542" y="767"/>
                  </a:cubicBezTo>
                  <a:cubicBezTo>
                    <a:pt x="543" y="766"/>
                    <a:pt x="543" y="765"/>
                    <a:pt x="544" y="765"/>
                  </a:cubicBezTo>
                  <a:cubicBezTo>
                    <a:pt x="544" y="764"/>
                    <a:pt x="544" y="764"/>
                    <a:pt x="544" y="764"/>
                  </a:cubicBezTo>
                  <a:cubicBezTo>
                    <a:pt x="544" y="763"/>
                    <a:pt x="545" y="762"/>
                    <a:pt x="545" y="761"/>
                  </a:cubicBezTo>
                  <a:cubicBezTo>
                    <a:pt x="545" y="760"/>
                    <a:pt x="545" y="760"/>
                    <a:pt x="545" y="759"/>
                  </a:cubicBezTo>
                  <a:cubicBezTo>
                    <a:pt x="545" y="758"/>
                    <a:pt x="545" y="758"/>
                    <a:pt x="545" y="758"/>
                  </a:cubicBezTo>
                  <a:cubicBezTo>
                    <a:pt x="545" y="758"/>
                    <a:pt x="546" y="758"/>
                    <a:pt x="546" y="758"/>
                  </a:cubicBezTo>
                  <a:cubicBezTo>
                    <a:pt x="547" y="757"/>
                    <a:pt x="547" y="757"/>
                    <a:pt x="548" y="756"/>
                  </a:cubicBezTo>
                  <a:cubicBezTo>
                    <a:pt x="549" y="755"/>
                    <a:pt x="549" y="754"/>
                    <a:pt x="549" y="753"/>
                  </a:cubicBezTo>
                  <a:cubicBezTo>
                    <a:pt x="549" y="753"/>
                    <a:pt x="549" y="753"/>
                    <a:pt x="549" y="752"/>
                  </a:cubicBezTo>
                  <a:cubicBezTo>
                    <a:pt x="550" y="752"/>
                    <a:pt x="550" y="751"/>
                    <a:pt x="551" y="750"/>
                  </a:cubicBezTo>
                  <a:cubicBezTo>
                    <a:pt x="552" y="748"/>
                    <a:pt x="554" y="745"/>
                    <a:pt x="553" y="743"/>
                  </a:cubicBezTo>
                  <a:cubicBezTo>
                    <a:pt x="553" y="742"/>
                    <a:pt x="553" y="742"/>
                    <a:pt x="554" y="741"/>
                  </a:cubicBezTo>
                  <a:cubicBezTo>
                    <a:pt x="554" y="740"/>
                    <a:pt x="554" y="739"/>
                    <a:pt x="554" y="737"/>
                  </a:cubicBezTo>
                  <a:cubicBezTo>
                    <a:pt x="555" y="737"/>
                    <a:pt x="557" y="736"/>
                    <a:pt x="557" y="734"/>
                  </a:cubicBezTo>
                  <a:cubicBezTo>
                    <a:pt x="556" y="733"/>
                    <a:pt x="556" y="733"/>
                    <a:pt x="555" y="733"/>
                  </a:cubicBezTo>
                  <a:cubicBezTo>
                    <a:pt x="555" y="732"/>
                    <a:pt x="555" y="732"/>
                    <a:pt x="555" y="732"/>
                  </a:cubicBezTo>
                  <a:cubicBezTo>
                    <a:pt x="555" y="732"/>
                    <a:pt x="556" y="732"/>
                    <a:pt x="556" y="731"/>
                  </a:cubicBezTo>
                  <a:cubicBezTo>
                    <a:pt x="556" y="730"/>
                    <a:pt x="556" y="730"/>
                    <a:pt x="556" y="729"/>
                  </a:cubicBezTo>
                  <a:cubicBezTo>
                    <a:pt x="556" y="729"/>
                    <a:pt x="556" y="729"/>
                    <a:pt x="556" y="729"/>
                  </a:cubicBezTo>
                  <a:cubicBezTo>
                    <a:pt x="556" y="728"/>
                    <a:pt x="555" y="727"/>
                    <a:pt x="555" y="725"/>
                  </a:cubicBezTo>
                  <a:cubicBezTo>
                    <a:pt x="555" y="725"/>
                    <a:pt x="555" y="724"/>
                    <a:pt x="555" y="724"/>
                  </a:cubicBezTo>
                  <a:cubicBezTo>
                    <a:pt x="555" y="724"/>
                    <a:pt x="555" y="724"/>
                    <a:pt x="555" y="724"/>
                  </a:cubicBezTo>
                  <a:cubicBezTo>
                    <a:pt x="555" y="723"/>
                    <a:pt x="556" y="723"/>
                    <a:pt x="556" y="722"/>
                  </a:cubicBezTo>
                  <a:cubicBezTo>
                    <a:pt x="556" y="720"/>
                    <a:pt x="554" y="720"/>
                    <a:pt x="553" y="719"/>
                  </a:cubicBezTo>
                  <a:cubicBezTo>
                    <a:pt x="552" y="719"/>
                    <a:pt x="552" y="719"/>
                    <a:pt x="552" y="719"/>
                  </a:cubicBezTo>
                  <a:cubicBezTo>
                    <a:pt x="551" y="719"/>
                    <a:pt x="551" y="719"/>
                    <a:pt x="550" y="719"/>
                  </a:cubicBezTo>
                  <a:cubicBezTo>
                    <a:pt x="549" y="719"/>
                    <a:pt x="548" y="720"/>
                    <a:pt x="546" y="721"/>
                  </a:cubicBezTo>
                  <a:cubicBezTo>
                    <a:pt x="546" y="721"/>
                    <a:pt x="546" y="721"/>
                    <a:pt x="545" y="722"/>
                  </a:cubicBezTo>
                  <a:cubicBezTo>
                    <a:pt x="544" y="722"/>
                    <a:pt x="543" y="722"/>
                    <a:pt x="542" y="723"/>
                  </a:cubicBezTo>
                  <a:cubicBezTo>
                    <a:pt x="542" y="723"/>
                    <a:pt x="541" y="723"/>
                    <a:pt x="539" y="724"/>
                  </a:cubicBezTo>
                  <a:cubicBezTo>
                    <a:pt x="538" y="725"/>
                    <a:pt x="537" y="725"/>
                    <a:pt x="536" y="725"/>
                  </a:cubicBezTo>
                  <a:cubicBezTo>
                    <a:pt x="535" y="725"/>
                    <a:pt x="535" y="725"/>
                    <a:pt x="535" y="725"/>
                  </a:cubicBezTo>
                  <a:cubicBezTo>
                    <a:pt x="534" y="725"/>
                    <a:pt x="534" y="725"/>
                    <a:pt x="534" y="725"/>
                  </a:cubicBezTo>
                  <a:cubicBezTo>
                    <a:pt x="533" y="725"/>
                    <a:pt x="532" y="725"/>
                    <a:pt x="531" y="725"/>
                  </a:cubicBezTo>
                  <a:cubicBezTo>
                    <a:pt x="531" y="725"/>
                    <a:pt x="530" y="725"/>
                    <a:pt x="530" y="725"/>
                  </a:cubicBezTo>
                  <a:cubicBezTo>
                    <a:pt x="530" y="725"/>
                    <a:pt x="529" y="725"/>
                    <a:pt x="529" y="726"/>
                  </a:cubicBezTo>
                  <a:cubicBezTo>
                    <a:pt x="528" y="726"/>
                    <a:pt x="528" y="726"/>
                    <a:pt x="528" y="726"/>
                  </a:cubicBezTo>
                  <a:cubicBezTo>
                    <a:pt x="528" y="726"/>
                    <a:pt x="527" y="726"/>
                    <a:pt x="527" y="726"/>
                  </a:cubicBezTo>
                  <a:cubicBezTo>
                    <a:pt x="527" y="726"/>
                    <a:pt x="527" y="726"/>
                    <a:pt x="527" y="726"/>
                  </a:cubicBezTo>
                  <a:cubicBezTo>
                    <a:pt x="526" y="726"/>
                    <a:pt x="526" y="726"/>
                    <a:pt x="525" y="726"/>
                  </a:cubicBezTo>
                  <a:cubicBezTo>
                    <a:pt x="525" y="726"/>
                    <a:pt x="525" y="726"/>
                    <a:pt x="525" y="726"/>
                  </a:cubicBezTo>
                  <a:cubicBezTo>
                    <a:pt x="523" y="726"/>
                    <a:pt x="522" y="727"/>
                    <a:pt x="521" y="727"/>
                  </a:cubicBezTo>
                  <a:cubicBezTo>
                    <a:pt x="521" y="728"/>
                    <a:pt x="521" y="728"/>
                    <a:pt x="521" y="728"/>
                  </a:cubicBezTo>
                  <a:cubicBezTo>
                    <a:pt x="521" y="728"/>
                    <a:pt x="521" y="728"/>
                    <a:pt x="520" y="728"/>
                  </a:cubicBezTo>
                  <a:cubicBezTo>
                    <a:pt x="520" y="728"/>
                    <a:pt x="520" y="729"/>
                    <a:pt x="520" y="729"/>
                  </a:cubicBezTo>
                  <a:cubicBezTo>
                    <a:pt x="520" y="729"/>
                    <a:pt x="520" y="729"/>
                    <a:pt x="519" y="729"/>
                  </a:cubicBezTo>
                  <a:cubicBezTo>
                    <a:pt x="519" y="729"/>
                    <a:pt x="519" y="729"/>
                    <a:pt x="518" y="729"/>
                  </a:cubicBezTo>
                  <a:cubicBezTo>
                    <a:pt x="518" y="729"/>
                    <a:pt x="517" y="729"/>
                    <a:pt x="517" y="729"/>
                  </a:cubicBezTo>
                  <a:cubicBezTo>
                    <a:pt x="517" y="730"/>
                    <a:pt x="516" y="730"/>
                    <a:pt x="516" y="730"/>
                  </a:cubicBezTo>
                  <a:cubicBezTo>
                    <a:pt x="515" y="730"/>
                    <a:pt x="514" y="730"/>
                    <a:pt x="513" y="729"/>
                  </a:cubicBezTo>
                  <a:cubicBezTo>
                    <a:pt x="511" y="728"/>
                    <a:pt x="509" y="729"/>
                    <a:pt x="508" y="730"/>
                  </a:cubicBezTo>
                  <a:cubicBezTo>
                    <a:pt x="508" y="730"/>
                    <a:pt x="507" y="731"/>
                    <a:pt x="506" y="731"/>
                  </a:cubicBezTo>
                  <a:cubicBezTo>
                    <a:pt x="506" y="731"/>
                    <a:pt x="506" y="731"/>
                    <a:pt x="506" y="731"/>
                  </a:cubicBezTo>
                  <a:cubicBezTo>
                    <a:pt x="505" y="731"/>
                    <a:pt x="504" y="731"/>
                    <a:pt x="503" y="732"/>
                  </a:cubicBezTo>
                  <a:cubicBezTo>
                    <a:pt x="502" y="733"/>
                    <a:pt x="502" y="733"/>
                    <a:pt x="502" y="733"/>
                  </a:cubicBezTo>
                  <a:cubicBezTo>
                    <a:pt x="502" y="733"/>
                    <a:pt x="501" y="733"/>
                    <a:pt x="501" y="733"/>
                  </a:cubicBezTo>
                  <a:cubicBezTo>
                    <a:pt x="501" y="733"/>
                    <a:pt x="501" y="733"/>
                    <a:pt x="501" y="733"/>
                  </a:cubicBezTo>
                  <a:cubicBezTo>
                    <a:pt x="500" y="733"/>
                    <a:pt x="499" y="732"/>
                    <a:pt x="499" y="732"/>
                  </a:cubicBezTo>
                  <a:cubicBezTo>
                    <a:pt x="499" y="732"/>
                    <a:pt x="499" y="732"/>
                    <a:pt x="499" y="732"/>
                  </a:cubicBezTo>
                  <a:cubicBezTo>
                    <a:pt x="499" y="731"/>
                    <a:pt x="499" y="731"/>
                    <a:pt x="499" y="731"/>
                  </a:cubicBezTo>
                  <a:cubicBezTo>
                    <a:pt x="498" y="731"/>
                    <a:pt x="498" y="731"/>
                    <a:pt x="498" y="730"/>
                  </a:cubicBezTo>
                  <a:cubicBezTo>
                    <a:pt x="498" y="730"/>
                    <a:pt x="497" y="730"/>
                    <a:pt x="497" y="729"/>
                  </a:cubicBezTo>
                  <a:cubicBezTo>
                    <a:pt x="497" y="729"/>
                    <a:pt x="496" y="728"/>
                    <a:pt x="495" y="728"/>
                  </a:cubicBezTo>
                  <a:cubicBezTo>
                    <a:pt x="495" y="727"/>
                    <a:pt x="494" y="727"/>
                    <a:pt x="494" y="726"/>
                  </a:cubicBezTo>
                  <a:cubicBezTo>
                    <a:pt x="500" y="727"/>
                    <a:pt x="500" y="727"/>
                    <a:pt x="500" y="727"/>
                  </a:cubicBezTo>
                  <a:cubicBezTo>
                    <a:pt x="494" y="725"/>
                    <a:pt x="494" y="725"/>
                    <a:pt x="494" y="725"/>
                  </a:cubicBezTo>
                  <a:cubicBezTo>
                    <a:pt x="493" y="724"/>
                    <a:pt x="493" y="724"/>
                    <a:pt x="493" y="724"/>
                  </a:cubicBezTo>
                  <a:cubicBezTo>
                    <a:pt x="493" y="723"/>
                    <a:pt x="493" y="723"/>
                    <a:pt x="493" y="723"/>
                  </a:cubicBezTo>
                  <a:cubicBezTo>
                    <a:pt x="490" y="723"/>
                    <a:pt x="490" y="723"/>
                    <a:pt x="490" y="723"/>
                  </a:cubicBezTo>
                  <a:cubicBezTo>
                    <a:pt x="490" y="723"/>
                    <a:pt x="489" y="723"/>
                    <a:pt x="488" y="723"/>
                  </a:cubicBezTo>
                  <a:cubicBezTo>
                    <a:pt x="488" y="723"/>
                    <a:pt x="488" y="723"/>
                    <a:pt x="487" y="723"/>
                  </a:cubicBezTo>
                  <a:cubicBezTo>
                    <a:pt x="487" y="723"/>
                    <a:pt x="487" y="723"/>
                    <a:pt x="487" y="723"/>
                  </a:cubicBezTo>
                  <a:cubicBezTo>
                    <a:pt x="487" y="723"/>
                    <a:pt x="487" y="723"/>
                    <a:pt x="488" y="722"/>
                  </a:cubicBezTo>
                  <a:cubicBezTo>
                    <a:pt x="488" y="722"/>
                    <a:pt x="488" y="722"/>
                    <a:pt x="489" y="722"/>
                  </a:cubicBezTo>
                  <a:cubicBezTo>
                    <a:pt x="490" y="722"/>
                    <a:pt x="491" y="721"/>
                    <a:pt x="492" y="720"/>
                  </a:cubicBezTo>
                  <a:cubicBezTo>
                    <a:pt x="493" y="719"/>
                    <a:pt x="493" y="718"/>
                    <a:pt x="492" y="717"/>
                  </a:cubicBezTo>
                  <a:cubicBezTo>
                    <a:pt x="492" y="716"/>
                    <a:pt x="492" y="716"/>
                    <a:pt x="492" y="716"/>
                  </a:cubicBezTo>
                  <a:cubicBezTo>
                    <a:pt x="492" y="716"/>
                    <a:pt x="492" y="716"/>
                    <a:pt x="492" y="715"/>
                  </a:cubicBezTo>
                  <a:cubicBezTo>
                    <a:pt x="492" y="715"/>
                    <a:pt x="492" y="714"/>
                    <a:pt x="492" y="713"/>
                  </a:cubicBezTo>
                  <a:cubicBezTo>
                    <a:pt x="492" y="713"/>
                    <a:pt x="492" y="713"/>
                    <a:pt x="492" y="713"/>
                  </a:cubicBezTo>
                  <a:cubicBezTo>
                    <a:pt x="492" y="713"/>
                    <a:pt x="492" y="713"/>
                    <a:pt x="493" y="713"/>
                  </a:cubicBezTo>
                  <a:cubicBezTo>
                    <a:pt x="493" y="713"/>
                    <a:pt x="494" y="713"/>
                    <a:pt x="494" y="713"/>
                  </a:cubicBezTo>
                  <a:cubicBezTo>
                    <a:pt x="495" y="713"/>
                    <a:pt x="495" y="713"/>
                    <a:pt x="495" y="713"/>
                  </a:cubicBezTo>
                  <a:cubicBezTo>
                    <a:pt x="495" y="713"/>
                    <a:pt x="495" y="713"/>
                    <a:pt x="495" y="713"/>
                  </a:cubicBezTo>
                  <a:cubicBezTo>
                    <a:pt x="495" y="714"/>
                    <a:pt x="495" y="714"/>
                    <a:pt x="495" y="714"/>
                  </a:cubicBezTo>
                  <a:cubicBezTo>
                    <a:pt x="496" y="714"/>
                    <a:pt x="496" y="715"/>
                    <a:pt x="497" y="715"/>
                  </a:cubicBezTo>
                  <a:cubicBezTo>
                    <a:pt x="498" y="715"/>
                    <a:pt x="499" y="714"/>
                    <a:pt x="500" y="713"/>
                  </a:cubicBezTo>
                  <a:cubicBezTo>
                    <a:pt x="500" y="713"/>
                    <a:pt x="501" y="712"/>
                    <a:pt x="501" y="712"/>
                  </a:cubicBezTo>
                  <a:cubicBezTo>
                    <a:pt x="502" y="712"/>
                    <a:pt x="502" y="712"/>
                    <a:pt x="503" y="712"/>
                  </a:cubicBezTo>
                  <a:cubicBezTo>
                    <a:pt x="505" y="713"/>
                    <a:pt x="507" y="711"/>
                    <a:pt x="508" y="709"/>
                  </a:cubicBezTo>
                  <a:cubicBezTo>
                    <a:pt x="508" y="709"/>
                    <a:pt x="509" y="709"/>
                    <a:pt x="509" y="708"/>
                  </a:cubicBezTo>
                  <a:cubicBezTo>
                    <a:pt x="509" y="708"/>
                    <a:pt x="509" y="708"/>
                    <a:pt x="509" y="708"/>
                  </a:cubicBezTo>
                  <a:cubicBezTo>
                    <a:pt x="510" y="708"/>
                    <a:pt x="511" y="707"/>
                    <a:pt x="511" y="707"/>
                  </a:cubicBezTo>
                  <a:cubicBezTo>
                    <a:pt x="512" y="707"/>
                    <a:pt x="512" y="707"/>
                    <a:pt x="513" y="707"/>
                  </a:cubicBezTo>
                  <a:cubicBezTo>
                    <a:pt x="514" y="707"/>
                    <a:pt x="515" y="707"/>
                    <a:pt x="516" y="707"/>
                  </a:cubicBezTo>
                  <a:cubicBezTo>
                    <a:pt x="516" y="706"/>
                    <a:pt x="518" y="706"/>
                    <a:pt x="520" y="706"/>
                  </a:cubicBezTo>
                  <a:cubicBezTo>
                    <a:pt x="521" y="706"/>
                    <a:pt x="523" y="704"/>
                    <a:pt x="524" y="703"/>
                  </a:cubicBezTo>
                  <a:cubicBezTo>
                    <a:pt x="525" y="703"/>
                    <a:pt x="525" y="702"/>
                    <a:pt x="526" y="702"/>
                  </a:cubicBezTo>
                  <a:cubicBezTo>
                    <a:pt x="527" y="702"/>
                    <a:pt x="528" y="702"/>
                    <a:pt x="528" y="702"/>
                  </a:cubicBezTo>
                  <a:cubicBezTo>
                    <a:pt x="529" y="702"/>
                    <a:pt x="529" y="702"/>
                    <a:pt x="529" y="702"/>
                  </a:cubicBezTo>
                  <a:cubicBezTo>
                    <a:pt x="530" y="702"/>
                    <a:pt x="530" y="701"/>
                    <a:pt x="531" y="701"/>
                  </a:cubicBezTo>
                  <a:cubicBezTo>
                    <a:pt x="531" y="701"/>
                    <a:pt x="531" y="701"/>
                    <a:pt x="532" y="701"/>
                  </a:cubicBezTo>
                  <a:cubicBezTo>
                    <a:pt x="535" y="701"/>
                    <a:pt x="537" y="698"/>
                    <a:pt x="539" y="696"/>
                  </a:cubicBezTo>
                  <a:cubicBezTo>
                    <a:pt x="539" y="696"/>
                    <a:pt x="539" y="696"/>
                    <a:pt x="539" y="696"/>
                  </a:cubicBezTo>
                  <a:cubicBezTo>
                    <a:pt x="540" y="695"/>
                    <a:pt x="546" y="692"/>
                    <a:pt x="548" y="691"/>
                  </a:cubicBezTo>
                  <a:cubicBezTo>
                    <a:pt x="549" y="691"/>
                    <a:pt x="556" y="688"/>
                    <a:pt x="557" y="688"/>
                  </a:cubicBezTo>
                  <a:cubicBezTo>
                    <a:pt x="557" y="687"/>
                    <a:pt x="558" y="687"/>
                    <a:pt x="558" y="687"/>
                  </a:cubicBezTo>
                  <a:cubicBezTo>
                    <a:pt x="559" y="687"/>
                    <a:pt x="560" y="686"/>
                    <a:pt x="562" y="685"/>
                  </a:cubicBezTo>
                  <a:cubicBezTo>
                    <a:pt x="564" y="683"/>
                    <a:pt x="564" y="682"/>
                    <a:pt x="563" y="680"/>
                  </a:cubicBezTo>
                  <a:cubicBezTo>
                    <a:pt x="563" y="680"/>
                    <a:pt x="563" y="680"/>
                    <a:pt x="563" y="679"/>
                  </a:cubicBezTo>
                  <a:cubicBezTo>
                    <a:pt x="563" y="679"/>
                    <a:pt x="565" y="677"/>
                    <a:pt x="567" y="676"/>
                  </a:cubicBezTo>
                  <a:cubicBezTo>
                    <a:pt x="568" y="676"/>
                    <a:pt x="568" y="676"/>
                    <a:pt x="568" y="676"/>
                  </a:cubicBezTo>
                  <a:cubicBezTo>
                    <a:pt x="568" y="676"/>
                    <a:pt x="568" y="675"/>
                    <a:pt x="570" y="674"/>
                  </a:cubicBezTo>
                  <a:cubicBezTo>
                    <a:pt x="571" y="674"/>
                    <a:pt x="571" y="674"/>
                    <a:pt x="571" y="674"/>
                  </a:cubicBezTo>
                  <a:cubicBezTo>
                    <a:pt x="574" y="674"/>
                    <a:pt x="575" y="672"/>
                    <a:pt x="576" y="671"/>
                  </a:cubicBezTo>
                  <a:cubicBezTo>
                    <a:pt x="576" y="671"/>
                    <a:pt x="576" y="671"/>
                    <a:pt x="576" y="671"/>
                  </a:cubicBezTo>
                  <a:cubicBezTo>
                    <a:pt x="577" y="671"/>
                    <a:pt x="578" y="671"/>
                    <a:pt x="578" y="671"/>
                  </a:cubicBezTo>
                  <a:cubicBezTo>
                    <a:pt x="579" y="672"/>
                    <a:pt x="579" y="672"/>
                    <a:pt x="580" y="672"/>
                  </a:cubicBezTo>
                  <a:cubicBezTo>
                    <a:pt x="581" y="673"/>
                    <a:pt x="582" y="671"/>
                    <a:pt x="582" y="671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670"/>
                    <a:pt x="583" y="670"/>
                    <a:pt x="584" y="670"/>
                  </a:cubicBezTo>
                  <a:cubicBezTo>
                    <a:pt x="585" y="669"/>
                    <a:pt x="586" y="668"/>
                    <a:pt x="586" y="665"/>
                  </a:cubicBezTo>
                  <a:cubicBezTo>
                    <a:pt x="586" y="665"/>
                    <a:pt x="586" y="664"/>
                    <a:pt x="586" y="664"/>
                  </a:cubicBezTo>
                  <a:cubicBezTo>
                    <a:pt x="587" y="663"/>
                    <a:pt x="588" y="663"/>
                    <a:pt x="588" y="663"/>
                  </a:cubicBezTo>
                  <a:cubicBezTo>
                    <a:pt x="589" y="663"/>
                    <a:pt x="591" y="662"/>
                    <a:pt x="592" y="662"/>
                  </a:cubicBezTo>
                  <a:cubicBezTo>
                    <a:pt x="592" y="662"/>
                    <a:pt x="592" y="662"/>
                    <a:pt x="592" y="662"/>
                  </a:cubicBezTo>
                  <a:cubicBezTo>
                    <a:pt x="592" y="662"/>
                    <a:pt x="592" y="663"/>
                    <a:pt x="593" y="663"/>
                  </a:cubicBezTo>
                  <a:cubicBezTo>
                    <a:pt x="593" y="663"/>
                    <a:pt x="593" y="663"/>
                    <a:pt x="593" y="663"/>
                  </a:cubicBezTo>
                  <a:cubicBezTo>
                    <a:pt x="593" y="663"/>
                    <a:pt x="593" y="663"/>
                    <a:pt x="593" y="663"/>
                  </a:cubicBezTo>
                  <a:cubicBezTo>
                    <a:pt x="595" y="663"/>
                    <a:pt x="595" y="662"/>
                    <a:pt x="596" y="661"/>
                  </a:cubicBezTo>
                  <a:cubicBezTo>
                    <a:pt x="596" y="661"/>
                    <a:pt x="596" y="661"/>
                    <a:pt x="596" y="660"/>
                  </a:cubicBezTo>
                  <a:cubicBezTo>
                    <a:pt x="597" y="659"/>
                    <a:pt x="597" y="659"/>
                    <a:pt x="597" y="658"/>
                  </a:cubicBezTo>
                  <a:cubicBezTo>
                    <a:pt x="597" y="657"/>
                    <a:pt x="597" y="657"/>
                    <a:pt x="597" y="657"/>
                  </a:cubicBezTo>
                  <a:cubicBezTo>
                    <a:pt x="597" y="657"/>
                    <a:pt x="597" y="656"/>
                    <a:pt x="599" y="654"/>
                  </a:cubicBezTo>
                  <a:cubicBezTo>
                    <a:pt x="600" y="652"/>
                    <a:pt x="603" y="652"/>
                    <a:pt x="604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5" y="652"/>
                    <a:pt x="605" y="652"/>
                    <a:pt x="605" y="652"/>
                  </a:cubicBezTo>
                  <a:cubicBezTo>
                    <a:pt x="606" y="651"/>
                    <a:pt x="606" y="651"/>
                    <a:pt x="606" y="651"/>
                  </a:cubicBezTo>
                  <a:cubicBezTo>
                    <a:pt x="607" y="650"/>
                    <a:pt x="606" y="643"/>
                    <a:pt x="605" y="643"/>
                  </a:cubicBezTo>
                  <a:cubicBezTo>
                    <a:pt x="605" y="642"/>
                    <a:pt x="607" y="639"/>
                    <a:pt x="607" y="638"/>
                  </a:cubicBezTo>
                  <a:cubicBezTo>
                    <a:pt x="608" y="637"/>
                    <a:pt x="608" y="637"/>
                    <a:pt x="608" y="636"/>
                  </a:cubicBezTo>
                  <a:cubicBezTo>
                    <a:pt x="608" y="636"/>
                    <a:pt x="608" y="636"/>
                    <a:pt x="608" y="636"/>
                  </a:cubicBezTo>
                  <a:cubicBezTo>
                    <a:pt x="608" y="636"/>
                    <a:pt x="609" y="637"/>
                    <a:pt x="610" y="637"/>
                  </a:cubicBezTo>
                  <a:cubicBezTo>
                    <a:pt x="610" y="637"/>
                    <a:pt x="611" y="636"/>
                    <a:pt x="611" y="636"/>
                  </a:cubicBezTo>
                  <a:cubicBezTo>
                    <a:pt x="612" y="635"/>
                    <a:pt x="613" y="632"/>
                    <a:pt x="614" y="630"/>
                  </a:cubicBezTo>
                  <a:cubicBezTo>
                    <a:pt x="614" y="629"/>
                    <a:pt x="614" y="629"/>
                    <a:pt x="615" y="628"/>
                  </a:cubicBezTo>
                  <a:cubicBezTo>
                    <a:pt x="617" y="626"/>
                    <a:pt x="621" y="616"/>
                    <a:pt x="621" y="616"/>
                  </a:cubicBezTo>
                  <a:cubicBezTo>
                    <a:pt x="621" y="615"/>
                    <a:pt x="621" y="614"/>
                    <a:pt x="621" y="613"/>
                  </a:cubicBezTo>
                  <a:cubicBezTo>
                    <a:pt x="620" y="613"/>
                    <a:pt x="619" y="613"/>
                    <a:pt x="619" y="613"/>
                  </a:cubicBezTo>
                  <a:cubicBezTo>
                    <a:pt x="618" y="611"/>
                    <a:pt x="615" y="609"/>
                    <a:pt x="614" y="608"/>
                  </a:cubicBezTo>
                  <a:cubicBezTo>
                    <a:pt x="614" y="608"/>
                    <a:pt x="613" y="607"/>
                    <a:pt x="613" y="605"/>
                  </a:cubicBezTo>
                  <a:cubicBezTo>
                    <a:pt x="612" y="604"/>
                    <a:pt x="612" y="604"/>
                    <a:pt x="612" y="604"/>
                  </a:cubicBezTo>
                  <a:cubicBezTo>
                    <a:pt x="611" y="602"/>
                    <a:pt x="610" y="602"/>
                    <a:pt x="608" y="602"/>
                  </a:cubicBezTo>
                  <a:cubicBezTo>
                    <a:pt x="607" y="602"/>
                    <a:pt x="607" y="602"/>
                    <a:pt x="606" y="602"/>
                  </a:cubicBezTo>
                  <a:cubicBezTo>
                    <a:pt x="606" y="602"/>
                    <a:pt x="606" y="602"/>
                    <a:pt x="606" y="602"/>
                  </a:cubicBezTo>
                  <a:cubicBezTo>
                    <a:pt x="606" y="602"/>
                    <a:pt x="606" y="602"/>
                    <a:pt x="606" y="602"/>
                  </a:cubicBezTo>
                  <a:cubicBezTo>
                    <a:pt x="605" y="601"/>
                    <a:pt x="604" y="601"/>
                    <a:pt x="601" y="600"/>
                  </a:cubicBezTo>
                  <a:cubicBezTo>
                    <a:pt x="601" y="599"/>
                    <a:pt x="600" y="599"/>
                    <a:pt x="600" y="599"/>
                  </a:cubicBezTo>
                  <a:cubicBezTo>
                    <a:pt x="599" y="599"/>
                    <a:pt x="598" y="598"/>
                    <a:pt x="597" y="597"/>
                  </a:cubicBezTo>
                  <a:cubicBezTo>
                    <a:pt x="596" y="596"/>
                    <a:pt x="596" y="595"/>
                    <a:pt x="595" y="595"/>
                  </a:cubicBezTo>
                  <a:cubicBezTo>
                    <a:pt x="595" y="595"/>
                    <a:pt x="595" y="594"/>
                    <a:pt x="595" y="594"/>
                  </a:cubicBezTo>
                  <a:cubicBezTo>
                    <a:pt x="595" y="593"/>
                    <a:pt x="594" y="593"/>
                    <a:pt x="594" y="593"/>
                  </a:cubicBezTo>
                  <a:cubicBezTo>
                    <a:pt x="594" y="592"/>
                    <a:pt x="593" y="591"/>
                    <a:pt x="593" y="590"/>
                  </a:cubicBezTo>
                  <a:cubicBezTo>
                    <a:pt x="593" y="590"/>
                    <a:pt x="593" y="590"/>
                    <a:pt x="593" y="590"/>
                  </a:cubicBezTo>
                  <a:cubicBezTo>
                    <a:pt x="593" y="589"/>
                    <a:pt x="593" y="589"/>
                    <a:pt x="593" y="589"/>
                  </a:cubicBezTo>
                  <a:cubicBezTo>
                    <a:pt x="593" y="587"/>
                    <a:pt x="593" y="585"/>
                    <a:pt x="593" y="584"/>
                  </a:cubicBezTo>
                  <a:cubicBezTo>
                    <a:pt x="592" y="584"/>
                    <a:pt x="592" y="583"/>
                    <a:pt x="592" y="583"/>
                  </a:cubicBezTo>
                  <a:cubicBezTo>
                    <a:pt x="592" y="583"/>
                    <a:pt x="593" y="583"/>
                    <a:pt x="593" y="582"/>
                  </a:cubicBezTo>
                  <a:cubicBezTo>
                    <a:pt x="593" y="582"/>
                    <a:pt x="593" y="580"/>
                    <a:pt x="593" y="579"/>
                  </a:cubicBezTo>
                  <a:cubicBezTo>
                    <a:pt x="593" y="579"/>
                    <a:pt x="593" y="579"/>
                    <a:pt x="593" y="579"/>
                  </a:cubicBezTo>
                  <a:cubicBezTo>
                    <a:pt x="593" y="579"/>
                    <a:pt x="593" y="578"/>
                    <a:pt x="593" y="578"/>
                  </a:cubicBezTo>
                  <a:cubicBezTo>
                    <a:pt x="594" y="578"/>
                    <a:pt x="594" y="577"/>
                    <a:pt x="594" y="576"/>
                  </a:cubicBezTo>
                  <a:cubicBezTo>
                    <a:pt x="593" y="575"/>
                    <a:pt x="592" y="575"/>
                    <a:pt x="591" y="575"/>
                  </a:cubicBezTo>
                  <a:cubicBezTo>
                    <a:pt x="590" y="575"/>
                    <a:pt x="590" y="575"/>
                    <a:pt x="590" y="575"/>
                  </a:cubicBezTo>
                  <a:cubicBezTo>
                    <a:pt x="590" y="575"/>
                    <a:pt x="590" y="575"/>
                    <a:pt x="590" y="575"/>
                  </a:cubicBezTo>
                  <a:cubicBezTo>
                    <a:pt x="590" y="576"/>
                    <a:pt x="590" y="576"/>
                    <a:pt x="590" y="576"/>
                  </a:cubicBezTo>
                  <a:cubicBezTo>
                    <a:pt x="589" y="576"/>
                    <a:pt x="589" y="576"/>
                    <a:pt x="589" y="576"/>
                  </a:cubicBezTo>
                  <a:cubicBezTo>
                    <a:pt x="588" y="577"/>
                    <a:pt x="588" y="577"/>
                    <a:pt x="588" y="577"/>
                  </a:cubicBezTo>
                  <a:cubicBezTo>
                    <a:pt x="588" y="577"/>
                    <a:pt x="588" y="577"/>
                    <a:pt x="588" y="577"/>
                  </a:cubicBezTo>
                  <a:cubicBezTo>
                    <a:pt x="588" y="577"/>
                    <a:pt x="588" y="577"/>
                    <a:pt x="588" y="577"/>
                  </a:cubicBezTo>
                  <a:cubicBezTo>
                    <a:pt x="588" y="578"/>
                    <a:pt x="588" y="578"/>
                    <a:pt x="588" y="578"/>
                  </a:cubicBezTo>
                  <a:cubicBezTo>
                    <a:pt x="588" y="578"/>
                    <a:pt x="588" y="578"/>
                    <a:pt x="588" y="578"/>
                  </a:cubicBezTo>
                  <a:cubicBezTo>
                    <a:pt x="587" y="579"/>
                    <a:pt x="587" y="580"/>
                    <a:pt x="586" y="581"/>
                  </a:cubicBezTo>
                  <a:cubicBezTo>
                    <a:pt x="586" y="581"/>
                    <a:pt x="586" y="582"/>
                    <a:pt x="586" y="582"/>
                  </a:cubicBezTo>
                  <a:cubicBezTo>
                    <a:pt x="585" y="584"/>
                    <a:pt x="585" y="584"/>
                    <a:pt x="584" y="584"/>
                  </a:cubicBezTo>
                  <a:cubicBezTo>
                    <a:pt x="584" y="584"/>
                    <a:pt x="584" y="585"/>
                    <a:pt x="584" y="585"/>
                  </a:cubicBezTo>
                  <a:cubicBezTo>
                    <a:pt x="583" y="585"/>
                    <a:pt x="583" y="585"/>
                    <a:pt x="583" y="585"/>
                  </a:cubicBezTo>
                  <a:cubicBezTo>
                    <a:pt x="581" y="587"/>
                    <a:pt x="580" y="588"/>
                    <a:pt x="580" y="589"/>
                  </a:cubicBezTo>
                  <a:cubicBezTo>
                    <a:pt x="579" y="589"/>
                    <a:pt x="579" y="589"/>
                    <a:pt x="579" y="589"/>
                  </a:cubicBezTo>
                  <a:cubicBezTo>
                    <a:pt x="579" y="589"/>
                    <a:pt x="579" y="589"/>
                    <a:pt x="579" y="590"/>
                  </a:cubicBezTo>
                  <a:cubicBezTo>
                    <a:pt x="577" y="591"/>
                    <a:pt x="577" y="592"/>
                    <a:pt x="577" y="593"/>
                  </a:cubicBezTo>
                  <a:cubicBezTo>
                    <a:pt x="577" y="594"/>
                    <a:pt x="577" y="594"/>
                    <a:pt x="577" y="594"/>
                  </a:cubicBezTo>
                  <a:cubicBezTo>
                    <a:pt x="577" y="594"/>
                    <a:pt x="575" y="596"/>
                    <a:pt x="575" y="597"/>
                  </a:cubicBezTo>
                  <a:cubicBezTo>
                    <a:pt x="574" y="598"/>
                    <a:pt x="574" y="598"/>
                    <a:pt x="574" y="598"/>
                  </a:cubicBezTo>
                  <a:cubicBezTo>
                    <a:pt x="574" y="598"/>
                    <a:pt x="573" y="598"/>
                    <a:pt x="572" y="598"/>
                  </a:cubicBezTo>
                  <a:cubicBezTo>
                    <a:pt x="569" y="598"/>
                    <a:pt x="565" y="597"/>
                    <a:pt x="564" y="597"/>
                  </a:cubicBezTo>
                  <a:cubicBezTo>
                    <a:pt x="564" y="597"/>
                    <a:pt x="564" y="597"/>
                    <a:pt x="563" y="597"/>
                  </a:cubicBezTo>
                  <a:cubicBezTo>
                    <a:pt x="563" y="597"/>
                    <a:pt x="561" y="597"/>
                    <a:pt x="560" y="599"/>
                  </a:cubicBezTo>
                  <a:cubicBezTo>
                    <a:pt x="559" y="599"/>
                    <a:pt x="559" y="599"/>
                    <a:pt x="558" y="599"/>
                  </a:cubicBezTo>
                  <a:cubicBezTo>
                    <a:pt x="558" y="599"/>
                    <a:pt x="558" y="599"/>
                    <a:pt x="558" y="599"/>
                  </a:cubicBezTo>
                  <a:cubicBezTo>
                    <a:pt x="558" y="598"/>
                    <a:pt x="557" y="597"/>
                    <a:pt x="556" y="597"/>
                  </a:cubicBezTo>
                  <a:cubicBezTo>
                    <a:pt x="556" y="597"/>
                    <a:pt x="556" y="597"/>
                    <a:pt x="556" y="597"/>
                  </a:cubicBezTo>
                  <a:cubicBezTo>
                    <a:pt x="556" y="597"/>
                    <a:pt x="556" y="597"/>
                    <a:pt x="556" y="597"/>
                  </a:cubicBezTo>
                  <a:cubicBezTo>
                    <a:pt x="556" y="597"/>
                    <a:pt x="556" y="597"/>
                    <a:pt x="556" y="597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54" y="596"/>
                    <a:pt x="554" y="596"/>
                    <a:pt x="554" y="596"/>
                  </a:cubicBezTo>
                  <a:cubicBezTo>
                    <a:pt x="556" y="594"/>
                    <a:pt x="556" y="594"/>
                    <a:pt x="556" y="594"/>
                  </a:cubicBezTo>
                  <a:cubicBezTo>
                    <a:pt x="555" y="594"/>
                    <a:pt x="555" y="594"/>
                    <a:pt x="555" y="594"/>
                  </a:cubicBezTo>
                  <a:cubicBezTo>
                    <a:pt x="555" y="594"/>
                    <a:pt x="555" y="594"/>
                    <a:pt x="554" y="594"/>
                  </a:cubicBezTo>
                  <a:cubicBezTo>
                    <a:pt x="555" y="594"/>
                    <a:pt x="555" y="593"/>
                    <a:pt x="555" y="593"/>
                  </a:cubicBezTo>
                  <a:cubicBezTo>
                    <a:pt x="556" y="592"/>
                    <a:pt x="556" y="591"/>
                    <a:pt x="557" y="591"/>
                  </a:cubicBezTo>
                  <a:cubicBezTo>
                    <a:pt x="557" y="590"/>
                    <a:pt x="557" y="588"/>
                    <a:pt x="557" y="587"/>
                  </a:cubicBezTo>
                  <a:cubicBezTo>
                    <a:pt x="556" y="586"/>
                    <a:pt x="556" y="586"/>
                    <a:pt x="555" y="585"/>
                  </a:cubicBezTo>
                  <a:cubicBezTo>
                    <a:pt x="555" y="585"/>
                    <a:pt x="555" y="583"/>
                    <a:pt x="555" y="583"/>
                  </a:cubicBezTo>
                  <a:cubicBezTo>
                    <a:pt x="555" y="582"/>
                    <a:pt x="555" y="581"/>
                    <a:pt x="555" y="581"/>
                  </a:cubicBezTo>
                  <a:cubicBezTo>
                    <a:pt x="555" y="579"/>
                    <a:pt x="554" y="579"/>
                    <a:pt x="553" y="579"/>
                  </a:cubicBezTo>
                  <a:cubicBezTo>
                    <a:pt x="552" y="578"/>
                    <a:pt x="551" y="577"/>
                    <a:pt x="550" y="578"/>
                  </a:cubicBezTo>
                  <a:cubicBezTo>
                    <a:pt x="549" y="579"/>
                    <a:pt x="548" y="580"/>
                    <a:pt x="548" y="581"/>
                  </a:cubicBezTo>
                  <a:cubicBezTo>
                    <a:pt x="548" y="581"/>
                    <a:pt x="548" y="581"/>
                    <a:pt x="548" y="581"/>
                  </a:cubicBezTo>
                  <a:cubicBezTo>
                    <a:pt x="548" y="582"/>
                    <a:pt x="548" y="582"/>
                    <a:pt x="547" y="582"/>
                  </a:cubicBezTo>
                  <a:cubicBezTo>
                    <a:pt x="547" y="583"/>
                    <a:pt x="546" y="585"/>
                    <a:pt x="546" y="586"/>
                  </a:cubicBezTo>
                  <a:cubicBezTo>
                    <a:pt x="546" y="586"/>
                    <a:pt x="546" y="586"/>
                    <a:pt x="546" y="586"/>
                  </a:cubicBezTo>
                  <a:cubicBezTo>
                    <a:pt x="546" y="585"/>
                    <a:pt x="545" y="585"/>
                    <a:pt x="545" y="585"/>
                  </a:cubicBezTo>
                  <a:cubicBezTo>
                    <a:pt x="544" y="585"/>
                    <a:pt x="544" y="584"/>
                    <a:pt x="544" y="584"/>
                  </a:cubicBezTo>
                  <a:cubicBezTo>
                    <a:pt x="544" y="583"/>
                    <a:pt x="544" y="582"/>
                    <a:pt x="544" y="581"/>
                  </a:cubicBezTo>
                  <a:cubicBezTo>
                    <a:pt x="544" y="581"/>
                    <a:pt x="543" y="581"/>
                    <a:pt x="543" y="581"/>
                  </a:cubicBezTo>
                  <a:cubicBezTo>
                    <a:pt x="543" y="580"/>
                    <a:pt x="543" y="579"/>
                    <a:pt x="543" y="578"/>
                  </a:cubicBezTo>
                  <a:cubicBezTo>
                    <a:pt x="542" y="578"/>
                    <a:pt x="542" y="577"/>
                    <a:pt x="543" y="574"/>
                  </a:cubicBezTo>
                  <a:cubicBezTo>
                    <a:pt x="543" y="574"/>
                    <a:pt x="543" y="573"/>
                    <a:pt x="543" y="573"/>
                  </a:cubicBezTo>
                  <a:cubicBezTo>
                    <a:pt x="543" y="572"/>
                    <a:pt x="542" y="571"/>
                    <a:pt x="541" y="571"/>
                  </a:cubicBezTo>
                  <a:cubicBezTo>
                    <a:pt x="541" y="570"/>
                    <a:pt x="540" y="570"/>
                    <a:pt x="540" y="569"/>
                  </a:cubicBezTo>
                  <a:cubicBezTo>
                    <a:pt x="539" y="568"/>
                    <a:pt x="538" y="568"/>
                    <a:pt x="537" y="568"/>
                  </a:cubicBezTo>
                  <a:cubicBezTo>
                    <a:pt x="537" y="568"/>
                    <a:pt x="536" y="568"/>
                    <a:pt x="536" y="568"/>
                  </a:cubicBezTo>
                  <a:cubicBezTo>
                    <a:pt x="536" y="568"/>
                    <a:pt x="536" y="567"/>
                    <a:pt x="536" y="567"/>
                  </a:cubicBezTo>
                  <a:cubicBezTo>
                    <a:pt x="536" y="566"/>
                    <a:pt x="536" y="566"/>
                    <a:pt x="536" y="565"/>
                  </a:cubicBezTo>
                  <a:cubicBezTo>
                    <a:pt x="536" y="565"/>
                    <a:pt x="535" y="565"/>
                    <a:pt x="535" y="565"/>
                  </a:cubicBezTo>
                  <a:cubicBezTo>
                    <a:pt x="534" y="565"/>
                    <a:pt x="534" y="565"/>
                    <a:pt x="534" y="565"/>
                  </a:cubicBezTo>
                  <a:cubicBezTo>
                    <a:pt x="534" y="564"/>
                    <a:pt x="534" y="564"/>
                    <a:pt x="532" y="563"/>
                  </a:cubicBezTo>
                  <a:cubicBezTo>
                    <a:pt x="532" y="563"/>
                    <a:pt x="532" y="563"/>
                    <a:pt x="532" y="562"/>
                  </a:cubicBezTo>
                  <a:cubicBezTo>
                    <a:pt x="533" y="560"/>
                    <a:pt x="532" y="559"/>
                    <a:pt x="531" y="559"/>
                  </a:cubicBezTo>
                  <a:cubicBezTo>
                    <a:pt x="531" y="558"/>
                    <a:pt x="531" y="557"/>
                    <a:pt x="531" y="557"/>
                  </a:cubicBezTo>
                  <a:cubicBezTo>
                    <a:pt x="531" y="557"/>
                    <a:pt x="531" y="557"/>
                    <a:pt x="531" y="556"/>
                  </a:cubicBezTo>
                  <a:cubicBezTo>
                    <a:pt x="531" y="556"/>
                    <a:pt x="531" y="556"/>
                    <a:pt x="531" y="556"/>
                  </a:cubicBezTo>
                  <a:cubicBezTo>
                    <a:pt x="531" y="555"/>
                    <a:pt x="531" y="555"/>
                    <a:pt x="531" y="555"/>
                  </a:cubicBezTo>
                  <a:cubicBezTo>
                    <a:pt x="531" y="555"/>
                    <a:pt x="531" y="555"/>
                    <a:pt x="531" y="555"/>
                  </a:cubicBezTo>
                  <a:cubicBezTo>
                    <a:pt x="531" y="555"/>
                    <a:pt x="531" y="555"/>
                    <a:pt x="531" y="555"/>
                  </a:cubicBezTo>
                  <a:cubicBezTo>
                    <a:pt x="530" y="554"/>
                    <a:pt x="530" y="554"/>
                    <a:pt x="530" y="554"/>
                  </a:cubicBezTo>
                  <a:cubicBezTo>
                    <a:pt x="530" y="554"/>
                    <a:pt x="530" y="553"/>
                    <a:pt x="529" y="552"/>
                  </a:cubicBezTo>
                  <a:cubicBezTo>
                    <a:pt x="529" y="552"/>
                    <a:pt x="529" y="552"/>
                    <a:pt x="529" y="552"/>
                  </a:cubicBezTo>
                  <a:cubicBezTo>
                    <a:pt x="529" y="550"/>
                    <a:pt x="529" y="549"/>
                    <a:pt x="526" y="548"/>
                  </a:cubicBezTo>
                  <a:cubicBezTo>
                    <a:pt x="525" y="548"/>
                    <a:pt x="524" y="547"/>
                    <a:pt x="524" y="546"/>
                  </a:cubicBezTo>
                  <a:cubicBezTo>
                    <a:pt x="525" y="546"/>
                    <a:pt x="525" y="546"/>
                    <a:pt x="525" y="546"/>
                  </a:cubicBezTo>
                  <a:cubicBezTo>
                    <a:pt x="525" y="546"/>
                    <a:pt x="525" y="546"/>
                    <a:pt x="525" y="546"/>
                  </a:cubicBezTo>
                  <a:cubicBezTo>
                    <a:pt x="526" y="546"/>
                    <a:pt x="527" y="545"/>
                    <a:pt x="527" y="545"/>
                  </a:cubicBezTo>
                  <a:cubicBezTo>
                    <a:pt x="528" y="545"/>
                    <a:pt x="528" y="545"/>
                    <a:pt x="528" y="545"/>
                  </a:cubicBezTo>
                  <a:cubicBezTo>
                    <a:pt x="527" y="544"/>
                    <a:pt x="527" y="544"/>
                    <a:pt x="527" y="544"/>
                  </a:cubicBezTo>
                  <a:cubicBezTo>
                    <a:pt x="527" y="544"/>
                    <a:pt x="527" y="543"/>
                    <a:pt x="526" y="542"/>
                  </a:cubicBezTo>
                  <a:cubicBezTo>
                    <a:pt x="526" y="542"/>
                    <a:pt x="526" y="542"/>
                    <a:pt x="526" y="542"/>
                  </a:cubicBezTo>
                  <a:cubicBezTo>
                    <a:pt x="526" y="542"/>
                    <a:pt x="526" y="542"/>
                    <a:pt x="526" y="542"/>
                  </a:cubicBezTo>
                  <a:cubicBezTo>
                    <a:pt x="526" y="541"/>
                    <a:pt x="526" y="541"/>
                    <a:pt x="526" y="541"/>
                  </a:cubicBezTo>
                  <a:cubicBezTo>
                    <a:pt x="526" y="541"/>
                    <a:pt x="526" y="541"/>
                    <a:pt x="526" y="541"/>
                  </a:cubicBezTo>
                  <a:cubicBezTo>
                    <a:pt x="527" y="541"/>
                    <a:pt x="527" y="541"/>
                    <a:pt x="527" y="541"/>
                  </a:cubicBezTo>
                  <a:cubicBezTo>
                    <a:pt x="527" y="541"/>
                    <a:pt x="527" y="541"/>
                    <a:pt x="527" y="541"/>
                  </a:cubicBezTo>
                  <a:cubicBezTo>
                    <a:pt x="527" y="542"/>
                    <a:pt x="527" y="543"/>
                    <a:pt x="528" y="543"/>
                  </a:cubicBezTo>
                  <a:cubicBezTo>
                    <a:pt x="528" y="543"/>
                    <a:pt x="528" y="543"/>
                    <a:pt x="529" y="543"/>
                  </a:cubicBezTo>
                  <a:cubicBezTo>
                    <a:pt x="530" y="543"/>
                    <a:pt x="530" y="543"/>
                    <a:pt x="531" y="542"/>
                  </a:cubicBezTo>
                  <a:cubicBezTo>
                    <a:pt x="531" y="542"/>
                    <a:pt x="531" y="542"/>
                    <a:pt x="531" y="542"/>
                  </a:cubicBezTo>
                  <a:cubicBezTo>
                    <a:pt x="532" y="542"/>
                    <a:pt x="532" y="542"/>
                    <a:pt x="532" y="541"/>
                  </a:cubicBezTo>
                  <a:cubicBezTo>
                    <a:pt x="533" y="541"/>
                    <a:pt x="533" y="541"/>
                    <a:pt x="533" y="541"/>
                  </a:cubicBezTo>
                  <a:cubicBezTo>
                    <a:pt x="534" y="540"/>
                    <a:pt x="534" y="539"/>
                    <a:pt x="534" y="539"/>
                  </a:cubicBezTo>
                  <a:cubicBezTo>
                    <a:pt x="535" y="539"/>
                    <a:pt x="535" y="539"/>
                    <a:pt x="536" y="539"/>
                  </a:cubicBezTo>
                  <a:cubicBezTo>
                    <a:pt x="536" y="539"/>
                    <a:pt x="536" y="539"/>
                    <a:pt x="536" y="539"/>
                  </a:cubicBezTo>
                  <a:cubicBezTo>
                    <a:pt x="537" y="540"/>
                    <a:pt x="537" y="541"/>
                    <a:pt x="538" y="541"/>
                  </a:cubicBezTo>
                  <a:cubicBezTo>
                    <a:pt x="539" y="542"/>
                    <a:pt x="540" y="541"/>
                    <a:pt x="540" y="541"/>
                  </a:cubicBezTo>
                  <a:cubicBezTo>
                    <a:pt x="540" y="543"/>
                    <a:pt x="541" y="544"/>
                    <a:pt x="542" y="545"/>
                  </a:cubicBezTo>
                  <a:cubicBezTo>
                    <a:pt x="543" y="546"/>
                    <a:pt x="544" y="546"/>
                    <a:pt x="544" y="547"/>
                  </a:cubicBezTo>
                  <a:cubicBezTo>
                    <a:pt x="544" y="549"/>
                    <a:pt x="545" y="550"/>
                    <a:pt x="546" y="550"/>
                  </a:cubicBezTo>
                  <a:cubicBezTo>
                    <a:pt x="545" y="551"/>
                    <a:pt x="546" y="554"/>
                    <a:pt x="548" y="556"/>
                  </a:cubicBezTo>
                  <a:cubicBezTo>
                    <a:pt x="549" y="557"/>
                    <a:pt x="549" y="557"/>
                    <a:pt x="549" y="557"/>
                  </a:cubicBezTo>
                  <a:cubicBezTo>
                    <a:pt x="549" y="557"/>
                    <a:pt x="549" y="557"/>
                    <a:pt x="549" y="558"/>
                  </a:cubicBezTo>
                  <a:cubicBezTo>
                    <a:pt x="549" y="559"/>
                    <a:pt x="549" y="560"/>
                    <a:pt x="550" y="561"/>
                  </a:cubicBezTo>
                  <a:cubicBezTo>
                    <a:pt x="551" y="563"/>
                    <a:pt x="553" y="563"/>
                    <a:pt x="554" y="563"/>
                  </a:cubicBezTo>
                  <a:cubicBezTo>
                    <a:pt x="554" y="563"/>
                    <a:pt x="554" y="563"/>
                    <a:pt x="555" y="563"/>
                  </a:cubicBezTo>
                  <a:cubicBezTo>
                    <a:pt x="555" y="563"/>
                    <a:pt x="555" y="563"/>
                    <a:pt x="555" y="563"/>
                  </a:cubicBezTo>
                  <a:cubicBezTo>
                    <a:pt x="556" y="563"/>
                    <a:pt x="557" y="564"/>
                    <a:pt x="559" y="566"/>
                  </a:cubicBezTo>
                  <a:cubicBezTo>
                    <a:pt x="559" y="566"/>
                    <a:pt x="559" y="566"/>
                    <a:pt x="559" y="566"/>
                  </a:cubicBezTo>
                  <a:cubicBezTo>
                    <a:pt x="559" y="566"/>
                    <a:pt x="559" y="566"/>
                    <a:pt x="559" y="567"/>
                  </a:cubicBezTo>
                  <a:cubicBezTo>
                    <a:pt x="559" y="568"/>
                    <a:pt x="561" y="569"/>
                    <a:pt x="561" y="569"/>
                  </a:cubicBezTo>
                  <a:cubicBezTo>
                    <a:pt x="562" y="569"/>
                    <a:pt x="562" y="569"/>
                    <a:pt x="562" y="570"/>
                  </a:cubicBezTo>
                  <a:cubicBezTo>
                    <a:pt x="562" y="570"/>
                    <a:pt x="562" y="570"/>
                    <a:pt x="563" y="570"/>
                  </a:cubicBezTo>
                  <a:cubicBezTo>
                    <a:pt x="564" y="572"/>
                    <a:pt x="565" y="572"/>
                    <a:pt x="565" y="572"/>
                  </a:cubicBezTo>
                  <a:cubicBezTo>
                    <a:pt x="566" y="572"/>
                    <a:pt x="566" y="572"/>
                    <a:pt x="567" y="571"/>
                  </a:cubicBezTo>
                  <a:cubicBezTo>
                    <a:pt x="567" y="572"/>
                    <a:pt x="568" y="573"/>
                    <a:pt x="568" y="573"/>
                  </a:cubicBezTo>
                  <a:cubicBezTo>
                    <a:pt x="568" y="573"/>
                    <a:pt x="568" y="573"/>
                    <a:pt x="569" y="574"/>
                  </a:cubicBezTo>
                  <a:cubicBezTo>
                    <a:pt x="569" y="574"/>
                    <a:pt x="569" y="574"/>
                    <a:pt x="570" y="574"/>
                  </a:cubicBezTo>
                  <a:cubicBezTo>
                    <a:pt x="571" y="574"/>
                    <a:pt x="571" y="574"/>
                    <a:pt x="572" y="574"/>
                  </a:cubicBezTo>
                  <a:cubicBezTo>
                    <a:pt x="572" y="574"/>
                    <a:pt x="572" y="574"/>
                    <a:pt x="572" y="574"/>
                  </a:cubicBezTo>
                  <a:cubicBezTo>
                    <a:pt x="572" y="574"/>
                    <a:pt x="573" y="574"/>
                    <a:pt x="573" y="574"/>
                  </a:cubicBezTo>
                  <a:cubicBezTo>
                    <a:pt x="574" y="574"/>
                    <a:pt x="574" y="574"/>
                    <a:pt x="574" y="574"/>
                  </a:cubicBezTo>
                  <a:cubicBezTo>
                    <a:pt x="574" y="574"/>
                    <a:pt x="574" y="574"/>
                    <a:pt x="574" y="574"/>
                  </a:cubicBezTo>
                  <a:cubicBezTo>
                    <a:pt x="574" y="575"/>
                    <a:pt x="575" y="575"/>
                    <a:pt x="575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7" y="576"/>
                    <a:pt x="577" y="577"/>
                    <a:pt x="578" y="577"/>
                  </a:cubicBezTo>
                  <a:cubicBezTo>
                    <a:pt x="578" y="577"/>
                    <a:pt x="579" y="577"/>
                    <a:pt x="580" y="575"/>
                  </a:cubicBezTo>
                  <a:cubicBezTo>
                    <a:pt x="580" y="575"/>
                    <a:pt x="580" y="575"/>
                    <a:pt x="581" y="574"/>
                  </a:cubicBezTo>
                  <a:cubicBezTo>
                    <a:pt x="581" y="574"/>
                    <a:pt x="581" y="575"/>
                    <a:pt x="581" y="575"/>
                  </a:cubicBezTo>
                  <a:cubicBezTo>
                    <a:pt x="581" y="575"/>
                    <a:pt x="582" y="576"/>
                    <a:pt x="583" y="576"/>
                  </a:cubicBezTo>
                  <a:cubicBezTo>
                    <a:pt x="583" y="576"/>
                    <a:pt x="584" y="575"/>
                    <a:pt x="585" y="575"/>
                  </a:cubicBezTo>
                  <a:cubicBezTo>
                    <a:pt x="585" y="575"/>
                    <a:pt x="586" y="575"/>
                    <a:pt x="586" y="574"/>
                  </a:cubicBezTo>
                  <a:cubicBezTo>
                    <a:pt x="587" y="574"/>
                    <a:pt x="587" y="574"/>
                    <a:pt x="587" y="574"/>
                  </a:cubicBezTo>
                  <a:cubicBezTo>
                    <a:pt x="587" y="574"/>
                    <a:pt x="587" y="574"/>
                    <a:pt x="587" y="574"/>
                  </a:cubicBezTo>
                  <a:cubicBezTo>
                    <a:pt x="589" y="574"/>
                    <a:pt x="589" y="573"/>
                    <a:pt x="590" y="572"/>
                  </a:cubicBezTo>
                  <a:cubicBezTo>
                    <a:pt x="590" y="572"/>
                    <a:pt x="590" y="572"/>
                    <a:pt x="590" y="571"/>
                  </a:cubicBezTo>
                  <a:cubicBezTo>
                    <a:pt x="591" y="571"/>
                    <a:pt x="591" y="571"/>
                    <a:pt x="591" y="571"/>
                  </a:cubicBezTo>
                  <a:cubicBezTo>
                    <a:pt x="591" y="570"/>
                    <a:pt x="591" y="570"/>
                    <a:pt x="591" y="570"/>
                  </a:cubicBezTo>
                  <a:cubicBezTo>
                    <a:pt x="592" y="570"/>
                    <a:pt x="592" y="570"/>
                    <a:pt x="593" y="570"/>
                  </a:cubicBezTo>
                  <a:cubicBezTo>
                    <a:pt x="594" y="570"/>
                    <a:pt x="594" y="570"/>
                    <a:pt x="594" y="570"/>
                  </a:cubicBezTo>
                  <a:cubicBezTo>
                    <a:pt x="594" y="570"/>
                    <a:pt x="595" y="576"/>
                    <a:pt x="595" y="579"/>
                  </a:cubicBezTo>
                  <a:cubicBezTo>
                    <a:pt x="596" y="581"/>
                    <a:pt x="597" y="582"/>
                    <a:pt x="600" y="582"/>
                  </a:cubicBezTo>
                  <a:cubicBezTo>
                    <a:pt x="600" y="582"/>
                    <a:pt x="600" y="582"/>
                    <a:pt x="600" y="582"/>
                  </a:cubicBezTo>
                  <a:cubicBezTo>
                    <a:pt x="600" y="582"/>
                    <a:pt x="600" y="582"/>
                    <a:pt x="600" y="582"/>
                  </a:cubicBezTo>
                  <a:cubicBezTo>
                    <a:pt x="601" y="583"/>
                    <a:pt x="601" y="584"/>
                    <a:pt x="602" y="584"/>
                  </a:cubicBezTo>
                  <a:cubicBezTo>
                    <a:pt x="602" y="584"/>
                    <a:pt x="603" y="584"/>
                    <a:pt x="603" y="584"/>
                  </a:cubicBezTo>
                  <a:cubicBezTo>
                    <a:pt x="603" y="584"/>
                    <a:pt x="603" y="585"/>
                    <a:pt x="604" y="585"/>
                  </a:cubicBezTo>
                  <a:cubicBezTo>
                    <a:pt x="605" y="585"/>
                    <a:pt x="606" y="585"/>
                    <a:pt x="607" y="585"/>
                  </a:cubicBezTo>
                  <a:cubicBezTo>
                    <a:pt x="607" y="585"/>
                    <a:pt x="607" y="585"/>
                    <a:pt x="607" y="585"/>
                  </a:cubicBezTo>
                  <a:cubicBezTo>
                    <a:pt x="608" y="585"/>
                    <a:pt x="609" y="585"/>
                    <a:pt x="609" y="585"/>
                  </a:cubicBezTo>
                  <a:cubicBezTo>
                    <a:pt x="609" y="586"/>
                    <a:pt x="611" y="587"/>
                    <a:pt x="612" y="587"/>
                  </a:cubicBezTo>
                  <a:cubicBezTo>
                    <a:pt x="613" y="587"/>
                    <a:pt x="614" y="586"/>
                    <a:pt x="614" y="586"/>
                  </a:cubicBezTo>
                  <a:cubicBezTo>
                    <a:pt x="615" y="586"/>
                    <a:pt x="615" y="586"/>
                    <a:pt x="616" y="587"/>
                  </a:cubicBezTo>
                  <a:cubicBezTo>
                    <a:pt x="616" y="587"/>
                    <a:pt x="617" y="587"/>
                    <a:pt x="618" y="587"/>
                  </a:cubicBezTo>
                  <a:cubicBezTo>
                    <a:pt x="618" y="587"/>
                    <a:pt x="618" y="587"/>
                    <a:pt x="619" y="587"/>
                  </a:cubicBezTo>
                  <a:cubicBezTo>
                    <a:pt x="619" y="587"/>
                    <a:pt x="619" y="587"/>
                    <a:pt x="619" y="587"/>
                  </a:cubicBezTo>
                  <a:cubicBezTo>
                    <a:pt x="620" y="588"/>
                    <a:pt x="622" y="588"/>
                    <a:pt x="623" y="587"/>
                  </a:cubicBezTo>
                  <a:cubicBezTo>
                    <a:pt x="623" y="587"/>
                    <a:pt x="623" y="587"/>
                    <a:pt x="623" y="587"/>
                  </a:cubicBezTo>
                  <a:cubicBezTo>
                    <a:pt x="624" y="588"/>
                    <a:pt x="624" y="588"/>
                    <a:pt x="625" y="588"/>
                  </a:cubicBezTo>
                  <a:cubicBezTo>
                    <a:pt x="626" y="589"/>
                    <a:pt x="626" y="589"/>
                    <a:pt x="626" y="589"/>
                  </a:cubicBezTo>
                  <a:cubicBezTo>
                    <a:pt x="627" y="589"/>
                    <a:pt x="627" y="589"/>
                    <a:pt x="628" y="590"/>
                  </a:cubicBezTo>
                  <a:cubicBezTo>
                    <a:pt x="629" y="590"/>
                    <a:pt x="630" y="591"/>
                    <a:pt x="631" y="591"/>
                  </a:cubicBezTo>
                  <a:cubicBezTo>
                    <a:pt x="631" y="591"/>
                    <a:pt x="632" y="591"/>
                    <a:pt x="632" y="590"/>
                  </a:cubicBezTo>
                  <a:cubicBezTo>
                    <a:pt x="632" y="591"/>
                    <a:pt x="633" y="591"/>
                    <a:pt x="633" y="591"/>
                  </a:cubicBezTo>
                  <a:cubicBezTo>
                    <a:pt x="635" y="591"/>
                    <a:pt x="637" y="589"/>
                    <a:pt x="638" y="588"/>
                  </a:cubicBezTo>
                  <a:cubicBezTo>
                    <a:pt x="638" y="588"/>
                    <a:pt x="638" y="588"/>
                    <a:pt x="639" y="588"/>
                  </a:cubicBezTo>
                  <a:cubicBezTo>
                    <a:pt x="639" y="588"/>
                    <a:pt x="640" y="588"/>
                    <a:pt x="640" y="588"/>
                  </a:cubicBezTo>
                  <a:cubicBezTo>
                    <a:pt x="641" y="589"/>
                    <a:pt x="643" y="589"/>
                    <a:pt x="644" y="589"/>
                  </a:cubicBezTo>
                  <a:cubicBezTo>
                    <a:pt x="645" y="589"/>
                    <a:pt x="645" y="589"/>
                    <a:pt x="645" y="589"/>
                  </a:cubicBezTo>
                  <a:cubicBezTo>
                    <a:pt x="646" y="589"/>
                    <a:pt x="647" y="589"/>
                    <a:pt x="648" y="587"/>
                  </a:cubicBezTo>
                  <a:cubicBezTo>
                    <a:pt x="648" y="587"/>
                    <a:pt x="648" y="587"/>
                    <a:pt x="648" y="587"/>
                  </a:cubicBezTo>
                  <a:cubicBezTo>
                    <a:pt x="649" y="587"/>
                    <a:pt x="650" y="587"/>
                    <a:pt x="651" y="587"/>
                  </a:cubicBezTo>
                  <a:cubicBezTo>
                    <a:pt x="651" y="587"/>
                    <a:pt x="651" y="587"/>
                    <a:pt x="651" y="587"/>
                  </a:cubicBezTo>
                  <a:cubicBezTo>
                    <a:pt x="652" y="587"/>
                    <a:pt x="652" y="588"/>
                    <a:pt x="652" y="588"/>
                  </a:cubicBezTo>
                  <a:cubicBezTo>
                    <a:pt x="652" y="588"/>
                    <a:pt x="653" y="588"/>
                    <a:pt x="655" y="588"/>
                  </a:cubicBezTo>
                  <a:cubicBezTo>
                    <a:pt x="655" y="588"/>
                    <a:pt x="656" y="588"/>
                    <a:pt x="657" y="588"/>
                  </a:cubicBezTo>
                  <a:cubicBezTo>
                    <a:pt x="657" y="587"/>
                    <a:pt x="658" y="587"/>
                    <a:pt x="658" y="587"/>
                  </a:cubicBezTo>
                  <a:cubicBezTo>
                    <a:pt x="659" y="587"/>
                    <a:pt x="659" y="587"/>
                    <a:pt x="659" y="587"/>
                  </a:cubicBezTo>
                  <a:cubicBezTo>
                    <a:pt x="660" y="587"/>
                    <a:pt x="662" y="587"/>
                    <a:pt x="664" y="586"/>
                  </a:cubicBezTo>
                  <a:cubicBezTo>
                    <a:pt x="665" y="586"/>
                    <a:pt x="668" y="586"/>
                    <a:pt x="669" y="586"/>
                  </a:cubicBezTo>
                  <a:cubicBezTo>
                    <a:pt x="670" y="586"/>
                    <a:pt x="670" y="586"/>
                    <a:pt x="670" y="586"/>
                  </a:cubicBezTo>
                  <a:cubicBezTo>
                    <a:pt x="670" y="586"/>
                    <a:pt x="670" y="586"/>
                    <a:pt x="670" y="586"/>
                  </a:cubicBezTo>
                  <a:cubicBezTo>
                    <a:pt x="670" y="587"/>
                    <a:pt x="670" y="587"/>
                    <a:pt x="671" y="588"/>
                  </a:cubicBezTo>
                  <a:cubicBezTo>
                    <a:pt x="671" y="588"/>
                    <a:pt x="671" y="588"/>
                    <a:pt x="671" y="589"/>
                  </a:cubicBezTo>
                  <a:cubicBezTo>
                    <a:pt x="671" y="589"/>
                    <a:pt x="670" y="589"/>
                    <a:pt x="670" y="589"/>
                  </a:cubicBezTo>
                  <a:cubicBezTo>
                    <a:pt x="670" y="590"/>
                    <a:pt x="670" y="591"/>
                    <a:pt x="670" y="591"/>
                  </a:cubicBezTo>
                  <a:cubicBezTo>
                    <a:pt x="671" y="592"/>
                    <a:pt x="672" y="592"/>
                    <a:pt x="672" y="592"/>
                  </a:cubicBezTo>
                  <a:cubicBezTo>
                    <a:pt x="673" y="592"/>
                    <a:pt x="673" y="592"/>
                    <a:pt x="673" y="592"/>
                  </a:cubicBezTo>
                  <a:cubicBezTo>
                    <a:pt x="675" y="592"/>
                    <a:pt x="676" y="592"/>
                    <a:pt x="677" y="593"/>
                  </a:cubicBezTo>
                  <a:cubicBezTo>
                    <a:pt x="677" y="592"/>
                    <a:pt x="677" y="592"/>
                    <a:pt x="677" y="592"/>
                  </a:cubicBezTo>
                  <a:cubicBezTo>
                    <a:pt x="677" y="593"/>
                    <a:pt x="677" y="593"/>
                    <a:pt x="677" y="593"/>
                  </a:cubicBezTo>
                  <a:cubicBezTo>
                    <a:pt x="677" y="593"/>
                    <a:pt x="677" y="593"/>
                    <a:pt x="677" y="593"/>
                  </a:cubicBezTo>
                  <a:cubicBezTo>
                    <a:pt x="676" y="593"/>
                    <a:pt x="676" y="594"/>
                    <a:pt x="677" y="595"/>
                  </a:cubicBezTo>
                  <a:cubicBezTo>
                    <a:pt x="676" y="596"/>
                    <a:pt x="676" y="596"/>
                    <a:pt x="676" y="596"/>
                  </a:cubicBezTo>
                  <a:cubicBezTo>
                    <a:pt x="676" y="596"/>
                    <a:pt x="676" y="597"/>
                    <a:pt x="677" y="598"/>
                  </a:cubicBezTo>
                  <a:cubicBezTo>
                    <a:pt x="677" y="600"/>
                    <a:pt x="678" y="602"/>
                    <a:pt x="680" y="602"/>
                  </a:cubicBezTo>
                  <a:cubicBezTo>
                    <a:pt x="681" y="602"/>
                    <a:pt x="681" y="602"/>
                    <a:pt x="681" y="602"/>
                  </a:cubicBezTo>
                  <a:cubicBezTo>
                    <a:pt x="681" y="602"/>
                    <a:pt x="681" y="602"/>
                    <a:pt x="682" y="602"/>
                  </a:cubicBezTo>
                  <a:cubicBezTo>
                    <a:pt x="682" y="603"/>
                    <a:pt x="682" y="603"/>
                    <a:pt x="683" y="603"/>
                  </a:cubicBezTo>
                  <a:cubicBezTo>
                    <a:pt x="681" y="604"/>
                    <a:pt x="681" y="604"/>
                    <a:pt x="681" y="604"/>
                  </a:cubicBezTo>
                  <a:cubicBezTo>
                    <a:pt x="686" y="603"/>
                    <a:pt x="686" y="603"/>
                    <a:pt x="686" y="603"/>
                  </a:cubicBezTo>
                  <a:cubicBezTo>
                    <a:pt x="685" y="605"/>
                    <a:pt x="686" y="605"/>
                    <a:pt x="686" y="606"/>
                  </a:cubicBezTo>
                  <a:cubicBezTo>
                    <a:pt x="687" y="606"/>
                    <a:pt x="687" y="607"/>
                    <a:pt x="687" y="608"/>
                  </a:cubicBezTo>
                  <a:cubicBezTo>
                    <a:pt x="688" y="609"/>
                    <a:pt x="688" y="610"/>
                    <a:pt x="690" y="610"/>
                  </a:cubicBezTo>
                  <a:cubicBezTo>
                    <a:pt x="690" y="610"/>
                    <a:pt x="690" y="610"/>
                    <a:pt x="690" y="610"/>
                  </a:cubicBezTo>
                  <a:cubicBezTo>
                    <a:pt x="691" y="611"/>
                    <a:pt x="691" y="611"/>
                    <a:pt x="691" y="611"/>
                  </a:cubicBezTo>
                  <a:cubicBezTo>
                    <a:pt x="692" y="612"/>
                    <a:pt x="694" y="612"/>
                    <a:pt x="695" y="612"/>
                  </a:cubicBezTo>
                  <a:cubicBezTo>
                    <a:pt x="695" y="612"/>
                    <a:pt x="696" y="612"/>
                    <a:pt x="696" y="612"/>
                  </a:cubicBezTo>
                  <a:cubicBezTo>
                    <a:pt x="696" y="612"/>
                    <a:pt x="696" y="612"/>
                    <a:pt x="697" y="612"/>
                  </a:cubicBezTo>
                  <a:cubicBezTo>
                    <a:pt x="697" y="612"/>
                    <a:pt x="698" y="611"/>
                    <a:pt x="698" y="611"/>
                  </a:cubicBezTo>
                  <a:cubicBezTo>
                    <a:pt x="699" y="611"/>
                    <a:pt x="700" y="611"/>
                    <a:pt x="700" y="611"/>
                  </a:cubicBezTo>
                  <a:cubicBezTo>
                    <a:pt x="700" y="611"/>
                    <a:pt x="700" y="611"/>
                    <a:pt x="700" y="611"/>
                  </a:cubicBezTo>
                  <a:cubicBezTo>
                    <a:pt x="700" y="611"/>
                    <a:pt x="700" y="611"/>
                    <a:pt x="700" y="612"/>
                  </a:cubicBezTo>
                  <a:cubicBezTo>
                    <a:pt x="700" y="612"/>
                    <a:pt x="700" y="612"/>
                    <a:pt x="700" y="612"/>
                  </a:cubicBezTo>
                  <a:cubicBezTo>
                    <a:pt x="699" y="612"/>
                    <a:pt x="699" y="613"/>
                    <a:pt x="698" y="613"/>
                  </a:cubicBezTo>
                  <a:cubicBezTo>
                    <a:pt x="698" y="613"/>
                    <a:pt x="698" y="614"/>
                    <a:pt x="697" y="614"/>
                  </a:cubicBezTo>
                  <a:cubicBezTo>
                    <a:pt x="697" y="614"/>
                    <a:pt x="697" y="614"/>
                    <a:pt x="697" y="614"/>
                  </a:cubicBezTo>
                  <a:cubicBezTo>
                    <a:pt x="697" y="614"/>
                    <a:pt x="697" y="614"/>
                    <a:pt x="697" y="614"/>
                  </a:cubicBezTo>
                  <a:cubicBezTo>
                    <a:pt x="696" y="614"/>
                    <a:pt x="696" y="614"/>
                    <a:pt x="695" y="615"/>
                  </a:cubicBezTo>
                  <a:cubicBezTo>
                    <a:pt x="694" y="614"/>
                    <a:pt x="694" y="614"/>
                    <a:pt x="694" y="613"/>
                  </a:cubicBezTo>
                  <a:cubicBezTo>
                    <a:pt x="694" y="613"/>
                    <a:pt x="693" y="612"/>
                    <a:pt x="692" y="612"/>
                  </a:cubicBezTo>
                  <a:cubicBezTo>
                    <a:pt x="691" y="612"/>
                    <a:pt x="691" y="614"/>
                    <a:pt x="690" y="616"/>
                  </a:cubicBezTo>
                  <a:cubicBezTo>
                    <a:pt x="690" y="619"/>
                    <a:pt x="694" y="621"/>
                    <a:pt x="694" y="621"/>
                  </a:cubicBezTo>
                  <a:cubicBezTo>
                    <a:pt x="694" y="621"/>
                    <a:pt x="694" y="621"/>
                    <a:pt x="695" y="622"/>
                  </a:cubicBezTo>
                  <a:cubicBezTo>
                    <a:pt x="695" y="622"/>
                    <a:pt x="695" y="623"/>
                    <a:pt x="696" y="623"/>
                  </a:cubicBezTo>
                  <a:cubicBezTo>
                    <a:pt x="696" y="623"/>
                    <a:pt x="696" y="624"/>
                    <a:pt x="697" y="624"/>
                  </a:cubicBezTo>
                  <a:cubicBezTo>
                    <a:pt x="697" y="625"/>
                    <a:pt x="697" y="625"/>
                    <a:pt x="698" y="625"/>
                  </a:cubicBezTo>
                  <a:cubicBezTo>
                    <a:pt x="698" y="626"/>
                    <a:pt x="699" y="627"/>
                    <a:pt x="700" y="628"/>
                  </a:cubicBezTo>
                  <a:cubicBezTo>
                    <a:pt x="701" y="628"/>
                    <a:pt x="701" y="628"/>
                    <a:pt x="701" y="628"/>
                  </a:cubicBezTo>
                  <a:cubicBezTo>
                    <a:pt x="701" y="629"/>
                    <a:pt x="701" y="629"/>
                    <a:pt x="701" y="629"/>
                  </a:cubicBezTo>
                  <a:cubicBezTo>
                    <a:pt x="702" y="630"/>
                    <a:pt x="703" y="630"/>
                    <a:pt x="704" y="632"/>
                  </a:cubicBezTo>
                  <a:cubicBezTo>
                    <a:pt x="705" y="633"/>
                    <a:pt x="706" y="633"/>
                    <a:pt x="707" y="633"/>
                  </a:cubicBezTo>
                  <a:cubicBezTo>
                    <a:pt x="709" y="633"/>
                    <a:pt x="711" y="632"/>
                    <a:pt x="711" y="632"/>
                  </a:cubicBezTo>
                  <a:cubicBezTo>
                    <a:pt x="712" y="631"/>
                    <a:pt x="715" y="629"/>
                    <a:pt x="716" y="628"/>
                  </a:cubicBezTo>
                  <a:cubicBezTo>
                    <a:pt x="718" y="628"/>
                    <a:pt x="719" y="627"/>
                    <a:pt x="719" y="625"/>
                  </a:cubicBezTo>
                  <a:cubicBezTo>
                    <a:pt x="719" y="625"/>
                    <a:pt x="719" y="624"/>
                    <a:pt x="720" y="624"/>
                  </a:cubicBezTo>
                  <a:cubicBezTo>
                    <a:pt x="720" y="623"/>
                    <a:pt x="720" y="622"/>
                    <a:pt x="720" y="621"/>
                  </a:cubicBezTo>
                  <a:cubicBezTo>
                    <a:pt x="720" y="622"/>
                    <a:pt x="721" y="622"/>
                    <a:pt x="721" y="622"/>
                  </a:cubicBezTo>
                  <a:cubicBezTo>
                    <a:pt x="721" y="622"/>
                    <a:pt x="721" y="622"/>
                    <a:pt x="721" y="622"/>
                  </a:cubicBezTo>
                  <a:cubicBezTo>
                    <a:pt x="720" y="624"/>
                    <a:pt x="721" y="626"/>
                    <a:pt x="722" y="628"/>
                  </a:cubicBezTo>
                  <a:cubicBezTo>
                    <a:pt x="722" y="628"/>
                    <a:pt x="722" y="629"/>
                    <a:pt x="722" y="629"/>
                  </a:cubicBezTo>
                  <a:cubicBezTo>
                    <a:pt x="723" y="630"/>
                    <a:pt x="723" y="632"/>
                    <a:pt x="723" y="633"/>
                  </a:cubicBezTo>
                  <a:cubicBezTo>
                    <a:pt x="723" y="633"/>
                    <a:pt x="723" y="634"/>
                    <a:pt x="723" y="636"/>
                  </a:cubicBezTo>
                  <a:cubicBezTo>
                    <a:pt x="723" y="637"/>
                    <a:pt x="723" y="639"/>
                    <a:pt x="723" y="639"/>
                  </a:cubicBezTo>
                  <a:cubicBezTo>
                    <a:pt x="723" y="640"/>
                    <a:pt x="723" y="640"/>
                    <a:pt x="723" y="642"/>
                  </a:cubicBezTo>
                  <a:cubicBezTo>
                    <a:pt x="723" y="643"/>
                    <a:pt x="723" y="644"/>
                    <a:pt x="723" y="645"/>
                  </a:cubicBezTo>
                  <a:cubicBezTo>
                    <a:pt x="723" y="646"/>
                    <a:pt x="723" y="647"/>
                    <a:pt x="723" y="648"/>
                  </a:cubicBezTo>
                  <a:cubicBezTo>
                    <a:pt x="724" y="648"/>
                    <a:pt x="725" y="649"/>
                    <a:pt x="726" y="649"/>
                  </a:cubicBezTo>
                  <a:cubicBezTo>
                    <a:pt x="726" y="649"/>
                    <a:pt x="726" y="649"/>
                    <a:pt x="726" y="649"/>
                  </a:cubicBezTo>
                  <a:cubicBezTo>
                    <a:pt x="726" y="649"/>
                    <a:pt x="726" y="649"/>
                    <a:pt x="726" y="649"/>
                  </a:cubicBezTo>
                  <a:cubicBezTo>
                    <a:pt x="724" y="651"/>
                    <a:pt x="725" y="653"/>
                    <a:pt x="726" y="654"/>
                  </a:cubicBezTo>
                  <a:cubicBezTo>
                    <a:pt x="726" y="655"/>
                    <a:pt x="726" y="655"/>
                    <a:pt x="726" y="655"/>
                  </a:cubicBezTo>
                  <a:cubicBezTo>
                    <a:pt x="725" y="656"/>
                    <a:pt x="726" y="657"/>
                    <a:pt x="726" y="657"/>
                  </a:cubicBezTo>
                  <a:cubicBezTo>
                    <a:pt x="726" y="657"/>
                    <a:pt x="726" y="658"/>
                    <a:pt x="726" y="658"/>
                  </a:cubicBezTo>
                  <a:cubicBezTo>
                    <a:pt x="726" y="659"/>
                    <a:pt x="726" y="659"/>
                    <a:pt x="726" y="659"/>
                  </a:cubicBezTo>
                  <a:cubicBezTo>
                    <a:pt x="726" y="659"/>
                    <a:pt x="727" y="660"/>
                    <a:pt x="727" y="661"/>
                  </a:cubicBezTo>
                  <a:cubicBezTo>
                    <a:pt x="728" y="661"/>
                    <a:pt x="728" y="662"/>
                    <a:pt x="728" y="662"/>
                  </a:cubicBezTo>
                  <a:cubicBezTo>
                    <a:pt x="729" y="662"/>
                    <a:pt x="729" y="663"/>
                    <a:pt x="728" y="663"/>
                  </a:cubicBezTo>
                  <a:cubicBezTo>
                    <a:pt x="728" y="664"/>
                    <a:pt x="728" y="664"/>
                    <a:pt x="728" y="664"/>
                  </a:cubicBezTo>
                  <a:cubicBezTo>
                    <a:pt x="728" y="665"/>
                    <a:pt x="728" y="666"/>
                    <a:pt x="729" y="667"/>
                  </a:cubicBezTo>
                  <a:cubicBezTo>
                    <a:pt x="729" y="669"/>
                    <a:pt x="729" y="671"/>
                    <a:pt x="730" y="673"/>
                  </a:cubicBezTo>
                  <a:cubicBezTo>
                    <a:pt x="730" y="673"/>
                    <a:pt x="730" y="673"/>
                    <a:pt x="730" y="673"/>
                  </a:cubicBezTo>
                  <a:cubicBezTo>
                    <a:pt x="730" y="675"/>
                    <a:pt x="731" y="677"/>
                    <a:pt x="732" y="677"/>
                  </a:cubicBezTo>
                  <a:cubicBezTo>
                    <a:pt x="732" y="677"/>
                    <a:pt x="732" y="677"/>
                    <a:pt x="732" y="677"/>
                  </a:cubicBezTo>
                  <a:cubicBezTo>
                    <a:pt x="732" y="678"/>
                    <a:pt x="732" y="678"/>
                    <a:pt x="732" y="678"/>
                  </a:cubicBezTo>
                  <a:cubicBezTo>
                    <a:pt x="732" y="679"/>
                    <a:pt x="733" y="680"/>
                    <a:pt x="734" y="681"/>
                  </a:cubicBezTo>
                  <a:cubicBezTo>
                    <a:pt x="734" y="682"/>
                    <a:pt x="734" y="682"/>
                    <a:pt x="734" y="682"/>
                  </a:cubicBezTo>
                  <a:cubicBezTo>
                    <a:pt x="734" y="685"/>
                    <a:pt x="735" y="685"/>
                    <a:pt x="736" y="686"/>
                  </a:cubicBezTo>
                  <a:cubicBezTo>
                    <a:pt x="736" y="686"/>
                    <a:pt x="736" y="686"/>
                    <a:pt x="736" y="686"/>
                  </a:cubicBezTo>
                  <a:cubicBezTo>
                    <a:pt x="736" y="687"/>
                    <a:pt x="737" y="687"/>
                    <a:pt x="737" y="688"/>
                  </a:cubicBezTo>
                  <a:cubicBezTo>
                    <a:pt x="737" y="688"/>
                    <a:pt x="738" y="689"/>
                    <a:pt x="738" y="690"/>
                  </a:cubicBezTo>
                  <a:cubicBezTo>
                    <a:pt x="738" y="691"/>
                    <a:pt x="738" y="692"/>
                    <a:pt x="740" y="693"/>
                  </a:cubicBezTo>
                  <a:cubicBezTo>
                    <a:pt x="740" y="693"/>
                    <a:pt x="740" y="693"/>
                    <a:pt x="740" y="694"/>
                  </a:cubicBezTo>
                  <a:cubicBezTo>
                    <a:pt x="740" y="694"/>
                    <a:pt x="740" y="694"/>
                    <a:pt x="740" y="694"/>
                  </a:cubicBezTo>
                  <a:cubicBezTo>
                    <a:pt x="739" y="696"/>
                    <a:pt x="740" y="696"/>
                    <a:pt x="741" y="697"/>
                  </a:cubicBezTo>
                  <a:cubicBezTo>
                    <a:pt x="741" y="697"/>
                    <a:pt x="741" y="698"/>
                    <a:pt x="741" y="698"/>
                  </a:cubicBezTo>
                  <a:cubicBezTo>
                    <a:pt x="741" y="699"/>
                    <a:pt x="741" y="699"/>
                    <a:pt x="741" y="699"/>
                  </a:cubicBezTo>
                  <a:cubicBezTo>
                    <a:pt x="741" y="700"/>
                    <a:pt x="742" y="701"/>
                    <a:pt x="742" y="702"/>
                  </a:cubicBezTo>
                  <a:cubicBezTo>
                    <a:pt x="742" y="702"/>
                    <a:pt x="742" y="702"/>
                    <a:pt x="742" y="702"/>
                  </a:cubicBezTo>
                  <a:cubicBezTo>
                    <a:pt x="742" y="702"/>
                    <a:pt x="742" y="702"/>
                    <a:pt x="742" y="703"/>
                  </a:cubicBezTo>
                  <a:cubicBezTo>
                    <a:pt x="742" y="704"/>
                    <a:pt x="743" y="705"/>
                    <a:pt x="743" y="706"/>
                  </a:cubicBezTo>
                  <a:cubicBezTo>
                    <a:pt x="743" y="707"/>
                    <a:pt x="743" y="708"/>
                    <a:pt x="744" y="709"/>
                  </a:cubicBezTo>
                  <a:cubicBezTo>
                    <a:pt x="744" y="709"/>
                    <a:pt x="744" y="710"/>
                    <a:pt x="744" y="710"/>
                  </a:cubicBezTo>
                  <a:cubicBezTo>
                    <a:pt x="744" y="710"/>
                    <a:pt x="744" y="711"/>
                    <a:pt x="744" y="711"/>
                  </a:cubicBezTo>
                  <a:cubicBezTo>
                    <a:pt x="745" y="712"/>
                    <a:pt x="745" y="714"/>
                    <a:pt x="745" y="715"/>
                  </a:cubicBezTo>
                  <a:cubicBezTo>
                    <a:pt x="746" y="716"/>
                    <a:pt x="747" y="717"/>
                    <a:pt x="748" y="717"/>
                  </a:cubicBezTo>
                  <a:cubicBezTo>
                    <a:pt x="748" y="717"/>
                    <a:pt x="748" y="717"/>
                    <a:pt x="748" y="717"/>
                  </a:cubicBezTo>
                  <a:cubicBezTo>
                    <a:pt x="748" y="718"/>
                    <a:pt x="748" y="718"/>
                    <a:pt x="748" y="718"/>
                  </a:cubicBezTo>
                  <a:cubicBezTo>
                    <a:pt x="747" y="720"/>
                    <a:pt x="749" y="721"/>
                    <a:pt x="750" y="721"/>
                  </a:cubicBezTo>
                  <a:cubicBezTo>
                    <a:pt x="750" y="722"/>
                    <a:pt x="750" y="722"/>
                    <a:pt x="750" y="722"/>
                  </a:cubicBezTo>
                  <a:cubicBezTo>
                    <a:pt x="750" y="724"/>
                    <a:pt x="751" y="725"/>
                    <a:pt x="752" y="725"/>
                  </a:cubicBezTo>
                  <a:cubicBezTo>
                    <a:pt x="752" y="726"/>
                    <a:pt x="752" y="726"/>
                    <a:pt x="752" y="726"/>
                  </a:cubicBezTo>
                  <a:cubicBezTo>
                    <a:pt x="752" y="727"/>
                    <a:pt x="752" y="727"/>
                    <a:pt x="752" y="727"/>
                  </a:cubicBezTo>
                  <a:cubicBezTo>
                    <a:pt x="752" y="728"/>
                    <a:pt x="753" y="729"/>
                    <a:pt x="754" y="730"/>
                  </a:cubicBezTo>
                  <a:cubicBezTo>
                    <a:pt x="754" y="730"/>
                    <a:pt x="754" y="730"/>
                    <a:pt x="754" y="730"/>
                  </a:cubicBezTo>
                  <a:cubicBezTo>
                    <a:pt x="754" y="731"/>
                    <a:pt x="754" y="731"/>
                    <a:pt x="754" y="731"/>
                  </a:cubicBezTo>
                  <a:cubicBezTo>
                    <a:pt x="755" y="731"/>
                    <a:pt x="755" y="732"/>
                    <a:pt x="755" y="733"/>
                  </a:cubicBezTo>
                  <a:cubicBezTo>
                    <a:pt x="755" y="733"/>
                    <a:pt x="755" y="734"/>
                    <a:pt x="755" y="734"/>
                  </a:cubicBezTo>
                  <a:cubicBezTo>
                    <a:pt x="755" y="735"/>
                    <a:pt x="755" y="735"/>
                    <a:pt x="756" y="736"/>
                  </a:cubicBezTo>
                  <a:cubicBezTo>
                    <a:pt x="756" y="737"/>
                    <a:pt x="756" y="737"/>
                    <a:pt x="756" y="738"/>
                  </a:cubicBezTo>
                  <a:cubicBezTo>
                    <a:pt x="756" y="740"/>
                    <a:pt x="756" y="740"/>
                    <a:pt x="757" y="741"/>
                  </a:cubicBezTo>
                  <a:cubicBezTo>
                    <a:pt x="757" y="742"/>
                    <a:pt x="758" y="743"/>
                    <a:pt x="758" y="744"/>
                  </a:cubicBezTo>
                  <a:cubicBezTo>
                    <a:pt x="758" y="744"/>
                    <a:pt x="758" y="745"/>
                    <a:pt x="758" y="745"/>
                  </a:cubicBezTo>
                  <a:cubicBezTo>
                    <a:pt x="758" y="747"/>
                    <a:pt x="759" y="747"/>
                    <a:pt x="760" y="748"/>
                  </a:cubicBezTo>
                  <a:cubicBezTo>
                    <a:pt x="759" y="748"/>
                    <a:pt x="759" y="749"/>
                    <a:pt x="761" y="751"/>
                  </a:cubicBezTo>
                  <a:cubicBezTo>
                    <a:pt x="761" y="751"/>
                    <a:pt x="762" y="751"/>
                    <a:pt x="762" y="752"/>
                  </a:cubicBezTo>
                  <a:cubicBezTo>
                    <a:pt x="762" y="754"/>
                    <a:pt x="764" y="755"/>
                    <a:pt x="766" y="757"/>
                  </a:cubicBezTo>
                  <a:cubicBezTo>
                    <a:pt x="767" y="758"/>
                    <a:pt x="768" y="758"/>
                    <a:pt x="769" y="758"/>
                  </a:cubicBezTo>
                  <a:cubicBezTo>
                    <a:pt x="771" y="758"/>
                    <a:pt x="772" y="757"/>
                    <a:pt x="772" y="756"/>
                  </a:cubicBezTo>
                  <a:cubicBezTo>
                    <a:pt x="772" y="756"/>
                    <a:pt x="773" y="755"/>
                    <a:pt x="774" y="754"/>
                  </a:cubicBezTo>
                  <a:cubicBezTo>
                    <a:pt x="776" y="753"/>
                    <a:pt x="776" y="751"/>
                    <a:pt x="776" y="748"/>
                  </a:cubicBezTo>
                  <a:cubicBezTo>
                    <a:pt x="776" y="747"/>
                    <a:pt x="776" y="747"/>
                    <a:pt x="776" y="747"/>
                  </a:cubicBezTo>
                  <a:cubicBezTo>
                    <a:pt x="776" y="747"/>
                    <a:pt x="777" y="747"/>
                    <a:pt x="780" y="747"/>
                  </a:cubicBezTo>
                  <a:cubicBezTo>
                    <a:pt x="782" y="747"/>
                    <a:pt x="782" y="747"/>
                    <a:pt x="782" y="747"/>
                  </a:cubicBezTo>
                  <a:cubicBezTo>
                    <a:pt x="783" y="747"/>
                    <a:pt x="783" y="747"/>
                    <a:pt x="783" y="747"/>
                  </a:cubicBezTo>
                  <a:cubicBezTo>
                    <a:pt x="783" y="747"/>
                    <a:pt x="783" y="747"/>
                    <a:pt x="783" y="747"/>
                  </a:cubicBezTo>
                  <a:cubicBezTo>
                    <a:pt x="784" y="747"/>
                    <a:pt x="785" y="747"/>
                    <a:pt x="785" y="746"/>
                  </a:cubicBezTo>
                  <a:cubicBezTo>
                    <a:pt x="785" y="745"/>
                    <a:pt x="785" y="744"/>
                    <a:pt x="784" y="743"/>
                  </a:cubicBezTo>
                  <a:cubicBezTo>
                    <a:pt x="783" y="743"/>
                    <a:pt x="783" y="743"/>
                    <a:pt x="782" y="742"/>
                  </a:cubicBezTo>
                  <a:cubicBezTo>
                    <a:pt x="782" y="742"/>
                    <a:pt x="782" y="742"/>
                    <a:pt x="782" y="741"/>
                  </a:cubicBezTo>
                  <a:cubicBezTo>
                    <a:pt x="782" y="741"/>
                    <a:pt x="783" y="740"/>
                    <a:pt x="783" y="739"/>
                  </a:cubicBezTo>
                  <a:cubicBezTo>
                    <a:pt x="782" y="738"/>
                    <a:pt x="782" y="738"/>
                    <a:pt x="782" y="738"/>
                  </a:cubicBezTo>
                  <a:cubicBezTo>
                    <a:pt x="782" y="738"/>
                    <a:pt x="782" y="738"/>
                    <a:pt x="782" y="738"/>
                  </a:cubicBezTo>
                  <a:cubicBezTo>
                    <a:pt x="783" y="739"/>
                    <a:pt x="783" y="739"/>
                    <a:pt x="783" y="739"/>
                  </a:cubicBezTo>
                  <a:cubicBezTo>
                    <a:pt x="784" y="738"/>
                    <a:pt x="785" y="738"/>
                    <a:pt x="784" y="736"/>
                  </a:cubicBezTo>
                  <a:cubicBezTo>
                    <a:pt x="784" y="736"/>
                    <a:pt x="785" y="736"/>
                    <a:pt x="786" y="736"/>
                  </a:cubicBezTo>
                  <a:cubicBezTo>
                    <a:pt x="787" y="736"/>
                    <a:pt x="789" y="735"/>
                    <a:pt x="789" y="733"/>
                  </a:cubicBezTo>
                  <a:cubicBezTo>
                    <a:pt x="790" y="732"/>
                    <a:pt x="789" y="731"/>
                    <a:pt x="788" y="730"/>
                  </a:cubicBezTo>
                  <a:cubicBezTo>
                    <a:pt x="788" y="730"/>
                    <a:pt x="789" y="729"/>
                    <a:pt x="789" y="727"/>
                  </a:cubicBezTo>
                  <a:cubicBezTo>
                    <a:pt x="789" y="726"/>
                    <a:pt x="789" y="726"/>
                    <a:pt x="789" y="726"/>
                  </a:cubicBezTo>
                  <a:cubicBezTo>
                    <a:pt x="790" y="725"/>
                    <a:pt x="789" y="723"/>
                    <a:pt x="788" y="722"/>
                  </a:cubicBezTo>
                  <a:cubicBezTo>
                    <a:pt x="788" y="722"/>
                    <a:pt x="788" y="721"/>
                    <a:pt x="788" y="717"/>
                  </a:cubicBezTo>
                  <a:cubicBezTo>
                    <a:pt x="788" y="717"/>
                    <a:pt x="789" y="716"/>
                    <a:pt x="789" y="716"/>
                  </a:cubicBezTo>
                  <a:cubicBezTo>
                    <a:pt x="790" y="715"/>
                    <a:pt x="790" y="715"/>
                    <a:pt x="790" y="714"/>
                  </a:cubicBezTo>
                  <a:cubicBezTo>
                    <a:pt x="791" y="713"/>
                    <a:pt x="790" y="712"/>
                    <a:pt x="790" y="712"/>
                  </a:cubicBezTo>
                  <a:cubicBezTo>
                    <a:pt x="792" y="711"/>
                    <a:pt x="791" y="709"/>
                    <a:pt x="791" y="707"/>
                  </a:cubicBezTo>
                  <a:cubicBezTo>
                    <a:pt x="791" y="707"/>
                    <a:pt x="791" y="706"/>
                    <a:pt x="791" y="705"/>
                  </a:cubicBezTo>
                  <a:cubicBezTo>
                    <a:pt x="791" y="703"/>
                    <a:pt x="790" y="702"/>
                    <a:pt x="789" y="701"/>
                  </a:cubicBezTo>
                  <a:cubicBezTo>
                    <a:pt x="789" y="701"/>
                    <a:pt x="789" y="701"/>
                    <a:pt x="789" y="701"/>
                  </a:cubicBezTo>
                  <a:cubicBezTo>
                    <a:pt x="789" y="700"/>
                    <a:pt x="789" y="700"/>
                    <a:pt x="789" y="700"/>
                  </a:cubicBezTo>
                  <a:cubicBezTo>
                    <a:pt x="790" y="699"/>
                    <a:pt x="790" y="698"/>
                    <a:pt x="791" y="697"/>
                  </a:cubicBezTo>
                  <a:cubicBezTo>
                    <a:pt x="791" y="696"/>
                    <a:pt x="791" y="696"/>
                    <a:pt x="790" y="695"/>
                  </a:cubicBezTo>
                  <a:cubicBezTo>
                    <a:pt x="790" y="695"/>
                    <a:pt x="790" y="695"/>
                    <a:pt x="789" y="695"/>
                  </a:cubicBezTo>
                  <a:cubicBezTo>
                    <a:pt x="789" y="695"/>
                    <a:pt x="789" y="695"/>
                    <a:pt x="789" y="695"/>
                  </a:cubicBezTo>
                  <a:cubicBezTo>
                    <a:pt x="789" y="694"/>
                    <a:pt x="790" y="694"/>
                    <a:pt x="790" y="694"/>
                  </a:cubicBezTo>
                  <a:cubicBezTo>
                    <a:pt x="790" y="693"/>
                    <a:pt x="789" y="692"/>
                    <a:pt x="789" y="691"/>
                  </a:cubicBezTo>
                  <a:cubicBezTo>
                    <a:pt x="789" y="691"/>
                    <a:pt x="789" y="690"/>
                    <a:pt x="789" y="689"/>
                  </a:cubicBezTo>
                  <a:cubicBezTo>
                    <a:pt x="789" y="688"/>
                    <a:pt x="789" y="688"/>
                    <a:pt x="788" y="687"/>
                  </a:cubicBezTo>
                  <a:cubicBezTo>
                    <a:pt x="788" y="687"/>
                    <a:pt x="788" y="687"/>
                    <a:pt x="788" y="687"/>
                  </a:cubicBezTo>
                  <a:cubicBezTo>
                    <a:pt x="788" y="686"/>
                    <a:pt x="788" y="685"/>
                    <a:pt x="789" y="684"/>
                  </a:cubicBezTo>
                  <a:cubicBezTo>
                    <a:pt x="789" y="684"/>
                    <a:pt x="790" y="683"/>
                    <a:pt x="790" y="682"/>
                  </a:cubicBezTo>
                  <a:cubicBezTo>
                    <a:pt x="790" y="681"/>
                    <a:pt x="789" y="681"/>
                    <a:pt x="789" y="681"/>
                  </a:cubicBezTo>
                  <a:cubicBezTo>
                    <a:pt x="790" y="680"/>
                    <a:pt x="790" y="680"/>
                    <a:pt x="791" y="680"/>
                  </a:cubicBezTo>
                  <a:cubicBezTo>
                    <a:pt x="791" y="680"/>
                    <a:pt x="791" y="680"/>
                    <a:pt x="791" y="680"/>
                  </a:cubicBezTo>
                  <a:cubicBezTo>
                    <a:pt x="791" y="680"/>
                    <a:pt x="791" y="680"/>
                    <a:pt x="791" y="680"/>
                  </a:cubicBezTo>
                  <a:cubicBezTo>
                    <a:pt x="791" y="681"/>
                    <a:pt x="792" y="682"/>
                    <a:pt x="793" y="682"/>
                  </a:cubicBezTo>
                  <a:cubicBezTo>
                    <a:pt x="793" y="682"/>
                    <a:pt x="794" y="681"/>
                    <a:pt x="794" y="681"/>
                  </a:cubicBezTo>
                  <a:cubicBezTo>
                    <a:pt x="793" y="680"/>
                    <a:pt x="793" y="680"/>
                    <a:pt x="793" y="680"/>
                  </a:cubicBezTo>
                  <a:cubicBezTo>
                    <a:pt x="795" y="680"/>
                    <a:pt x="795" y="680"/>
                    <a:pt x="795" y="680"/>
                  </a:cubicBezTo>
                  <a:cubicBezTo>
                    <a:pt x="795" y="680"/>
                    <a:pt x="796" y="677"/>
                    <a:pt x="796" y="676"/>
                  </a:cubicBezTo>
                  <a:cubicBezTo>
                    <a:pt x="797" y="676"/>
                    <a:pt x="798" y="675"/>
                    <a:pt x="799" y="674"/>
                  </a:cubicBezTo>
                  <a:cubicBezTo>
                    <a:pt x="799" y="675"/>
                    <a:pt x="800" y="675"/>
                    <a:pt x="801" y="674"/>
                  </a:cubicBezTo>
                  <a:cubicBezTo>
                    <a:pt x="802" y="674"/>
                    <a:pt x="805" y="671"/>
                    <a:pt x="805" y="670"/>
                  </a:cubicBezTo>
                  <a:cubicBezTo>
                    <a:pt x="805" y="670"/>
                    <a:pt x="807" y="667"/>
                    <a:pt x="806" y="666"/>
                  </a:cubicBezTo>
                  <a:cubicBezTo>
                    <a:pt x="806" y="666"/>
                    <a:pt x="806" y="666"/>
                    <a:pt x="806" y="665"/>
                  </a:cubicBezTo>
                  <a:cubicBezTo>
                    <a:pt x="807" y="665"/>
                    <a:pt x="808" y="664"/>
                    <a:pt x="809" y="664"/>
                  </a:cubicBezTo>
                  <a:cubicBezTo>
                    <a:pt x="810" y="663"/>
                    <a:pt x="811" y="661"/>
                    <a:pt x="813" y="658"/>
                  </a:cubicBezTo>
                  <a:cubicBezTo>
                    <a:pt x="814" y="657"/>
                    <a:pt x="814" y="657"/>
                    <a:pt x="814" y="657"/>
                  </a:cubicBezTo>
                  <a:cubicBezTo>
                    <a:pt x="813" y="656"/>
                    <a:pt x="813" y="656"/>
                    <a:pt x="813" y="656"/>
                  </a:cubicBezTo>
                  <a:cubicBezTo>
                    <a:pt x="813" y="656"/>
                    <a:pt x="813" y="656"/>
                    <a:pt x="813" y="656"/>
                  </a:cubicBezTo>
                  <a:cubicBezTo>
                    <a:pt x="814" y="657"/>
                    <a:pt x="814" y="657"/>
                    <a:pt x="814" y="657"/>
                  </a:cubicBezTo>
                  <a:cubicBezTo>
                    <a:pt x="817" y="654"/>
                    <a:pt x="817" y="654"/>
                    <a:pt x="818" y="654"/>
                  </a:cubicBezTo>
                  <a:cubicBezTo>
                    <a:pt x="819" y="653"/>
                    <a:pt x="820" y="652"/>
                    <a:pt x="820" y="651"/>
                  </a:cubicBezTo>
                  <a:cubicBezTo>
                    <a:pt x="820" y="651"/>
                    <a:pt x="820" y="650"/>
                    <a:pt x="820" y="650"/>
                  </a:cubicBezTo>
                  <a:cubicBezTo>
                    <a:pt x="821" y="650"/>
                    <a:pt x="821" y="649"/>
                    <a:pt x="822" y="647"/>
                  </a:cubicBezTo>
                  <a:cubicBezTo>
                    <a:pt x="822" y="647"/>
                    <a:pt x="824" y="642"/>
                    <a:pt x="825" y="642"/>
                  </a:cubicBezTo>
                  <a:cubicBezTo>
                    <a:pt x="825" y="642"/>
                    <a:pt x="825" y="641"/>
                    <a:pt x="825" y="640"/>
                  </a:cubicBezTo>
                  <a:cubicBezTo>
                    <a:pt x="826" y="640"/>
                    <a:pt x="826" y="640"/>
                    <a:pt x="826" y="640"/>
                  </a:cubicBezTo>
                  <a:cubicBezTo>
                    <a:pt x="828" y="640"/>
                    <a:pt x="832" y="638"/>
                    <a:pt x="832" y="638"/>
                  </a:cubicBezTo>
                  <a:cubicBezTo>
                    <a:pt x="832" y="638"/>
                    <a:pt x="833" y="637"/>
                    <a:pt x="834" y="637"/>
                  </a:cubicBezTo>
                  <a:cubicBezTo>
                    <a:pt x="835" y="636"/>
                    <a:pt x="835" y="635"/>
                    <a:pt x="836" y="633"/>
                  </a:cubicBezTo>
                  <a:cubicBezTo>
                    <a:pt x="836" y="633"/>
                    <a:pt x="837" y="632"/>
                    <a:pt x="836" y="631"/>
                  </a:cubicBezTo>
                  <a:cubicBezTo>
                    <a:pt x="836" y="631"/>
                    <a:pt x="836" y="631"/>
                    <a:pt x="836" y="631"/>
                  </a:cubicBezTo>
                  <a:cubicBezTo>
                    <a:pt x="836" y="631"/>
                    <a:pt x="836" y="631"/>
                    <a:pt x="836" y="631"/>
                  </a:cubicBezTo>
                  <a:cubicBezTo>
                    <a:pt x="837" y="631"/>
                    <a:pt x="838" y="630"/>
                    <a:pt x="838" y="629"/>
                  </a:cubicBezTo>
                  <a:cubicBezTo>
                    <a:pt x="838" y="628"/>
                    <a:pt x="837" y="627"/>
                    <a:pt x="837" y="627"/>
                  </a:cubicBezTo>
                  <a:cubicBezTo>
                    <a:pt x="837" y="627"/>
                    <a:pt x="837" y="626"/>
                    <a:pt x="837" y="625"/>
                  </a:cubicBezTo>
                  <a:cubicBezTo>
                    <a:pt x="836" y="624"/>
                    <a:pt x="837" y="623"/>
                    <a:pt x="837" y="622"/>
                  </a:cubicBezTo>
                  <a:cubicBezTo>
                    <a:pt x="838" y="622"/>
                    <a:pt x="839" y="621"/>
                    <a:pt x="841" y="621"/>
                  </a:cubicBezTo>
                  <a:cubicBezTo>
                    <a:pt x="842" y="620"/>
                    <a:pt x="843" y="620"/>
                    <a:pt x="844" y="619"/>
                  </a:cubicBezTo>
                  <a:cubicBezTo>
                    <a:pt x="844" y="619"/>
                    <a:pt x="844" y="620"/>
                    <a:pt x="844" y="620"/>
                  </a:cubicBezTo>
                  <a:cubicBezTo>
                    <a:pt x="845" y="621"/>
                    <a:pt x="845" y="621"/>
                    <a:pt x="846" y="621"/>
                  </a:cubicBezTo>
                  <a:cubicBezTo>
                    <a:pt x="847" y="621"/>
                    <a:pt x="847" y="620"/>
                    <a:pt x="848" y="619"/>
                  </a:cubicBezTo>
                  <a:cubicBezTo>
                    <a:pt x="848" y="619"/>
                    <a:pt x="848" y="619"/>
                    <a:pt x="848" y="619"/>
                  </a:cubicBezTo>
                  <a:cubicBezTo>
                    <a:pt x="848" y="619"/>
                    <a:pt x="849" y="618"/>
                    <a:pt x="849" y="618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1" y="619"/>
                    <a:pt x="851" y="619"/>
                    <a:pt x="851" y="619"/>
                  </a:cubicBezTo>
                  <a:cubicBezTo>
                    <a:pt x="851" y="619"/>
                    <a:pt x="851" y="619"/>
                    <a:pt x="852" y="619"/>
                  </a:cubicBezTo>
                  <a:cubicBezTo>
                    <a:pt x="852" y="620"/>
                    <a:pt x="852" y="620"/>
                    <a:pt x="853" y="620"/>
                  </a:cubicBezTo>
                  <a:cubicBezTo>
                    <a:pt x="854" y="620"/>
                    <a:pt x="854" y="620"/>
                    <a:pt x="855" y="619"/>
                  </a:cubicBezTo>
                  <a:cubicBezTo>
                    <a:pt x="855" y="619"/>
                    <a:pt x="855" y="619"/>
                    <a:pt x="855" y="619"/>
                  </a:cubicBezTo>
                  <a:cubicBezTo>
                    <a:pt x="855" y="619"/>
                    <a:pt x="856" y="619"/>
                    <a:pt x="856" y="619"/>
                  </a:cubicBezTo>
                  <a:cubicBezTo>
                    <a:pt x="856" y="619"/>
                    <a:pt x="857" y="619"/>
                    <a:pt x="858" y="618"/>
                  </a:cubicBezTo>
                  <a:cubicBezTo>
                    <a:pt x="858" y="618"/>
                    <a:pt x="859" y="618"/>
                    <a:pt x="859" y="618"/>
                  </a:cubicBezTo>
                  <a:cubicBezTo>
                    <a:pt x="859" y="618"/>
                    <a:pt x="860" y="618"/>
                    <a:pt x="860" y="618"/>
                  </a:cubicBezTo>
                  <a:cubicBezTo>
                    <a:pt x="861" y="618"/>
                    <a:pt x="861" y="618"/>
                    <a:pt x="862" y="618"/>
                  </a:cubicBezTo>
                  <a:cubicBezTo>
                    <a:pt x="862" y="617"/>
                    <a:pt x="863" y="616"/>
                    <a:pt x="862" y="615"/>
                  </a:cubicBezTo>
                  <a:cubicBezTo>
                    <a:pt x="862" y="615"/>
                    <a:pt x="862" y="615"/>
                    <a:pt x="862" y="615"/>
                  </a:cubicBezTo>
                  <a:cubicBezTo>
                    <a:pt x="863" y="615"/>
                    <a:pt x="864" y="614"/>
                    <a:pt x="864" y="613"/>
                  </a:cubicBezTo>
                  <a:cubicBezTo>
                    <a:pt x="864" y="613"/>
                    <a:pt x="864" y="612"/>
                    <a:pt x="865" y="612"/>
                  </a:cubicBezTo>
                  <a:cubicBezTo>
                    <a:pt x="865" y="611"/>
                    <a:pt x="865" y="610"/>
                    <a:pt x="864" y="608"/>
                  </a:cubicBezTo>
                  <a:cubicBezTo>
                    <a:pt x="864" y="608"/>
                    <a:pt x="865" y="608"/>
                    <a:pt x="865" y="608"/>
                  </a:cubicBezTo>
                  <a:cubicBezTo>
                    <a:pt x="865" y="608"/>
                    <a:pt x="865" y="608"/>
                    <a:pt x="865" y="608"/>
                  </a:cubicBezTo>
                  <a:cubicBezTo>
                    <a:pt x="866" y="609"/>
                    <a:pt x="868" y="610"/>
                    <a:pt x="870" y="609"/>
                  </a:cubicBezTo>
                  <a:cubicBezTo>
                    <a:pt x="870" y="609"/>
                    <a:pt x="870" y="610"/>
                    <a:pt x="870" y="610"/>
                  </a:cubicBezTo>
                  <a:cubicBezTo>
                    <a:pt x="871" y="611"/>
                    <a:pt x="871" y="612"/>
                    <a:pt x="872" y="613"/>
                  </a:cubicBezTo>
                  <a:cubicBezTo>
                    <a:pt x="872" y="613"/>
                    <a:pt x="873" y="613"/>
                    <a:pt x="873" y="613"/>
                  </a:cubicBezTo>
                  <a:cubicBezTo>
                    <a:pt x="873" y="614"/>
                    <a:pt x="873" y="614"/>
                    <a:pt x="873" y="615"/>
                  </a:cubicBezTo>
                  <a:cubicBezTo>
                    <a:pt x="872" y="617"/>
                    <a:pt x="874" y="618"/>
                    <a:pt x="874" y="618"/>
                  </a:cubicBezTo>
                  <a:cubicBezTo>
                    <a:pt x="874" y="618"/>
                    <a:pt x="874" y="619"/>
                    <a:pt x="874" y="619"/>
                  </a:cubicBezTo>
                  <a:cubicBezTo>
                    <a:pt x="874" y="620"/>
                    <a:pt x="875" y="622"/>
                    <a:pt x="875" y="623"/>
                  </a:cubicBezTo>
                  <a:cubicBezTo>
                    <a:pt x="876" y="623"/>
                    <a:pt x="876" y="624"/>
                    <a:pt x="876" y="625"/>
                  </a:cubicBezTo>
                  <a:cubicBezTo>
                    <a:pt x="877" y="626"/>
                    <a:pt x="877" y="627"/>
                    <a:pt x="878" y="627"/>
                  </a:cubicBezTo>
                  <a:cubicBezTo>
                    <a:pt x="879" y="627"/>
                    <a:pt x="879" y="627"/>
                    <a:pt x="879" y="627"/>
                  </a:cubicBezTo>
                  <a:cubicBezTo>
                    <a:pt x="879" y="627"/>
                    <a:pt x="879" y="627"/>
                    <a:pt x="879" y="627"/>
                  </a:cubicBezTo>
                  <a:cubicBezTo>
                    <a:pt x="879" y="627"/>
                    <a:pt x="880" y="629"/>
                    <a:pt x="881" y="630"/>
                  </a:cubicBezTo>
                  <a:cubicBezTo>
                    <a:pt x="881" y="631"/>
                    <a:pt x="882" y="632"/>
                    <a:pt x="883" y="632"/>
                  </a:cubicBezTo>
                  <a:cubicBezTo>
                    <a:pt x="883" y="632"/>
                    <a:pt x="883" y="632"/>
                    <a:pt x="883" y="632"/>
                  </a:cubicBezTo>
                  <a:cubicBezTo>
                    <a:pt x="883" y="632"/>
                    <a:pt x="883" y="632"/>
                    <a:pt x="883" y="632"/>
                  </a:cubicBezTo>
                  <a:cubicBezTo>
                    <a:pt x="884" y="633"/>
                    <a:pt x="885" y="634"/>
                    <a:pt x="885" y="634"/>
                  </a:cubicBezTo>
                  <a:cubicBezTo>
                    <a:pt x="886" y="634"/>
                    <a:pt x="887" y="633"/>
                    <a:pt x="887" y="633"/>
                  </a:cubicBezTo>
                  <a:cubicBezTo>
                    <a:pt x="887" y="633"/>
                    <a:pt x="888" y="633"/>
                    <a:pt x="888" y="633"/>
                  </a:cubicBezTo>
                  <a:cubicBezTo>
                    <a:pt x="888" y="634"/>
                    <a:pt x="888" y="635"/>
                    <a:pt x="890" y="635"/>
                  </a:cubicBezTo>
                  <a:cubicBezTo>
                    <a:pt x="890" y="635"/>
                    <a:pt x="890" y="635"/>
                    <a:pt x="890" y="635"/>
                  </a:cubicBezTo>
                  <a:cubicBezTo>
                    <a:pt x="890" y="635"/>
                    <a:pt x="890" y="636"/>
                    <a:pt x="890" y="636"/>
                  </a:cubicBezTo>
                  <a:cubicBezTo>
                    <a:pt x="890" y="636"/>
                    <a:pt x="890" y="636"/>
                    <a:pt x="890" y="636"/>
                  </a:cubicBezTo>
                  <a:cubicBezTo>
                    <a:pt x="890" y="637"/>
                    <a:pt x="891" y="639"/>
                    <a:pt x="892" y="640"/>
                  </a:cubicBezTo>
                  <a:cubicBezTo>
                    <a:pt x="893" y="639"/>
                    <a:pt x="893" y="639"/>
                    <a:pt x="893" y="639"/>
                  </a:cubicBezTo>
                  <a:cubicBezTo>
                    <a:pt x="893" y="639"/>
                    <a:pt x="893" y="639"/>
                    <a:pt x="893" y="639"/>
                  </a:cubicBezTo>
                  <a:cubicBezTo>
                    <a:pt x="892" y="640"/>
                    <a:pt x="892" y="640"/>
                    <a:pt x="892" y="640"/>
                  </a:cubicBezTo>
                  <a:cubicBezTo>
                    <a:pt x="892" y="640"/>
                    <a:pt x="892" y="641"/>
                    <a:pt x="892" y="642"/>
                  </a:cubicBezTo>
                  <a:cubicBezTo>
                    <a:pt x="892" y="642"/>
                    <a:pt x="893" y="643"/>
                    <a:pt x="893" y="643"/>
                  </a:cubicBezTo>
                  <a:cubicBezTo>
                    <a:pt x="894" y="644"/>
                    <a:pt x="894" y="644"/>
                    <a:pt x="894" y="644"/>
                  </a:cubicBezTo>
                  <a:cubicBezTo>
                    <a:pt x="894" y="644"/>
                    <a:pt x="894" y="644"/>
                    <a:pt x="894" y="644"/>
                  </a:cubicBezTo>
                  <a:cubicBezTo>
                    <a:pt x="894" y="645"/>
                    <a:pt x="895" y="646"/>
                    <a:pt x="895" y="647"/>
                  </a:cubicBezTo>
                  <a:cubicBezTo>
                    <a:pt x="896" y="647"/>
                    <a:pt x="896" y="647"/>
                    <a:pt x="896" y="647"/>
                  </a:cubicBezTo>
                  <a:cubicBezTo>
                    <a:pt x="896" y="647"/>
                    <a:pt x="896" y="647"/>
                    <a:pt x="896" y="647"/>
                  </a:cubicBezTo>
                  <a:cubicBezTo>
                    <a:pt x="895" y="649"/>
                    <a:pt x="897" y="652"/>
                    <a:pt x="898" y="652"/>
                  </a:cubicBezTo>
                  <a:cubicBezTo>
                    <a:pt x="898" y="652"/>
                    <a:pt x="898" y="652"/>
                    <a:pt x="898" y="653"/>
                  </a:cubicBezTo>
                  <a:cubicBezTo>
                    <a:pt x="897" y="655"/>
                    <a:pt x="898" y="656"/>
                    <a:pt x="898" y="656"/>
                  </a:cubicBezTo>
                  <a:cubicBezTo>
                    <a:pt x="898" y="657"/>
                    <a:pt x="899" y="657"/>
                    <a:pt x="899" y="657"/>
                  </a:cubicBezTo>
                  <a:cubicBezTo>
                    <a:pt x="899" y="657"/>
                    <a:pt x="899" y="657"/>
                    <a:pt x="899" y="657"/>
                  </a:cubicBezTo>
                  <a:cubicBezTo>
                    <a:pt x="899" y="658"/>
                    <a:pt x="899" y="658"/>
                    <a:pt x="899" y="658"/>
                  </a:cubicBezTo>
                  <a:cubicBezTo>
                    <a:pt x="899" y="659"/>
                    <a:pt x="899" y="660"/>
                    <a:pt x="900" y="661"/>
                  </a:cubicBezTo>
                  <a:cubicBezTo>
                    <a:pt x="899" y="661"/>
                    <a:pt x="899" y="662"/>
                    <a:pt x="898" y="663"/>
                  </a:cubicBezTo>
                  <a:cubicBezTo>
                    <a:pt x="898" y="663"/>
                    <a:pt x="898" y="664"/>
                    <a:pt x="898" y="664"/>
                  </a:cubicBezTo>
                  <a:cubicBezTo>
                    <a:pt x="898" y="664"/>
                    <a:pt x="898" y="664"/>
                    <a:pt x="898" y="665"/>
                  </a:cubicBezTo>
                  <a:cubicBezTo>
                    <a:pt x="898" y="665"/>
                    <a:pt x="898" y="665"/>
                    <a:pt x="898" y="666"/>
                  </a:cubicBezTo>
                  <a:cubicBezTo>
                    <a:pt x="898" y="666"/>
                    <a:pt x="898" y="666"/>
                    <a:pt x="898" y="667"/>
                  </a:cubicBezTo>
                  <a:cubicBezTo>
                    <a:pt x="898" y="668"/>
                    <a:pt x="898" y="669"/>
                    <a:pt x="897" y="670"/>
                  </a:cubicBezTo>
                  <a:cubicBezTo>
                    <a:pt x="897" y="670"/>
                    <a:pt x="897" y="670"/>
                    <a:pt x="897" y="670"/>
                  </a:cubicBezTo>
                  <a:cubicBezTo>
                    <a:pt x="897" y="671"/>
                    <a:pt x="897" y="672"/>
                    <a:pt x="897" y="672"/>
                  </a:cubicBezTo>
                  <a:cubicBezTo>
                    <a:pt x="898" y="673"/>
                    <a:pt x="898" y="673"/>
                    <a:pt x="898" y="673"/>
                  </a:cubicBezTo>
                  <a:cubicBezTo>
                    <a:pt x="898" y="673"/>
                    <a:pt x="898" y="674"/>
                    <a:pt x="898" y="675"/>
                  </a:cubicBezTo>
                  <a:cubicBezTo>
                    <a:pt x="898" y="676"/>
                    <a:pt x="899" y="676"/>
                    <a:pt x="900" y="676"/>
                  </a:cubicBezTo>
                  <a:cubicBezTo>
                    <a:pt x="900" y="676"/>
                    <a:pt x="901" y="676"/>
                    <a:pt x="901" y="676"/>
                  </a:cubicBezTo>
                  <a:cubicBezTo>
                    <a:pt x="901" y="675"/>
                    <a:pt x="901" y="675"/>
                    <a:pt x="901" y="674"/>
                  </a:cubicBezTo>
                  <a:cubicBezTo>
                    <a:pt x="901" y="674"/>
                    <a:pt x="902" y="674"/>
                    <a:pt x="902" y="674"/>
                  </a:cubicBezTo>
                  <a:cubicBezTo>
                    <a:pt x="902" y="674"/>
                    <a:pt x="902" y="674"/>
                    <a:pt x="902" y="674"/>
                  </a:cubicBezTo>
                  <a:cubicBezTo>
                    <a:pt x="902" y="674"/>
                    <a:pt x="903" y="675"/>
                    <a:pt x="903" y="675"/>
                  </a:cubicBezTo>
                  <a:cubicBezTo>
                    <a:pt x="903" y="675"/>
                    <a:pt x="903" y="675"/>
                    <a:pt x="903" y="676"/>
                  </a:cubicBezTo>
                  <a:cubicBezTo>
                    <a:pt x="904" y="678"/>
                    <a:pt x="905" y="678"/>
                    <a:pt x="905" y="678"/>
                  </a:cubicBezTo>
                  <a:cubicBezTo>
                    <a:pt x="906" y="678"/>
                    <a:pt x="906" y="678"/>
                    <a:pt x="906" y="678"/>
                  </a:cubicBezTo>
                  <a:cubicBezTo>
                    <a:pt x="906" y="678"/>
                    <a:pt x="906" y="677"/>
                    <a:pt x="907" y="677"/>
                  </a:cubicBezTo>
                  <a:cubicBezTo>
                    <a:pt x="907" y="677"/>
                    <a:pt x="907" y="677"/>
                    <a:pt x="907" y="677"/>
                  </a:cubicBezTo>
                  <a:cubicBezTo>
                    <a:pt x="907" y="677"/>
                    <a:pt x="907" y="677"/>
                    <a:pt x="907" y="677"/>
                  </a:cubicBezTo>
                  <a:cubicBezTo>
                    <a:pt x="908" y="677"/>
                    <a:pt x="908" y="677"/>
                    <a:pt x="908" y="677"/>
                  </a:cubicBezTo>
                  <a:cubicBezTo>
                    <a:pt x="908" y="678"/>
                    <a:pt x="908" y="678"/>
                    <a:pt x="908" y="678"/>
                  </a:cubicBezTo>
                  <a:cubicBezTo>
                    <a:pt x="909" y="678"/>
                    <a:pt x="909" y="678"/>
                    <a:pt x="909" y="678"/>
                  </a:cubicBezTo>
                  <a:cubicBezTo>
                    <a:pt x="910" y="678"/>
                    <a:pt x="911" y="677"/>
                    <a:pt x="911" y="675"/>
                  </a:cubicBezTo>
                  <a:cubicBezTo>
                    <a:pt x="912" y="675"/>
                    <a:pt x="912" y="674"/>
                    <a:pt x="912" y="674"/>
                  </a:cubicBezTo>
                  <a:cubicBezTo>
                    <a:pt x="913" y="673"/>
                    <a:pt x="913" y="673"/>
                    <a:pt x="913" y="672"/>
                  </a:cubicBezTo>
                  <a:cubicBezTo>
                    <a:pt x="913" y="672"/>
                    <a:pt x="914" y="672"/>
                    <a:pt x="915" y="672"/>
                  </a:cubicBezTo>
                  <a:close/>
                  <a:moveTo>
                    <a:pt x="1057" y="454"/>
                  </a:moveTo>
                  <a:cubicBezTo>
                    <a:pt x="1057" y="454"/>
                    <a:pt x="1057" y="454"/>
                    <a:pt x="1057" y="454"/>
                  </a:cubicBezTo>
                  <a:cubicBezTo>
                    <a:pt x="1057" y="454"/>
                    <a:pt x="1057" y="454"/>
                    <a:pt x="1057" y="454"/>
                  </a:cubicBezTo>
                  <a:close/>
                  <a:moveTo>
                    <a:pt x="311" y="533"/>
                  </a:moveTo>
                  <a:cubicBezTo>
                    <a:pt x="311" y="533"/>
                    <a:pt x="311" y="533"/>
                    <a:pt x="311" y="533"/>
                  </a:cubicBezTo>
                  <a:cubicBezTo>
                    <a:pt x="311" y="533"/>
                    <a:pt x="311" y="533"/>
                    <a:pt x="311" y="533"/>
                  </a:cubicBezTo>
                  <a:close/>
                  <a:moveTo>
                    <a:pt x="420" y="526"/>
                  </a:moveTo>
                  <a:cubicBezTo>
                    <a:pt x="420" y="526"/>
                    <a:pt x="420" y="526"/>
                    <a:pt x="420" y="526"/>
                  </a:cubicBezTo>
                  <a:cubicBezTo>
                    <a:pt x="420" y="528"/>
                    <a:pt x="420" y="528"/>
                    <a:pt x="420" y="528"/>
                  </a:cubicBezTo>
                  <a:lnTo>
                    <a:pt x="420" y="526"/>
                  </a:lnTo>
                  <a:close/>
                  <a:moveTo>
                    <a:pt x="281" y="270"/>
                  </a:moveTo>
                  <a:cubicBezTo>
                    <a:pt x="281" y="270"/>
                    <a:pt x="281" y="270"/>
                    <a:pt x="281" y="270"/>
                  </a:cubicBezTo>
                  <a:cubicBezTo>
                    <a:pt x="281" y="270"/>
                    <a:pt x="281" y="270"/>
                    <a:pt x="281" y="270"/>
                  </a:cubicBezTo>
                  <a:cubicBezTo>
                    <a:pt x="280" y="270"/>
                    <a:pt x="280" y="270"/>
                    <a:pt x="280" y="271"/>
                  </a:cubicBezTo>
                  <a:cubicBezTo>
                    <a:pt x="280" y="271"/>
                    <a:pt x="280" y="271"/>
                    <a:pt x="280" y="271"/>
                  </a:cubicBezTo>
                  <a:cubicBezTo>
                    <a:pt x="280" y="271"/>
                    <a:pt x="280" y="270"/>
                    <a:pt x="280" y="271"/>
                  </a:cubicBezTo>
                  <a:cubicBezTo>
                    <a:pt x="280" y="270"/>
                    <a:pt x="280" y="270"/>
                    <a:pt x="280" y="270"/>
                  </a:cubicBezTo>
                  <a:cubicBezTo>
                    <a:pt x="280" y="270"/>
                    <a:pt x="280" y="269"/>
                    <a:pt x="280" y="269"/>
                  </a:cubicBezTo>
                  <a:cubicBezTo>
                    <a:pt x="280" y="269"/>
                    <a:pt x="280" y="269"/>
                    <a:pt x="281" y="270"/>
                  </a:cubicBezTo>
                  <a:close/>
                  <a:moveTo>
                    <a:pt x="931" y="687"/>
                  </a:moveTo>
                  <a:cubicBezTo>
                    <a:pt x="931" y="687"/>
                    <a:pt x="931" y="687"/>
                    <a:pt x="931" y="687"/>
                  </a:cubicBezTo>
                  <a:cubicBezTo>
                    <a:pt x="931" y="687"/>
                    <a:pt x="931" y="687"/>
                    <a:pt x="931" y="687"/>
                  </a:cubicBezTo>
                  <a:close/>
                  <a:moveTo>
                    <a:pt x="280" y="273"/>
                  </a:moveTo>
                  <a:cubicBezTo>
                    <a:pt x="280" y="273"/>
                    <a:pt x="280" y="273"/>
                    <a:pt x="280" y="273"/>
                  </a:cubicBezTo>
                  <a:cubicBezTo>
                    <a:pt x="280" y="273"/>
                    <a:pt x="280" y="273"/>
                    <a:pt x="279" y="273"/>
                  </a:cubicBezTo>
                  <a:cubicBezTo>
                    <a:pt x="279" y="273"/>
                    <a:pt x="279" y="273"/>
                    <a:pt x="280" y="273"/>
                  </a:cubicBezTo>
                  <a:close/>
                  <a:moveTo>
                    <a:pt x="290" y="273"/>
                  </a:moveTo>
                  <a:cubicBezTo>
                    <a:pt x="291" y="273"/>
                    <a:pt x="291" y="272"/>
                    <a:pt x="291" y="271"/>
                  </a:cubicBezTo>
                  <a:cubicBezTo>
                    <a:pt x="291" y="271"/>
                    <a:pt x="291" y="272"/>
                    <a:pt x="291" y="272"/>
                  </a:cubicBezTo>
                  <a:cubicBezTo>
                    <a:pt x="291" y="273"/>
                    <a:pt x="293" y="273"/>
                    <a:pt x="293" y="273"/>
                  </a:cubicBezTo>
                  <a:cubicBezTo>
                    <a:pt x="293" y="273"/>
                    <a:pt x="294" y="273"/>
                    <a:pt x="294" y="273"/>
                  </a:cubicBezTo>
                  <a:cubicBezTo>
                    <a:pt x="294" y="273"/>
                    <a:pt x="295" y="273"/>
                    <a:pt x="295" y="273"/>
                  </a:cubicBezTo>
                  <a:cubicBezTo>
                    <a:pt x="297" y="273"/>
                    <a:pt x="297" y="272"/>
                    <a:pt x="298" y="271"/>
                  </a:cubicBezTo>
                  <a:cubicBezTo>
                    <a:pt x="298" y="271"/>
                    <a:pt x="299" y="271"/>
                    <a:pt x="300" y="271"/>
                  </a:cubicBezTo>
                  <a:cubicBezTo>
                    <a:pt x="301" y="271"/>
                    <a:pt x="301" y="271"/>
                    <a:pt x="301" y="271"/>
                  </a:cubicBezTo>
                  <a:cubicBezTo>
                    <a:pt x="301" y="271"/>
                    <a:pt x="301" y="271"/>
                    <a:pt x="301" y="271"/>
                  </a:cubicBezTo>
                  <a:cubicBezTo>
                    <a:pt x="302" y="271"/>
                    <a:pt x="302" y="271"/>
                    <a:pt x="303" y="270"/>
                  </a:cubicBezTo>
                  <a:cubicBezTo>
                    <a:pt x="303" y="269"/>
                    <a:pt x="303" y="267"/>
                    <a:pt x="303" y="266"/>
                  </a:cubicBezTo>
                  <a:cubicBezTo>
                    <a:pt x="303" y="266"/>
                    <a:pt x="304" y="266"/>
                    <a:pt x="304" y="265"/>
                  </a:cubicBezTo>
                  <a:cubicBezTo>
                    <a:pt x="305" y="265"/>
                    <a:pt x="306" y="265"/>
                    <a:pt x="306" y="264"/>
                  </a:cubicBezTo>
                  <a:cubicBezTo>
                    <a:pt x="306" y="264"/>
                    <a:pt x="307" y="264"/>
                    <a:pt x="307" y="264"/>
                  </a:cubicBezTo>
                  <a:cubicBezTo>
                    <a:pt x="307" y="264"/>
                    <a:pt x="308" y="264"/>
                    <a:pt x="308" y="264"/>
                  </a:cubicBezTo>
                  <a:cubicBezTo>
                    <a:pt x="308" y="265"/>
                    <a:pt x="310" y="265"/>
                    <a:pt x="311" y="264"/>
                  </a:cubicBezTo>
                  <a:cubicBezTo>
                    <a:pt x="311" y="264"/>
                    <a:pt x="312" y="264"/>
                    <a:pt x="312" y="264"/>
                  </a:cubicBezTo>
                  <a:cubicBezTo>
                    <a:pt x="313" y="264"/>
                    <a:pt x="313" y="264"/>
                    <a:pt x="313" y="264"/>
                  </a:cubicBezTo>
                  <a:cubicBezTo>
                    <a:pt x="314" y="264"/>
                    <a:pt x="315" y="263"/>
                    <a:pt x="315" y="262"/>
                  </a:cubicBezTo>
                  <a:cubicBezTo>
                    <a:pt x="316" y="261"/>
                    <a:pt x="316" y="261"/>
                    <a:pt x="316" y="260"/>
                  </a:cubicBezTo>
                  <a:cubicBezTo>
                    <a:pt x="316" y="260"/>
                    <a:pt x="316" y="260"/>
                    <a:pt x="317" y="260"/>
                  </a:cubicBezTo>
                  <a:cubicBezTo>
                    <a:pt x="318" y="259"/>
                    <a:pt x="318" y="258"/>
                    <a:pt x="319" y="256"/>
                  </a:cubicBezTo>
                  <a:cubicBezTo>
                    <a:pt x="319" y="254"/>
                    <a:pt x="319" y="253"/>
                    <a:pt x="319" y="253"/>
                  </a:cubicBezTo>
                  <a:cubicBezTo>
                    <a:pt x="321" y="252"/>
                    <a:pt x="321" y="250"/>
                    <a:pt x="321" y="249"/>
                  </a:cubicBezTo>
                  <a:cubicBezTo>
                    <a:pt x="321" y="248"/>
                    <a:pt x="322" y="247"/>
                    <a:pt x="322" y="247"/>
                  </a:cubicBezTo>
                  <a:cubicBezTo>
                    <a:pt x="322" y="246"/>
                    <a:pt x="322" y="245"/>
                    <a:pt x="322" y="245"/>
                  </a:cubicBezTo>
                  <a:cubicBezTo>
                    <a:pt x="322" y="244"/>
                    <a:pt x="322" y="244"/>
                    <a:pt x="322" y="244"/>
                  </a:cubicBezTo>
                  <a:cubicBezTo>
                    <a:pt x="323" y="244"/>
                    <a:pt x="323" y="242"/>
                    <a:pt x="323" y="242"/>
                  </a:cubicBezTo>
                  <a:cubicBezTo>
                    <a:pt x="323" y="241"/>
                    <a:pt x="323" y="241"/>
                    <a:pt x="323" y="241"/>
                  </a:cubicBezTo>
                  <a:cubicBezTo>
                    <a:pt x="323" y="241"/>
                    <a:pt x="323" y="241"/>
                    <a:pt x="323" y="241"/>
                  </a:cubicBezTo>
                  <a:cubicBezTo>
                    <a:pt x="323" y="240"/>
                    <a:pt x="324" y="239"/>
                    <a:pt x="323" y="238"/>
                  </a:cubicBezTo>
                  <a:cubicBezTo>
                    <a:pt x="324" y="238"/>
                    <a:pt x="325" y="237"/>
                    <a:pt x="325" y="237"/>
                  </a:cubicBezTo>
                  <a:cubicBezTo>
                    <a:pt x="325" y="237"/>
                    <a:pt x="325" y="236"/>
                    <a:pt x="326" y="236"/>
                  </a:cubicBezTo>
                  <a:cubicBezTo>
                    <a:pt x="326" y="236"/>
                    <a:pt x="326" y="236"/>
                    <a:pt x="327" y="236"/>
                  </a:cubicBezTo>
                  <a:cubicBezTo>
                    <a:pt x="327" y="236"/>
                    <a:pt x="327" y="236"/>
                    <a:pt x="328" y="236"/>
                  </a:cubicBezTo>
                  <a:cubicBezTo>
                    <a:pt x="328" y="235"/>
                    <a:pt x="328" y="235"/>
                    <a:pt x="329" y="235"/>
                  </a:cubicBezTo>
                  <a:cubicBezTo>
                    <a:pt x="329" y="235"/>
                    <a:pt x="329" y="235"/>
                    <a:pt x="330" y="235"/>
                  </a:cubicBezTo>
                  <a:cubicBezTo>
                    <a:pt x="331" y="235"/>
                    <a:pt x="331" y="234"/>
                    <a:pt x="332" y="233"/>
                  </a:cubicBezTo>
                  <a:cubicBezTo>
                    <a:pt x="332" y="233"/>
                    <a:pt x="332" y="233"/>
                    <a:pt x="332" y="233"/>
                  </a:cubicBezTo>
                  <a:cubicBezTo>
                    <a:pt x="332" y="232"/>
                    <a:pt x="332" y="232"/>
                    <a:pt x="332" y="232"/>
                  </a:cubicBezTo>
                  <a:cubicBezTo>
                    <a:pt x="332" y="232"/>
                    <a:pt x="332" y="232"/>
                    <a:pt x="332" y="232"/>
                  </a:cubicBezTo>
                  <a:cubicBezTo>
                    <a:pt x="333" y="232"/>
                    <a:pt x="333" y="232"/>
                    <a:pt x="333" y="232"/>
                  </a:cubicBezTo>
                  <a:cubicBezTo>
                    <a:pt x="334" y="232"/>
                    <a:pt x="335" y="231"/>
                    <a:pt x="335" y="231"/>
                  </a:cubicBezTo>
                  <a:cubicBezTo>
                    <a:pt x="335" y="231"/>
                    <a:pt x="335" y="230"/>
                    <a:pt x="335" y="230"/>
                  </a:cubicBezTo>
                  <a:cubicBezTo>
                    <a:pt x="336" y="229"/>
                    <a:pt x="336" y="228"/>
                    <a:pt x="336" y="228"/>
                  </a:cubicBezTo>
                  <a:cubicBezTo>
                    <a:pt x="336" y="228"/>
                    <a:pt x="336" y="228"/>
                    <a:pt x="336" y="228"/>
                  </a:cubicBezTo>
                  <a:cubicBezTo>
                    <a:pt x="336" y="227"/>
                    <a:pt x="336" y="227"/>
                    <a:pt x="337" y="227"/>
                  </a:cubicBezTo>
                  <a:cubicBezTo>
                    <a:pt x="337" y="227"/>
                    <a:pt x="337" y="227"/>
                    <a:pt x="337" y="227"/>
                  </a:cubicBezTo>
                  <a:cubicBezTo>
                    <a:pt x="337" y="227"/>
                    <a:pt x="337" y="227"/>
                    <a:pt x="337" y="227"/>
                  </a:cubicBezTo>
                  <a:cubicBezTo>
                    <a:pt x="337" y="227"/>
                    <a:pt x="338" y="227"/>
                    <a:pt x="338" y="227"/>
                  </a:cubicBezTo>
                  <a:cubicBezTo>
                    <a:pt x="339" y="227"/>
                    <a:pt x="340" y="226"/>
                    <a:pt x="340" y="226"/>
                  </a:cubicBezTo>
                  <a:cubicBezTo>
                    <a:pt x="340" y="225"/>
                    <a:pt x="340" y="224"/>
                    <a:pt x="339" y="223"/>
                  </a:cubicBezTo>
                  <a:cubicBezTo>
                    <a:pt x="339" y="223"/>
                    <a:pt x="339" y="223"/>
                    <a:pt x="339" y="223"/>
                  </a:cubicBezTo>
                  <a:cubicBezTo>
                    <a:pt x="339" y="222"/>
                    <a:pt x="340" y="220"/>
                    <a:pt x="337" y="219"/>
                  </a:cubicBezTo>
                  <a:cubicBezTo>
                    <a:pt x="337" y="219"/>
                    <a:pt x="337" y="218"/>
                    <a:pt x="337" y="218"/>
                  </a:cubicBezTo>
                  <a:cubicBezTo>
                    <a:pt x="336" y="218"/>
                    <a:pt x="336" y="218"/>
                    <a:pt x="336" y="218"/>
                  </a:cubicBezTo>
                  <a:cubicBezTo>
                    <a:pt x="336" y="217"/>
                    <a:pt x="336" y="217"/>
                    <a:pt x="336" y="216"/>
                  </a:cubicBezTo>
                  <a:cubicBezTo>
                    <a:pt x="336" y="216"/>
                    <a:pt x="336" y="216"/>
                    <a:pt x="336" y="216"/>
                  </a:cubicBezTo>
                  <a:cubicBezTo>
                    <a:pt x="335" y="215"/>
                    <a:pt x="335" y="214"/>
                    <a:pt x="335" y="214"/>
                  </a:cubicBezTo>
                  <a:cubicBezTo>
                    <a:pt x="334" y="213"/>
                    <a:pt x="334" y="213"/>
                    <a:pt x="333" y="213"/>
                  </a:cubicBezTo>
                  <a:cubicBezTo>
                    <a:pt x="333" y="213"/>
                    <a:pt x="332" y="212"/>
                    <a:pt x="332" y="212"/>
                  </a:cubicBezTo>
                  <a:cubicBezTo>
                    <a:pt x="332" y="212"/>
                    <a:pt x="331" y="212"/>
                    <a:pt x="331" y="212"/>
                  </a:cubicBezTo>
                  <a:cubicBezTo>
                    <a:pt x="331" y="211"/>
                    <a:pt x="331" y="211"/>
                    <a:pt x="331" y="210"/>
                  </a:cubicBezTo>
                  <a:cubicBezTo>
                    <a:pt x="331" y="207"/>
                    <a:pt x="331" y="206"/>
                    <a:pt x="331" y="205"/>
                  </a:cubicBezTo>
                  <a:cubicBezTo>
                    <a:pt x="331" y="205"/>
                    <a:pt x="331" y="205"/>
                    <a:pt x="331" y="205"/>
                  </a:cubicBezTo>
                  <a:cubicBezTo>
                    <a:pt x="331" y="205"/>
                    <a:pt x="331" y="204"/>
                    <a:pt x="331" y="204"/>
                  </a:cubicBezTo>
                  <a:cubicBezTo>
                    <a:pt x="332" y="205"/>
                    <a:pt x="333" y="205"/>
                    <a:pt x="333" y="204"/>
                  </a:cubicBezTo>
                  <a:cubicBezTo>
                    <a:pt x="334" y="203"/>
                    <a:pt x="334" y="202"/>
                    <a:pt x="334" y="201"/>
                  </a:cubicBezTo>
                  <a:cubicBezTo>
                    <a:pt x="334" y="201"/>
                    <a:pt x="334" y="199"/>
                    <a:pt x="335" y="199"/>
                  </a:cubicBezTo>
                  <a:cubicBezTo>
                    <a:pt x="336" y="198"/>
                    <a:pt x="336" y="196"/>
                    <a:pt x="335" y="194"/>
                  </a:cubicBezTo>
                  <a:cubicBezTo>
                    <a:pt x="335" y="194"/>
                    <a:pt x="335" y="194"/>
                    <a:pt x="335" y="194"/>
                  </a:cubicBezTo>
                  <a:cubicBezTo>
                    <a:pt x="336" y="194"/>
                    <a:pt x="336" y="194"/>
                    <a:pt x="336" y="194"/>
                  </a:cubicBezTo>
                  <a:cubicBezTo>
                    <a:pt x="337" y="193"/>
                    <a:pt x="338" y="192"/>
                    <a:pt x="338" y="191"/>
                  </a:cubicBezTo>
                  <a:cubicBezTo>
                    <a:pt x="338" y="191"/>
                    <a:pt x="338" y="191"/>
                    <a:pt x="338" y="191"/>
                  </a:cubicBezTo>
                  <a:cubicBezTo>
                    <a:pt x="339" y="191"/>
                    <a:pt x="340" y="191"/>
                    <a:pt x="340" y="191"/>
                  </a:cubicBezTo>
                  <a:cubicBezTo>
                    <a:pt x="339" y="190"/>
                    <a:pt x="339" y="190"/>
                    <a:pt x="339" y="190"/>
                  </a:cubicBezTo>
                  <a:cubicBezTo>
                    <a:pt x="340" y="190"/>
                    <a:pt x="340" y="190"/>
                    <a:pt x="340" y="190"/>
                  </a:cubicBezTo>
                  <a:cubicBezTo>
                    <a:pt x="340" y="190"/>
                    <a:pt x="340" y="190"/>
                    <a:pt x="340" y="190"/>
                  </a:cubicBezTo>
                  <a:cubicBezTo>
                    <a:pt x="341" y="190"/>
                    <a:pt x="341" y="190"/>
                    <a:pt x="342" y="189"/>
                  </a:cubicBezTo>
                  <a:cubicBezTo>
                    <a:pt x="342" y="189"/>
                    <a:pt x="342" y="188"/>
                    <a:pt x="341" y="188"/>
                  </a:cubicBezTo>
                  <a:cubicBezTo>
                    <a:pt x="342" y="188"/>
                    <a:pt x="342" y="187"/>
                    <a:pt x="343" y="187"/>
                  </a:cubicBezTo>
                  <a:cubicBezTo>
                    <a:pt x="343" y="187"/>
                    <a:pt x="343" y="187"/>
                    <a:pt x="343" y="187"/>
                  </a:cubicBezTo>
                  <a:cubicBezTo>
                    <a:pt x="344" y="188"/>
                    <a:pt x="344" y="188"/>
                    <a:pt x="344" y="188"/>
                  </a:cubicBezTo>
                  <a:cubicBezTo>
                    <a:pt x="344" y="188"/>
                    <a:pt x="344" y="188"/>
                    <a:pt x="344" y="188"/>
                  </a:cubicBezTo>
                  <a:cubicBezTo>
                    <a:pt x="345" y="188"/>
                    <a:pt x="346" y="186"/>
                    <a:pt x="346" y="185"/>
                  </a:cubicBezTo>
                  <a:cubicBezTo>
                    <a:pt x="347" y="185"/>
                    <a:pt x="347" y="185"/>
                    <a:pt x="347" y="185"/>
                  </a:cubicBezTo>
                  <a:cubicBezTo>
                    <a:pt x="348" y="185"/>
                    <a:pt x="348" y="185"/>
                    <a:pt x="348" y="185"/>
                  </a:cubicBezTo>
                  <a:cubicBezTo>
                    <a:pt x="349" y="185"/>
                    <a:pt x="349" y="184"/>
                    <a:pt x="350" y="184"/>
                  </a:cubicBezTo>
                  <a:cubicBezTo>
                    <a:pt x="349" y="183"/>
                    <a:pt x="349" y="183"/>
                    <a:pt x="349" y="183"/>
                  </a:cubicBezTo>
                  <a:cubicBezTo>
                    <a:pt x="349" y="183"/>
                    <a:pt x="349" y="183"/>
                    <a:pt x="349" y="183"/>
                  </a:cubicBezTo>
                  <a:cubicBezTo>
                    <a:pt x="350" y="184"/>
                    <a:pt x="350" y="184"/>
                    <a:pt x="350" y="184"/>
                  </a:cubicBezTo>
                  <a:cubicBezTo>
                    <a:pt x="350" y="184"/>
                    <a:pt x="350" y="184"/>
                    <a:pt x="350" y="183"/>
                  </a:cubicBezTo>
                  <a:cubicBezTo>
                    <a:pt x="350" y="183"/>
                    <a:pt x="350" y="183"/>
                    <a:pt x="350" y="183"/>
                  </a:cubicBezTo>
                  <a:cubicBezTo>
                    <a:pt x="352" y="183"/>
                    <a:pt x="352" y="183"/>
                    <a:pt x="353" y="182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354" y="182"/>
                    <a:pt x="354" y="182"/>
                    <a:pt x="354" y="182"/>
                  </a:cubicBezTo>
                  <a:cubicBezTo>
                    <a:pt x="355" y="182"/>
                    <a:pt x="356" y="180"/>
                    <a:pt x="357" y="178"/>
                  </a:cubicBezTo>
                  <a:cubicBezTo>
                    <a:pt x="357" y="178"/>
                    <a:pt x="357" y="178"/>
                    <a:pt x="357" y="178"/>
                  </a:cubicBezTo>
                  <a:cubicBezTo>
                    <a:pt x="358" y="177"/>
                    <a:pt x="359" y="176"/>
                    <a:pt x="360" y="175"/>
                  </a:cubicBezTo>
                  <a:cubicBezTo>
                    <a:pt x="361" y="175"/>
                    <a:pt x="361" y="175"/>
                    <a:pt x="362" y="174"/>
                  </a:cubicBezTo>
                  <a:cubicBezTo>
                    <a:pt x="362" y="173"/>
                    <a:pt x="362" y="171"/>
                    <a:pt x="361" y="170"/>
                  </a:cubicBezTo>
                  <a:cubicBezTo>
                    <a:pt x="361" y="170"/>
                    <a:pt x="361" y="170"/>
                    <a:pt x="361" y="170"/>
                  </a:cubicBezTo>
                  <a:cubicBezTo>
                    <a:pt x="361" y="169"/>
                    <a:pt x="361" y="169"/>
                    <a:pt x="360" y="169"/>
                  </a:cubicBezTo>
                  <a:cubicBezTo>
                    <a:pt x="360" y="168"/>
                    <a:pt x="361" y="168"/>
                    <a:pt x="361" y="168"/>
                  </a:cubicBezTo>
                  <a:cubicBezTo>
                    <a:pt x="362" y="168"/>
                    <a:pt x="363" y="166"/>
                    <a:pt x="363" y="165"/>
                  </a:cubicBezTo>
                  <a:cubicBezTo>
                    <a:pt x="363" y="165"/>
                    <a:pt x="364" y="165"/>
                    <a:pt x="364" y="164"/>
                  </a:cubicBezTo>
                  <a:cubicBezTo>
                    <a:pt x="364" y="164"/>
                    <a:pt x="364" y="163"/>
                    <a:pt x="364" y="163"/>
                  </a:cubicBezTo>
                  <a:cubicBezTo>
                    <a:pt x="364" y="163"/>
                    <a:pt x="365" y="162"/>
                    <a:pt x="365" y="162"/>
                  </a:cubicBezTo>
                  <a:cubicBezTo>
                    <a:pt x="366" y="162"/>
                    <a:pt x="366" y="161"/>
                    <a:pt x="367" y="161"/>
                  </a:cubicBezTo>
                  <a:cubicBezTo>
                    <a:pt x="368" y="161"/>
                    <a:pt x="369" y="161"/>
                    <a:pt x="370" y="161"/>
                  </a:cubicBezTo>
                  <a:cubicBezTo>
                    <a:pt x="370" y="160"/>
                    <a:pt x="370" y="160"/>
                    <a:pt x="370" y="159"/>
                  </a:cubicBezTo>
                  <a:cubicBezTo>
                    <a:pt x="371" y="159"/>
                    <a:pt x="371" y="160"/>
                    <a:pt x="371" y="160"/>
                  </a:cubicBezTo>
                  <a:cubicBezTo>
                    <a:pt x="371" y="160"/>
                    <a:pt x="372" y="160"/>
                    <a:pt x="373" y="160"/>
                  </a:cubicBezTo>
                  <a:cubicBezTo>
                    <a:pt x="373" y="160"/>
                    <a:pt x="373" y="160"/>
                    <a:pt x="373" y="160"/>
                  </a:cubicBezTo>
                  <a:cubicBezTo>
                    <a:pt x="373" y="160"/>
                    <a:pt x="373" y="160"/>
                    <a:pt x="374" y="160"/>
                  </a:cubicBezTo>
                  <a:cubicBezTo>
                    <a:pt x="374" y="161"/>
                    <a:pt x="374" y="161"/>
                    <a:pt x="374" y="161"/>
                  </a:cubicBezTo>
                  <a:cubicBezTo>
                    <a:pt x="374" y="162"/>
                    <a:pt x="374" y="162"/>
                    <a:pt x="374" y="162"/>
                  </a:cubicBezTo>
                  <a:cubicBezTo>
                    <a:pt x="377" y="160"/>
                    <a:pt x="377" y="160"/>
                    <a:pt x="377" y="160"/>
                  </a:cubicBezTo>
                  <a:cubicBezTo>
                    <a:pt x="377" y="160"/>
                    <a:pt x="377" y="160"/>
                    <a:pt x="377" y="160"/>
                  </a:cubicBezTo>
                  <a:cubicBezTo>
                    <a:pt x="377" y="160"/>
                    <a:pt x="377" y="160"/>
                    <a:pt x="377" y="160"/>
                  </a:cubicBezTo>
                  <a:cubicBezTo>
                    <a:pt x="377" y="160"/>
                    <a:pt x="378" y="160"/>
                    <a:pt x="378" y="159"/>
                  </a:cubicBezTo>
                  <a:cubicBezTo>
                    <a:pt x="379" y="160"/>
                    <a:pt x="379" y="161"/>
                    <a:pt x="380" y="162"/>
                  </a:cubicBezTo>
                  <a:cubicBezTo>
                    <a:pt x="381" y="162"/>
                    <a:pt x="381" y="162"/>
                    <a:pt x="381" y="162"/>
                  </a:cubicBezTo>
                  <a:cubicBezTo>
                    <a:pt x="381" y="162"/>
                    <a:pt x="381" y="162"/>
                    <a:pt x="381" y="163"/>
                  </a:cubicBezTo>
                  <a:cubicBezTo>
                    <a:pt x="381" y="163"/>
                    <a:pt x="381" y="164"/>
                    <a:pt x="381" y="165"/>
                  </a:cubicBezTo>
                  <a:cubicBezTo>
                    <a:pt x="381" y="165"/>
                    <a:pt x="381" y="166"/>
                    <a:pt x="381" y="166"/>
                  </a:cubicBezTo>
                  <a:cubicBezTo>
                    <a:pt x="381" y="166"/>
                    <a:pt x="381" y="167"/>
                    <a:pt x="382" y="167"/>
                  </a:cubicBezTo>
                  <a:cubicBezTo>
                    <a:pt x="382" y="167"/>
                    <a:pt x="381" y="167"/>
                    <a:pt x="381" y="167"/>
                  </a:cubicBezTo>
                  <a:cubicBezTo>
                    <a:pt x="381" y="167"/>
                    <a:pt x="380" y="167"/>
                    <a:pt x="379" y="168"/>
                  </a:cubicBezTo>
                  <a:cubicBezTo>
                    <a:pt x="378" y="168"/>
                    <a:pt x="378" y="168"/>
                    <a:pt x="378" y="168"/>
                  </a:cubicBezTo>
                  <a:cubicBezTo>
                    <a:pt x="376" y="168"/>
                    <a:pt x="374" y="171"/>
                    <a:pt x="374" y="172"/>
                  </a:cubicBezTo>
                  <a:cubicBezTo>
                    <a:pt x="374" y="173"/>
                    <a:pt x="371" y="175"/>
                    <a:pt x="370" y="175"/>
                  </a:cubicBezTo>
                  <a:cubicBezTo>
                    <a:pt x="369" y="176"/>
                    <a:pt x="369" y="177"/>
                    <a:pt x="369" y="177"/>
                  </a:cubicBezTo>
                  <a:cubicBezTo>
                    <a:pt x="369" y="178"/>
                    <a:pt x="368" y="178"/>
                    <a:pt x="367" y="179"/>
                  </a:cubicBezTo>
                  <a:cubicBezTo>
                    <a:pt x="366" y="179"/>
                    <a:pt x="366" y="180"/>
                    <a:pt x="366" y="180"/>
                  </a:cubicBezTo>
                  <a:cubicBezTo>
                    <a:pt x="366" y="180"/>
                    <a:pt x="365" y="180"/>
                    <a:pt x="365" y="180"/>
                  </a:cubicBezTo>
                  <a:cubicBezTo>
                    <a:pt x="364" y="180"/>
                    <a:pt x="364" y="181"/>
                    <a:pt x="364" y="181"/>
                  </a:cubicBezTo>
                  <a:cubicBezTo>
                    <a:pt x="364" y="181"/>
                    <a:pt x="364" y="181"/>
                    <a:pt x="364" y="181"/>
                  </a:cubicBezTo>
                  <a:cubicBezTo>
                    <a:pt x="364" y="181"/>
                    <a:pt x="364" y="181"/>
                    <a:pt x="364" y="181"/>
                  </a:cubicBezTo>
                  <a:cubicBezTo>
                    <a:pt x="363" y="181"/>
                    <a:pt x="363" y="181"/>
                    <a:pt x="363" y="181"/>
                  </a:cubicBezTo>
                  <a:cubicBezTo>
                    <a:pt x="361" y="182"/>
                    <a:pt x="361" y="184"/>
                    <a:pt x="361" y="185"/>
                  </a:cubicBezTo>
                  <a:cubicBezTo>
                    <a:pt x="361" y="185"/>
                    <a:pt x="361" y="185"/>
                    <a:pt x="361" y="186"/>
                  </a:cubicBezTo>
                  <a:cubicBezTo>
                    <a:pt x="361" y="186"/>
                    <a:pt x="361" y="186"/>
                    <a:pt x="361" y="186"/>
                  </a:cubicBezTo>
                  <a:cubicBezTo>
                    <a:pt x="361" y="186"/>
                    <a:pt x="360" y="186"/>
                    <a:pt x="360" y="186"/>
                  </a:cubicBezTo>
                  <a:cubicBezTo>
                    <a:pt x="358" y="187"/>
                    <a:pt x="358" y="187"/>
                    <a:pt x="357" y="188"/>
                  </a:cubicBezTo>
                  <a:cubicBezTo>
                    <a:pt x="357" y="189"/>
                    <a:pt x="356" y="189"/>
                    <a:pt x="355" y="190"/>
                  </a:cubicBezTo>
                  <a:cubicBezTo>
                    <a:pt x="353" y="192"/>
                    <a:pt x="354" y="194"/>
                    <a:pt x="354" y="195"/>
                  </a:cubicBezTo>
                  <a:cubicBezTo>
                    <a:pt x="354" y="196"/>
                    <a:pt x="355" y="196"/>
                    <a:pt x="355" y="196"/>
                  </a:cubicBezTo>
                  <a:cubicBezTo>
                    <a:pt x="355" y="197"/>
                    <a:pt x="355" y="197"/>
                    <a:pt x="355" y="198"/>
                  </a:cubicBezTo>
                  <a:cubicBezTo>
                    <a:pt x="354" y="200"/>
                    <a:pt x="354" y="202"/>
                    <a:pt x="355" y="203"/>
                  </a:cubicBezTo>
                  <a:cubicBezTo>
                    <a:pt x="355" y="203"/>
                    <a:pt x="355" y="203"/>
                    <a:pt x="355" y="204"/>
                  </a:cubicBezTo>
                  <a:cubicBezTo>
                    <a:pt x="355" y="204"/>
                    <a:pt x="354" y="205"/>
                    <a:pt x="354" y="207"/>
                  </a:cubicBezTo>
                  <a:cubicBezTo>
                    <a:pt x="354" y="208"/>
                    <a:pt x="354" y="209"/>
                    <a:pt x="354" y="209"/>
                  </a:cubicBezTo>
                  <a:cubicBezTo>
                    <a:pt x="352" y="210"/>
                    <a:pt x="353" y="211"/>
                    <a:pt x="353" y="212"/>
                  </a:cubicBezTo>
                  <a:cubicBezTo>
                    <a:pt x="353" y="213"/>
                    <a:pt x="353" y="214"/>
                    <a:pt x="353" y="214"/>
                  </a:cubicBezTo>
                  <a:cubicBezTo>
                    <a:pt x="352" y="214"/>
                    <a:pt x="352" y="215"/>
                    <a:pt x="353" y="216"/>
                  </a:cubicBezTo>
                  <a:cubicBezTo>
                    <a:pt x="353" y="217"/>
                    <a:pt x="354" y="217"/>
                    <a:pt x="355" y="217"/>
                  </a:cubicBezTo>
                  <a:cubicBezTo>
                    <a:pt x="355" y="217"/>
                    <a:pt x="355" y="217"/>
                    <a:pt x="355" y="217"/>
                  </a:cubicBezTo>
                  <a:cubicBezTo>
                    <a:pt x="355" y="218"/>
                    <a:pt x="356" y="218"/>
                    <a:pt x="357" y="218"/>
                  </a:cubicBezTo>
                  <a:cubicBezTo>
                    <a:pt x="357" y="218"/>
                    <a:pt x="357" y="218"/>
                    <a:pt x="358" y="218"/>
                  </a:cubicBezTo>
                  <a:cubicBezTo>
                    <a:pt x="359" y="218"/>
                    <a:pt x="359" y="218"/>
                    <a:pt x="359" y="218"/>
                  </a:cubicBezTo>
                  <a:cubicBezTo>
                    <a:pt x="359" y="218"/>
                    <a:pt x="359" y="218"/>
                    <a:pt x="359" y="219"/>
                  </a:cubicBezTo>
                  <a:cubicBezTo>
                    <a:pt x="359" y="219"/>
                    <a:pt x="359" y="220"/>
                    <a:pt x="359" y="220"/>
                  </a:cubicBezTo>
                  <a:cubicBezTo>
                    <a:pt x="360" y="221"/>
                    <a:pt x="360" y="221"/>
                    <a:pt x="361" y="221"/>
                  </a:cubicBezTo>
                  <a:cubicBezTo>
                    <a:pt x="361" y="221"/>
                    <a:pt x="361" y="221"/>
                    <a:pt x="361" y="222"/>
                  </a:cubicBezTo>
                  <a:cubicBezTo>
                    <a:pt x="361" y="222"/>
                    <a:pt x="362" y="222"/>
                    <a:pt x="362" y="222"/>
                  </a:cubicBezTo>
                  <a:cubicBezTo>
                    <a:pt x="362" y="222"/>
                    <a:pt x="362" y="223"/>
                    <a:pt x="362" y="223"/>
                  </a:cubicBezTo>
                  <a:cubicBezTo>
                    <a:pt x="362" y="223"/>
                    <a:pt x="362" y="223"/>
                    <a:pt x="362" y="224"/>
                  </a:cubicBezTo>
                  <a:cubicBezTo>
                    <a:pt x="362" y="225"/>
                    <a:pt x="363" y="226"/>
                    <a:pt x="364" y="226"/>
                  </a:cubicBezTo>
                  <a:cubicBezTo>
                    <a:pt x="365" y="226"/>
                    <a:pt x="366" y="225"/>
                    <a:pt x="367" y="224"/>
                  </a:cubicBezTo>
                  <a:cubicBezTo>
                    <a:pt x="367" y="224"/>
                    <a:pt x="367" y="224"/>
                    <a:pt x="368" y="224"/>
                  </a:cubicBezTo>
                  <a:cubicBezTo>
                    <a:pt x="368" y="224"/>
                    <a:pt x="369" y="224"/>
                    <a:pt x="370" y="223"/>
                  </a:cubicBezTo>
                  <a:cubicBezTo>
                    <a:pt x="370" y="223"/>
                    <a:pt x="371" y="223"/>
                    <a:pt x="371" y="223"/>
                  </a:cubicBezTo>
                  <a:cubicBezTo>
                    <a:pt x="371" y="223"/>
                    <a:pt x="371" y="223"/>
                    <a:pt x="371" y="223"/>
                  </a:cubicBezTo>
                  <a:cubicBezTo>
                    <a:pt x="371" y="223"/>
                    <a:pt x="372" y="223"/>
                    <a:pt x="372" y="223"/>
                  </a:cubicBezTo>
                  <a:cubicBezTo>
                    <a:pt x="372" y="223"/>
                    <a:pt x="372" y="223"/>
                    <a:pt x="372" y="223"/>
                  </a:cubicBezTo>
                  <a:cubicBezTo>
                    <a:pt x="374" y="223"/>
                    <a:pt x="377" y="221"/>
                    <a:pt x="378" y="220"/>
                  </a:cubicBezTo>
                  <a:cubicBezTo>
                    <a:pt x="379" y="220"/>
                    <a:pt x="379" y="221"/>
                    <a:pt x="379" y="221"/>
                  </a:cubicBezTo>
                  <a:cubicBezTo>
                    <a:pt x="380" y="221"/>
                    <a:pt x="381" y="220"/>
                    <a:pt x="381" y="219"/>
                  </a:cubicBezTo>
                  <a:cubicBezTo>
                    <a:pt x="382" y="219"/>
                    <a:pt x="382" y="219"/>
                    <a:pt x="383" y="219"/>
                  </a:cubicBezTo>
                  <a:cubicBezTo>
                    <a:pt x="384" y="219"/>
                    <a:pt x="384" y="219"/>
                    <a:pt x="385" y="219"/>
                  </a:cubicBezTo>
                  <a:cubicBezTo>
                    <a:pt x="385" y="219"/>
                    <a:pt x="385" y="219"/>
                    <a:pt x="386" y="219"/>
                  </a:cubicBezTo>
                  <a:cubicBezTo>
                    <a:pt x="387" y="219"/>
                    <a:pt x="389" y="219"/>
                    <a:pt x="390" y="219"/>
                  </a:cubicBezTo>
                  <a:cubicBezTo>
                    <a:pt x="390" y="219"/>
                    <a:pt x="390" y="219"/>
                    <a:pt x="390" y="219"/>
                  </a:cubicBezTo>
                  <a:cubicBezTo>
                    <a:pt x="391" y="219"/>
                    <a:pt x="391" y="219"/>
                    <a:pt x="392" y="219"/>
                  </a:cubicBezTo>
                  <a:cubicBezTo>
                    <a:pt x="393" y="219"/>
                    <a:pt x="394" y="219"/>
                    <a:pt x="395" y="218"/>
                  </a:cubicBezTo>
                  <a:cubicBezTo>
                    <a:pt x="395" y="218"/>
                    <a:pt x="395" y="218"/>
                    <a:pt x="395" y="218"/>
                  </a:cubicBezTo>
                  <a:cubicBezTo>
                    <a:pt x="395" y="218"/>
                    <a:pt x="395" y="218"/>
                    <a:pt x="395" y="218"/>
                  </a:cubicBezTo>
                  <a:cubicBezTo>
                    <a:pt x="394" y="218"/>
                    <a:pt x="394" y="219"/>
                    <a:pt x="394" y="219"/>
                  </a:cubicBezTo>
                  <a:cubicBezTo>
                    <a:pt x="394" y="221"/>
                    <a:pt x="395" y="221"/>
                    <a:pt x="397" y="222"/>
                  </a:cubicBezTo>
                  <a:cubicBezTo>
                    <a:pt x="397" y="222"/>
                    <a:pt x="398" y="222"/>
                    <a:pt x="398" y="223"/>
                  </a:cubicBezTo>
                  <a:cubicBezTo>
                    <a:pt x="399" y="223"/>
                    <a:pt x="399" y="223"/>
                    <a:pt x="399" y="223"/>
                  </a:cubicBezTo>
                  <a:cubicBezTo>
                    <a:pt x="400" y="223"/>
                    <a:pt x="400" y="223"/>
                    <a:pt x="400" y="223"/>
                  </a:cubicBezTo>
                  <a:cubicBezTo>
                    <a:pt x="401" y="223"/>
                    <a:pt x="401" y="223"/>
                    <a:pt x="401" y="223"/>
                  </a:cubicBezTo>
                  <a:cubicBezTo>
                    <a:pt x="402" y="223"/>
                    <a:pt x="402" y="223"/>
                    <a:pt x="403" y="224"/>
                  </a:cubicBezTo>
                  <a:cubicBezTo>
                    <a:pt x="403" y="224"/>
                    <a:pt x="403" y="224"/>
                    <a:pt x="403" y="224"/>
                  </a:cubicBezTo>
                  <a:cubicBezTo>
                    <a:pt x="402" y="224"/>
                    <a:pt x="402" y="224"/>
                    <a:pt x="402" y="224"/>
                  </a:cubicBezTo>
                  <a:cubicBezTo>
                    <a:pt x="400" y="223"/>
                    <a:pt x="400" y="223"/>
                    <a:pt x="400" y="223"/>
                  </a:cubicBezTo>
                  <a:cubicBezTo>
                    <a:pt x="398" y="223"/>
                    <a:pt x="397" y="224"/>
                    <a:pt x="397" y="225"/>
                  </a:cubicBezTo>
                  <a:cubicBezTo>
                    <a:pt x="397" y="225"/>
                    <a:pt x="397" y="225"/>
                    <a:pt x="396" y="225"/>
                  </a:cubicBezTo>
                  <a:cubicBezTo>
                    <a:pt x="395" y="224"/>
                    <a:pt x="394" y="225"/>
                    <a:pt x="393" y="226"/>
                  </a:cubicBezTo>
                  <a:cubicBezTo>
                    <a:pt x="393" y="226"/>
                    <a:pt x="393" y="226"/>
                    <a:pt x="393" y="226"/>
                  </a:cubicBezTo>
                  <a:cubicBezTo>
                    <a:pt x="391" y="226"/>
                    <a:pt x="391" y="227"/>
                    <a:pt x="391" y="228"/>
                  </a:cubicBezTo>
                  <a:cubicBezTo>
                    <a:pt x="389" y="228"/>
                    <a:pt x="389" y="228"/>
                    <a:pt x="389" y="228"/>
                  </a:cubicBezTo>
                  <a:cubicBezTo>
                    <a:pt x="389" y="229"/>
                    <a:pt x="389" y="229"/>
                    <a:pt x="389" y="229"/>
                  </a:cubicBezTo>
                  <a:cubicBezTo>
                    <a:pt x="389" y="229"/>
                    <a:pt x="389" y="229"/>
                    <a:pt x="388" y="229"/>
                  </a:cubicBezTo>
                  <a:cubicBezTo>
                    <a:pt x="388" y="229"/>
                    <a:pt x="388" y="229"/>
                    <a:pt x="388" y="229"/>
                  </a:cubicBezTo>
                  <a:cubicBezTo>
                    <a:pt x="387" y="229"/>
                    <a:pt x="387" y="229"/>
                    <a:pt x="387" y="229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84" y="228"/>
                    <a:pt x="383" y="228"/>
                  </a:cubicBezTo>
                  <a:cubicBezTo>
                    <a:pt x="383" y="228"/>
                    <a:pt x="383" y="228"/>
                    <a:pt x="383" y="228"/>
                  </a:cubicBezTo>
                  <a:cubicBezTo>
                    <a:pt x="382" y="227"/>
                    <a:pt x="382" y="226"/>
                    <a:pt x="379" y="226"/>
                  </a:cubicBezTo>
                  <a:cubicBezTo>
                    <a:pt x="379" y="226"/>
                    <a:pt x="379" y="226"/>
                    <a:pt x="379" y="226"/>
                  </a:cubicBezTo>
                  <a:cubicBezTo>
                    <a:pt x="379" y="226"/>
                    <a:pt x="378" y="226"/>
                    <a:pt x="378" y="226"/>
                  </a:cubicBezTo>
                  <a:cubicBezTo>
                    <a:pt x="377" y="225"/>
                    <a:pt x="376" y="225"/>
                    <a:pt x="375" y="226"/>
                  </a:cubicBezTo>
                  <a:cubicBezTo>
                    <a:pt x="375" y="227"/>
                    <a:pt x="375" y="227"/>
                    <a:pt x="375" y="228"/>
                  </a:cubicBezTo>
                  <a:cubicBezTo>
                    <a:pt x="375" y="228"/>
                    <a:pt x="374" y="228"/>
                    <a:pt x="374" y="228"/>
                  </a:cubicBezTo>
                  <a:cubicBezTo>
                    <a:pt x="374" y="228"/>
                    <a:pt x="374" y="228"/>
                    <a:pt x="374" y="228"/>
                  </a:cubicBezTo>
                  <a:cubicBezTo>
                    <a:pt x="374" y="228"/>
                    <a:pt x="374" y="228"/>
                    <a:pt x="374" y="228"/>
                  </a:cubicBezTo>
                  <a:cubicBezTo>
                    <a:pt x="373" y="228"/>
                    <a:pt x="373" y="228"/>
                    <a:pt x="372" y="229"/>
                  </a:cubicBezTo>
                  <a:cubicBezTo>
                    <a:pt x="372" y="229"/>
                    <a:pt x="370" y="229"/>
                    <a:pt x="369" y="228"/>
                  </a:cubicBezTo>
                  <a:cubicBezTo>
                    <a:pt x="368" y="228"/>
                    <a:pt x="368" y="228"/>
                    <a:pt x="368" y="228"/>
                  </a:cubicBezTo>
                  <a:cubicBezTo>
                    <a:pt x="367" y="228"/>
                    <a:pt x="366" y="228"/>
                    <a:pt x="366" y="229"/>
                  </a:cubicBezTo>
                  <a:cubicBezTo>
                    <a:pt x="365" y="229"/>
                    <a:pt x="365" y="229"/>
                    <a:pt x="364" y="22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62" y="229"/>
                    <a:pt x="361" y="232"/>
                    <a:pt x="361" y="234"/>
                  </a:cubicBezTo>
                  <a:cubicBezTo>
                    <a:pt x="361" y="233"/>
                    <a:pt x="361" y="233"/>
                    <a:pt x="360" y="232"/>
                  </a:cubicBezTo>
                  <a:cubicBezTo>
                    <a:pt x="360" y="232"/>
                    <a:pt x="360" y="232"/>
                    <a:pt x="360" y="232"/>
                  </a:cubicBezTo>
                  <a:cubicBezTo>
                    <a:pt x="359" y="231"/>
                    <a:pt x="359" y="230"/>
                    <a:pt x="358" y="230"/>
                  </a:cubicBezTo>
                  <a:cubicBezTo>
                    <a:pt x="357" y="230"/>
                    <a:pt x="356" y="232"/>
                    <a:pt x="356" y="232"/>
                  </a:cubicBezTo>
                  <a:cubicBezTo>
                    <a:pt x="355" y="232"/>
                    <a:pt x="354" y="232"/>
                    <a:pt x="354" y="233"/>
                  </a:cubicBezTo>
                  <a:cubicBezTo>
                    <a:pt x="353" y="233"/>
                    <a:pt x="353" y="234"/>
                    <a:pt x="353" y="234"/>
                  </a:cubicBezTo>
                  <a:cubicBezTo>
                    <a:pt x="353" y="235"/>
                    <a:pt x="354" y="235"/>
                    <a:pt x="354" y="236"/>
                  </a:cubicBezTo>
                  <a:cubicBezTo>
                    <a:pt x="354" y="236"/>
                    <a:pt x="355" y="236"/>
                    <a:pt x="355" y="236"/>
                  </a:cubicBezTo>
                  <a:cubicBezTo>
                    <a:pt x="355" y="236"/>
                    <a:pt x="355" y="236"/>
                    <a:pt x="355" y="236"/>
                  </a:cubicBezTo>
                  <a:cubicBezTo>
                    <a:pt x="355" y="237"/>
                    <a:pt x="355" y="237"/>
                    <a:pt x="355" y="237"/>
                  </a:cubicBezTo>
                  <a:cubicBezTo>
                    <a:pt x="355" y="237"/>
                    <a:pt x="355" y="237"/>
                    <a:pt x="355" y="237"/>
                  </a:cubicBezTo>
                  <a:cubicBezTo>
                    <a:pt x="354" y="238"/>
                    <a:pt x="354" y="238"/>
                    <a:pt x="352" y="237"/>
                  </a:cubicBezTo>
                  <a:cubicBezTo>
                    <a:pt x="351" y="237"/>
                    <a:pt x="351" y="237"/>
                    <a:pt x="351" y="237"/>
                  </a:cubicBezTo>
                  <a:cubicBezTo>
                    <a:pt x="351" y="239"/>
                    <a:pt x="351" y="239"/>
                    <a:pt x="351" y="239"/>
                  </a:cubicBezTo>
                  <a:cubicBezTo>
                    <a:pt x="351" y="239"/>
                    <a:pt x="351" y="239"/>
                    <a:pt x="351" y="240"/>
                  </a:cubicBezTo>
                  <a:cubicBezTo>
                    <a:pt x="351" y="240"/>
                    <a:pt x="351" y="240"/>
                    <a:pt x="351" y="240"/>
                  </a:cubicBezTo>
                  <a:cubicBezTo>
                    <a:pt x="351" y="240"/>
                    <a:pt x="351" y="240"/>
                    <a:pt x="351" y="240"/>
                  </a:cubicBezTo>
                  <a:cubicBezTo>
                    <a:pt x="351" y="241"/>
                    <a:pt x="351" y="241"/>
                    <a:pt x="350" y="241"/>
                  </a:cubicBezTo>
                  <a:cubicBezTo>
                    <a:pt x="350" y="242"/>
                    <a:pt x="351" y="243"/>
                    <a:pt x="351" y="243"/>
                  </a:cubicBezTo>
                  <a:cubicBezTo>
                    <a:pt x="351" y="243"/>
                    <a:pt x="351" y="244"/>
                    <a:pt x="351" y="244"/>
                  </a:cubicBezTo>
                  <a:cubicBezTo>
                    <a:pt x="350" y="245"/>
                    <a:pt x="350" y="246"/>
                    <a:pt x="351" y="247"/>
                  </a:cubicBezTo>
                  <a:cubicBezTo>
                    <a:pt x="351" y="247"/>
                    <a:pt x="351" y="247"/>
                    <a:pt x="351" y="247"/>
                  </a:cubicBezTo>
                  <a:cubicBezTo>
                    <a:pt x="347" y="247"/>
                    <a:pt x="347" y="249"/>
                    <a:pt x="347" y="251"/>
                  </a:cubicBezTo>
                  <a:cubicBezTo>
                    <a:pt x="346" y="252"/>
                    <a:pt x="346" y="253"/>
                    <a:pt x="345" y="254"/>
                  </a:cubicBezTo>
                  <a:cubicBezTo>
                    <a:pt x="343" y="256"/>
                    <a:pt x="343" y="259"/>
                    <a:pt x="343" y="260"/>
                  </a:cubicBezTo>
                  <a:cubicBezTo>
                    <a:pt x="343" y="261"/>
                    <a:pt x="343" y="262"/>
                    <a:pt x="343" y="263"/>
                  </a:cubicBezTo>
                  <a:cubicBezTo>
                    <a:pt x="343" y="267"/>
                    <a:pt x="343" y="267"/>
                    <a:pt x="343" y="267"/>
                  </a:cubicBezTo>
                  <a:cubicBezTo>
                    <a:pt x="343" y="267"/>
                    <a:pt x="343" y="267"/>
                    <a:pt x="343" y="267"/>
                  </a:cubicBezTo>
                  <a:cubicBezTo>
                    <a:pt x="343" y="267"/>
                    <a:pt x="343" y="268"/>
                    <a:pt x="343" y="268"/>
                  </a:cubicBezTo>
                  <a:cubicBezTo>
                    <a:pt x="343" y="268"/>
                    <a:pt x="343" y="269"/>
                    <a:pt x="343" y="269"/>
                  </a:cubicBezTo>
                  <a:cubicBezTo>
                    <a:pt x="343" y="269"/>
                    <a:pt x="342" y="269"/>
                    <a:pt x="341" y="271"/>
                  </a:cubicBezTo>
                  <a:cubicBezTo>
                    <a:pt x="341" y="272"/>
                    <a:pt x="341" y="273"/>
                    <a:pt x="341" y="273"/>
                  </a:cubicBezTo>
                  <a:cubicBezTo>
                    <a:pt x="340" y="274"/>
                    <a:pt x="339" y="275"/>
                    <a:pt x="338" y="275"/>
                  </a:cubicBezTo>
                  <a:cubicBezTo>
                    <a:pt x="338" y="275"/>
                    <a:pt x="338" y="275"/>
                    <a:pt x="338" y="275"/>
                  </a:cubicBezTo>
                  <a:cubicBezTo>
                    <a:pt x="337" y="275"/>
                    <a:pt x="336" y="276"/>
                    <a:pt x="335" y="277"/>
                  </a:cubicBezTo>
                  <a:cubicBezTo>
                    <a:pt x="335" y="278"/>
                    <a:pt x="335" y="278"/>
                    <a:pt x="336" y="279"/>
                  </a:cubicBezTo>
                  <a:cubicBezTo>
                    <a:pt x="335" y="279"/>
                    <a:pt x="334" y="279"/>
                    <a:pt x="332" y="280"/>
                  </a:cubicBezTo>
                  <a:cubicBezTo>
                    <a:pt x="331" y="281"/>
                    <a:pt x="331" y="281"/>
                    <a:pt x="331" y="281"/>
                  </a:cubicBezTo>
                  <a:cubicBezTo>
                    <a:pt x="331" y="280"/>
                    <a:pt x="331" y="280"/>
                    <a:pt x="331" y="280"/>
                  </a:cubicBezTo>
                  <a:cubicBezTo>
                    <a:pt x="331" y="279"/>
                    <a:pt x="330" y="278"/>
                    <a:pt x="329" y="276"/>
                  </a:cubicBezTo>
                  <a:cubicBezTo>
                    <a:pt x="329" y="276"/>
                    <a:pt x="329" y="276"/>
                    <a:pt x="329" y="276"/>
                  </a:cubicBezTo>
                  <a:cubicBezTo>
                    <a:pt x="327" y="275"/>
                    <a:pt x="326" y="275"/>
                    <a:pt x="324" y="275"/>
                  </a:cubicBezTo>
                  <a:cubicBezTo>
                    <a:pt x="324" y="275"/>
                    <a:pt x="323" y="276"/>
                    <a:pt x="323" y="276"/>
                  </a:cubicBezTo>
                  <a:cubicBezTo>
                    <a:pt x="322" y="276"/>
                    <a:pt x="321" y="277"/>
                    <a:pt x="320" y="277"/>
                  </a:cubicBezTo>
                  <a:cubicBezTo>
                    <a:pt x="319" y="277"/>
                    <a:pt x="318" y="278"/>
                    <a:pt x="316" y="278"/>
                  </a:cubicBezTo>
                  <a:cubicBezTo>
                    <a:pt x="315" y="279"/>
                    <a:pt x="315" y="279"/>
                    <a:pt x="314" y="279"/>
                  </a:cubicBezTo>
                  <a:cubicBezTo>
                    <a:pt x="312" y="280"/>
                    <a:pt x="311" y="281"/>
                    <a:pt x="310" y="281"/>
                  </a:cubicBezTo>
                  <a:cubicBezTo>
                    <a:pt x="310" y="281"/>
                    <a:pt x="310" y="282"/>
                    <a:pt x="309" y="282"/>
                  </a:cubicBezTo>
                  <a:cubicBezTo>
                    <a:pt x="309" y="282"/>
                    <a:pt x="309" y="282"/>
                    <a:pt x="309" y="281"/>
                  </a:cubicBezTo>
                  <a:cubicBezTo>
                    <a:pt x="308" y="281"/>
                    <a:pt x="308" y="281"/>
                    <a:pt x="308" y="281"/>
                  </a:cubicBezTo>
                  <a:cubicBezTo>
                    <a:pt x="307" y="281"/>
                    <a:pt x="305" y="282"/>
                    <a:pt x="304" y="283"/>
                  </a:cubicBezTo>
                  <a:cubicBezTo>
                    <a:pt x="304" y="283"/>
                    <a:pt x="303" y="283"/>
                    <a:pt x="303" y="284"/>
                  </a:cubicBezTo>
                  <a:cubicBezTo>
                    <a:pt x="302" y="284"/>
                    <a:pt x="301" y="284"/>
                    <a:pt x="301" y="285"/>
                  </a:cubicBezTo>
                  <a:cubicBezTo>
                    <a:pt x="301" y="285"/>
                    <a:pt x="301" y="285"/>
                    <a:pt x="301" y="286"/>
                  </a:cubicBezTo>
                  <a:cubicBezTo>
                    <a:pt x="300" y="286"/>
                    <a:pt x="300" y="287"/>
                    <a:pt x="300" y="288"/>
                  </a:cubicBezTo>
                  <a:cubicBezTo>
                    <a:pt x="298" y="287"/>
                    <a:pt x="298" y="287"/>
                    <a:pt x="298" y="287"/>
                  </a:cubicBezTo>
                  <a:cubicBezTo>
                    <a:pt x="298" y="287"/>
                    <a:pt x="298" y="287"/>
                    <a:pt x="298" y="287"/>
                  </a:cubicBezTo>
                  <a:cubicBezTo>
                    <a:pt x="298" y="287"/>
                    <a:pt x="297" y="287"/>
                    <a:pt x="297" y="287"/>
                  </a:cubicBezTo>
                  <a:cubicBezTo>
                    <a:pt x="297" y="286"/>
                    <a:pt x="297" y="286"/>
                    <a:pt x="297" y="286"/>
                  </a:cubicBezTo>
                  <a:cubicBezTo>
                    <a:pt x="297" y="284"/>
                    <a:pt x="295" y="284"/>
                    <a:pt x="294" y="283"/>
                  </a:cubicBezTo>
                  <a:cubicBezTo>
                    <a:pt x="294" y="283"/>
                    <a:pt x="293" y="283"/>
                    <a:pt x="293" y="283"/>
                  </a:cubicBezTo>
                  <a:cubicBezTo>
                    <a:pt x="293" y="283"/>
                    <a:pt x="293" y="283"/>
                    <a:pt x="293" y="282"/>
                  </a:cubicBezTo>
                  <a:cubicBezTo>
                    <a:pt x="293" y="281"/>
                    <a:pt x="291" y="281"/>
                    <a:pt x="291" y="280"/>
                  </a:cubicBezTo>
                  <a:cubicBezTo>
                    <a:pt x="291" y="280"/>
                    <a:pt x="290" y="280"/>
                    <a:pt x="290" y="280"/>
                  </a:cubicBezTo>
                  <a:cubicBezTo>
                    <a:pt x="289" y="280"/>
                    <a:pt x="288" y="280"/>
                    <a:pt x="286" y="281"/>
                  </a:cubicBezTo>
                  <a:cubicBezTo>
                    <a:pt x="286" y="282"/>
                    <a:pt x="285" y="282"/>
                    <a:pt x="283" y="282"/>
                  </a:cubicBezTo>
                  <a:cubicBezTo>
                    <a:pt x="283" y="283"/>
                    <a:pt x="283" y="283"/>
                    <a:pt x="283" y="283"/>
                  </a:cubicBezTo>
                  <a:cubicBezTo>
                    <a:pt x="283" y="283"/>
                    <a:pt x="283" y="283"/>
                    <a:pt x="283" y="283"/>
                  </a:cubicBezTo>
                  <a:cubicBezTo>
                    <a:pt x="282" y="282"/>
                    <a:pt x="282" y="282"/>
                    <a:pt x="282" y="282"/>
                  </a:cubicBezTo>
                  <a:cubicBezTo>
                    <a:pt x="281" y="282"/>
                    <a:pt x="281" y="283"/>
                    <a:pt x="281" y="283"/>
                  </a:cubicBezTo>
                  <a:cubicBezTo>
                    <a:pt x="280" y="284"/>
                    <a:pt x="280" y="284"/>
                    <a:pt x="281" y="284"/>
                  </a:cubicBezTo>
                  <a:cubicBezTo>
                    <a:pt x="281" y="284"/>
                    <a:pt x="281" y="284"/>
                    <a:pt x="281" y="284"/>
                  </a:cubicBezTo>
                  <a:cubicBezTo>
                    <a:pt x="280" y="284"/>
                    <a:pt x="280" y="284"/>
                    <a:pt x="280" y="284"/>
                  </a:cubicBezTo>
                  <a:cubicBezTo>
                    <a:pt x="280" y="283"/>
                    <a:pt x="280" y="282"/>
                    <a:pt x="279" y="281"/>
                  </a:cubicBezTo>
                  <a:cubicBezTo>
                    <a:pt x="278" y="280"/>
                    <a:pt x="277" y="280"/>
                    <a:pt x="276" y="281"/>
                  </a:cubicBezTo>
                  <a:cubicBezTo>
                    <a:pt x="276" y="281"/>
                    <a:pt x="276" y="281"/>
                    <a:pt x="276" y="281"/>
                  </a:cubicBezTo>
                  <a:cubicBezTo>
                    <a:pt x="275" y="281"/>
                    <a:pt x="275" y="280"/>
                    <a:pt x="275" y="280"/>
                  </a:cubicBezTo>
                  <a:cubicBezTo>
                    <a:pt x="274" y="279"/>
                    <a:pt x="274" y="279"/>
                    <a:pt x="274" y="278"/>
                  </a:cubicBezTo>
                  <a:cubicBezTo>
                    <a:pt x="273" y="278"/>
                    <a:pt x="273" y="278"/>
                    <a:pt x="273" y="278"/>
                  </a:cubicBezTo>
                  <a:cubicBezTo>
                    <a:pt x="273" y="277"/>
                    <a:pt x="274" y="277"/>
                    <a:pt x="274" y="277"/>
                  </a:cubicBezTo>
                  <a:cubicBezTo>
                    <a:pt x="274" y="277"/>
                    <a:pt x="275" y="278"/>
                    <a:pt x="276" y="278"/>
                  </a:cubicBezTo>
                  <a:cubicBezTo>
                    <a:pt x="276" y="278"/>
                    <a:pt x="276" y="278"/>
                    <a:pt x="276" y="278"/>
                  </a:cubicBezTo>
                  <a:cubicBezTo>
                    <a:pt x="277" y="278"/>
                    <a:pt x="277" y="278"/>
                    <a:pt x="278" y="278"/>
                  </a:cubicBezTo>
                  <a:cubicBezTo>
                    <a:pt x="278" y="278"/>
                    <a:pt x="278" y="278"/>
                    <a:pt x="278" y="278"/>
                  </a:cubicBezTo>
                  <a:cubicBezTo>
                    <a:pt x="279" y="279"/>
                    <a:pt x="279" y="279"/>
                    <a:pt x="279" y="279"/>
                  </a:cubicBezTo>
                  <a:cubicBezTo>
                    <a:pt x="280" y="279"/>
                    <a:pt x="280" y="279"/>
                    <a:pt x="280" y="280"/>
                  </a:cubicBezTo>
                  <a:cubicBezTo>
                    <a:pt x="281" y="280"/>
                    <a:pt x="281" y="280"/>
                    <a:pt x="281" y="280"/>
                  </a:cubicBezTo>
                  <a:cubicBezTo>
                    <a:pt x="281" y="280"/>
                    <a:pt x="282" y="281"/>
                    <a:pt x="283" y="281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4" y="281"/>
                    <a:pt x="284" y="281"/>
                    <a:pt x="284" y="280"/>
                  </a:cubicBezTo>
                  <a:cubicBezTo>
                    <a:pt x="285" y="280"/>
                    <a:pt x="285" y="280"/>
                    <a:pt x="285" y="280"/>
                  </a:cubicBezTo>
                  <a:cubicBezTo>
                    <a:pt x="285" y="280"/>
                    <a:pt x="285" y="280"/>
                    <a:pt x="285" y="280"/>
                  </a:cubicBezTo>
                  <a:cubicBezTo>
                    <a:pt x="286" y="280"/>
                    <a:pt x="287" y="280"/>
                    <a:pt x="287" y="279"/>
                  </a:cubicBezTo>
                  <a:cubicBezTo>
                    <a:pt x="287" y="279"/>
                    <a:pt x="287" y="279"/>
                    <a:pt x="287" y="279"/>
                  </a:cubicBezTo>
                  <a:cubicBezTo>
                    <a:pt x="287" y="279"/>
                    <a:pt x="287" y="279"/>
                    <a:pt x="287" y="279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88" y="278"/>
                    <a:pt x="289" y="278"/>
                    <a:pt x="289" y="277"/>
                  </a:cubicBezTo>
                  <a:cubicBezTo>
                    <a:pt x="289" y="278"/>
                    <a:pt x="289" y="278"/>
                    <a:pt x="289" y="278"/>
                  </a:cubicBezTo>
                  <a:cubicBezTo>
                    <a:pt x="290" y="277"/>
                    <a:pt x="290" y="277"/>
                    <a:pt x="290" y="277"/>
                  </a:cubicBezTo>
                  <a:cubicBezTo>
                    <a:pt x="290" y="276"/>
                    <a:pt x="290" y="276"/>
                    <a:pt x="290" y="276"/>
                  </a:cubicBezTo>
                  <a:cubicBezTo>
                    <a:pt x="291" y="275"/>
                    <a:pt x="291" y="275"/>
                    <a:pt x="291" y="275"/>
                  </a:cubicBezTo>
                  <a:cubicBezTo>
                    <a:pt x="291" y="274"/>
                    <a:pt x="291" y="274"/>
                    <a:pt x="291" y="274"/>
                  </a:cubicBezTo>
                  <a:cubicBezTo>
                    <a:pt x="291" y="274"/>
                    <a:pt x="291" y="274"/>
                    <a:pt x="291" y="274"/>
                  </a:cubicBezTo>
                  <a:cubicBezTo>
                    <a:pt x="290" y="274"/>
                    <a:pt x="290" y="273"/>
                    <a:pt x="290" y="273"/>
                  </a:cubicBezTo>
                  <a:cubicBezTo>
                    <a:pt x="290" y="273"/>
                    <a:pt x="290" y="273"/>
                    <a:pt x="290" y="273"/>
                  </a:cubicBezTo>
                  <a:close/>
                  <a:moveTo>
                    <a:pt x="361" y="234"/>
                  </a:moveTo>
                  <a:cubicBezTo>
                    <a:pt x="361" y="234"/>
                    <a:pt x="361" y="234"/>
                    <a:pt x="361" y="234"/>
                  </a:cubicBezTo>
                  <a:cubicBezTo>
                    <a:pt x="361" y="235"/>
                    <a:pt x="362" y="236"/>
                    <a:pt x="362" y="236"/>
                  </a:cubicBezTo>
                  <a:cubicBezTo>
                    <a:pt x="362" y="237"/>
                    <a:pt x="361" y="237"/>
                    <a:pt x="361" y="238"/>
                  </a:cubicBezTo>
                  <a:cubicBezTo>
                    <a:pt x="361" y="238"/>
                    <a:pt x="361" y="239"/>
                    <a:pt x="362" y="240"/>
                  </a:cubicBezTo>
                  <a:cubicBezTo>
                    <a:pt x="362" y="240"/>
                    <a:pt x="362" y="240"/>
                    <a:pt x="362" y="240"/>
                  </a:cubicBezTo>
                  <a:cubicBezTo>
                    <a:pt x="362" y="241"/>
                    <a:pt x="363" y="243"/>
                    <a:pt x="366" y="244"/>
                  </a:cubicBezTo>
                  <a:cubicBezTo>
                    <a:pt x="366" y="244"/>
                    <a:pt x="366" y="245"/>
                    <a:pt x="365" y="245"/>
                  </a:cubicBezTo>
                  <a:cubicBezTo>
                    <a:pt x="365" y="246"/>
                    <a:pt x="365" y="246"/>
                    <a:pt x="365" y="246"/>
                  </a:cubicBezTo>
                  <a:cubicBezTo>
                    <a:pt x="365" y="246"/>
                    <a:pt x="365" y="246"/>
                    <a:pt x="365" y="246"/>
                  </a:cubicBezTo>
                  <a:cubicBezTo>
                    <a:pt x="365" y="247"/>
                    <a:pt x="365" y="247"/>
                    <a:pt x="365" y="247"/>
                  </a:cubicBezTo>
                  <a:cubicBezTo>
                    <a:pt x="365" y="247"/>
                    <a:pt x="365" y="247"/>
                    <a:pt x="365" y="247"/>
                  </a:cubicBezTo>
                  <a:cubicBezTo>
                    <a:pt x="364" y="249"/>
                    <a:pt x="364" y="249"/>
                    <a:pt x="364" y="249"/>
                  </a:cubicBezTo>
                  <a:cubicBezTo>
                    <a:pt x="365" y="249"/>
                    <a:pt x="365" y="249"/>
                    <a:pt x="365" y="249"/>
                  </a:cubicBezTo>
                  <a:cubicBezTo>
                    <a:pt x="365" y="250"/>
                    <a:pt x="365" y="252"/>
                    <a:pt x="365" y="253"/>
                  </a:cubicBezTo>
                  <a:cubicBezTo>
                    <a:pt x="365" y="253"/>
                    <a:pt x="365" y="253"/>
                    <a:pt x="364" y="253"/>
                  </a:cubicBezTo>
                  <a:cubicBezTo>
                    <a:pt x="363" y="254"/>
                    <a:pt x="363" y="254"/>
                    <a:pt x="362" y="254"/>
                  </a:cubicBezTo>
                  <a:cubicBezTo>
                    <a:pt x="362" y="254"/>
                    <a:pt x="362" y="254"/>
                    <a:pt x="362" y="254"/>
                  </a:cubicBezTo>
                  <a:cubicBezTo>
                    <a:pt x="362" y="254"/>
                    <a:pt x="361" y="254"/>
                    <a:pt x="361" y="253"/>
                  </a:cubicBezTo>
                  <a:cubicBezTo>
                    <a:pt x="361" y="253"/>
                    <a:pt x="360" y="250"/>
                    <a:pt x="359" y="250"/>
                  </a:cubicBezTo>
                  <a:cubicBezTo>
                    <a:pt x="359" y="249"/>
                    <a:pt x="357" y="248"/>
                    <a:pt x="357" y="247"/>
                  </a:cubicBezTo>
                  <a:cubicBezTo>
                    <a:pt x="356" y="247"/>
                    <a:pt x="356" y="246"/>
                    <a:pt x="355" y="246"/>
                  </a:cubicBezTo>
                  <a:cubicBezTo>
                    <a:pt x="354" y="246"/>
                    <a:pt x="354" y="246"/>
                    <a:pt x="354" y="246"/>
                  </a:cubicBezTo>
                  <a:cubicBezTo>
                    <a:pt x="355" y="245"/>
                    <a:pt x="355" y="245"/>
                    <a:pt x="355" y="245"/>
                  </a:cubicBezTo>
                  <a:cubicBezTo>
                    <a:pt x="355" y="245"/>
                    <a:pt x="355" y="245"/>
                    <a:pt x="355" y="245"/>
                  </a:cubicBezTo>
                  <a:cubicBezTo>
                    <a:pt x="355" y="244"/>
                    <a:pt x="356" y="244"/>
                    <a:pt x="356" y="243"/>
                  </a:cubicBezTo>
                  <a:cubicBezTo>
                    <a:pt x="357" y="243"/>
                    <a:pt x="357" y="243"/>
                    <a:pt x="358" y="243"/>
                  </a:cubicBezTo>
                  <a:cubicBezTo>
                    <a:pt x="358" y="243"/>
                    <a:pt x="359" y="243"/>
                    <a:pt x="359" y="242"/>
                  </a:cubicBezTo>
                  <a:cubicBezTo>
                    <a:pt x="361" y="242"/>
                    <a:pt x="361" y="241"/>
                    <a:pt x="361" y="240"/>
                  </a:cubicBezTo>
                  <a:cubicBezTo>
                    <a:pt x="361" y="239"/>
                    <a:pt x="361" y="238"/>
                    <a:pt x="360" y="237"/>
                  </a:cubicBezTo>
                  <a:cubicBezTo>
                    <a:pt x="359" y="237"/>
                    <a:pt x="359" y="237"/>
                    <a:pt x="359" y="237"/>
                  </a:cubicBezTo>
                  <a:cubicBezTo>
                    <a:pt x="359" y="237"/>
                    <a:pt x="359" y="236"/>
                    <a:pt x="359" y="236"/>
                  </a:cubicBezTo>
                  <a:cubicBezTo>
                    <a:pt x="360" y="236"/>
                    <a:pt x="361" y="235"/>
                    <a:pt x="361" y="234"/>
                  </a:cubicBezTo>
                  <a:close/>
                  <a:moveTo>
                    <a:pt x="379" y="227"/>
                  </a:moveTo>
                  <a:cubicBezTo>
                    <a:pt x="379" y="227"/>
                    <a:pt x="379" y="227"/>
                    <a:pt x="379" y="227"/>
                  </a:cubicBezTo>
                  <a:cubicBezTo>
                    <a:pt x="379" y="227"/>
                    <a:pt x="379" y="227"/>
                    <a:pt x="379" y="227"/>
                  </a:cubicBezTo>
                  <a:close/>
                  <a:moveTo>
                    <a:pt x="676" y="84"/>
                  </a:moveTo>
                  <a:cubicBezTo>
                    <a:pt x="677" y="84"/>
                    <a:pt x="677" y="84"/>
                    <a:pt x="677" y="84"/>
                  </a:cubicBezTo>
                  <a:cubicBezTo>
                    <a:pt x="677" y="85"/>
                    <a:pt x="677" y="85"/>
                    <a:pt x="677" y="85"/>
                  </a:cubicBezTo>
                  <a:cubicBezTo>
                    <a:pt x="677" y="85"/>
                    <a:pt x="677" y="85"/>
                    <a:pt x="677" y="86"/>
                  </a:cubicBezTo>
                  <a:cubicBezTo>
                    <a:pt x="677" y="87"/>
                    <a:pt x="677" y="89"/>
                    <a:pt x="679" y="90"/>
                  </a:cubicBezTo>
                  <a:cubicBezTo>
                    <a:pt x="680" y="90"/>
                    <a:pt x="680" y="90"/>
                    <a:pt x="680" y="90"/>
                  </a:cubicBezTo>
                  <a:cubicBezTo>
                    <a:pt x="680" y="90"/>
                    <a:pt x="680" y="90"/>
                    <a:pt x="680" y="90"/>
                  </a:cubicBezTo>
                  <a:cubicBezTo>
                    <a:pt x="680" y="90"/>
                    <a:pt x="680" y="90"/>
                    <a:pt x="680" y="90"/>
                  </a:cubicBezTo>
                  <a:cubicBezTo>
                    <a:pt x="680" y="90"/>
                    <a:pt x="679" y="90"/>
                    <a:pt x="678" y="89"/>
                  </a:cubicBezTo>
                  <a:cubicBezTo>
                    <a:pt x="678" y="89"/>
                    <a:pt x="678" y="89"/>
                    <a:pt x="678" y="89"/>
                  </a:cubicBezTo>
                  <a:cubicBezTo>
                    <a:pt x="677" y="89"/>
                    <a:pt x="677" y="88"/>
                    <a:pt x="676" y="88"/>
                  </a:cubicBezTo>
                  <a:cubicBezTo>
                    <a:pt x="676" y="88"/>
                    <a:pt x="676" y="89"/>
                    <a:pt x="676" y="89"/>
                  </a:cubicBezTo>
                  <a:cubicBezTo>
                    <a:pt x="676" y="88"/>
                    <a:pt x="675" y="87"/>
                    <a:pt x="674" y="86"/>
                  </a:cubicBezTo>
                  <a:cubicBezTo>
                    <a:pt x="674" y="86"/>
                    <a:pt x="675" y="86"/>
                    <a:pt x="675" y="86"/>
                  </a:cubicBezTo>
                  <a:cubicBezTo>
                    <a:pt x="676" y="86"/>
                    <a:pt x="676" y="84"/>
                    <a:pt x="676" y="84"/>
                  </a:cubicBezTo>
                  <a:close/>
                  <a:moveTo>
                    <a:pt x="676" y="80"/>
                  </a:moveTo>
                  <a:cubicBezTo>
                    <a:pt x="676" y="81"/>
                    <a:pt x="676" y="81"/>
                    <a:pt x="677" y="81"/>
                  </a:cubicBezTo>
                  <a:cubicBezTo>
                    <a:pt x="676" y="81"/>
                    <a:pt x="676" y="81"/>
                    <a:pt x="676" y="82"/>
                  </a:cubicBezTo>
                  <a:cubicBezTo>
                    <a:pt x="676" y="82"/>
                    <a:pt x="676" y="82"/>
                    <a:pt x="676" y="82"/>
                  </a:cubicBezTo>
                  <a:cubicBezTo>
                    <a:pt x="676" y="82"/>
                    <a:pt x="676" y="81"/>
                    <a:pt x="676" y="81"/>
                  </a:cubicBezTo>
                  <a:cubicBezTo>
                    <a:pt x="676" y="81"/>
                    <a:pt x="676" y="80"/>
                    <a:pt x="676" y="80"/>
                  </a:cubicBezTo>
                  <a:close/>
                  <a:moveTo>
                    <a:pt x="887" y="295"/>
                  </a:moveTo>
                  <a:cubicBezTo>
                    <a:pt x="887" y="294"/>
                    <a:pt x="887" y="294"/>
                    <a:pt x="887" y="294"/>
                  </a:cubicBezTo>
                  <a:cubicBezTo>
                    <a:pt x="887" y="295"/>
                    <a:pt x="888" y="295"/>
                    <a:pt x="889" y="295"/>
                  </a:cubicBezTo>
                  <a:cubicBezTo>
                    <a:pt x="889" y="295"/>
                    <a:pt x="890" y="295"/>
                    <a:pt x="891" y="294"/>
                  </a:cubicBezTo>
                  <a:cubicBezTo>
                    <a:pt x="892" y="293"/>
                    <a:pt x="893" y="291"/>
                    <a:pt x="895" y="286"/>
                  </a:cubicBezTo>
                  <a:cubicBezTo>
                    <a:pt x="895" y="286"/>
                    <a:pt x="895" y="286"/>
                    <a:pt x="895" y="286"/>
                  </a:cubicBezTo>
                  <a:cubicBezTo>
                    <a:pt x="896" y="285"/>
                    <a:pt x="897" y="284"/>
                    <a:pt x="897" y="283"/>
                  </a:cubicBezTo>
                  <a:cubicBezTo>
                    <a:pt x="897" y="283"/>
                    <a:pt x="898" y="282"/>
                    <a:pt x="897" y="281"/>
                  </a:cubicBezTo>
                  <a:cubicBezTo>
                    <a:pt x="897" y="280"/>
                    <a:pt x="897" y="280"/>
                    <a:pt x="896" y="280"/>
                  </a:cubicBezTo>
                  <a:cubicBezTo>
                    <a:pt x="897" y="279"/>
                    <a:pt x="897" y="278"/>
                    <a:pt x="898" y="277"/>
                  </a:cubicBezTo>
                  <a:cubicBezTo>
                    <a:pt x="899" y="276"/>
                    <a:pt x="899" y="275"/>
                    <a:pt x="899" y="273"/>
                  </a:cubicBezTo>
                  <a:cubicBezTo>
                    <a:pt x="899" y="272"/>
                    <a:pt x="900" y="271"/>
                    <a:pt x="901" y="270"/>
                  </a:cubicBezTo>
                  <a:cubicBezTo>
                    <a:pt x="902" y="268"/>
                    <a:pt x="902" y="266"/>
                    <a:pt x="902" y="264"/>
                  </a:cubicBezTo>
                  <a:cubicBezTo>
                    <a:pt x="902" y="264"/>
                    <a:pt x="902" y="263"/>
                    <a:pt x="902" y="263"/>
                  </a:cubicBezTo>
                  <a:cubicBezTo>
                    <a:pt x="902" y="263"/>
                    <a:pt x="902" y="262"/>
                    <a:pt x="902" y="260"/>
                  </a:cubicBezTo>
                  <a:cubicBezTo>
                    <a:pt x="902" y="259"/>
                    <a:pt x="902" y="258"/>
                    <a:pt x="901" y="257"/>
                  </a:cubicBezTo>
                  <a:cubicBezTo>
                    <a:pt x="901" y="257"/>
                    <a:pt x="901" y="256"/>
                    <a:pt x="901" y="256"/>
                  </a:cubicBezTo>
                  <a:cubicBezTo>
                    <a:pt x="901" y="256"/>
                    <a:pt x="901" y="254"/>
                    <a:pt x="900" y="253"/>
                  </a:cubicBezTo>
                  <a:cubicBezTo>
                    <a:pt x="900" y="253"/>
                    <a:pt x="900" y="251"/>
                    <a:pt x="900" y="251"/>
                  </a:cubicBezTo>
                  <a:cubicBezTo>
                    <a:pt x="900" y="251"/>
                    <a:pt x="900" y="251"/>
                    <a:pt x="900" y="251"/>
                  </a:cubicBezTo>
                  <a:cubicBezTo>
                    <a:pt x="900" y="251"/>
                    <a:pt x="900" y="250"/>
                    <a:pt x="900" y="250"/>
                  </a:cubicBezTo>
                  <a:cubicBezTo>
                    <a:pt x="900" y="250"/>
                    <a:pt x="901" y="250"/>
                    <a:pt x="901" y="250"/>
                  </a:cubicBezTo>
                  <a:cubicBezTo>
                    <a:pt x="901" y="251"/>
                    <a:pt x="902" y="252"/>
                    <a:pt x="902" y="253"/>
                  </a:cubicBezTo>
                  <a:cubicBezTo>
                    <a:pt x="902" y="255"/>
                    <a:pt x="903" y="257"/>
                    <a:pt x="903" y="259"/>
                  </a:cubicBezTo>
                  <a:cubicBezTo>
                    <a:pt x="904" y="260"/>
                    <a:pt x="904" y="261"/>
                    <a:pt x="904" y="261"/>
                  </a:cubicBezTo>
                  <a:cubicBezTo>
                    <a:pt x="904" y="262"/>
                    <a:pt x="904" y="263"/>
                    <a:pt x="906" y="265"/>
                  </a:cubicBezTo>
                  <a:cubicBezTo>
                    <a:pt x="906" y="266"/>
                    <a:pt x="907" y="267"/>
                    <a:pt x="907" y="267"/>
                  </a:cubicBezTo>
                  <a:cubicBezTo>
                    <a:pt x="907" y="267"/>
                    <a:pt x="907" y="267"/>
                    <a:pt x="907" y="267"/>
                  </a:cubicBezTo>
                  <a:cubicBezTo>
                    <a:pt x="907" y="267"/>
                    <a:pt x="906" y="268"/>
                    <a:pt x="906" y="269"/>
                  </a:cubicBezTo>
                  <a:cubicBezTo>
                    <a:pt x="906" y="269"/>
                    <a:pt x="906" y="269"/>
                    <a:pt x="906" y="269"/>
                  </a:cubicBezTo>
                  <a:cubicBezTo>
                    <a:pt x="905" y="269"/>
                    <a:pt x="904" y="269"/>
                    <a:pt x="903" y="272"/>
                  </a:cubicBezTo>
                  <a:cubicBezTo>
                    <a:pt x="903" y="272"/>
                    <a:pt x="903" y="273"/>
                    <a:pt x="903" y="274"/>
                  </a:cubicBezTo>
                  <a:cubicBezTo>
                    <a:pt x="903" y="274"/>
                    <a:pt x="904" y="275"/>
                    <a:pt x="904" y="275"/>
                  </a:cubicBezTo>
                  <a:cubicBezTo>
                    <a:pt x="904" y="275"/>
                    <a:pt x="904" y="275"/>
                    <a:pt x="904" y="275"/>
                  </a:cubicBezTo>
                  <a:cubicBezTo>
                    <a:pt x="902" y="277"/>
                    <a:pt x="903" y="278"/>
                    <a:pt x="903" y="280"/>
                  </a:cubicBezTo>
                  <a:cubicBezTo>
                    <a:pt x="903" y="281"/>
                    <a:pt x="903" y="281"/>
                    <a:pt x="903" y="281"/>
                  </a:cubicBezTo>
                  <a:cubicBezTo>
                    <a:pt x="903" y="281"/>
                    <a:pt x="901" y="283"/>
                    <a:pt x="900" y="283"/>
                  </a:cubicBezTo>
                  <a:cubicBezTo>
                    <a:pt x="900" y="284"/>
                    <a:pt x="899" y="284"/>
                    <a:pt x="899" y="285"/>
                  </a:cubicBezTo>
                  <a:cubicBezTo>
                    <a:pt x="898" y="285"/>
                    <a:pt x="898" y="286"/>
                    <a:pt x="898" y="287"/>
                  </a:cubicBezTo>
                  <a:cubicBezTo>
                    <a:pt x="898" y="287"/>
                    <a:pt x="898" y="287"/>
                    <a:pt x="898" y="287"/>
                  </a:cubicBezTo>
                  <a:cubicBezTo>
                    <a:pt x="895" y="287"/>
                    <a:pt x="895" y="290"/>
                    <a:pt x="895" y="292"/>
                  </a:cubicBezTo>
                  <a:cubicBezTo>
                    <a:pt x="895" y="294"/>
                    <a:pt x="892" y="295"/>
                    <a:pt x="890" y="296"/>
                  </a:cubicBezTo>
                  <a:cubicBezTo>
                    <a:pt x="889" y="296"/>
                    <a:pt x="889" y="296"/>
                    <a:pt x="889" y="296"/>
                  </a:cubicBezTo>
                  <a:cubicBezTo>
                    <a:pt x="888" y="296"/>
                    <a:pt x="886" y="297"/>
                    <a:pt x="884" y="296"/>
                  </a:cubicBezTo>
                  <a:cubicBezTo>
                    <a:pt x="885" y="296"/>
                    <a:pt x="885" y="296"/>
                    <a:pt x="885" y="296"/>
                  </a:cubicBezTo>
                  <a:cubicBezTo>
                    <a:pt x="886" y="296"/>
                    <a:pt x="887" y="295"/>
                    <a:pt x="887" y="295"/>
                  </a:cubicBezTo>
                  <a:close/>
                  <a:moveTo>
                    <a:pt x="410" y="554"/>
                  </a:moveTo>
                  <a:cubicBezTo>
                    <a:pt x="410" y="553"/>
                    <a:pt x="409" y="553"/>
                    <a:pt x="409" y="552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10" y="553"/>
                    <a:pt x="410" y="554"/>
                  </a:cubicBezTo>
                  <a:close/>
                  <a:moveTo>
                    <a:pt x="463" y="404"/>
                  </a:moveTo>
                  <a:cubicBezTo>
                    <a:pt x="463" y="404"/>
                    <a:pt x="463" y="404"/>
                    <a:pt x="463" y="404"/>
                  </a:cubicBezTo>
                  <a:cubicBezTo>
                    <a:pt x="463" y="404"/>
                    <a:pt x="463" y="404"/>
                    <a:pt x="463" y="404"/>
                  </a:cubicBezTo>
                  <a:cubicBezTo>
                    <a:pt x="464" y="405"/>
                    <a:pt x="464" y="405"/>
                    <a:pt x="464" y="405"/>
                  </a:cubicBezTo>
                  <a:cubicBezTo>
                    <a:pt x="464" y="405"/>
                    <a:pt x="464" y="405"/>
                    <a:pt x="464" y="405"/>
                  </a:cubicBezTo>
                  <a:cubicBezTo>
                    <a:pt x="466" y="406"/>
                    <a:pt x="467" y="407"/>
                    <a:pt x="469" y="408"/>
                  </a:cubicBezTo>
                  <a:cubicBezTo>
                    <a:pt x="473" y="410"/>
                    <a:pt x="474" y="417"/>
                    <a:pt x="474" y="420"/>
                  </a:cubicBezTo>
                  <a:cubicBezTo>
                    <a:pt x="474" y="420"/>
                    <a:pt x="474" y="421"/>
                    <a:pt x="474" y="421"/>
                  </a:cubicBezTo>
                  <a:cubicBezTo>
                    <a:pt x="474" y="421"/>
                    <a:pt x="474" y="421"/>
                    <a:pt x="474" y="421"/>
                  </a:cubicBezTo>
                  <a:cubicBezTo>
                    <a:pt x="474" y="421"/>
                    <a:pt x="474" y="421"/>
                    <a:pt x="474" y="421"/>
                  </a:cubicBezTo>
                  <a:cubicBezTo>
                    <a:pt x="474" y="422"/>
                    <a:pt x="473" y="422"/>
                    <a:pt x="473" y="422"/>
                  </a:cubicBezTo>
                  <a:cubicBezTo>
                    <a:pt x="473" y="422"/>
                    <a:pt x="465" y="426"/>
                    <a:pt x="464" y="427"/>
                  </a:cubicBezTo>
                  <a:cubicBezTo>
                    <a:pt x="463" y="426"/>
                    <a:pt x="462" y="426"/>
                    <a:pt x="459" y="426"/>
                  </a:cubicBezTo>
                  <a:cubicBezTo>
                    <a:pt x="458" y="426"/>
                    <a:pt x="457" y="426"/>
                    <a:pt x="457" y="426"/>
                  </a:cubicBezTo>
                  <a:cubicBezTo>
                    <a:pt x="456" y="426"/>
                    <a:pt x="456" y="426"/>
                    <a:pt x="456" y="426"/>
                  </a:cubicBezTo>
                  <a:cubicBezTo>
                    <a:pt x="455" y="426"/>
                    <a:pt x="454" y="426"/>
                    <a:pt x="454" y="427"/>
                  </a:cubicBezTo>
                  <a:cubicBezTo>
                    <a:pt x="453" y="427"/>
                    <a:pt x="453" y="427"/>
                    <a:pt x="453" y="428"/>
                  </a:cubicBezTo>
                  <a:cubicBezTo>
                    <a:pt x="453" y="427"/>
                    <a:pt x="452" y="427"/>
                    <a:pt x="452" y="427"/>
                  </a:cubicBezTo>
                  <a:cubicBezTo>
                    <a:pt x="451" y="426"/>
                    <a:pt x="450" y="426"/>
                    <a:pt x="449" y="426"/>
                  </a:cubicBezTo>
                  <a:cubicBezTo>
                    <a:pt x="449" y="426"/>
                    <a:pt x="448" y="426"/>
                    <a:pt x="447" y="426"/>
                  </a:cubicBezTo>
                  <a:cubicBezTo>
                    <a:pt x="445" y="426"/>
                    <a:pt x="444" y="425"/>
                    <a:pt x="444" y="425"/>
                  </a:cubicBezTo>
                  <a:cubicBezTo>
                    <a:pt x="443" y="424"/>
                    <a:pt x="442" y="424"/>
                    <a:pt x="442" y="424"/>
                  </a:cubicBezTo>
                  <a:cubicBezTo>
                    <a:pt x="441" y="424"/>
                    <a:pt x="440" y="424"/>
                    <a:pt x="439" y="424"/>
                  </a:cubicBezTo>
                  <a:cubicBezTo>
                    <a:pt x="439" y="424"/>
                    <a:pt x="439" y="424"/>
                    <a:pt x="439" y="424"/>
                  </a:cubicBezTo>
                  <a:cubicBezTo>
                    <a:pt x="439" y="423"/>
                    <a:pt x="439" y="423"/>
                    <a:pt x="439" y="423"/>
                  </a:cubicBezTo>
                  <a:cubicBezTo>
                    <a:pt x="439" y="423"/>
                    <a:pt x="439" y="423"/>
                    <a:pt x="439" y="423"/>
                  </a:cubicBezTo>
                  <a:cubicBezTo>
                    <a:pt x="439" y="422"/>
                    <a:pt x="439" y="422"/>
                    <a:pt x="438" y="421"/>
                  </a:cubicBezTo>
                  <a:cubicBezTo>
                    <a:pt x="438" y="420"/>
                    <a:pt x="437" y="419"/>
                    <a:pt x="436" y="419"/>
                  </a:cubicBezTo>
                  <a:cubicBezTo>
                    <a:pt x="436" y="419"/>
                    <a:pt x="436" y="419"/>
                    <a:pt x="436" y="419"/>
                  </a:cubicBezTo>
                  <a:cubicBezTo>
                    <a:pt x="435" y="419"/>
                    <a:pt x="435" y="419"/>
                    <a:pt x="434" y="419"/>
                  </a:cubicBezTo>
                  <a:cubicBezTo>
                    <a:pt x="434" y="419"/>
                    <a:pt x="433" y="420"/>
                    <a:pt x="432" y="420"/>
                  </a:cubicBezTo>
                  <a:cubicBezTo>
                    <a:pt x="432" y="419"/>
                    <a:pt x="432" y="419"/>
                    <a:pt x="433" y="419"/>
                  </a:cubicBezTo>
                  <a:cubicBezTo>
                    <a:pt x="433" y="418"/>
                    <a:pt x="433" y="417"/>
                    <a:pt x="433" y="417"/>
                  </a:cubicBezTo>
                  <a:cubicBezTo>
                    <a:pt x="432" y="416"/>
                    <a:pt x="431" y="416"/>
                    <a:pt x="431" y="415"/>
                  </a:cubicBezTo>
                  <a:cubicBezTo>
                    <a:pt x="430" y="415"/>
                    <a:pt x="430" y="415"/>
                    <a:pt x="430" y="415"/>
                  </a:cubicBezTo>
                  <a:cubicBezTo>
                    <a:pt x="430" y="415"/>
                    <a:pt x="429" y="415"/>
                    <a:pt x="429" y="415"/>
                  </a:cubicBezTo>
                  <a:cubicBezTo>
                    <a:pt x="428" y="415"/>
                    <a:pt x="427" y="416"/>
                    <a:pt x="427" y="417"/>
                  </a:cubicBezTo>
                  <a:cubicBezTo>
                    <a:pt x="426" y="417"/>
                    <a:pt x="426" y="417"/>
                    <a:pt x="426" y="417"/>
                  </a:cubicBezTo>
                  <a:cubicBezTo>
                    <a:pt x="425" y="417"/>
                    <a:pt x="425" y="417"/>
                    <a:pt x="424" y="417"/>
                  </a:cubicBezTo>
                  <a:cubicBezTo>
                    <a:pt x="423" y="417"/>
                    <a:pt x="423" y="417"/>
                    <a:pt x="422" y="417"/>
                  </a:cubicBezTo>
                  <a:cubicBezTo>
                    <a:pt x="422" y="417"/>
                    <a:pt x="422" y="417"/>
                    <a:pt x="422" y="417"/>
                  </a:cubicBezTo>
                  <a:cubicBezTo>
                    <a:pt x="422" y="417"/>
                    <a:pt x="421" y="417"/>
                    <a:pt x="421" y="417"/>
                  </a:cubicBezTo>
                  <a:cubicBezTo>
                    <a:pt x="418" y="416"/>
                    <a:pt x="413" y="417"/>
                    <a:pt x="411" y="418"/>
                  </a:cubicBezTo>
                  <a:cubicBezTo>
                    <a:pt x="410" y="419"/>
                    <a:pt x="405" y="420"/>
                    <a:pt x="404" y="420"/>
                  </a:cubicBezTo>
                  <a:cubicBezTo>
                    <a:pt x="403" y="420"/>
                    <a:pt x="402" y="421"/>
                    <a:pt x="402" y="423"/>
                  </a:cubicBezTo>
                  <a:cubicBezTo>
                    <a:pt x="402" y="423"/>
                    <a:pt x="402" y="423"/>
                    <a:pt x="402" y="423"/>
                  </a:cubicBezTo>
                  <a:cubicBezTo>
                    <a:pt x="401" y="424"/>
                    <a:pt x="401" y="424"/>
                    <a:pt x="401" y="424"/>
                  </a:cubicBezTo>
                  <a:cubicBezTo>
                    <a:pt x="401" y="424"/>
                    <a:pt x="400" y="425"/>
                    <a:pt x="399" y="426"/>
                  </a:cubicBezTo>
                  <a:cubicBezTo>
                    <a:pt x="399" y="425"/>
                    <a:pt x="398" y="425"/>
                    <a:pt x="398" y="425"/>
                  </a:cubicBezTo>
                  <a:cubicBezTo>
                    <a:pt x="396" y="424"/>
                    <a:pt x="394" y="424"/>
                    <a:pt x="392" y="425"/>
                  </a:cubicBezTo>
                  <a:cubicBezTo>
                    <a:pt x="392" y="425"/>
                    <a:pt x="391" y="425"/>
                    <a:pt x="389" y="424"/>
                  </a:cubicBezTo>
                  <a:cubicBezTo>
                    <a:pt x="388" y="424"/>
                    <a:pt x="386" y="424"/>
                    <a:pt x="385" y="424"/>
                  </a:cubicBezTo>
                  <a:cubicBezTo>
                    <a:pt x="385" y="424"/>
                    <a:pt x="385" y="424"/>
                    <a:pt x="384" y="424"/>
                  </a:cubicBezTo>
                  <a:cubicBezTo>
                    <a:pt x="384" y="424"/>
                    <a:pt x="384" y="424"/>
                    <a:pt x="383" y="423"/>
                  </a:cubicBezTo>
                  <a:cubicBezTo>
                    <a:pt x="383" y="423"/>
                    <a:pt x="383" y="423"/>
                    <a:pt x="383" y="423"/>
                  </a:cubicBezTo>
                  <a:cubicBezTo>
                    <a:pt x="383" y="422"/>
                    <a:pt x="383" y="422"/>
                    <a:pt x="382" y="421"/>
                  </a:cubicBezTo>
                  <a:cubicBezTo>
                    <a:pt x="382" y="421"/>
                    <a:pt x="381" y="421"/>
                    <a:pt x="380" y="421"/>
                  </a:cubicBezTo>
                  <a:cubicBezTo>
                    <a:pt x="380" y="421"/>
                    <a:pt x="380" y="420"/>
                    <a:pt x="380" y="419"/>
                  </a:cubicBezTo>
                  <a:cubicBezTo>
                    <a:pt x="380" y="418"/>
                    <a:pt x="380" y="418"/>
                    <a:pt x="379" y="417"/>
                  </a:cubicBezTo>
                  <a:cubicBezTo>
                    <a:pt x="379" y="417"/>
                    <a:pt x="379" y="417"/>
                    <a:pt x="379" y="417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5"/>
                    <a:pt x="378" y="415"/>
                    <a:pt x="378" y="415"/>
                  </a:cubicBezTo>
                  <a:cubicBezTo>
                    <a:pt x="378" y="413"/>
                    <a:pt x="378" y="412"/>
                    <a:pt x="377" y="412"/>
                  </a:cubicBezTo>
                  <a:cubicBezTo>
                    <a:pt x="377" y="411"/>
                    <a:pt x="378" y="411"/>
                    <a:pt x="378" y="410"/>
                  </a:cubicBezTo>
                  <a:cubicBezTo>
                    <a:pt x="378" y="410"/>
                    <a:pt x="378" y="410"/>
                    <a:pt x="378" y="410"/>
                  </a:cubicBezTo>
                  <a:cubicBezTo>
                    <a:pt x="379" y="409"/>
                    <a:pt x="379" y="408"/>
                    <a:pt x="379" y="406"/>
                  </a:cubicBezTo>
                  <a:cubicBezTo>
                    <a:pt x="380" y="405"/>
                    <a:pt x="380" y="405"/>
                    <a:pt x="380" y="405"/>
                  </a:cubicBezTo>
                  <a:cubicBezTo>
                    <a:pt x="380" y="405"/>
                    <a:pt x="380" y="404"/>
                    <a:pt x="380" y="404"/>
                  </a:cubicBezTo>
                  <a:cubicBezTo>
                    <a:pt x="380" y="404"/>
                    <a:pt x="380" y="404"/>
                    <a:pt x="381" y="404"/>
                  </a:cubicBezTo>
                  <a:cubicBezTo>
                    <a:pt x="383" y="404"/>
                    <a:pt x="384" y="403"/>
                    <a:pt x="385" y="400"/>
                  </a:cubicBezTo>
                  <a:cubicBezTo>
                    <a:pt x="385" y="400"/>
                    <a:pt x="385" y="400"/>
                    <a:pt x="385" y="400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7"/>
                    <a:pt x="385" y="397"/>
                  </a:cubicBezTo>
                  <a:cubicBezTo>
                    <a:pt x="385" y="397"/>
                    <a:pt x="385" y="396"/>
                    <a:pt x="385" y="396"/>
                  </a:cubicBezTo>
                  <a:cubicBezTo>
                    <a:pt x="385" y="394"/>
                    <a:pt x="385" y="394"/>
                    <a:pt x="386" y="393"/>
                  </a:cubicBezTo>
                  <a:cubicBezTo>
                    <a:pt x="386" y="392"/>
                    <a:pt x="387" y="391"/>
                    <a:pt x="387" y="391"/>
                  </a:cubicBezTo>
                  <a:cubicBezTo>
                    <a:pt x="388" y="391"/>
                    <a:pt x="388" y="390"/>
                    <a:pt x="389" y="390"/>
                  </a:cubicBezTo>
                  <a:cubicBezTo>
                    <a:pt x="390" y="389"/>
                    <a:pt x="390" y="389"/>
                    <a:pt x="391" y="389"/>
                  </a:cubicBezTo>
                  <a:cubicBezTo>
                    <a:pt x="393" y="387"/>
                    <a:pt x="393" y="384"/>
                    <a:pt x="393" y="383"/>
                  </a:cubicBezTo>
                  <a:cubicBezTo>
                    <a:pt x="392" y="383"/>
                    <a:pt x="392" y="383"/>
                    <a:pt x="392" y="383"/>
                  </a:cubicBezTo>
                  <a:cubicBezTo>
                    <a:pt x="392" y="383"/>
                    <a:pt x="392" y="383"/>
                    <a:pt x="392" y="383"/>
                  </a:cubicBezTo>
                  <a:cubicBezTo>
                    <a:pt x="393" y="383"/>
                    <a:pt x="393" y="383"/>
                    <a:pt x="393" y="383"/>
                  </a:cubicBezTo>
                  <a:cubicBezTo>
                    <a:pt x="393" y="383"/>
                    <a:pt x="393" y="383"/>
                    <a:pt x="393" y="383"/>
                  </a:cubicBezTo>
                  <a:cubicBezTo>
                    <a:pt x="393" y="383"/>
                    <a:pt x="393" y="383"/>
                    <a:pt x="393" y="383"/>
                  </a:cubicBezTo>
                  <a:cubicBezTo>
                    <a:pt x="394" y="382"/>
                    <a:pt x="394" y="381"/>
                    <a:pt x="394" y="380"/>
                  </a:cubicBezTo>
                  <a:cubicBezTo>
                    <a:pt x="394" y="380"/>
                    <a:pt x="395" y="379"/>
                    <a:pt x="395" y="378"/>
                  </a:cubicBezTo>
                  <a:cubicBezTo>
                    <a:pt x="395" y="378"/>
                    <a:pt x="395" y="378"/>
                    <a:pt x="396" y="378"/>
                  </a:cubicBezTo>
                  <a:cubicBezTo>
                    <a:pt x="396" y="378"/>
                    <a:pt x="397" y="378"/>
                    <a:pt x="398" y="376"/>
                  </a:cubicBezTo>
                  <a:cubicBezTo>
                    <a:pt x="398" y="376"/>
                    <a:pt x="399" y="376"/>
                    <a:pt x="399" y="375"/>
                  </a:cubicBezTo>
                  <a:cubicBezTo>
                    <a:pt x="399" y="375"/>
                    <a:pt x="399" y="375"/>
                    <a:pt x="399" y="375"/>
                  </a:cubicBezTo>
                  <a:cubicBezTo>
                    <a:pt x="399" y="375"/>
                    <a:pt x="399" y="375"/>
                    <a:pt x="399" y="375"/>
                  </a:cubicBezTo>
                  <a:cubicBezTo>
                    <a:pt x="400" y="375"/>
                    <a:pt x="401" y="374"/>
                    <a:pt x="401" y="373"/>
                  </a:cubicBezTo>
                  <a:cubicBezTo>
                    <a:pt x="401" y="372"/>
                    <a:pt x="401" y="371"/>
                    <a:pt x="401" y="371"/>
                  </a:cubicBezTo>
                  <a:cubicBezTo>
                    <a:pt x="402" y="370"/>
                    <a:pt x="404" y="369"/>
                    <a:pt x="404" y="369"/>
                  </a:cubicBezTo>
                  <a:cubicBezTo>
                    <a:pt x="404" y="369"/>
                    <a:pt x="404" y="369"/>
                    <a:pt x="405" y="369"/>
                  </a:cubicBezTo>
                  <a:cubicBezTo>
                    <a:pt x="405" y="370"/>
                    <a:pt x="404" y="370"/>
                    <a:pt x="405" y="370"/>
                  </a:cubicBezTo>
                  <a:cubicBezTo>
                    <a:pt x="405" y="371"/>
                    <a:pt x="406" y="372"/>
                    <a:pt x="407" y="372"/>
                  </a:cubicBezTo>
                  <a:cubicBezTo>
                    <a:pt x="407" y="372"/>
                    <a:pt x="407" y="372"/>
                    <a:pt x="407" y="372"/>
                  </a:cubicBezTo>
                  <a:cubicBezTo>
                    <a:pt x="407" y="373"/>
                    <a:pt x="407" y="373"/>
                    <a:pt x="407" y="373"/>
                  </a:cubicBezTo>
                  <a:cubicBezTo>
                    <a:pt x="408" y="374"/>
                    <a:pt x="408" y="374"/>
                    <a:pt x="409" y="374"/>
                  </a:cubicBezTo>
                  <a:cubicBezTo>
                    <a:pt x="409" y="374"/>
                    <a:pt x="409" y="374"/>
                    <a:pt x="409" y="374"/>
                  </a:cubicBezTo>
                  <a:cubicBezTo>
                    <a:pt x="410" y="374"/>
                    <a:pt x="410" y="375"/>
                    <a:pt x="411" y="375"/>
                  </a:cubicBezTo>
                  <a:cubicBezTo>
                    <a:pt x="411" y="375"/>
                    <a:pt x="411" y="375"/>
                    <a:pt x="411" y="375"/>
                  </a:cubicBezTo>
                  <a:cubicBezTo>
                    <a:pt x="412" y="376"/>
                    <a:pt x="414" y="376"/>
                    <a:pt x="415" y="375"/>
                  </a:cubicBezTo>
                  <a:cubicBezTo>
                    <a:pt x="415" y="375"/>
                    <a:pt x="415" y="375"/>
                    <a:pt x="415" y="375"/>
                  </a:cubicBezTo>
                  <a:cubicBezTo>
                    <a:pt x="416" y="375"/>
                    <a:pt x="416" y="375"/>
                    <a:pt x="416" y="375"/>
                  </a:cubicBezTo>
                  <a:cubicBezTo>
                    <a:pt x="417" y="375"/>
                    <a:pt x="417" y="375"/>
                    <a:pt x="418" y="375"/>
                  </a:cubicBezTo>
                  <a:cubicBezTo>
                    <a:pt x="418" y="375"/>
                    <a:pt x="418" y="375"/>
                    <a:pt x="418" y="375"/>
                  </a:cubicBezTo>
                  <a:cubicBezTo>
                    <a:pt x="418" y="375"/>
                    <a:pt x="418" y="375"/>
                    <a:pt x="417" y="376"/>
                  </a:cubicBezTo>
                  <a:cubicBezTo>
                    <a:pt x="417" y="376"/>
                    <a:pt x="416" y="376"/>
                    <a:pt x="416" y="376"/>
                  </a:cubicBezTo>
                  <a:cubicBezTo>
                    <a:pt x="415" y="376"/>
                    <a:pt x="415" y="377"/>
                    <a:pt x="414" y="377"/>
                  </a:cubicBezTo>
                  <a:cubicBezTo>
                    <a:pt x="414" y="377"/>
                    <a:pt x="414" y="377"/>
                    <a:pt x="414" y="378"/>
                  </a:cubicBezTo>
                  <a:cubicBezTo>
                    <a:pt x="413" y="378"/>
                    <a:pt x="413" y="379"/>
                    <a:pt x="413" y="379"/>
                  </a:cubicBezTo>
                  <a:cubicBezTo>
                    <a:pt x="412" y="381"/>
                    <a:pt x="414" y="383"/>
                    <a:pt x="415" y="383"/>
                  </a:cubicBezTo>
                  <a:cubicBezTo>
                    <a:pt x="415" y="384"/>
                    <a:pt x="415" y="385"/>
                    <a:pt x="417" y="385"/>
                  </a:cubicBezTo>
                  <a:cubicBezTo>
                    <a:pt x="417" y="385"/>
                    <a:pt x="417" y="385"/>
                    <a:pt x="417" y="385"/>
                  </a:cubicBezTo>
                  <a:cubicBezTo>
                    <a:pt x="417" y="386"/>
                    <a:pt x="417" y="386"/>
                    <a:pt x="417" y="386"/>
                  </a:cubicBezTo>
                  <a:cubicBezTo>
                    <a:pt x="417" y="386"/>
                    <a:pt x="417" y="386"/>
                    <a:pt x="417" y="386"/>
                  </a:cubicBezTo>
                  <a:cubicBezTo>
                    <a:pt x="418" y="387"/>
                    <a:pt x="417" y="387"/>
                    <a:pt x="417" y="388"/>
                  </a:cubicBezTo>
                  <a:cubicBezTo>
                    <a:pt x="416" y="389"/>
                    <a:pt x="416" y="389"/>
                    <a:pt x="416" y="390"/>
                  </a:cubicBezTo>
                  <a:cubicBezTo>
                    <a:pt x="416" y="391"/>
                    <a:pt x="417" y="391"/>
                    <a:pt x="418" y="392"/>
                  </a:cubicBezTo>
                  <a:cubicBezTo>
                    <a:pt x="418" y="392"/>
                    <a:pt x="419" y="392"/>
                    <a:pt x="419" y="392"/>
                  </a:cubicBezTo>
                  <a:cubicBezTo>
                    <a:pt x="419" y="393"/>
                    <a:pt x="421" y="393"/>
                    <a:pt x="421" y="393"/>
                  </a:cubicBezTo>
                  <a:cubicBezTo>
                    <a:pt x="422" y="393"/>
                    <a:pt x="422" y="393"/>
                    <a:pt x="422" y="393"/>
                  </a:cubicBezTo>
                  <a:cubicBezTo>
                    <a:pt x="422" y="393"/>
                    <a:pt x="422" y="393"/>
                    <a:pt x="422" y="393"/>
                  </a:cubicBezTo>
                  <a:cubicBezTo>
                    <a:pt x="422" y="393"/>
                    <a:pt x="422" y="393"/>
                    <a:pt x="423" y="393"/>
                  </a:cubicBezTo>
                  <a:cubicBezTo>
                    <a:pt x="425" y="393"/>
                    <a:pt x="425" y="392"/>
                    <a:pt x="426" y="390"/>
                  </a:cubicBezTo>
                  <a:cubicBezTo>
                    <a:pt x="426" y="389"/>
                    <a:pt x="428" y="388"/>
                    <a:pt x="429" y="388"/>
                  </a:cubicBezTo>
                  <a:cubicBezTo>
                    <a:pt x="430" y="389"/>
                    <a:pt x="431" y="389"/>
                    <a:pt x="432" y="388"/>
                  </a:cubicBezTo>
                  <a:cubicBezTo>
                    <a:pt x="432" y="388"/>
                    <a:pt x="432" y="388"/>
                    <a:pt x="432" y="388"/>
                  </a:cubicBezTo>
                  <a:cubicBezTo>
                    <a:pt x="432" y="388"/>
                    <a:pt x="432" y="388"/>
                    <a:pt x="432" y="388"/>
                  </a:cubicBezTo>
                  <a:cubicBezTo>
                    <a:pt x="433" y="388"/>
                    <a:pt x="434" y="387"/>
                    <a:pt x="434" y="386"/>
                  </a:cubicBezTo>
                  <a:cubicBezTo>
                    <a:pt x="435" y="387"/>
                    <a:pt x="436" y="387"/>
                    <a:pt x="437" y="386"/>
                  </a:cubicBezTo>
                  <a:cubicBezTo>
                    <a:pt x="437" y="386"/>
                    <a:pt x="438" y="387"/>
                    <a:pt x="438" y="387"/>
                  </a:cubicBezTo>
                  <a:cubicBezTo>
                    <a:pt x="439" y="387"/>
                    <a:pt x="440" y="385"/>
                    <a:pt x="440" y="384"/>
                  </a:cubicBezTo>
                  <a:cubicBezTo>
                    <a:pt x="440" y="384"/>
                    <a:pt x="440" y="384"/>
                    <a:pt x="440" y="384"/>
                  </a:cubicBezTo>
                  <a:cubicBezTo>
                    <a:pt x="441" y="385"/>
                    <a:pt x="442" y="386"/>
                    <a:pt x="442" y="386"/>
                  </a:cubicBezTo>
                  <a:cubicBezTo>
                    <a:pt x="443" y="386"/>
                    <a:pt x="443" y="386"/>
                    <a:pt x="443" y="387"/>
                  </a:cubicBezTo>
                  <a:cubicBezTo>
                    <a:pt x="443" y="387"/>
                    <a:pt x="443" y="387"/>
                    <a:pt x="443" y="387"/>
                  </a:cubicBezTo>
                  <a:cubicBezTo>
                    <a:pt x="443" y="387"/>
                    <a:pt x="443" y="387"/>
                    <a:pt x="443" y="387"/>
                  </a:cubicBezTo>
                  <a:cubicBezTo>
                    <a:pt x="443" y="387"/>
                    <a:pt x="443" y="387"/>
                    <a:pt x="443" y="387"/>
                  </a:cubicBezTo>
                  <a:cubicBezTo>
                    <a:pt x="443" y="388"/>
                    <a:pt x="443" y="388"/>
                    <a:pt x="444" y="388"/>
                  </a:cubicBezTo>
                  <a:cubicBezTo>
                    <a:pt x="444" y="390"/>
                    <a:pt x="445" y="390"/>
                    <a:pt x="446" y="390"/>
                  </a:cubicBezTo>
                  <a:cubicBezTo>
                    <a:pt x="447" y="390"/>
                    <a:pt x="448" y="390"/>
                    <a:pt x="448" y="390"/>
                  </a:cubicBezTo>
                  <a:cubicBezTo>
                    <a:pt x="448" y="390"/>
                    <a:pt x="448" y="390"/>
                    <a:pt x="448" y="390"/>
                  </a:cubicBezTo>
                  <a:cubicBezTo>
                    <a:pt x="449" y="390"/>
                    <a:pt x="449" y="390"/>
                    <a:pt x="449" y="390"/>
                  </a:cubicBezTo>
                  <a:cubicBezTo>
                    <a:pt x="450" y="392"/>
                    <a:pt x="452" y="393"/>
                    <a:pt x="454" y="394"/>
                  </a:cubicBezTo>
                  <a:cubicBezTo>
                    <a:pt x="454" y="394"/>
                    <a:pt x="456" y="395"/>
                    <a:pt x="459" y="400"/>
                  </a:cubicBezTo>
                  <a:cubicBezTo>
                    <a:pt x="460" y="401"/>
                    <a:pt x="461" y="402"/>
                    <a:pt x="462" y="403"/>
                  </a:cubicBezTo>
                  <a:cubicBezTo>
                    <a:pt x="462" y="404"/>
                    <a:pt x="462" y="404"/>
                    <a:pt x="462" y="404"/>
                  </a:cubicBezTo>
                  <a:lnTo>
                    <a:pt x="463" y="404"/>
                  </a:lnTo>
                  <a:close/>
                  <a:moveTo>
                    <a:pt x="682" y="97"/>
                  </a:moveTo>
                  <a:cubicBezTo>
                    <a:pt x="682" y="97"/>
                    <a:pt x="682" y="97"/>
                    <a:pt x="682" y="97"/>
                  </a:cubicBezTo>
                  <a:cubicBezTo>
                    <a:pt x="682" y="97"/>
                    <a:pt x="682" y="97"/>
                    <a:pt x="682" y="97"/>
                  </a:cubicBezTo>
                  <a:cubicBezTo>
                    <a:pt x="682" y="97"/>
                    <a:pt x="682" y="97"/>
                    <a:pt x="682" y="97"/>
                  </a:cubicBezTo>
                  <a:close/>
                  <a:moveTo>
                    <a:pt x="559" y="422"/>
                  </a:moveTo>
                  <a:cubicBezTo>
                    <a:pt x="560" y="422"/>
                    <a:pt x="561" y="423"/>
                    <a:pt x="562" y="424"/>
                  </a:cubicBezTo>
                  <a:cubicBezTo>
                    <a:pt x="563" y="425"/>
                    <a:pt x="563" y="425"/>
                    <a:pt x="563" y="425"/>
                  </a:cubicBezTo>
                  <a:cubicBezTo>
                    <a:pt x="563" y="425"/>
                    <a:pt x="562" y="425"/>
                    <a:pt x="562" y="425"/>
                  </a:cubicBezTo>
                  <a:cubicBezTo>
                    <a:pt x="562" y="426"/>
                    <a:pt x="561" y="426"/>
                    <a:pt x="560" y="426"/>
                  </a:cubicBezTo>
                  <a:cubicBezTo>
                    <a:pt x="560" y="426"/>
                    <a:pt x="560" y="426"/>
                    <a:pt x="560" y="426"/>
                  </a:cubicBezTo>
                  <a:cubicBezTo>
                    <a:pt x="559" y="425"/>
                    <a:pt x="559" y="425"/>
                    <a:pt x="558" y="425"/>
                  </a:cubicBezTo>
                  <a:cubicBezTo>
                    <a:pt x="558" y="425"/>
                    <a:pt x="558" y="424"/>
                    <a:pt x="558" y="424"/>
                  </a:cubicBezTo>
                  <a:cubicBezTo>
                    <a:pt x="558" y="424"/>
                    <a:pt x="558" y="424"/>
                    <a:pt x="558" y="424"/>
                  </a:cubicBezTo>
                  <a:cubicBezTo>
                    <a:pt x="559" y="423"/>
                    <a:pt x="559" y="423"/>
                    <a:pt x="559" y="422"/>
                  </a:cubicBezTo>
                  <a:close/>
                  <a:moveTo>
                    <a:pt x="455" y="611"/>
                  </a:moveTo>
                  <a:cubicBezTo>
                    <a:pt x="455" y="611"/>
                    <a:pt x="455" y="611"/>
                    <a:pt x="455" y="611"/>
                  </a:cubicBezTo>
                  <a:cubicBezTo>
                    <a:pt x="455" y="611"/>
                    <a:pt x="455" y="611"/>
                    <a:pt x="455" y="611"/>
                  </a:cubicBezTo>
                  <a:close/>
                  <a:moveTo>
                    <a:pt x="557" y="428"/>
                  </a:moveTo>
                  <a:cubicBezTo>
                    <a:pt x="557" y="428"/>
                    <a:pt x="557" y="428"/>
                    <a:pt x="557" y="428"/>
                  </a:cubicBezTo>
                  <a:cubicBezTo>
                    <a:pt x="557" y="428"/>
                    <a:pt x="557" y="428"/>
                    <a:pt x="557" y="428"/>
                  </a:cubicBezTo>
                  <a:close/>
                  <a:moveTo>
                    <a:pt x="328" y="228"/>
                  </a:moveTo>
                  <a:cubicBezTo>
                    <a:pt x="328" y="228"/>
                    <a:pt x="327" y="228"/>
                    <a:pt x="327" y="227"/>
                  </a:cubicBezTo>
                  <a:cubicBezTo>
                    <a:pt x="326" y="227"/>
                    <a:pt x="326" y="226"/>
                    <a:pt x="325" y="226"/>
                  </a:cubicBezTo>
                  <a:cubicBezTo>
                    <a:pt x="325" y="226"/>
                    <a:pt x="325" y="226"/>
                    <a:pt x="325" y="226"/>
                  </a:cubicBezTo>
                  <a:cubicBezTo>
                    <a:pt x="326" y="226"/>
                    <a:pt x="326" y="227"/>
                    <a:pt x="327" y="227"/>
                  </a:cubicBezTo>
                  <a:cubicBezTo>
                    <a:pt x="327" y="227"/>
                    <a:pt x="327" y="227"/>
                    <a:pt x="328" y="227"/>
                  </a:cubicBezTo>
                  <a:cubicBezTo>
                    <a:pt x="328" y="228"/>
                    <a:pt x="328" y="228"/>
                    <a:pt x="329" y="228"/>
                  </a:cubicBezTo>
                  <a:cubicBezTo>
                    <a:pt x="329" y="228"/>
                    <a:pt x="329" y="228"/>
                    <a:pt x="329" y="228"/>
                  </a:cubicBezTo>
                  <a:cubicBezTo>
                    <a:pt x="328" y="228"/>
                    <a:pt x="328" y="228"/>
                    <a:pt x="328" y="228"/>
                  </a:cubicBezTo>
                  <a:cubicBezTo>
                    <a:pt x="328" y="228"/>
                    <a:pt x="328" y="228"/>
                    <a:pt x="328" y="228"/>
                  </a:cubicBezTo>
                  <a:close/>
                  <a:moveTo>
                    <a:pt x="424" y="373"/>
                  </a:moveTo>
                  <a:cubicBezTo>
                    <a:pt x="424" y="373"/>
                    <a:pt x="424" y="373"/>
                    <a:pt x="424" y="373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24" y="373"/>
                    <a:pt x="424" y="373"/>
                    <a:pt x="424" y="373"/>
                  </a:cubicBezTo>
                  <a:close/>
                  <a:moveTo>
                    <a:pt x="439" y="379"/>
                  </a:moveTo>
                  <a:cubicBezTo>
                    <a:pt x="439" y="379"/>
                    <a:pt x="439" y="379"/>
                    <a:pt x="439" y="379"/>
                  </a:cubicBezTo>
                  <a:cubicBezTo>
                    <a:pt x="438" y="378"/>
                    <a:pt x="436" y="378"/>
                    <a:pt x="436" y="379"/>
                  </a:cubicBezTo>
                  <a:cubicBezTo>
                    <a:pt x="435" y="379"/>
                    <a:pt x="434" y="379"/>
                    <a:pt x="433" y="380"/>
                  </a:cubicBezTo>
                  <a:cubicBezTo>
                    <a:pt x="433" y="380"/>
                    <a:pt x="433" y="380"/>
                    <a:pt x="433" y="380"/>
                  </a:cubicBezTo>
                  <a:cubicBezTo>
                    <a:pt x="433" y="381"/>
                    <a:pt x="433" y="381"/>
                    <a:pt x="433" y="381"/>
                  </a:cubicBezTo>
                  <a:cubicBezTo>
                    <a:pt x="432" y="380"/>
                    <a:pt x="432" y="380"/>
                    <a:pt x="432" y="380"/>
                  </a:cubicBezTo>
                  <a:cubicBezTo>
                    <a:pt x="432" y="380"/>
                    <a:pt x="432" y="380"/>
                    <a:pt x="432" y="380"/>
                  </a:cubicBezTo>
                  <a:cubicBezTo>
                    <a:pt x="432" y="380"/>
                    <a:pt x="431" y="380"/>
                    <a:pt x="431" y="380"/>
                  </a:cubicBezTo>
                  <a:cubicBezTo>
                    <a:pt x="431" y="380"/>
                    <a:pt x="431" y="380"/>
                    <a:pt x="431" y="380"/>
                  </a:cubicBezTo>
                  <a:cubicBezTo>
                    <a:pt x="431" y="379"/>
                    <a:pt x="431" y="378"/>
                    <a:pt x="427" y="375"/>
                  </a:cubicBezTo>
                  <a:cubicBezTo>
                    <a:pt x="427" y="375"/>
                    <a:pt x="426" y="374"/>
                    <a:pt x="426" y="374"/>
                  </a:cubicBezTo>
                  <a:cubicBezTo>
                    <a:pt x="427" y="374"/>
                    <a:pt x="427" y="374"/>
                    <a:pt x="427" y="374"/>
                  </a:cubicBezTo>
                  <a:cubicBezTo>
                    <a:pt x="428" y="374"/>
                    <a:pt x="429" y="373"/>
                    <a:pt x="430" y="372"/>
                  </a:cubicBezTo>
                  <a:cubicBezTo>
                    <a:pt x="430" y="372"/>
                    <a:pt x="431" y="372"/>
                    <a:pt x="431" y="372"/>
                  </a:cubicBezTo>
                  <a:cubicBezTo>
                    <a:pt x="431" y="373"/>
                    <a:pt x="433" y="373"/>
                    <a:pt x="433" y="372"/>
                  </a:cubicBezTo>
                  <a:cubicBezTo>
                    <a:pt x="434" y="372"/>
                    <a:pt x="434" y="372"/>
                    <a:pt x="434" y="371"/>
                  </a:cubicBezTo>
                  <a:cubicBezTo>
                    <a:pt x="434" y="371"/>
                    <a:pt x="434" y="371"/>
                    <a:pt x="434" y="371"/>
                  </a:cubicBezTo>
                  <a:cubicBezTo>
                    <a:pt x="434" y="371"/>
                    <a:pt x="434" y="371"/>
                    <a:pt x="434" y="371"/>
                  </a:cubicBezTo>
                  <a:cubicBezTo>
                    <a:pt x="435" y="371"/>
                    <a:pt x="436" y="371"/>
                    <a:pt x="436" y="370"/>
                  </a:cubicBezTo>
                  <a:cubicBezTo>
                    <a:pt x="436" y="370"/>
                    <a:pt x="436" y="369"/>
                    <a:pt x="437" y="369"/>
                  </a:cubicBezTo>
                  <a:cubicBezTo>
                    <a:pt x="437" y="371"/>
                    <a:pt x="438" y="371"/>
                    <a:pt x="438" y="371"/>
                  </a:cubicBezTo>
                  <a:cubicBezTo>
                    <a:pt x="439" y="371"/>
                    <a:pt x="439" y="370"/>
                    <a:pt x="440" y="370"/>
                  </a:cubicBezTo>
                  <a:cubicBezTo>
                    <a:pt x="440" y="370"/>
                    <a:pt x="440" y="369"/>
                    <a:pt x="440" y="369"/>
                  </a:cubicBezTo>
                  <a:cubicBezTo>
                    <a:pt x="440" y="369"/>
                    <a:pt x="441" y="369"/>
                    <a:pt x="442" y="368"/>
                  </a:cubicBezTo>
                  <a:cubicBezTo>
                    <a:pt x="442" y="368"/>
                    <a:pt x="443" y="368"/>
                    <a:pt x="444" y="368"/>
                  </a:cubicBezTo>
                  <a:cubicBezTo>
                    <a:pt x="444" y="367"/>
                    <a:pt x="445" y="367"/>
                    <a:pt x="446" y="367"/>
                  </a:cubicBezTo>
                  <a:cubicBezTo>
                    <a:pt x="446" y="367"/>
                    <a:pt x="447" y="367"/>
                    <a:pt x="447" y="366"/>
                  </a:cubicBezTo>
                  <a:cubicBezTo>
                    <a:pt x="448" y="366"/>
                    <a:pt x="448" y="366"/>
                    <a:pt x="448" y="366"/>
                  </a:cubicBezTo>
                  <a:cubicBezTo>
                    <a:pt x="448" y="366"/>
                    <a:pt x="449" y="365"/>
                    <a:pt x="449" y="365"/>
                  </a:cubicBezTo>
                  <a:cubicBezTo>
                    <a:pt x="449" y="365"/>
                    <a:pt x="451" y="365"/>
                    <a:pt x="452" y="365"/>
                  </a:cubicBezTo>
                  <a:cubicBezTo>
                    <a:pt x="452" y="365"/>
                    <a:pt x="452" y="365"/>
                    <a:pt x="452" y="365"/>
                  </a:cubicBezTo>
                  <a:cubicBezTo>
                    <a:pt x="452" y="364"/>
                    <a:pt x="452" y="364"/>
                    <a:pt x="452" y="364"/>
                  </a:cubicBezTo>
                  <a:cubicBezTo>
                    <a:pt x="453" y="364"/>
                    <a:pt x="453" y="364"/>
                    <a:pt x="453" y="365"/>
                  </a:cubicBezTo>
                  <a:cubicBezTo>
                    <a:pt x="453" y="365"/>
                    <a:pt x="453" y="365"/>
                    <a:pt x="453" y="366"/>
                  </a:cubicBezTo>
                  <a:cubicBezTo>
                    <a:pt x="453" y="366"/>
                    <a:pt x="453" y="366"/>
                    <a:pt x="453" y="366"/>
                  </a:cubicBezTo>
                  <a:cubicBezTo>
                    <a:pt x="452" y="366"/>
                    <a:pt x="452" y="366"/>
                    <a:pt x="451" y="366"/>
                  </a:cubicBezTo>
                  <a:cubicBezTo>
                    <a:pt x="451" y="368"/>
                    <a:pt x="451" y="368"/>
                    <a:pt x="451" y="368"/>
                  </a:cubicBezTo>
                  <a:cubicBezTo>
                    <a:pt x="451" y="366"/>
                    <a:pt x="451" y="366"/>
                    <a:pt x="451" y="366"/>
                  </a:cubicBezTo>
                  <a:cubicBezTo>
                    <a:pt x="450" y="366"/>
                    <a:pt x="449" y="366"/>
                    <a:pt x="449" y="367"/>
                  </a:cubicBezTo>
                  <a:cubicBezTo>
                    <a:pt x="448" y="368"/>
                    <a:pt x="448" y="369"/>
                    <a:pt x="448" y="370"/>
                  </a:cubicBezTo>
                  <a:cubicBezTo>
                    <a:pt x="448" y="370"/>
                    <a:pt x="448" y="370"/>
                    <a:pt x="448" y="370"/>
                  </a:cubicBezTo>
                  <a:cubicBezTo>
                    <a:pt x="448" y="372"/>
                    <a:pt x="450" y="372"/>
                    <a:pt x="450" y="372"/>
                  </a:cubicBezTo>
                  <a:cubicBezTo>
                    <a:pt x="450" y="372"/>
                    <a:pt x="450" y="372"/>
                    <a:pt x="450" y="372"/>
                  </a:cubicBezTo>
                  <a:cubicBezTo>
                    <a:pt x="450" y="372"/>
                    <a:pt x="450" y="372"/>
                    <a:pt x="450" y="372"/>
                  </a:cubicBezTo>
                  <a:cubicBezTo>
                    <a:pt x="449" y="373"/>
                    <a:pt x="449" y="374"/>
                    <a:pt x="448" y="376"/>
                  </a:cubicBezTo>
                  <a:cubicBezTo>
                    <a:pt x="448" y="376"/>
                    <a:pt x="448" y="376"/>
                    <a:pt x="447" y="376"/>
                  </a:cubicBezTo>
                  <a:cubicBezTo>
                    <a:pt x="447" y="377"/>
                    <a:pt x="446" y="378"/>
                    <a:pt x="446" y="380"/>
                  </a:cubicBezTo>
                  <a:cubicBezTo>
                    <a:pt x="446" y="380"/>
                    <a:pt x="445" y="380"/>
                    <a:pt x="445" y="381"/>
                  </a:cubicBezTo>
                  <a:cubicBezTo>
                    <a:pt x="445" y="380"/>
                    <a:pt x="444" y="379"/>
                    <a:pt x="443" y="379"/>
                  </a:cubicBezTo>
                  <a:cubicBezTo>
                    <a:pt x="442" y="379"/>
                    <a:pt x="441" y="380"/>
                    <a:pt x="441" y="380"/>
                  </a:cubicBezTo>
                  <a:cubicBezTo>
                    <a:pt x="441" y="380"/>
                    <a:pt x="440" y="379"/>
                    <a:pt x="439" y="379"/>
                  </a:cubicBezTo>
                  <a:close/>
                  <a:moveTo>
                    <a:pt x="334" y="455"/>
                  </a:moveTo>
                  <a:cubicBezTo>
                    <a:pt x="334" y="455"/>
                    <a:pt x="334" y="455"/>
                    <a:pt x="334" y="455"/>
                  </a:cubicBezTo>
                  <a:cubicBezTo>
                    <a:pt x="334" y="455"/>
                    <a:pt x="334" y="455"/>
                    <a:pt x="334" y="455"/>
                  </a:cubicBezTo>
                  <a:close/>
                  <a:moveTo>
                    <a:pt x="356" y="195"/>
                  </a:moveTo>
                  <a:cubicBezTo>
                    <a:pt x="356" y="195"/>
                    <a:pt x="356" y="195"/>
                    <a:pt x="356" y="195"/>
                  </a:cubicBezTo>
                  <a:cubicBezTo>
                    <a:pt x="356" y="195"/>
                    <a:pt x="356" y="195"/>
                    <a:pt x="356" y="195"/>
                  </a:cubicBezTo>
                  <a:close/>
                  <a:moveTo>
                    <a:pt x="276" y="274"/>
                  </a:move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lose/>
                  <a:moveTo>
                    <a:pt x="373" y="432"/>
                  </a:moveTo>
                  <a:cubicBezTo>
                    <a:pt x="374" y="431"/>
                    <a:pt x="375" y="430"/>
                    <a:pt x="375" y="429"/>
                  </a:cubicBezTo>
                  <a:cubicBezTo>
                    <a:pt x="375" y="429"/>
                    <a:pt x="375" y="429"/>
                    <a:pt x="376" y="429"/>
                  </a:cubicBezTo>
                  <a:cubicBezTo>
                    <a:pt x="376" y="429"/>
                    <a:pt x="376" y="429"/>
                    <a:pt x="377" y="429"/>
                  </a:cubicBezTo>
                  <a:cubicBezTo>
                    <a:pt x="378" y="429"/>
                    <a:pt x="378" y="429"/>
                    <a:pt x="379" y="428"/>
                  </a:cubicBezTo>
                  <a:cubicBezTo>
                    <a:pt x="379" y="428"/>
                    <a:pt x="379" y="428"/>
                    <a:pt x="379" y="429"/>
                  </a:cubicBezTo>
                  <a:cubicBezTo>
                    <a:pt x="379" y="429"/>
                    <a:pt x="380" y="429"/>
                    <a:pt x="380" y="429"/>
                  </a:cubicBezTo>
                  <a:cubicBezTo>
                    <a:pt x="380" y="429"/>
                    <a:pt x="380" y="429"/>
                    <a:pt x="381" y="429"/>
                  </a:cubicBezTo>
                  <a:cubicBezTo>
                    <a:pt x="381" y="429"/>
                    <a:pt x="382" y="428"/>
                    <a:pt x="382" y="428"/>
                  </a:cubicBezTo>
                  <a:cubicBezTo>
                    <a:pt x="383" y="429"/>
                    <a:pt x="384" y="429"/>
                    <a:pt x="384" y="428"/>
                  </a:cubicBezTo>
                  <a:cubicBezTo>
                    <a:pt x="384" y="428"/>
                    <a:pt x="384" y="428"/>
                    <a:pt x="384" y="428"/>
                  </a:cubicBezTo>
                  <a:cubicBezTo>
                    <a:pt x="385" y="429"/>
                    <a:pt x="385" y="429"/>
                    <a:pt x="385" y="429"/>
                  </a:cubicBezTo>
                  <a:cubicBezTo>
                    <a:pt x="385" y="429"/>
                    <a:pt x="385" y="430"/>
                    <a:pt x="386" y="430"/>
                  </a:cubicBezTo>
                  <a:cubicBezTo>
                    <a:pt x="386" y="430"/>
                    <a:pt x="386" y="430"/>
                    <a:pt x="386" y="430"/>
                  </a:cubicBezTo>
                  <a:cubicBezTo>
                    <a:pt x="385" y="430"/>
                    <a:pt x="385" y="430"/>
                    <a:pt x="384" y="430"/>
                  </a:cubicBezTo>
                  <a:cubicBezTo>
                    <a:pt x="383" y="431"/>
                    <a:pt x="382" y="432"/>
                    <a:pt x="382" y="432"/>
                  </a:cubicBezTo>
                  <a:cubicBezTo>
                    <a:pt x="382" y="432"/>
                    <a:pt x="383" y="433"/>
                    <a:pt x="383" y="433"/>
                  </a:cubicBezTo>
                  <a:cubicBezTo>
                    <a:pt x="382" y="433"/>
                    <a:pt x="382" y="433"/>
                    <a:pt x="382" y="433"/>
                  </a:cubicBezTo>
                  <a:cubicBezTo>
                    <a:pt x="382" y="433"/>
                    <a:pt x="382" y="433"/>
                    <a:pt x="382" y="433"/>
                  </a:cubicBezTo>
                  <a:cubicBezTo>
                    <a:pt x="382" y="433"/>
                    <a:pt x="382" y="433"/>
                    <a:pt x="381" y="433"/>
                  </a:cubicBezTo>
                  <a:cubicBezTo>
                    <a:pt x="381" y="432"/>
                    <a:pt x="381" y="432"/>
                    <a:pt x="379" y="433"/>
                  </a:cubicBezTo>
                  <a:cubicBezTo>
                    <a:pt x="378" y="431"/>
                    <a:pt x="376" y="431"/>
                    <a:pt x="375" y="433"/>
                  </a:cubicBezTo>
                  <a:cubicBezTo>
                    <a:pt x="375" y="433"/>
                    <a:pt x="375" y="433"/>
                    <a:pt x="375" y="433"/>
                  </a:cubicBezTo>
                  <a:cubicBezTo>
                    <a:pt x="375" y="433"/>
                    <a:pt x="374" y="433"/>
                    <a:pt x="374" y="433"/>
                  </a:cubicBezTo>
                  <a:cubicBezTo>
                    <a:pt x="373" y="432"/>
                    <a:pt x="373" y="432"/>
                    <a:pt x="373" y="432"/>
                  </a:cubicBezTo>
                  <a:close/>
                  <a:moveTo>
                    <a:pt x="662" y="128"/>
                  </a:moveTo>
                  <a:cubicBezTo>
                    <a:pt x="662" y="128"/>
                    <a:pt x="662" y="128"/>
                    <a:pt x="662" y="128"/>
                  </a:cubicBezTo>
                  <a:cubicBezTo>
                    <a:pt x="662" y="128"/>
                    <a:pt x="661" y="127"/>
                    <a:pt x="661" y="127"/>
                  </a:cubicBezTo>
                  <a:cubicBezTo>
                    <a:pt x="661" y="127"/>
                    <a:pt x="661" y="127"/>
                    <a:pt x="661" y="126"/>
                  </a:cubicBezTo>
                  <a:cubicBezTo>
                    <a:pt x="661" y="127"/>
                    <a:pt x="661" y="127"/>
                    <a:pt x="662" y="128"/>
                  </a:cubicBezTo>
                  <a:close/>
                  <a:moveTo>
                    <a:pt x="626" y="145"/>
                  </a:moveTo>
                  <a:cubicBezTo>
                    <a:pt x="626" y="146"/>
                    <a:pt x="626" y="146"/>
                    <a:pt x="626" y="146"/>
                  </a:cubicBezTo>
                  <a:cubicBezTo>
                    <a:pt x="625" y="145"/>
                    <a:pt x="624" y="144"/>
                    <a:pt x="622" y="144"/>
                  </a:cubicBezTo>
                  <a:cubicBezTo>
                    <a:pt x="622" y="144"/>
                    <a:pt x="622" y="144"/>
                    <a:pt x="622" y="144"/>
                  </a:cubicBezTo>
                  <a:cubicBezTo>
                    <a:pt x="622" y="144"/>
                    <a:pt x="621" y="144"/>
                    <a:pt x="621" y="144"/>
                  </a:cubicBezTo>
                  <a:cubicBezTo>
                    <a:pt x="621" y="143"/>
                    <a:pt x="620" y="143"/>
                    <a:pt x="620" y="143"/>
                  </a:cubicBezTo>
                  <a:cubicBezTo>
                    <a:pt x="621" y="143"/>
                    <a:pt x="622" y="143"/>
                    <a:pt x="623" y="142"/>
                  </a:cubicBezTo>
                  <a:cubicBezTo>
                    <a:pt x="623" y="142"/>
                    <a:pt x="623" y="142"/>
                    <a:pt x="623" y="142"/>
                  </a:cubicBezTo>
                  <a:cubicBezTo>
                    <a:pt x="624" y="143"/>
                    <a:pt x="624" y="143"/>
                    <a:pt x="625" y="143"/>
                  </a:cubicBezTo>
                  <a:cubicBezTo>
                    <a:pt x="625" y="143"/>
                    <a:pt x="625" y="144"/>
                    <a:pt x="625" y="144"/>
                  </a:cubicBezTo>
                  <a:cubicBezTo>
                    <a:pt x="626" y="145"/>
                    <a:pt x="626" y="145"/>
                    <a:pt x="626" y="145"/>
                  </a:cubicBezTo>
                  <a:close/>
                  <a:moveTo>
                    <a:pt x="392" y="100"/>
                  </a:moveTo>
                  <a:cubicBezTo>
                    <a:pt x="391" y="100"/>
                    <a:pt x="391" y="100"/>
                    <a:pt x="391" y="101"/>
                  </a:cubicBezTo>
                  <a:cubicBezTo>
                    <a:pt x="391" y="100"/>
                    <a:pt x="391" y="100"/>
                    <a:pt x="392" y="100"/>
                  </a:cubicBezTo>
                  <a:cubicBezTo>
                    <a:pt x="392" y="100"/>
                    <a:pt x="392" y="100"/>
                    <a:pt x="392" y="100"/>
                  </a:cubicBezTo>
                  <a:close/>
                  <a:moveTo>
                    <a:pt x="346" y="128"/>
                  </a:moveTo>
                  <a:cubicBezTo>
                    <a:pt x="346" y="128"/>
                    <a:pt x="346" y="128"/>
                    <a:pt x="345" y="128"/>
                  </a:cubicBezTo>
                  <a:cubicBezTo>
                    <a:pt x="346" y="128"/>
                    <a:pt x="346" y="127"/>
                    <a:pt x="346" y="127"/>
                  </a:cubicBezTo>
                  <a:cubicBezTo>
                    <a:pt x="346" y="128"/>
                    <a:pt x="346" y="128"/>
                    <a:pt x="346" y="128"/>
                  </a:cubicBezTo>
                  <a:cubicBezTo>
                    <a:pt x="346" y="128"/>
                    <a:pt x="346" y="128"/>
                    <a:pt x="346" y="128"/>
                  </a:cubicBezTo>
                  <a:close/>
                  <a:moveTo>
                    <a:pt x="338" y="128"/>
                  </a:moveTo>
                  <a:cubicBezTo>
                    <a:pt x="338" y="128"/>
                    <a:pt x="338" y="128"/>
                    <a:pt x="338" y="128"/>
                  </a:cubicBezTo>
                  <a:cubicBezTo>
                    <a:pt x="338" y="128"/>
                    <a:pt x="338" y="128"/>
                    <a:pt x="338" y="128"/>
                  </a:cubicBezTo>
                  <a:cubicBezTo>
                    <a:pt x="338" y="128"/>
                    <a:pt x="338" y="128"/>
                    <a:pt x="338" y="128"/>
                  </a:cubicBezTo>
                  <a:close/>
                  <a:moveTo>
                    <a:pt x="280" y="286"/>
                  </a:moveTo>
                  <a:cubicBezTo>
                    <a:pt x="280" y="286"/>
                    <a:pt x="280" y="286"/>
                    <a:pt x="280" y="286"/>
                  </a:cubicBezTo>
                  <a:cubicBezTo>
                    <a:pt x="280" y="286"/>
                    <a:pt x="280" y="286"/>
                    <a:pt x="280" y="286"/>
                  </a:cubicBezTo>
                  <a:close/>
                  <a:moveTo>
                    <a:pt x="275" y="270"/>
                  </a:moveTo>
                  <a:cubicBezTo>
                    <a:pt x="275" y="270"/>
                    <a:pt x="275" y="270"/>
                    <a:pt x="276" y="270"/>
                  </a:cubicBezTo>
                  <a:cubicBezTo>
                    <a:pt x="276" y="270"/>
                    <a:pt x="276" y="270"/>
                    <a:pt x="276" y="270"/>
                  </a:cubicBezTo>
                  <a:cubicBezTo>
                    <a:pt x="276" y="271"/>
                    <a:pt x="276" y="271"/>
                    <a:pt x="276" y="271"/>
                  </a:cubicBezTo>
                  <a:cubicBezTo>
                    <a:pt x="276" y="271"/>
                    <a:pt x="276" y="271"/>
                    <a:pt x="276" y="272"/>
                  </a:cubicBezTo>
                  <a:cubicBezTo>
                    <a:pt x="276" y="272"/>
                    <a:pt x="276" y="273"/>
                    <a:pt x="276" y="273"/>
                  </a:cubicBezTo>
                  <a:cubicBezTo>
                    <a:pt x="276" y="273"/>
                    <a:pt x="276" y="273"/>
                    <a:pt x="276" y="273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5" y="274"/>
                  </a:cubicBezTo>
                  <a:cubicBezTo>
                    <a:pt x="275" y="274"/>
                    <a:pt x="275" y="274"/>
                    <a:pt x="274" y="274"/>
                  </a:cubicBezTo>
                  <a:cubicBezTo>
                    <a:pt x="275" y="273"/>
                    <a:pt x="275" y="272"/>
                    <a:pt x="275" y="270"/>
                  </a:cubicBezTo>
                  <a:close/>
                  <a:moveTo>
                    <a:pt x="434" y="472"/>
                  </a:moveTo>
                  <a:cubicBezTo>
                    <a:pt x="434" y="472"/>
                    <a:pt x="434" y="472"/>
                    <a:pt x="434" y="472"/>
                  </a:cubicBezTo>
                  <a:cubicBezTo>
                    <a:pt x="434" y="472"/>
                    <a:pt x="434" y="472"/>
                    <a:pt x="434" y="472"/>
                  </a:cubicBezTo>
                  <a:cubicBezTo>
                    <a:pt x="434" y="472"/>
                    <a:pt x="434" y="472"/>
                    <a:pt x="434" y="472"/>
                  </a:cubicBezTo>
                  <a:close/>
                  <a:moveTo>
                    <a:pt x="402" y="835"/>
                  </a:moveTo>
                  <a:cubicBezTo>
                    <a:pt x="402" y="835"/>
                    <a:pt x="402" y="835"/>
                    <a:pt x="402" y="835"/>
                  </a:cubicBezTo>
                  <a:cubicBezTo>
                    <a:pt x="402" y="835"/>
                    <a:pt x="402" y="835"/>
                    <a:pt x="402" y="835"/>
                  </a:cubicBezTo>
                  <a:close/>
                  <a:moveTo>
                    <a:pt x="415" y="844"/>
                  </a:moveTo>
                  <a:cubicBezTo>
                    <a:pt x="415" y="846"/>
                    <a:pt x="415" y="846"/>
                    <a:pt x="415" y="846"/>
                  </a:cubicBezTo>
                  <a:cubicBezTo>
                    <a:pt x="415" y="846"/>
                    <a:pt x="415" y="846"/>
                    <a:pt x="415" y="846"/>
                  </a:cubicBezTo>
                  <a:cubicBezTo>
                    <a:pt x="415" y="846"/>
                    <a:pt x="415" y="846"/>
                    <a:pt x="415" y="846"/>
                  </a:cubicBezTo>
                  <a:cubicBezTo>
                    <a:pt x="415" y="846"/>
                    <a:pt x="415" y="846"/>
                    <a:pt x="415" y="846"/>
                  </a:cubicBezTo>
                  <a:cubicBezTo>
                    <a:pt x="414" y="846"/>
                    <a:pt x="414" y="847"/>
                    <a:pt x="414" y="847"/>
                  </a:cubicBezTo>
                  <a:cubicBezTo>
                    <a:pt x="414" y="847"/>
                    <a:pt x="414" y="847"/>
                    <a:pt x="414" y="848"/>
                  </a:cubicBezTo>
                  <a:cubicBezTo>
                    <a:pt x="413" y="849"/>
                    <a:pt x="413" y="850"/>
                    <a:pt x="413" y="850"/>
                  </a:cubicBezTo>
                  <a:cubicBezTo>
                    <a:pt x="413" y="850"/>
                    <a:pt x="413" y="851"/>
                    <a:pt x="413" y="851"/>
                  </a:cubicBezTo>
                  <a:cubicBezTo>
                    <a:pt x="413" y="851"/>
                    <a:pt x="412" y="851"/>
                    <a:pt x="412" y="851"/>
                  </a:cubicBezTo>
                  <a:cubicBezTo>
                    <a:pt x="412" y="851"/>
                    <a:pt x="411" y="851"/>
                    <a:pt x="410" y="852"/>
                  </a:cubicBezTo>
                  <a:cubicBezTo>
                    <a:pt x="410" y="853"/>
                    <a:pt x="410" y="854"/>
                    <a:pt x="410" y="854"/>
                  </a:cubicBezTo>
                  <a:cubicBezTo>
                    <a:pt x="410" y="855"/>
                    <a:pt x="409" y="855"/>
                    <a:pt x="409" y="855"/>
                  </a:cubicBezTo>
                  <a:cubicBezTo>
                    <a:pt x="409" y="856"/>
                    <a:pt x="409" y="856"/>
                    <a:pt x="409" y="857"/>
                  </a:cubicBezTo>
                  <a:cubicBezTo>
                    <a:pt x="409" y="858"/>
                    <a:pt x="410" y="858"/>
                    <a:pt x="411" y="858"/>
                  </a:cubicBezTo>
                  <a:cubicBezTo>
                    <a:pt x="411" y="858"/>
                    <a:pt x="411" y="859"/>
                    <a:pt x="411" y="859"/>
                  </a:cubicBezTo>
                  <a:cubicBezTo>
                    <a:pt x="410" y="859"/>
                    <a:pt x="410" y="859"/>
                    <a:pt x="410" y="859"/>
                  </a:cubicBezTo>
                  <a:cubicBezTo>
                    <a:pt x="410" y="858"/>
                    <a:pt x="409" y="858"/>
                    <a:pt x="408" y="858"/>
                  </a:cubicBezTo>
                  <a:cubicBezTo>
                    <a:pt x="408" y="858"/>
                    <a:pt x="407" y="858"/>
                    <a:pt x="407" y="858"/>
                  </a:cubicBezTo>
                  <a:cubicBezTo>
                    <a:pt x="406" y="858"/>
                    <a:pt x="406" y="859"/>
                    <a:pt x="406" y="859"/>
                  </a:cubicBezTo>
                  <a:cubicBezTo>
                    <a:pt x="406" y="859"/>
                    <a:pt x="405" y="859"/>
                    <a:pt x="404" y="859"/>
                  </a:cubicBezTo>
                  <a:cubicBezTo>
                    <a:pt x="404" y="859"/>
                    <a:pt x="404" y="859"/>
                    <a:pt x="404" y="859"/>
                  </a:cubicBezTo>
                  <a:cubicBezTo>
                    <a:pt x="404" y="859"/>
                    <a:pt x="404" y="859"/>
                    <a:pt x="403" y="859"/>
                  </a:cubicBezTo>
                  <a:cubicBezTo>
                    <a:pt x="403" y="859"/>
                    <a:pt x="403" y="858"/>
                    <a:pt x="403" y="858"/>
                  </a:cubicBezTo>
                  <a:cubicBezTo>
                    <a:pt x="402" y="858"/>
                    <a:pt x="402" y="858"/>
                    <a:pt x="401" y="858"/>
                  </a:cubicBezTo>
                  <a:cubicBezTo>
                    <a:pt x="400" y="858"/>
                    <a:pt x="400" y="858"/>
                    <a:pt x="399" y="859"/>
                  </a:cubicBezTo>
                  <a:cubicBezTo>
                    <a:pt x="399" y="859"/>
                    <a:pt x="399" y="858"/>
                    <a:pt x="399" y="858"/>
                  </a:cubicBezTo>
                  <a:cubicBezTo>
                    <a:pt x="399" y="857"/>
                    <a:pt x="400" y="855"/>
                    <a:pt x="399" y="854"/>
                  </a:cubicBezTo>
                  <a:cubicBezTo>
                    <a:pt x="399" y="853"/>
                    <a:pt x="399" y="852"/>
                    <a:pt x="400" y="851"/>
                  </a:cubicBezTo>
                  <a:cubicBezTo>
                    <a:pt x="400" y="851"/>
                    <a:pt x="400" y="851"/>
                    <a:pt x="400" y="851"/>
                  </a:cubicBezTo>
                  <a:cubicBezTo>
                    <a:pt x="400" y="850"/>
                    <a:pt x="400" y="848"/>
                    <a:pt x="400" y="846"/>
                  </a:cubicBezTo>
                  <a:cubicBezTo>
                    <a:pt x="400" y="846"/>
                    <a:pt x="400" y="846"/>
                    <a:pt x="399" y="846"/>
                  </a:cubicBezTo>
                  <a:cubicBezTo>
                    <a:pt x="402" y="844"/>
                    <a:pt x="402" y="844"/>
                    <a:pt x="402" y="844"/>
                  </a:cubicBezTo>
                  <a:cubicBezTo>
                    <a:pt x="399" y="844"/>
                    <a:pt x="399" y="844"/>
                    <a:pt x="399" y="844"/>
                  </a:cubicBezTo>
                  <a:cubicBezTo>
                    <a:pt x="399" y="844"/>
                    <a:pt x="399" y="844"/>
                    <a:pt x="399" y="843"/>
                  </a:cubicBezTo>
                  <a:cubicBezTo>
                    <a:pt x="399" y="843"/>
                    <a:pt x="399" y="843"/>
                    <a:pt x="399" y="843"/>
                  </a:cubicBezTo>
                  <a:cubicBezTo>
                    <a:pt x="400" y="843"/>
                    <a:pt x="400" y="843"/>
                    <a:pt x="401" y="843"/>
                  </a:cubicBezTo>
                  <a:cubicBezTo>
                    <a:pt x="401" y="843"/>
                    <a:pt x="402" y="842"/>
                    <a:pt x="402" y="842"/>
                  </a:cubicBezTo>
                  <a:cubicBezTo>
                    <a:pt x="403" y="841"/>
                    <a:pt x="403" y="840"/>
                    <a:pt x="402" y="840"/>
                  </a:cubicBezTo>
                  <a:cubicBezTo>
                    <a:pt x="402" y="840"/>
                    <a:pt x="402" y="840"/>
                    <a:pt x="402" y="840"/>
                  </a:cubicBezTo>
                  <a:cubicBezTo>
                    <a:pt x="402" y="839"/>
                    <a:pt x="402" y="839"/>
                    <a:pt x="402" y="839"/>
                  </a:cubicBezTo>
                  <a:cubicBezTo>
                    <a:pt x="402" y="838"/>
                    <a:pt x="401" y="837"/>
                    <a:pt x="400" y="837"/>
                  </a:cubicBezTo>
                  <a:cubicBezTo>
                    <a:pt x="400" y="837"/>
                    <a:pt x="400" y="837"/>
                    <a:pt x="400" y="837"/>
                  </a:cubicBezTo>
                  <a:cubicBezTo>
                    <a:pt x="400" y="837"/>
                    <a:pt x="400" y="837"/>
                    <a:pt x="400" y="837"/>
                  </a:cubicBezTo>
                  <a:cubicBezTo>
                    <a:pt x="401" y="837"/>
                    <a:pt x="402" y="837"/>
                    <a:pt x="402" y="836"/>
                  </a:cubicBezTo>
                  <a:cubicBezTo>
                    <a:pt x="402" y="836"/>
                    <a:pt x="402" y="836"/>
                    <a:pt x="402" y="836"/>
                  </a:cubicBezTo>
                  <a:cubicBezTo>
                    <a:pt x="402" y="836"/>
                    <a:pt x="402" y="836"/>
                    <a:pt x="402" y="836"/>
                  </a:cubicBezTo>
                  <a:cubicBezTo>
                    <a:pt x="403" y="836"/>
                    <a:pt x="403" y="836"/>
                    <a:pt x="403" y="836"/>
                  </a:cubicBezTo>
                  <a:cubicBezTo>
                    <a:pt x="403" y="836"/>
                    <a:pt x="404" y="836"/>
                    <a:pt x="404" y="836"/>
                  </a:cubicBezTo>
                  <a:cubicBezTo>
                    <a:pt x="404" y="836"/>
                    <a:pt x="404" y="836"/>
                    <a:pt x="405" y="836"/>
                  </a:cubicBezTo>
                  <a:cubicBezTo>
                    <a:pt x="405" y="837"/>
                    <a:pt x="406" y="837"/>
                    <a:pt x="407" y="837"/>
                  </a:cubicBezTo>
                  <a:cubicBezTo>
                    <a:pt x="407" y="837"/>
                    <a:pt x="407" y="837"/>
                    <a:pt x="407" y="837"/>
                  </a:cubicBezTo>
                  <a:cubicBezTo>
                    <a:pt x="408" y="837"/>
                    <a:pt x="409" y="836"/>
                    <a:pt x="410" y="835"/>
                  </a:cubicBezTo>
                  <a:cubicBezTo>
                    <a:pt x="410" y="835"/>
                    <a:pt x="410" y="834"/>
                    <a:pt x="410" y="834"/>
                  </a:cubicBezTo>
                  <a:cubicBezTo>
                    <a:pt x="410" y="834"/>
                    <a:pt x="410" y="834"/>
                    <a:pt x="410" y="834"/>
                  </a:cubicBezTo>
                  <a:cubicBezTo>
                    <a:pt x="410" y="833"/>
                    <a:pt x="410" y="833"/>
                    <a:pt x="410" y="833"/>
                  </a:cubicBezTo>
                  <a:cubicBezTo>
                    <a:pt x="411" y="833"/>
                    <a:pt x="411" y="833"/>
                    <a:pt x="411" y="833"/>
                  </a:cubicBezTo>
                  <a:cubicBezTo>
                    <a:pt x="411" y="834"/>
                    <a:pt x="411" y="834"/>
                    <a:pt x="413" y="835"/>
                  </a:cubicBezTo>
                  <a:cubicBezTo>
                    <a:pt x="413" y="835"/>
                    <a:pt x="413" y="835"/>
                    <a:pt x="414" y="835"/>
                  </a:cubicBezTo>
                  <a:cubicBezTo>
                    <a:pt x="414" y="836"/>
                    <a:pt x="414" y="836"/>
                    <a:pt x="414" y="836"/>
                  </a:cubicBezTo>
                  <a:cubicBezTo>
                    <a:pt x="414" y="836"/>
                    <a:pt x="414" y="836"/>
                    <a:pt x="414" y="836"/>
                  </a:cubicBezTo>
                  <a:cubicBezTo>
                    <a:pt x="415" y="837"/>
                    <a:pt x="415" y="837"/>
                    <a:pt x="415" y="837"/>
                  </a:cubicBezTo>
                  <a:cubicBezTo>
                    <a:pt x="415" y="837"/>
                    <a:pt x="415" y="837"/>
                    <a:pt x="416" y="837"/>
                  </a:cubicBezTo>
                  <a:cubicBezTo>
                    <a:pt x="416" y="837"/>
                    <a:pt x="416" y="838"/>
                    <a:pt x="416" y="838"/>
                  </a:cubicBezTo>
                  <a:cubicBezTo>
                    <a:pt x="416" y="838"/>
                    <a:pt x="416" y="839"/>
                    <a:pt x="417" y="840"/>
                  </a:cubicBezTo>
                  <a:cubicBezTo>
                    <a:pt x="417" y="840"/>
                    <a:pt x="417" y="840"/>
                    <a:pt x="417" y="840"/>
                  </a:cubicBezTo>
                  <a:cubicBezTo>
                    <a:pt x="417" y="840"/>
                    <a:pt x="416" y="840"/>
                    <a:pt x="416" y="840"/>
                  </a:cubicBezTo>
                  <a:cubicBezTo>
                    <a:pt x="415" y="841"/>
                    <a:pt x="416" y="842"/>
                    <a:pt x="416" y="843"/>
                  </a:cubicBezTo>
                  <a:cubicBezTo>
                    <a:pt x="416" y="843"/>
                    <a:pt x="416" y="844"/>
                    <a:pt x="416" y="844"/>
                  </a:cubicBezTo>
                  <a:cubicBezTo>
                    <a:pt x="416" y="844"/>
                    <a:pt x="416" y="844"/>
                    <a:pt x="416" y="844"/>
                  </a:cubicBezTo>
                  <a:cubicBezTo>
                    <a:pt x="416" y="844"/>
                    <a:pt x="416" y="844"/>
                    <a:pt x="416" y="844"/>
                  </a:cubicBezTo>
                  <a:cubicBezTo>
                    <a:pt x="416" y="844"/>
                    <a:pt x="416" y="844"/>
                    <a:pt x="415" y="845"/>
                  </a:cubicBezTo>
                  <a:lnTo>
                    <a:pt x="415" y="844"/>
                  </a:lnTo>
                  <a:close/>
                  <a:moveTo>
                    <a:pt x="488" y="709"/>
                  </a:moveTo>
                  <a:cubicBezTo>
                    <a:pt x="488" y="709"/>
                    <a:pt x="488" y="709"/>
                    <a:pt x="488" y="709"/>
                  </a:cubicBezTo>
                  <a:cubicBezTo>
                    <a:pt x="487" y="709"/>
                    <a:pt x="487" y="709"/>
                    <a:pt x="486" y="709"/>
                  </a:cubicBezTo>
                  <a:cubicBezTo>
                    <a:pt x="486" y="710"/>
                    <a:pt x="486" y="710"/>
                    <a:pt x="486" y="710"/>
                  </a:cubicBezTo>
                  <a:cubicBezTo>
                    <a:pt x="485" y="709"/>
                    <a:pt x="485" y="709"/>
                    <a:pt x="485" y="708"/>
                  </a:cubicBezTo>
                  <a:cubicBezTo>
                    <a:pt x="485" y="708"/>
                    <a:pt x="485" y="707"/>
                    <a:pt x="484" y="707"/>
                  </a:cubicBezTo>
                  <a:cubicBezTo>
                    <a:pt x="484" y="706"/>
                    <a:pt x="484" y="706"/>
                    <a:pt x="484" y="706"/>
                  </a:cubicBezTo>
                  <a:cubicBezTo>
                    <a:pt x="484" y="706"/>
                    <a:pt x="484" y="706"/>
                    <a:pt x="484" y="705"/>
                  </a:cubicBezTo>
                  <a:cubicBezTo>
                    <a:pt x="484" y="705"/>
                    <a:pt x="485" y="704"/>
                    <a:pt x="484" y="703"/>
                  </a:cubicBezTo>
                  <a:cubicBezTo>
                    <a:pt x="484" y="702"/>
                    <a:pt x="482" y="702"/>
                    <a:pt x="482" y="702"/>
                  </a:cubicBezTo>
                  <a:cubicBezTo>
                    <a:pt x="482" y="702"/>
                    <a:pt x="481" y="702"/>
                    <a:pt x="481" y="702"/>
                  </a:cubicBezTo>
                  <a:cubicBezTo>
                    <a:pt x="481" y="702"/>
                    <a:pt x="481" y="701"/>
                    <a:pt x="481" y="701"/>
                  </a:cubicBezTo>
                  <a:cubicBezTo>
                    <a:pt x="481" y="700"/>
                    <a:pt x="481" y="699"/>
                    <a:pt x="480" y="699"/>
                  </a:cubicBezTo>
                  <a:cubicBezTo>
                    <a:pt x="479" y="698"/>
                    <a:pt x="479" y="698"/>
                    <a:pt x="478" y="698"/>
                  </a:cubicBezTo>
                  <a:cubicBezTo>
                    <a:pt x="478" y="698"/>
                    <a:pt x="477" y="697"/>
                    <a:pt x="477" y="697"/>
                  </a:cubicBezTo>
                  <a:cubicBezTo>
                    <a:pt x="477" y="697"/>
                    <a:pt x="477" y="696"/>
                    <a:pt x="477" y="696"/>
                  </a:cubicBezTo>
                  <a:cubicBezTo>
                    <a:pt x="477" y="695"/>
                    <a:pt x="477" y="693"/>
                    <a:pt x="475" y="692"/>
                  </a:cubicBezTo>
                  <a:cubicBezTo>
                    <a:pt x="475" y="691"/>
                    <a:pt x="474" y="691"/>
                    <a:pt x="473" y="691"/>
                  </a:cubicBezTo>
                  <a:cubicBezTo>
                    <a:pt x="473" y="691"/>
                    <a:pt x="473" y="691"/>
                    <a:pt x="472" y="691"/>
                  </a:cubicBezTo>
                  <a:cubicBezTo>
                    <a:pt x="472" y="691"/>
                    <a:pt x="472" y="691"/>
                    <a:pt x="472" y="691"/>
                  </a:cubicBezTo>
                  <a:cubicBezTo>
                    <a:pt x="472" y="690"/>
                    <a:pt x="472" y="690"/>
                    <a:pt x="472" y="690"/>
                  </a:cubicBezTo>
                  <a:cubicBezTo>
                    <a:pt x="471" y="689"/>
                    <a:pt x="470" y="688"/>
                    <a:pt x="469" y="688"/>
                  </a:cubicBezTo>
                  <a:cubicBezTo>
                    <a:pt x="469" y="688"/>
                    <a:pt x="468" y="687"/>
                    <a:pt x="468" y="687"/>
                  </a:cubicBezTo>
                  <a:cubicBezTo>
                    <a:pt x="466" y="684"/>
                    <a:pt x="465" y="684"/>
                    <a:pt x="464" y="684"/>
                  </a:cubicBezTo>
                  <a:cubicBezTo>
                    <a:pt x="464" y="684"/>
                    <a:pt x="463" y="684"/>
                    <a:pt x="463" y="684"/>
                  </a:cubicBezTo>
                  <a:cubicBezTo>
                    <a:pt x="463" y="684"/>
                    <a:pt x="462" y="683"/>
                    <a:pt x="462" y="683"/>
                  </a:cubicBezTo>
                  <a:cubicBezTo>
                    <a:pt x="462" y="683"/>
                    <a:pt x="462" y="682"/>
                    <a:pt x="461" y="681"/>
                  </a:cubicBezTo>
                  <a:cubicBezTo>
                    <a:pt x="461" y="681"/>
                    <a:pt x="461" y="680"/>
                    <a:pt x="461" y="679"/>
                  </a:cubicBezTo>
                  <a:cubicBezTo>
                    <a:pt x="460" y="679"/>
                    <a:pt x="460" y="678"/>
                    <a:pt x="460" y="678"/>
                  </a:cubicBezTo>
                  <a:cubicBezTo>
                    <a:pt x="460" y="678"/>
                    <a:pt x="459" y="678"/>
                    <a:pt x="459" y="677"/>
                  </a:cubicBezTo>
                  <a:cubicBezTo>
                    <a:pt x="459" y="677"/>
                    <a:pt x="459" y="677"/>
                    <a:pt x="460" y="676"/>
                  </a:cubicBezTo>
                  <a:cubicBezTo>
                    <a:pt x="460" y="676"/>
                    <a:pt x="460" y="676"/>
                    <a:pt x="460" y="676"/>
                  </a:cubicBezTo>
                  <a:cubicBezTo>
                    <a:pt x="460" y="674"/>
                    <a:pt x="460" y="672"/>
                    <a:pt x="459" y="670"/>
                  </a:cubicBezTo>
                  <a:cubicBezTo>
                    <a:pt x="458" y="669"/>
                    <a:pt x="458" y="668"/>
                    <a:pt x="457" y="666"/>
                  </a:cubicBezTo>
                  <a:cubicBezTo>
                    <a:pt x="457" y="665"/>
                    <a:pt x="456" y="663"/>
                    <a:pt x="456" y="662"/>
                  </a:cubicBezTo>
                  <a:cubicBezTo>
                    <a:pt x="455" y="662"/>
                    <a:pt x="455" y="662"/>
                    <a:pt x="455" y="662"/>
                  </a:cubicBezTo>
                  <a:cubicBezTo>
                    <a:pt x="455" y="661"/>
                    <a:pt x="455" y="661"/>
                    <a:pt x="454" y="660"/>
                  </a:cubicBezTo>
                  <a:cubicBezTo>
                    <a:pt x="454" y="660"/>
                    <a:pt x="454" y="660"/>
                    <a:pt x="454" y="660"/>
                  </a:cubicBezTo>
                  <a:cubicBezTo>
                    <a:pt x="454" y="660"/>
                    <a:pt x="454" y="660"/>
                    <a:pt x="454" y="660"/>
                  </a:cubicBezTo>
                  <a:cubicBezTo>
                    <a:pt x="454" y="660"/>
                    <a:pt x="454" y="660"/>
                    <a:pt x="454" y="660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3" y="657"/>
                    <a:pt x="452" y="657"/>
                    <a:pt x="451" y="657"/>
                  </a:cubicBezTo>
                  <a:cubicBezTo>
                    <a:pt x="451" y="657"/>
                    <a:pt x="451" y="657"/>
                    <a:pt x="451" y="656"/>
                  </a:cubicBezTo>
                  <a:cubicBezTo>
                    <a:pt x="451" y="656"/>
                    <a:pt x="450" y="656"/>
                    <a:pt x="450" y="656"/>
                  </a:cubicBezTo>
                  <a:cubicBezTo>
                    <a:pt x="450" y="655"/>
                    <a:pt x="450" y="655"/>
                    <a:pt x="449" y="655"/>
                  </a:cubicBezTo>
                  <a:cubicBezTo>
                    <a:pt x="448" y="654"/>
                    <a:pt x="447" y="654"/>
                    <a:pt x="446" y="653"/>
                  </a:cubicBezTo>
                  <a:cubicBezTo>
                    <a:pt x="446" y="653"/>
                    <a:pt x="446" y="653"/>
                    <a:pt x="445" y="653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5" y="652"/>
                    <a:pt x="445" y="652"/>
                    <a:pt x="445" y="652"/>
                  </a:cubicBezTo>
                  <a:cubicBezTo>
                    <a:pt x="445" y="651"/>
                    <a:pt x="445" y="650"/>
                    <a:pt x="445" y="649"/>
                  </a:cubicBezTo>
                  <a:cubicBezTo>
                    <a:pt x="445" y="649"/>
                    <a:pt x="445" y="648"/>
                    <a:pt x="445" y="648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4" y="645"/>
                    <a:pt x="444" y="643"/>
                    <a:pt x="444" y="641"/>
                  </a:cubicBezTo>
                  <a:cubicBezTo>
                    <a:pt x="444" y="640"/>
                    <a:pt x="444" y="639"/>
                    <a:pt x="444" y="638"/>
                  </a:cubicBezTo>
                  <a:cubicBezTo>
                    <a:pt x="444" y="637"/>
                    <a:pt x="444" y="635"/>
                    <a:pt x="443" y="633"/>
                  </a:cubicBezTo>
                  <a:cubicBezTo>
                    <a:pt x="443" y="633"/>
                    <a:pt x="443" y="632"/>
                    <a:pt x="443" y="632"/>
                  </a:cubicBezTo>
                  <a:cubicBezTo>
                    <a:pt x="443" y="632"/>
                    <a:pt x="443" y="631"/>
                    <a:pt x="443" y="631"/>
                  </a:cubicBezTo>
                  <a:cubicBezTo>
                    <a:pt x="443" y="631"/>
                    <a:pt x="443" y="630"/>
                    <a:pt x="443" y="630"/>
                  </a:cubicBezTo>
                  <a:cubicBezTo>
                    <a:pt x="444" y="629"/>
                    <a:pt x="443" y="628"/>
                    <a:pt x="442" y="626"/>
                  </a:cubicBezTo>
                  <a:cubicBezTo>
                    <a:pt x="442" y="626"/>
                    <a:pt x="442" y="625"/>
                    <a:pt x="442" y="624"/>
                  </a:cubicBezTo>
                  <a:cubicBezTo>
                    <a:pt x="442" y="624"/>
                    <a:pt x="442" y="624"/>
                    <a:pt x="442" y="623"/>
                  </a:cubicBezTo>
                  <a:cubicBezTo>
                    <a:pt x="442" y="623"/>
                    <a:pt x="442" y="623"/>
                    <a:pt x="442" y="623"/>
                  </a:cubicBezTo>
                  <a:cubicBezTo>
                    <a:pt x="442" y="623"/>
                    <a:pt x="442" y="623"/>
                    <a:pt x="442" y="623"/>
                  </a:cubicBezTo>
                  <a:cubicBezTo>
                    <a:pt x="442" y="621"/>
                    <a:pt x="442" y="621"/>
                    <a:pt x="442" y="621"/>
                  </a:cubicBezTo>
                  <a:cubicBezTo>
                    <a:pt x="442" y="621"/>
                    <a:pt x="442" y="621"/>
                    <a:pt x="442" y="621"/>
                  </a:cubicBezTo>
                  <a:cubicBezTo>
                    <a:pt x="441" y="620"/>
                    <a:pt x="441" y="620"/>
                    <a:pt x="441" y="620"/>
                  </a:cubicBezTo>
                  <a:cubicBezTo>
                    <a:pt x="441" y="620"/>
                    <a:pt x="441" y="620"/>
                    <a:pt x="441" y="620"/>
                  </a:cubicBezTo>
                  <a:cubicBezTo>
                    <a:pt x="441" y="618"/>
                    <a:pt x="440" y="618"/>
                    <a:pt x="439" y="618"/>
                  </a:cubicBezTo>
                  <a:cubicBezTo>
                    <a:pt x="439" y="617"/>
                    <a:pt x="438" y="617"/>
                    <a:pt x="438" y="617"/>
                  </a:cubicBezTo>
                  <a:cubicBezTo>
                    <a:pt x="438" y="617"/>
                    <a:pt x="437" y="616"/>
                    <a:pt x="436" y="616"/>
                  </a:cubicBezTo>
                  <a:cubicBezTo>
                    <a:pt x="436" y="615"/>
                    <a:pt x="436" y="615"/>
                    <a:pt x="436" y="615"/>
                  </a:cubicBezTo>
                  <a:cubicBezTo>
                    <a:pt x="435" y="614"/>
                    <a:pt x="435" y="614"/>
                    <a:pt x="434" y="613"/>
                  </a:cubicBezTo>
                  <a:cubicBezTo>
                    <a:pt x="434" y="613"/>
                    <a:pt x="433" y="613"/>
                    <a:pt x="433" y="613"/>
                  </a:cubicBezTo>
                  <a:cubicBezTo>
                    <a:pt x="432" y="613"/>
                    <a:pt x="432" y="613"/>
                    <a:pt x="432" y="612"/>
                  </a:cubicBezTo>
                  <a:cubicBezTo>
                    <a:pt x="432" y="612"/>
                    <a:pt x="432" y="611"/>
                    <a:pt x="432" y="610"/>
                  </a:cubicBezTo>
                  <a:cubicBezTo>
                    <a:pt x="432" y="610"/>
                    <a:pt x="432" y="610"/>
                    <a:pt x="432" y="609"/>
                  </a:cubicBezTo>
                  <a:cubicBezTo>
                    <a:pt x="432" y="608"/>
                    <a:pt x="432" y="608"/>
                    <a:pt x="432" y="608"/>
                  </a:cubicBezTo>
                  <a:cubicBezTo>
                    <a:pt x="432" y="607"/>
                    <a:pt x="432" y="606"/>
                    <a:pt x="431" y="605"/>
                  </a:cubicBezTo>
                  <a:cubicBezTo>
                    <a:pt x="431" y="605"/>
                    <a:pt x="431" y="605"/>
                    <a:pt x="431" y="605"/>
                  </a:cubicBezTo>
                  <a:cubicBezTo>
                    <a:pt x="431" y="604"/>
                    <a:pt x="431" y="604"/>
                    <a:pt x="431" y="604"/>
                  </a:cubicBezTo>
                  <a:cubicBezTo>
                    <a:pt x="431" y="603"/>
                    <a:pt x="431" y="603"/>
                    <a:pt x="432" y="603"/>
                  </a:cubicBezTo>
                  <a:cubicBezTo>
                    <a:pt x="432" y="602"/>
                    <a:pt x="432" y="601"/>
                    <a:pt x="431" y="600"/>
                  </a:cubicBezTo>
                  <a:cubicBezTo>
                    <a:pt x="431" y="600"/>
                    <a:pt x="431" y="600"/>
                    <a:pt x="430" y="599"/>
                  </a:cubicBezTo>
                  <a:cubicBezTo>
                    <a:pt x="430" y="599"/>
                    <a:pt x="430" y="599"/>
                    <a:pt x="430" y="599"/>
                  </a:cubicBezTo>
                  <a:cubicBezTo>
                    <a:pt x="429" y="598"/>
                    <a:pt x="428" y="596"/>
                    <a:pt x="428" y="596"/>
                  </a:cubicBezTo>
                  <a:cubicBezTo>
                    <a:pt x="428" y="595"/>
                    <a:pt x="428" y="595"/>
                    <a:pt x="428" y="595"/>
                  </a:cubicBezTo>
                  <a:cubicBezTo>
                    <a:pt x="428" y="594"/>
                    <a:pt x="428" y="592"/>
                    <a:pt x="426" y="591"/>
                  </a:cubicBezTo>
                  <a:cubicBezTo>
                    <a:pt x="426" y="590"/>
                    <a:pt x="426" y="590"/>
                    <a:pt x="426" y="589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5" y="587"/>
                    <a:pt x="425" y="585"/>
                    <a:pt x="424" y="583"/>
                  </a:cubicBezTo>
                  <a:cubicBezTo>
                    <a:pt x="423" y="582"/>
                    <a:pt x="422" y="581"/>
                    <a:pt x="422" y="580"/>
                  </a:cubicBezTo>
                  <a:cubicBezTo>
                    <a:pt x="422" y="580"/>
                    <a:pt x="422" y="580"/>
                    <a:pt x="422" y="579"/>
                  </a:cubicBezTo>
                  <a:cubicBezTo>
                    <a:pt x="422" y="578"/>
                    <a:pt x="421" y="577"/>
                    <a:pt x="420" y="576"/>
                  </a:cubicBezTo>
                  <a:cubicBezTo>
                    <a:pt x="420" y="576"/>
                    <a:pt x="420" y="576"/>
                    <a:pt x="420" y="576"/>
                  </a:cubicBezTo>
                  <a:cubicBezTo>
                    <a:pt x="419" y="575"/>
                    <a:pt x="419" y="575"/>
                    <a:pt x="419" y="574"/>
                  </a:cubicBezTo>
                  <a:cubicBezTo>
                    <a:pt x="419" y="574"/>
                    <a:pt x="419" y="573"/>
                    <a:pt x="419" y="573"/>
                  </a:cubicBezTo>
                  <a:cubicBezTo>
                    <a:pt x="419" y="572"/>
                    <a:pt x="419" y="571"/>
                    <a:pt x="419" y="570"/>
                  </a:cubicBezTo>
                  <a:cubicBezTo>
                    <a:pt x="418" y="569"/>
                    <a:pt x="418" y="568"/>
                    <a:pt x="416" y="567"/>
                  </a:cubicBezTo>
                  <a:cubicBezTo>
                    <a:pt x="416" y="566"/>
                    <a:pt x="416" y="566"/>
                    <a:pt x="416" y="566"/>
                  </a:cubicBezTo>
                  <a:cubicBezTo>
                    <a:pt x="416" y="565"/>
                    <a:pt x="416" y="565"/>
                    <a:pt x="416" y="565"/>
                  </a:cubicBezTo>
                  <a:cubicBezTo>
                    <a:pt x="416" y="565"/>
                    <a:pt x="416" y="565"/>
                    <a:pt x="415" y="565"/>
                  </a:cubicBezTo>
                  <a:cubicBezTo>
                    <a:pt x="415" y="565"/>
                    <a:pt x="415" y="564"/>
                    <a:pt x="415" y="564"/>
                  </a:cubicBezTo>
                  <a:cubicBezTo>
                    <a:pt x="415" y="564"/>
                    <a:pt x="415" y="564"/>
                    <a:pt x="416" y="564"/>
                  </a:cubicBezTo>
                  <a:cubicBezTo>
                    <a:pt x="416" y="563"/>
                    <a:pt x="415" y="562"/>
                    <a:pt x="414" y="561"/>
                  </a:cubicBezTo>
                  <a:cubicBezTo>
                    <a:pt x="415" y="561"/>
                    <a:pt x="416" y="562"/>
                    <a:pt x="416" y="563"/>
                  </a:cubicBezTo>
                  <a:cubicBezTo>
                    <a:pt x="417" y="563"/>
                    <a:pt x="417" y="563"/>
                    <a:pt x="417" y="563"/>
                  </a:cubicBezTo>
                  <a:cubicBezTo>
                    <a:pt x="417" y="564"/>
                    <a:pt x="418" y="565"/>
                    <a:pt x="419" y="566"/>
                  </a:cubicBezTo>
                  <a:cubicBezTo>
                    <a:pt x="420" y="566"/>
                    <a:pt x="422" y="566"/>
                    <a:pt x="422" y="565"/>
                  </a:cubicBezTo>
                  <a:cubicBezTo>
                    <a:pt x="422" y="565"/>
                    <a:pt x="422" y="564"/>
                    <a:pt x="422" y="563"/>
                  </a:cubicBezTo>
                  <a:cubicBezTo>
                    <a:pt x="422" y="563"/>
                    <a:pt x="422" y="563"/>
                    <a:pt x="422" y="563"/>
                  </a:cubicBezTo>
                  <a:cubicBezTo>
                    <a:pt x="423" y="563"/>
                    <a:pt x="424" y="563"/>
                    <a:pt x="424" y="563"/>
                  </a:cubicBezTo>
                  <a:cubicBezTo>
                    <a:pt x="425" y="563"/>
                    <a:pt x="425" y="562"/>
                    <a:pt x="425" y="562"/>
                  </a:cubicBezTo>
                  <a:cubicBezTo>
                    <a:pt x="425" y="562"/>
                    <a:pt x="425" y="562"/>
                    <a:pt x="426" y="562"/>
                  </a:cubicBezTo>
                  <a:cubicBezTo>
                    <a:pt x="426" y="562"/>
                    <a:pt x="426" y="562"/>
                    <a:pt x="426" y="562"/>
                  </a:cubicBezTo>
                  <a:cubicBezTo>
                    <a:pt x="427" y="562"/>
                    <a:pt x="427" y="562"/>
                    <a:pt x="427" y="562"/>
                  </a:cubicBezTo>
                  <a:cubicBezTo>
                    <a:pt x="427" y="563"/>
                    <a:pt x="427" y="564"/>
                    <a:pt x="427" y="564"/>
                  </a:cubicBezTo>
                  <a:cubicBezTo>
                    <a:pt x="427" y="566"/>
                    <a:pt x="428" y="568"/>
                    <a:pt x="429" y="568"/>
                  </a:cubicBezTo>
                  <a:cubicBezTo>
                    <a:pt x="429" y="569"/>
                    <a:pt x="430" y="569"/>
                    <a:pt x="430" y="571"/>
                  </a:cubicBezTo>
                  <a:cubicBezTo>
                    <a:pt x="430" y="572"/>
                    <a:pt x="431" y="573"/>
                    <a:pt x="433" y="574"/>
                  </a:cubicBezTo>
                  <a:cubicBezTo>
                    <a:pt x="433" y="574"/>
                    <a:pt x="433" y="574"/>
                    <a:pt x="433" y="574"/>
                  </a:cubicBezTo>
                  <a:cubicBezTo>
                    <a:pt x="433" y="575"/>
                    <a:pt x="433" y="577"/>
                    <a:pt x="434" y="578"/>
                  </a:cubicBezTo>
                  <a:cubicBezTo>
                    <a:pt x="435" y="579"/>
                    <a:pt x="436" y="581"/>
                    <a:pt x="436" y="582"/>
                  </a:cubicBezTo>
                  <a:cubicBezTo>
                    <a:pt x="436" y="583"/>
                    <a:pt x="439" y="588"/>
                    <a:pt x="440" y="589"/>
                  </a:cubicBezTo>
                  <a:cubicBezTo>
                    <a:pt x="441" y="590"/>
                    <a:pt x="441" y="591"/>
                    <a:pt x="441" y="592"/>
                  </a:cubicBezTo>
                  <a:cubicBezTo>
                    <a:pt x="440" y="593"/>
                    <a:pt x="441" y="594"/>
                    <a:pt x="442" y="595"/>
                  </a:cubicBezTo>
                  <a:cubicBezTo>
                    <a:pt x="442" y="595"/>
                    <a:pt x="442" y="595"/>
                    <a:pt x="442" y="595"/>
                  </a:cubicBezTo>
                  <a:cubicBezTo>
                    <a:pt x="443" y="595"/>
                    <a:pt x="443" y="597"/>
                    <a:pt x="443" y="597"/>
                  </a:cubicBezTo>
                  <a:cubicBezTo>
                    <a:pt x="443" y="598"/>
                    <a:pt x="443" y="599"/>
                    <a:pt x="443" y="599"/>
                  </a:cubicBezTo>
                  <a:cubicBezTo>
                    <a:pt x="444" y="600"/>
                    <a:pt x="445" y="600"/>
                    <a:pt x="445" y="600"/>
                  </a:cubicBezTo>
                  <a:cubicBezTo>
                    <a:pt x="446" y="602"/>
                    <a:pt x="448" y="602"/>
                    <a:pt x="449" y="602"/>
                  </a:cubicBezTo>
                  <a:cubicBezTo>
                    <a:pt x="449" y="602"/>
                    <a:pt x="450" y="603"/>
                    <a:pt x="450" y="604"/>
                  </a:cubicBezTo>
                  <a:cubicBezTo>
                    <a:pt x="450" y="606"/>
                    <a:pt x="452" y="608"/>
                    <a:pt x="453" y="608"/>
                  </a:cubicBezTo>
                  <a:cubicBezTo>
                    <a:pt x="453" y="608"/>
                    <a:pt x="453" y="608"/>
                    <a:pt x="453" y="609"/>
                  </a:cubicBezTo>
                  <a:cubicBezTo>
                    <a:pt x="453" y="610"/>
                    <a:pt x="453" y="610"/>
                    <a:pt x="453" y="611"/>
                  </a:cubicBezTo>
                  <a:cubicBezTo>
                    <a:pt x="453" y="611"/>
                    <a:pt x="453" y="611"/>
                    <a:pt x="453" y="611"/>
                  </a:cubicBezTo>
                  <a:cubicBezTo>
                    <a:pt x="454" y="611"/>
                    <a:pt x="454" y="611"/>
                    <a:pt x="454" y="611"/>
                  </a:cubicBezTo>
                  <a:cubicBezTo>
                    <a:pt x="454" y="612"/>
                    <a:pt x="454" y="612"/>
                    <a:pt x="454" y="612"/>
                  </a:cubicBezTo>
                  <a:cubicBezTo>
                    <a:pt x="453" y="613"/>
                    <a:pt x="454" y="617"/>
                    <a:pt x="455" y="618"/>
                  </a:cubicBezTo>
                  <a:cubicBezTo>
                    <a:pt x="455" y="618"/>
                    <a:pt x="456" y="619"/>
                    <a:pt x="455" y="621"/>
                  </a:cubicBezTo>
                  <a:cubicBezTo>
                    <a:pt x="455" y="622"/>
                    <a:pt x="455" y="623"/>
                    <a:pt x="455" y="623"/>
                  </a:cubicBezTo>
                  <a:cubicBezTo>
                    <a:pt x="456" y="624"/>
                    <a:pt x="456" y="624"/>
                    <a:pt x="456" y="624"/>
                  </a:cubicBezTo>
                  <a:cubicBezTo>
                    <a:pt x="456" y="625"/>
                    <a:pt x="456" y="627"/>
                    <a:pt x="457" y="629"/>
                  </a:cubicBezTo>
                  <a:cubicBezTo>
                    <a:pt x="458" y="630"/>
                    <a:pt x="459" y="631"/>
                    <a:pt x="459" y="632"/>
                  </a:cubicBezTo>
                  <a:cubicBezTo>
                    <a:pt x="459" y="635"/>
                    <a:pt x="463" y="637"/>
                    <a:pt x="464" y="637"/>
                  </a:cubicBezTo>
                  <a:cubicBezTo>
                    <a:pt x="465" y="637"/>
                    <a:pt x="465" y="637"/>
                    <a:pt x="465" y="638"/>
                  </a:cubicBezTo>
                  <a:cubicBezTo>
                    <a:pt x="466" y="638"/>
                    <a:pt x="466" y="639"/>
                    <a:pt x="466" y="640"/>
                  </a:cubicBezTo>
                  <a:cubicBezTo>
                    <a:pt x="467" y="640"/>
                    <a:pt x="468" y="641"/>
                    <a:pt x="468" y="641"/>
                  </a:cubicBezTo>
                  <a:cubicBezTo>
                    <a:pt x="468" y="641"/>
                    <a:pt x="469" y="642"/>
                    <a:pt x="469" y="642"/>
                  </a:cubicBezTo>
                  <a:cubicBezTo>
                    <a:pt x="471" y="644"/>
                    <a:pt x="472" y="648"/>
                    <a:pt x="472" y="649"/>
                  </a:cubicBezTo>
                  <a:cubicBezTo>
                    <a:pt x="471" y="651"/>
                    <a:pt x="473" y="652"/>
                    <a:pt x="474" y="654"/>
                  </a:cubicBezTo>
                  <a:cubicBezTo>
                    <a:pt x="474" y="654"/>
                    <a:pt x="474" y="654"/>
                    <a:pt x="474" y="654"/>
                  </a:cubicBezTo>
                  <a:cubicBezTo>
                    <a:pt x="474" y="655"/>
                    <a:pt x="475" y="656"/>
                    <a:pt x="475" y="657"/>
                  </a:cubicBezTo>
                  <a:cubicBezTo>
                    <a:pt x="475" y="657"/>
                    <a:pt x="475" y="658"/>
                    <a:pt x="475" y="658"/>
                  </a:cubicBezTo>
                  <a:cubicBezTo>
                    <a:pt x="475" y="659"/>
                    <a:pt x="476" y="659"/>
                    <a:pt x="476" y="660"/>
                  </a:cubicBezTo>
                  <a:cubicBezTo>
                    <a:pt x="476" y="660"/>
                    <a:pt x="476" y="660"/>
                    <a:pt x="477" y="661"/>
                  </a:cubicBezTo>
                  <a:cubicBezTo>
                    <a:pt x="477" y="661"/>
                    <a:pt x="477" y="661"/>
                    <a:pt x="477" y="661"/>
                  </a:cubicBezTo>
                  <a:cubicBezTo>
                    <a:pt x="477" y="662"/>
                    <a:pt x="478" y="663"/>
                    <a:pt x="479" y="664"/>
                  </a:cubicBezTo>
                  <a:cubicBezTo>
                    <a:pt x="479" y="665"/>
                    <a:pt x="479" y="665"/>
                    <a:pt x="479" y="665"/>
                  </a:cubicBezTo>
                  <a:cubicBezTo>
                    <a:pt x="480" y="665"/>
                    <a:pt x="480" y="666"/>
                    <a:pt x="480" y="667"/>
                  </a:cubicBezTo>
                  <a:cubicBezTo>
                    <a:pt x="480" y="669"/>
                    <a:pt x="482" y="670"/>
                    <a:pt x="483" y="671"/>
                  </a:cubicBezTo>
                  <a:cubicBezTo>
                    <a:pt x="483" y="671"/>
                    <a:pt x="483" y="671"/>
                    <a:pt x="483" y="671"/>
                  </a:cubicBezTo>
                  <a:cubicBezTo>
                    <a:pt x="483" y="671"/>
                    <a:pt x="483" y="671"/>
                    <a:pt x="483" y="671"/>
                  </a:cubicBezTo>
                  <a:cubicBezTo>
                    <a:pt x="483" y="671"/>
                    <a:pt x="483" y="671"/>
                    <a:pt x="483" y="672"/>
                  </a:cubicBezTo>
                  <a:cubicBezTo>
                    <a:pt x="483" y="673"/>
                    <a:pt x="483" y="675"/>
                    <a:pt x="484" y="676"/>
                  </a:cubicBezTo>
                  <a:cubicBezTo>
                    <a:pt x="484" y="676"/>
                    <a:pt x="484" y="676"/>
                    <a:pt x="484" y="676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5" y="680"/>
                    <a:pt x="484" y="681"/>
                  </a:cubicBezTo>
                  <a:cubicBezTo>
                    <a:pt x="484" y="682"/>
                    <a:pt x="485" y="684"/>
                    <a:pt x="485" y="686"/>
                  </a:cubicBezTo>
                  <a:cubicBezTo>
                    <a:pt x="484" y="686"/>
                    <a:pt x="484" y="687"/>
                    <a:pt x="484" y="687"/>
                  </a:cubicBezTo>
                  <a:cubicBezTo>
                    <a:pt x="483" y="688"/>
                    <a:pt x="485" y="689"/>
                    <a:pt x="485" y="690"/>
                  </a:cubicBezTo>
                  <a:cubicBezTo>
                    <a:pt x="486" y="690"/>
                    <a:pt x="486" y="691"/>
                    <a:pt x="486" y="691"/>
                  </a:cubicBezTo>
                  <a:cubicBezTo>
                    <a:pt x="486" y="692"/>
                    <a:pt x="486" y="692"/>
                    <a:pt x="486" y="692"/>
                  </a:cubicBezTo>
                  <a:cubicBezTo>
                    <a:pt x="486" y="693"/>
                    <a:pt x="486" y="693"/>
                    <a:pt x="486" y="693"/>
                  </a:cubicBezTo>
                  <a:cubicBezTo>
                    <a:pt x="486" y="693"/>
                    <a:pt x="486" y="694"/>
                    <a:pt x="486" y="694"/>
                  </a:cubicBezTo>
                  <a:cubicBezTo>
                    <a:pt x="486" y="696"/>
                    <a:pt x="486" y="696"/>
                    <a:pt x="487" y="697"/>
                  </a:cubicBezTo>
                  <a:cubicBezTo>
                    <a:pt x="487" y="697"/>
                    <a:pt x="487" y="697"/>
                    <a:pt x="487" y="697"/>
                  </a:cubicBezTo>
                  <a:cubicBezTo>
                    <a:pt x="487" y="697"/>
                    <a:pt x="487" y="697"/>
                    <a:pt x="487" y="698"/>
                  </a:cubicBezTo>
                  <a:cubicBezTo>
                    <a:pt x="487" y="699"/>
                    <a:pt x="488" y="700"/>
                    <a:pt x="488" y="701"/>
                  </a:cubicBezTo>
                  <a:cubicBezTo>
                    <a:pt x="489" y="701"/>
                    <a:pt x="489" y="704"/>
                    <a:pt x="489" y="705"/>
                  </a:cubicBezTo>
                  <a:cubicBezTo>
                    <a:pt x="488" y="706"/>
                    <a:pt x="489" y="708"/>
                    <a:pt x="489" y="709"/>
                  </a:cubicBezTo>
                  <a:cubicBezTo>
                    <a:pt x="489" y="709"/>
                    <a:pt x="489" y="709"/>
                    <a:pt x="488" y="709"/>
                  </a:cubicBezTo>
                  <a:close/>
                  <a:moveTo>
                    <a:pt x="530" y="451"/>
                  </a:moveTo>
                  <a:cubicBezTo>
                    <a:pt x="530" y="451"/>
                    <a:pt x="530" y="451"/>
                    <a:pt x="530" y="451"/>
                  </a:cubicBezTo>
                  <a:cubicBezTo>
                    <a:pt x="530" y="451"/>
                    <a:pt x="530" y="450"/>
                    <a:pt x="530" y="450"/>
                  </a:cubicBezTo>
                  <a:cubicBezTo>
                    <a:pt x="531" y="450"/>
                    <a:pt x="532" y="450"/>
                    <a:pt x="532" y="450"/>
                  </a:cubicBezTo>
                  <a:cubicBezTo>
                    <a:pt x="533" y="449"/>
                    <a:pt x="533" y="448"/>
                    <a:pt x="533" y="445"/>
                  </a:cubicBezTo>
                  <a:cubicBezTo>
                    <a:pt x="533" y="444"/>
                    <a:pt x="533" y="443"/>
                    <a:pt x="533" y="443"/>
                  </a:cubicBezTo>
                  <a:cubicBezTo>
                    <a:pt x="533" y="442"/>
                    <a:pt x="533" y="442"/>
                    <a:pt x="533" y="441"/>
                  </a:cubicBezTo>
                  <a:cubicBezTo>
                    <a:pt x="533" y="440"/>
                    <a:pt x="534" y="439"/>
                    <a:pt x="534" y="439"/>
                  </a:cubicBezTo>
                  <a:cubicBezTo>
                    <a:pt x="534" y="438"/>
                    <a:pt x="535" y="436"/>
                    <a:pt x="536" y="436"/>
                  </a:cubicBezTo>
                  <a:cubicBezTo>
                    <a:pt x="537" y="437"/>
                    <a:pt x="538" y="437"/>
                    <a:pt x="538" y="437"/>
                  </a:cubicBezTo>
                  <a:cubicBezTo>
                    <a:pt x="539" y="437"/>
                    <a:pt x="539" y="437"/>
                    <a:pt x="540" y="437"/>
                  </a:cubicBezTo>
                  <a:cubicBezTo>
                    <a:pt x="540" y="436"/>
                    <a:pt x="540" y="435"/>
                    <a:pt x="540" y="434"/>
                  </a:cubicBezTo>
                  <a:cubicBezTo>
                    <a:pt x="539" y="432"/>
                    <a:pt x="538" y="431"/>
                    <a:pt x="538" y="431"/>
                  </a:cubicBezTo>
                  <a:cubicBezTo>
                    <a:pt x="537" y="431"/>
                    <a:pt x="537" y="430"/>
                    <a:pt x="536" y="430"/>
                  </a:cubicBezTo>
                  <a:cubicBezTo>
                    <a:pt x="535" y="430"/>
                    <a:pt x="535" y="430"/>
                    <a:pt x="534" y="430"/>
                  </a:cubicBezTo>
                  <a:cubicBezTo>
                    <a:pt x="534" y="430"/>
                    <a:pt x="534" y="430"/>
                    <a:pt x="534" y="430"/>
                  </a:cubicBezTo>
                  <a:cubicBezTo>
                    <a:pt x="534" y="430"/>
                    <a:pt x="534" y="430"/>
                    <a:pt x="534" y="430"/>
                  </a:cubicBezTo>
                  <a:cubicBezTo>
                    <a:pt x="534" y="429"/>
                    <a:pt x="533" y="428"/>
                    <a:pt x="532" y="427"/>
                  </a:cubicBezTo>
                  <a:cubicBezTo>
                    <a:pt x="532" y="427"/>
                    <a:pt x="531" y="426"/>
                    <a:pt x="531" y="426"/>
                  </a:cubicBezTo>
                  <a:cubicBezTo>
                    <a:pt x="531" y="424"/>
                    <a:pt x="529" y="421"/>
                    <a:pt x="528" y="420"/>
                  </a:cubicBezTo>
                  <a:cubicBezTo>
                    <a:pt x="526" y="417"/>
                    <a:pt x="526" y="417"/>
                    <a:pt x="526" y="417"/>
                  </a:cubicBezTo>
                  <a:cubicBezTo>
                    <a:pt x="526" y="417"/>
                    <a:pt x="526" y="417"/>
                    <a:pt x="526" y="417"/>
                  </a:cubicBezTo>
                  <a:cubicBezTo>
                    <a:pt x="524" y="413"/>
                    <a:pt x="522" y="411"/>
                    <a:pt x="522" y="411"/>
                  </a:cubicBezTo>
                  <a:cubicBezTo>
                    <a:pt x="521" y="410"/>
                    <a:pt x="519" y="407"/>
                    <a:pt x="519" y="404"/>
                  </a:cubicBezTo>
                  <a:cubicBezTo>
                    <a:pt x="519" y="403"/>
                    <a:pt x="519" y="401"/>
                    <a:pt x="519" y="400"/>
                  </a:cubicBezTo>
                  <a:cubicBezTo>
                    <a:pt x="520" y="398"/>
                    <a:pt x="520" y="397"/>
                    <a:pt x="519" y="396"/>
                  </a:cubicBezTo>
                  <a:cubicBezTo>
                    <a:pt x="519" y="395"/>
                    <a:pt x="518" y="395"/>
                    <a:pt x="517" y="396"/>
                  </a:cubicBezTo>
                  <a:cubicBezTo>
                    <a:pt x="517" y="396"/>
                    <a:pt x="517" y="396"/>
                    <a:pt x="517" y="396"/>
                  </a:cubicBezTo>
                  <a:cubicBezTo>
                    <a:pt x="517" y="395"/>
                    <a:pt x="516" y="395"/>
                    <a:pt x="516" y="394"/>
                  </a:cubicBezTo>
                  <a:cubicBezTo>
                    <a:pt x="516" y="394"/>
                    <a:pt x="515" y="393"/>
                    <a:pt x="514" y="392"/>
                  </a:cubicBezTo>
                  <a:cubicBezTo>
                    <a:pt x="512" y="391"/>
                    <a:pt x="512" y="390"/>
                    <a:pt x="513" y="390"/>
                  </a:cubicBezTo>
                  <a:cubicBezTo>
                    <a:pt x="514" y="389"/>
                    <a:pt x="514" y="388"/>
                    <a:pt x="515" y="388"/>
                  </a:cubicBezTo>
                  <a:cubicBezTo>
                    <a:pt x="516" y="387"/>
                    <a:pt x="516" y="386"/>
                    <a:pt x="516" y="385"/>
                  </a:cubicBezTo>
                  <a:cubicBezTo>
                    <a:pt x="516" y="385"/>
                    <a:pt x="516" y="385"/>
                    <a:pt x="516" y="384"/>
                  </a:cubicBezTo>
                  <a:cubicBezTo>
                    <a:pt x="517" y="383"/>
                    <a:pt x="517" y="382"/>
                    <a:pt x="516" y="382"/>
                  </a:cubicBezTo>
                  <a:cubicBezTo>
                    <a:pt x="516" y="381"/>
                    <a:pt x="516" y="381"/>
                    <a:pt x="517" y="381"/>
                  </a:cubicBezTo>
                  <a:cubicBezTo>
                    <a:pt x="517" y="381"/>
                    <a:pt x="518" y="381"/>
                    <a:pt x="518" y="380"/>
                  </a:cubicBezTo>
                  <a:cubicBezTo>
                    <a:pt x="520" y="380"/>
                    <a:pt x="521" y="379"/>
                    <a:pt x="522" y="378"/>
                  </a:cubicBezTo>
                  <a:cubicBezTo>
                    <a:pt x="522" y="378"/>
                    <a:pt x="522" y="378"/>
                    <a:pt x="522" y="378"/>
                  </a:cubicBezTo>
                  <a:cubicBezTo>
                    <a:pt x="522" y="378"/>
                    <a:pt x="522" y="378"/>
                    <a:pt x="523" y="378"/>
                  </a:cubicBezTo>
                  <a:cubicBezTo>
                    <a:pt x="524" y="378"/>
                    <a:pt x="525" y="378"/>
                    <a:pt x="526" y="377"/>
                  </a:cubicBezTo>
                  <a:cubicBezTo>
                    <a:pt x="526" y="377"/>
                    <a:pt x="526" y="376"/>
                    <a:pt x="525" y="375"/>
                  </a:cubicBezTo>
                  <a:cubicBezTo>
                    <a:pt x="525" y="375"/>
                    <a:pt x="525" y="375"/>
                    <a:pt x="525" y="375"/>
                  </a:cubicBezTo>
                  <a:cubicBezTo>
                    <a:pt x="526" y="375"/>
                    <a:pt x="527" y="374"/>
                    <a:pt x="527" y="373"/>
                  </a:cubicBezTo>
                  <a:cubicBezTo>
                    <a:pt x="527" y="373"/>
                    <a:pt x="527" y="373"/>
                    <a:pt x="527" y="372"/>
                  </a:cubicBezTo>
                  <a:cubicBezTo>
                    <a:pt x="528" y="372"/>
                    <a:pt x="528" y="373"/>
                    <a:pt x="529" y="373"/>
                  </a:cubicBezTo>
                  <a:cubicBezTo>
                    <a:pt x="530" y="373"/>
                    <a:pt x="531" y="372"/>
                    <a:pt x="531" y="372"/>
                  </a:cubicBezTo>
                  <a:cubicBezTo>
                    <a:pt x="531" y="372"/>
                    <a:pt x="537" y="366"/>
                    <a:pt x="541" y="366"/>
                  </a:cubicBezTo>
                  <a:cubicBezTo>
                    <a:pt x="542" y="366"/>
                    <a:pt x="543" y="366"/>
                    <a:pt x="544" y="367"/>
                  </a:cubicBezTo>
                  <a:cubicBezTo>
                    <a:pt x="544" y="367"/>
                    <a:pt x="545" y="368"/>
                    <a:pt x="547" y="368"/>
                  </a:cubicBezTo>
                  <a:cubicBezTo>
                    <a:pt x="548" y="368"/>
                    <a:pt x="549" y="367"/>
                    <a:pt x="549" y="366"/>
                  </a:cubicBezTo>
                  <a:cubicBezTo>
                    <a:pt x="549" y="366"/>
                    <a:pt x="549" y="366"/>
                    <a:pt x="549" y="366"/>
                  </a:cubicBezTo>
                  <a:cubicBezTo>
                    <a:pt x="550" y="366"/>
                    <a:pt x="550" y="366"/>
                    <a:pt x="550" y="367"/>
                  </a:cubicBezTo>
                  <a:cubicBezTo>
                    <a:pt x="551" y="367"/>
                    <a:pt x="552" y="368"/>
                    <a:pt x="552" y="369"/>
                  </a:cubicBezTo>
                  <a:cubicBezTo>
                    <a:pt x="552" y="370"/>
                    <a:pt x="552" y="370"/>
                    <a:pt x="552" y="370"/>
                  </a:cubicBezTo>
                  <a:cubicBezTo>
                    <a:pt x="552" y="372"/>
                    <a:pt x="552" y="374"/>
                    <a:pt x="551" y="375"/>
                  </a:cubicBezTo>
                  <a:cubicBezTo>
                    <a:pt x="551" y="376"/>
                    <a:pt x="551" y="377"/>
                    <a:pt x="552" y="379"/>
                  </a:cubicBezTo>
                  <a:cubicBezTo>
                    <a:pt x="553" y="380"/>
                    <a:pt x="553" y="380"/>
                    <a:pt x="554" y="380"/>
                  </a:cubicBezTo>
                  <a:cubicBezTo>
                    <a:pt x="554" y="380"/>
                    <a:pt x="554" y="380"/>
                    <a:pt x="554" y="380"/>
                  </a:cubicBezTo>
                  <a:cubicBezTo>
                    <a:pt x="551" y="380"/>
                    <a:pt x="547" y="380"/>
                    <a:pt x="546" y="380"/>
                  </a:cubicBezTo>
                  <a:cubicBezTo>
                    <a:pt x="546" y="380"/>
                    <a:pt x="545" y="380"/>
                    <a:pt x="545" y="380"/>
                  </a:cubicBezTo>
                  <a:cubicBezTo>
                    <a:pt x="544" y="380"/>
                    <a:pt x="543" y="380"/>
                    <a:pt x="541" y="382"/>
                  </a:cubicBezTo>
                  <a:cubicBezTo>
                    <a:pt x="541" y="383"/>
                    <a:pt x="541" y="383"/>
                    <a:pt x="540" y="383"/>
                  </a:cubicBezTo>
                  <a:cubicBezTo>
                    <a:pt x="540" y="384"/>
                    <a:pt x="539" y="385"/>
                    <a:pt x="540" y="387"/>
                  </a:cubicBezTo>
                  <a:cubicBezTo>
                    <a:pt x="540" y="388"/>
                    <a:pt x="540" y="388"/>
                    <a:pt x="540" y="389"/>
                  </a:cubicBezTo>
                  <a:cubicBezTo>
                    <a:pt x="540" y="389"/>
                    <a:pt x="540" y="389"/>
                    <a:pt x="540" y="389"/>
                  </a:cubicBezTo>
                  <a:cubicBezTo>
                    <a:pt x="538" y="388"/>
                    <a:pt x="537" y="388"/>
                    <a:pt x="536" y="388"/>
                  </a:cubicBezTo>
                  <a:cubicBezTo>
                    <a:pt x="535" y="389"/>
                    <a:pt x="535" y="390"/>
                    <a:pt x="535" y="391"/>
                  </a:cubicBezTo>
                  <a:cubicBezTo>
                    <a:pt x="535" y="391"/>
                    <a:pt x="535" y="393"/>
                    <a:pt x="538" y="394"/>
                  </a:cubicBezTo>
                  <a:cubicBezTo>
                    <a:pt x="539" y="395"/>
                    <a:pt x="539" y="395"/>
                    <a:pt x="539" y="396"/>
                  </a:cubicBezTo>
                  <a:cubicBezTo>
                    <a:pt x="539" y="396"/>
                    <a:pt x="539" y="396"/>
                    <a:pt x="539" y="396"/>
                  </a:cubicBezTo>
                  <a:cubicBezTo>
                    <a:pt x="539" y="396"/>
                    <a:pt x="539" y="396"/>
                    <a:pt x="539" y="396"/>
                  </a:cubicBezTo>
                  <a:cubicBezTo>
                    <a:pt x="539" y="396"/>
                    <a:pt x="540" y="402"/>
                    <a:pt x="543" y="404"/>
                  </a:cubicBezTo>
                  <a:cubicBezTo>
                    <a:pt x="544" y="405"/>
                    <a:pt x="545" y="406"/>
                    <a:pt x="545" y="407"/>
                  </a:cubicBezTo>
                  <a:cubicBezTo>
                    <a:pt x="546" y="408"/>
                    <a:pt x="547" y="409"/>
                    <a:pt x="550" y="410"/>
                  </a:cubicBezTo>
                  <a:cubicBezTo>
                    <a:pt x="551" y="410"/>
                    <a:pt x="551" y="410"/>
                    <a:pt x="551" y="410"/>
                  </a:cubicBezTo>
                  <a:cubicBezTo>
                    <a:pt x="551" y="411"/>
                    <a:pt x="551" y="412"/>
                    <a:pt x="550" y="415"/>
                  </a:cubicBezTo>
                  <a:cubicBezTo>
                    <a:pt x="550" y="417"/>
                    <a:pt x="550" y="418"/>
                    <a:pt x="551" y="420"/>
                  </a:cubicBezTo>
                  <a:cubicBezTo>
                    <a:pt x="551" y="420"/>
                    <a:pt x="551" y="420"/>
                    <a:pt x="551" y="420"/>
                  </a:cubicBezTo>
                  <a:cubicBezTo>
                    <a:pt x="551" y="420"/>
                    <a:pt x="551" y="420"/>
                    <a:pt x="551" y="420"/>
                  </a:cubicBezTo>
                  <a:cubicBezTo>
                    <a:pt x="551" y="420"/>
                    <a:pt x="551" y="420"/>
                    <a:pt x="551" y="420"/>
                  </a:cubicBezTo>
                  <a:cubicBezTo>
                    <a:pt x="552" y="424"/>
                    <a:pt x="552" y="424"/>
                    <a:pt x="552" y="424"/>
                  </a:cubicBezTo>
                  <a:cubicBezTo>
                    <a:pt x="552" y="423"/>
                    <a:pt x="552" y="423"/>
                    <a:pt x="552" y="423"/>
                  </a:cubicBezTo>
                  <a:cubicBezTo>
                    <a:pt x="553" y="425"/>
                    <a:pt x="555" y="426"/>
                    <a:pt x="555" y="427"/>
                  </a:cubicBezTo>
                  <a:cubicBezTo>
                    <a:pt x="556" y="427"/>
                    <a:pt x="556" y="427"/>
                    <a:pt x="556" y="427"/>
                  </a:cubicBezTo>
                  <a:cubicBezTo>
                    <a:pt x="556" y="427"/>
                    <a:pt x="556" y="427"/>
                    <a:pt x="556" y="427"/>
                  </a:cubicBezTo>
                  <a:cubicBezTo>
                    <a:pt x="556" y="427"/>
                    <a:pt x="556" y="427"/>
                    <a:pt x="556" y="428"/>
                  </a:cubicBezTo>
                  <a:cubicBezTo>
                    <a:pt x="556" y="428"/>
                    <a:pt x="556" y="428"/>
                    <a:pt x="556" y="428"/>
                  </a:cubicBezTo>
                  <a:cubicBezTo>
                    <a:pt x="556" y="429"/>
                    <a:pt x="556" y="430"/>
                    <a:pt x="556" y="431"/>
                  </a:cubicBezTo>
                  <a:cubicBezTo>
                    <a:pt x="555" y="432"/>
                    <a:pt x="555" y="435"/>
                    <a:pt x="555" y="435"/>
                  </a:cubicBezTo>
                  <a:cubicBezTo>
                    <a:pt x="555" y="438"/>
                    <a:pt x="555" y="439"/>
                    <a:pt x="555" y="439"/>
                  </a:cubicBezTo>
                  <a:cubicBezTo>
                    <a:pt x="556" y="440"/>
                    <a:pt x="556" y="440"/>
                    <a:pt x="557" y="440"/>
                  </a:cubicBezTo>
                  <a:cubicBezTo>
                    <a:pt x="557" y="440"/>
                    <a:pt x="558" y="439"/>
                    <a:pt x="558" y="439"/>
                  </a:cubicBezTo>
                  <a:cubicBezTo>
                    <a:pt x="559" y="438"/>
                    <a:pt x="559" y="438"/>
                    <a:pt x="560" y="438"/>
                  </a:cubicBezTo>
                  <a:cubicBezTo>
                    <a:pt x="559" y="438"/>
                    <a:pt x="559" y="439"/>
                    <a:pt x="559" y="440"/>
                  </a:cubicBezTo>
                  <a:cubicBezTo>
                    <a:pt x="559" y="440"/>
                    <a:pt x="559" y="440"/>
                    <a:pt x="559" y="440"/>
                  </a:cubicBezTo>
                  <a:cubicBezTo>
                    <a:pt x="558" y="440"/>
                    <a:pt x="558" y="441"/>
                    <a:pt x="558" y="443"/>
                  </a:cubicBezTo>
                  <a:cubicBezTo>
                    <a:pt x="558" y="445"/>
                    <a:pt x="558" y="445"/>
                    <a:pt x="558" y="446"/>
                  </a:cubicBezTo>
                  <a:cubicBezTo>
                    <a:pt x="559" y="447"/>
                    <a:pt x="560" y="446"/>
                    <a:pt x="561" y="446"/>
                  </a:cubicBezTo>
                  <a:cubicBezTo>
                    <a:pt x="561" y="447"/>
                    <a:pt x="561" y="449"/>
                    <a:pt x="563" y="449"/>
                  </a:cubicBezTo>
                  <a:cubicBezTo>
                    <a:pt x="563" y="449"/>
                    <a:pt x="564" y="450"/>
                    <a:pt x="564" y="450"/>
                  </a:cubicBezTo>
                  <a:cubicBezTo>
                    <a:pt x="563" y="451"/>
                    <a:pt x="563" y="454"/>
                    <a:pt x="563" y="455"/>
                  </a:cubicBezTo>
                  <a:cubicBezTo>
                    <a:pt x="564" y="455"/>
                    <a:pt x="564" y="456"/>
                    <a:pt x="564" y="457"/>
                  </a:cubicBezTo>
                  <a:cubicBezTo>
                    <a:pt x="564" y="459"/>
                    <a:pt x="564" y="462"/>
                    <a:pt x="564" y="464"/>
                  </a:cubicBezTo>
                  <a:cubicBezTo>
                    <a:pt x="564" y="464"/>
                    <a:pt x="564" y="464"/>
                    <a:pt x="564" y="464"/>
                  </a:cubicBezTo>
                  <a:cubicBezTo>
                    <a:pt x="565" y="466"/>
                    <a:pt x="565" y="466"/>
                    <a:pt x="565" y="466"/>
                  </a:cubicBezTo>
                  <a:cubicBezTo>
                    <a:pt x="565" y="466"/>
                    <a:pt x="565" y="466"/>
                    <a:pt x="565" y="466"/>
                  </a:cubicBezTo>
                  <a:cubicBezTo>
                    <a:pt x="565" y="466"/>
                    <a:pt x="565" y="466"/>
                    <a:pt x="565" y="466"/>
                  </a:cubicBezTo>
                  <a:cubicBezTo>
                    <a:pt x="565" y="467"/>
                    <a:pt x="565" y="468"/>
                    <a:pt x="565" y="468"/>
                  </a:cubicBezTo>
                  <a:cubicBezTo>
                    <a:pt x="565" y="468"/>
                    <a:pt x="564" y="468"/>
                    <a:pt x="564" y="468"/>
                  </a:cubicBezTo>
                  <a:cubicBezTo>
                    <a:pt x="562" y="468"/>
                    <a:pt x="553" y="470"/>
                    <a:pt x="551" y="471"/>
                  </a:cubicBezTo>
                  <a:cubicBezTo>
                    <a:pt x="549" y="472"/>
                    <a:pt x="547" y="471"/>
                    <a:pt x="546" y="470"/>
                  </a:cubicBezTo>
                  <a:cubicBezTo>
                    <a:pt x="546" y="470"/>
                    <a:pt x="545" y="469"/>
                    <a:pt x="545" y="469"/>
                  </a:cubicBezTo>
                  <a:cubicBezTo>
                    <a:pt x="544" y="468"/>
                    <a:pt x="540" y="465"/>
                    <a:pt x="539" y="465"/>
                  </a:cubicBezTo>
                  <a:cubicBezTo>
                    <a:pt x="539" y="464"/>
                    <a:pt x="537" y="462"/>
                    <a:pt x="535" y="462"/>
                  </a:cubicBezTo>
                  <a:cubicBezTo>
                    <a:pt x="534" y="462"/>
                    <a:pt x="533" y="461"/>
                    <a:pt x="532" y="460"/>
                  </a:cubicBezTo>
                  <a:cubicBezTo>
                    <a:pt x="532" y="460"/>
                    <a:pt x="531" y="457"/>
                    <a:pt x="531" y="454"/>
                  </a:cubicBezTo>
                  <a:cubicBezTo>
                    <a:pt x="531" y="453"/>
                    <a:pt x="530" y="452"/>
                    <a:pt x="530" y="451"/>
                  </a:cubicBezTo>
                  <a:close/>
                  <a:moveTo>
                    <a:pt x="657" y="115"/>
                  </a:moveTo>
                  <a:cubicBezTo>
                    <a:pt x="657" y="115"/>
                    <a:pt x="657" y="115"/>
                    <a:pt x="657" y="115"/>
                  </a:cubicBezTo>
                  <a:cubicBezTo>
                    <a:pt x="658" y="115"/>
                    <a:pt x="659" y="116"/>
                    <a:pt x="659" y="117"/>
                  </a:cubicBezTo>
                  <a:cubicBezTo>
                    <a:pt x="659" y="119"/>
                    <a:pt x="660" y="120"/>
                    <a:pt x="662" y="121"/>
                  </a:cubicBezTo>
                  <a:cubicBezTo>
                    <a:pt x="661" y="121"/>
                    <a:pt x="661" y="121"/>
                    <a:pt x="661" y="121"/>
                  </a:cubicBezTo>
                  <a:cubicBezTo>
                    <a:pt x="661" y="122"/>
                    <a:pt x="660" y="122"/>
                    <a:pt x="660" y="122"/>
                  </a:cubicBezTo>
                  <a:cubicBezTo>
                    <a:pt x="660" y="122"/>
                    <a:pt x="660" y="122"/>
                    <a:pt x="660" y="122"/>
                  </a:cubicBezTo>
                  <a:cubicBezTo>
                    <a:pt x="660" y="119"/>
                    <a:pt x="659" y="118"/>
                    <a:pt x="658" y="117"/>
                  </a:cubicBezTo>
                  <a:cubicBezTo>
                    <a:pt x="658" y="117"/>
                    <a:pt x="657" y="116"/>
                    <a:pt x="656" y="115"/>
                  </a:cubicBezTo>
                  <a:cubicBezTo>
                    <a:pt x="656" y="116"/>
                    <a:pt x="656" y="115"/>
                    <a:pt x="657" y="115"/>
                  </a:cubicBezTo>
                  <a:close/>
                  <a:moveTo>
                    <a:pt x="405" y="101"/>
                  </a:moveTo>
                  <a:cubicBezTo>
                    <a:pt x="405" y="101"/>
                    <a:pt x="405" y="101"/>
                    <a:pt x="405" y="101"/>
                  </a:cubicBezTo>
                  <a:cubicBezTo>
                    <a:pt x="405" y="101"/>
                    <a:pt x="405" y="101"/>
                    <a:pt x="405" y="101"/>
                  </a:cubicBezTo>
                  <a:cubicBezTo>
                    <a:pt x="405" y="102"/>
                    <a:pt x="405" y="102"/>
                    <a:pt x="405" y="102"/>
                  </a:cubicBezTo>
                  <a:cubicBezTo>
                    <a:pt x="405" y="102"/>
                    <a:pt x="405" y="102"/>
                    <a:pt x="405" y="102"/>
                  </a:cubicBezTo>
                  <a:cubicBezTo>
                    <a:pt x="405" y="101"/>
                    <a:pt x="405" y="101"/>
                    <a:pt x="405" y="101"/>
                  </a:cubicBezTo>
                  <a:cubicBezTo>
                    <a:pt x="405" y="101"/>
                    <a:pt x="405" y="101"/>
                    <a:pt x="405" y="101"/>
                  </a:cubicBezTo>
                  <a:close/>
                  <a:moveTo>
                    <a:pt x="405" y="102"/>
                  </a:moveTo>
                  <a:cubicBezTo>
                    <a:pt x="405" y="102"/>
                    <a:pt x="405" y="102"/>
                    <a:pt x="405" y="102"/>
                  </a:cubicBezTo>
                  <a:cubicBezTo>
                    <a:pt x="405" y="102"/>
                    <a:pt x="405" y="102"/>
                    <a:pt x="405" y="102"/>
                  </a:cubicBezTo>
                  <a:close/>
                  <a:moveTo>
                    <a:pt x="340" y="126"/>
                  </a:move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1" y="126"/>
                    <a:pt x="341" y="126"/>
                  </a:cubicBezTo>
                  <a:cubicBezTo>
                    <a:pt x="340" y="126"/>
                    <a:pt x="340" y="126"/>
                    <a:pt x="340" y="126"/>
                  </a:cubicBezTo>
                  <a:close/>
                  <a:moveTo>
                    <a:pt x="339" y="126"/>
                  </a:moveTo>
                  <a:cubicBezTo>
                    <a:pt x="339" y="126"/>
                    <a:pt x="339" y="126"/>
                    <a:pt x="339" y="126"/>
                  </a:cubicBezTo>
                  <a:cubicBezTo>
                    <a:pt x="339" y="126"/>
                    <a:pt x="339" y="126"/>
                    <a:pt x="339" y="126"/>
                  </a:cubicBezTo>
                  <a:close/>
                  <a:moveTo>
                    <a:pt x="281" y="274"/>
                  </a:moveTo>
                  <a:cubicBezTo>
                    <a:pt x="282" y="274"/>
                    <a:pt x="282" y="274"/>
                    <a:pt x="282" y="274"/>
                  </a:cubicBezTo>
                  <a:cubicBezTo>
                    <a:pt x="282" y="274"/>
                    <a:pt x="282" y="274"/>
                    <a:pt x="282" y="275"/>
                  </a:cubicBezTo>
                  <a:cubicBezTo>
                    <a:pt x="282" y="275"/>
                    <a:pt x="282" y="275"/>
                    <a:pt x="282" y="275"/>
                  </a:cubicBezTo>
                  <a:cubicBezTo>
                    <a:pt x="282" y="274"/>
                    <a:pt x="281" y="274"/>
                    <a:pt x="281" y="274"/>
                  </a:cubicBezTo>
                  <a:cubicBezTo>
                    <a:pt x="280" y="274"/>
                    <a:pt x="280" y="274"/>
                    <a:pt x="280" y="274"/>
                  </a:cubicBezTo>
                  <a:cubicBezTo>
                    <a:pt x="281" y="274"/>
                    <a:pt x="281" y="274"/>
                    <a:pt x="281" y="274"/>
                  </a:cubicBezTo>
                  <a:close/>
                  <a:moveTo>
                    <a:pt x="348" y="433"/>
                  </a:moveTo>
                  <a:cubicBezTo>
                    <a:pt x="348" y="433"/>
                    <a:pt x="348" y="433"/>
                    <a:pt x="348" y="433"/>
                  </a:cubicBezTo>
                  <a:cubicBezTo>
                    <a:pt x="348" y="433"/>
                    <a:pt x="348" y="433"/>
                    <a:pt x="348" y="433"/>
                  </a:cubicBezTo>
                  <a:cubicBezTo>
                    <a:pt x="348" y="433"/>
                    <a:pt x="348" y="433"/>
                    <a:pt x="348" y="433"/>
                  </a:cubicBezTo>
                  <a:close/>
                  <a:moveTo>
                    <a:pt x="367" y="434"/>
                  </a:moveTo>
                  <a:cubicBezTo>
                    <a:pt x="367" y="434"/>
                    <a:pt x="367" y="434"/>
                    <a:pt x="367" y="434"/>
                  </a:cubicBezTo>
                  <a:cubicBezTo>
                    <a:pt x="367" y="434"/>
                    <a:pt x="367" y="434"/>
                    <a:pt x="367" y="434"/>
                  </a:cubicBezTo>
                  <a:close/>
                  <a:moveTo>
                    <a:pt x="367" y="444"/>
                  </a:moveTo>
                  <a:cubicBezTo>
                    <a:pt x="367" y="444"/>
                    <a:pt x="367" y="444"/>
                    <a:pt x="367" y="445"/>
                  </a:cubicBezTo>
                  <a:cubicBezTo>
                    <a:pt x="367" y="445"/>
                    <a:pt x="367" y="444"/>
                    <a:pt x="367" y="444"/>
                  </a:cubicBezTo>
                  <a:cubicBezTo>
                    <a:pt x="366" y="444"/>
                    <a:pt x="366" y="444"/>
                    <a:pt x="366" y="444"/>
                  </a:cubicBezTo>
                  <a:cubicBezTo>
                    <a:pt x="366" y="444"/>
                    <a:pt x="366" y="444"/>
                    <a:pt x="367" y="444"/>
                  </a:cubicBezTo>
                  <a:close/>
                  <a:moveTo>
                    <a:pt x="980" y="42"/>
                  </a:moveTo>
                  <a:cubicBezTo>
                    <a:pt x="980" y="42"/>
                    <a:pt x="980" y="42"/>
                    <a:pt x="980" y="41"/>
                  </a:cubicBezTo>
                  <a:cubicBezTo>
                    <a:pt x="980" y="42"/>
                    <a:pt x="980" y="42"/>
                    <a:pt x="980" y="42"/>
                  </a:cubicBezTo>
                  <a:cubicBezTo>
                    <a:pt x="980" y="42"/>
                    <a:pt x="980" y="42"/>
                    <a:pt x="980" y="42"/>
                  </a:cubicBezTo>
                  <a:close/>
                  <a:moveTo>
                    <a:pt x="293" y="266"/>
                  </a:moveTo>
                  <a:cubicBezTo>
                    <a:pt x="293" y="267"/>
                    <a:pt x="293" y="267"/>
                    <a:pt x="293" y="267"/>
                  </a:cubicBezTo>
                  <a:cubicBezTo>
                    <a:pt x="293" y="267"/>
                    <a:pt x="293" y="267"/>
                    <a:pt x="293" y="267"/>
                  </a:cubicBezTo>
                  <a:cubicBezTo>
                    <a:pt x="292" y="267"/>
                    <a:pt x="292" y="267"/>
                    <a:pt x="292" y="267"/>
                  </a:cubicBezTo>
                  <a:cubicBezTo>
                    <a:pt x="292" y="268"/>
                    <a:pt x="291" y="268"/>
                    <a:pt x="291" y="269"/>
                  </a:cubicBezTo>
                  <a:cubicBezTo>
                    <a:pt x="291" y="269"/>
                    <a:pt x="291" y="269"/>
                    <a:pt x="291" y="270"/>
                  </a:cubicBezTo>
                  <a:cubicBezTo>
                    <a:pt x="291" y="270"/>
                    <a:pt x="291" y="270"/>
                    <a:pt x="291" y="271"/>
                  </a:cubicBezTo>
                  <a:cubicBezTo>
                    <a:pt x="290" y="270"/>
                    <a:pt x="290" y="270"/>
                    <a:pt x="290" y="270"/>
                  </a:cubicBezTo>
                  <a:cubicBezTo>
                    <a:pt x="290" y="269"/>
                    <a:pt x="290" y="269"/>
                    <a:pt x="290" y="269"/>
                  </a:cubicBezTo>
                  <a:cubicBezTo>
                    <a:pt x="291" y="268"/>
                    <a:pt x="291" y="268"/>
                    <a:pt x="291" y="268"/>
                  </a:cubicBezTo>
                  <a:cubicBezTo>
                    <a:pt x="291" y="268"/>
                    <a:pt x="292" y="267"/>
                    <a:pt x="292" y="267"/>
                  </a:cubicBezTo>
                  <a:cubicBezTo>
                    <a:pt x="292" y="267"/>
                    <a:pt x="292" y="266"/>
                    <a:pt x="293" y="266"/>
                  </a:cubicBezTo>
                  <a:close/>
                  <a:moveTo>
                    <a:pt x="280" y="268"/>
                  </a:moveTo>
                  <a:cubicBezTo>
                    <a:pt x="280" y="268"/>
                    <a:pt x="280" y="268"/>
                    <a:pt x="280" y="268"/>
                  </a:cubicBezTo>
                  <a:cubicBezTo>
                    <a:pt x="280" y="268"/>
                    <a:pt x="280" y="268"/>
                    <a:pt x="279" y="268"/>
                  </a:cubicBezTo>
                  <a:cubicBezTo>
                    <a:pt x="279" y="268"/>
                    <a:pt x="279" y="268"/>
                    <a:pt x="280" y="268"/>
                  </a:cubicBezTo>
                  <a:cubicBezTo>
                    <a:pt x="280" y="268"/>
                    <a:pt x="280" y="268"/>
                    <a:pt x="280" y="268"/>
                  </a:cubicBezTo>
                  <a:close/>
                  <a:moveTo>
                    <a:pt x="328" y="456"/>
                  </a:moveTo>
                  <a:cubicBezTo>
                    <a:pt x="327" y="456"/>
                    <a:pt x="327" y="456"/>
                    <a:pt x="327" y="456"/>
                  </a:cubicBezTo>
                  <a:cubicBezTo>
                    <a:pt x="327" y="456"/>
                    <a:pt x="327" y="456"/>
                    <a:pt x="327" y="456"/>
                  </a:cubicBezTo>
                  <a:cubicBezTo>
                    <a:pt x="327" y="456"/>
                    <a:pt x="328" y="456"/>
                    <a:pt x="328" y="456"/>
                  </a:cubicBezTo>
                  <a:close/>
                  <a:moveTo>
                    <a:pt x="366" y="448"/>
                  </a:moveTo>
                  <a:cubicBezTo>
                    <a:pt x="366" y="448"/>
                    <a:pt x="366" y="448"/>
                    <a:pt x="366" y="448"/>
                  </a:cubicBezTo>
                  <a:cubicBezTo>
                    <a:pt x="366" y="448"/>
                    <a:pt x="366" y="448"/>
                    <a:pt x="367" y="448"/>
                  </a:cubicBezTo>
                  <a:cubicBezTo>
                    <a:pt x="366" y="448"/>
                    <a:pt x="366" y="448"/>
                    <a:pt x="366" y="448"/>
                  </a:cubicBezTo>
                  <a:cubicBezTo>
                    <a:pt x="366" y="448"/>
                    <a:pt x="366" y="448"/>
                    <a:pt x="366" y="448"/>
                  </a:cubicBezTo>
                  <a:cubicBezTo>
                    <a:pt x="366" y="448"/>
                    <a:pt x="366" y="448"/>
                    <a:pt x="366" y="448"/>
                  </a:cubicBezTo>
                  <a:close/>
                  <a:moveTo>
                    <a:pt x="365" y="455"/>
                  </a:moveTo>
                  <a:cubicBezTo>
                    <a:pt x="365" y="455"/>
                    <a:pt x="365" y="455"/>
                    <a:pt x="365" y="455"/>
                  </a:cubicBezTo>
                  <a:cubicBezTo>
                    <a:pt x="364" y="455"/>
                    <a:pt x="364" y="455"/>
                    <a:pt x="364" y="455"/>
                  </a:cubicBezTo>
                  <a:cubicBezTo>
                    <a:pt x="364" y="455"/>
                    <a:pt x="364" y="455"/>
                    <a:pt x="364" y="455"/>
                  </a:cubicBezTo>
                  <a:lnTo>
                    <a:pt x="365" y="455"/>
                  </a:lnTo>
                  <a:close/>
                  <a:moveTo>
                    <a:pt x="248" y="502"/>
                  </a:moveTo>
                  <a:cubicBezTo>
                    <a:pt x="248" y="502"/>
                    <a:pt x="248" y="502"/>
                    <a:pt x="248" y="502"/>
                  </a:cubicBezTo>
                  <a:cubicBezTo>
                    <a:pt x="248" y="502"/>
                    <a:pt x="248" y="502"/>
                    <a:pt x="248" y="502"/>
                  </a:cubicBezTo>
                  <a:close/>
                  <a:moveTo>
                    <a:pt x="1110" y="467"/>
                  </a:moveTo>
                  <a:cubicBezTo>
                    <a:pt x="1110" y="467"/>
                    <a:pt x="1110" y="467"/>
                    <a:pt x="1110" y="467"/>
                  </a:cubicBezTo>
                  <a:cubicBezTo>
                    <a:pt x="1110" y="467"/>
                    <a:pt x="1110" y="467"/>
                    <a:pt x="1110" y="467"/>
                  </a:cubicBezTo>
                  <a:close/>
                  <a:moveTo>
                    <a:pt x="1122" y="257"/>
                  </a:moveTo>
                  <a:cubicBezTo>
                    <a:pt x="1122" y="257"/>
                    <a:pt x="1122" y="257"/>
                    <a:pt x="1122" y="257"/>
                  </a:cubicBezTo>
                  <a:cubicBezTo>
                    <a:pt x="1122" y="257"/>
                    <a:pt x="1122" y="257"/>
                    <a:pt x="1122" y="257"/>
                  </a:cubicBezTo>
                  <a:close/>
                  <a:moveTo>
                    <a:pt x="1123" y="262"/>
                  </a:moveTo>
                  <a:cubicBezTo>
                    <a:pt x="1123" y="262"/>
                    <a:pt x="1123" y="262"/>
                    <a:pt x="1123" y="262"/>
                  </a:cubicBezTo>
                  <a:cubicBezTo>
                    <a:pt x="1123" y="262"/>
                    <a:pt x="1123" y="262"/>
                    <a:pt x="1123" y="262"/>
                  </a:cubicBezTo>
                  <a:cubicBezTo>
                    <a:pt x="1123" y="262"/>
                    <a:pt x="1123" y="262"/>
                    <a:pt x="1123" y="262"/>
                  </a:cubicBezTo>
                  <a:close/>
                  <a:moveTo>
                    <a:pt x="1085" y="249"/>
                  </a:moveTo>
                  <a:cubicBezTo>
                    <a:pt x="1084" y="249"/>
                    <a:pt x="1084" y="249"/>
                    <a:pt x="1084" y="249"/>
                  </a:cubicBezTo>
                  <a:cubicBezTo>
                    <a:pt x="1084" y="249"/>
                    <a:pt x="1084" y="249"/>
                    <a:pt x="1084" y="249"/>
                  </a:cubicBezTo>
                  <a:cubicBezTo>
                    <a:pt x="1085" y="248"/>
                    <a:pt x="1085" y="248"/>
                    <a:pt x="1085" y="248"/>
                  </a:cubicBezTo>
                  <a:lnTo>
                    <a:pt x="1085" y="249"/>
                  </a:lnTo>
                  <a:close/>
                  <a:moveTo>
                    <a:pt x="1184" y="177"/>
                  </a:moveTo>
                  <a:cubicBezTo>
                    <a:pt x="1185" y="177"/>
                    <a:pt x="1185" y="177"/>
                    <a:pt x="1185" y="177"/>
                  </a:cubicBezTo>
                  <a:cubicBezTo>
                    <a:pt x="1184" y="177"/>
                    <a:pt x="1184" y="177"/>
                    <a:pt x="1184" y="177"/>
                  </a:cubicBezTo>
                  <a:cubicBezTo>
                    <a:pt x="1184" y="177"/>
                    <a:pt x="1184" y="177"/>
                    <a:pt x="1184" y="177"/>
                  </a:cubicBezTo>
                  <a:close/>
                  <a:moveTo>
                    <a:pt x="1222" y="88"/>
                  </a:moveTo>
                  <a:cubicBezTo>
                    <a:pt x="1222" y="88"/>
                    <a:pt x="1222" y="88"/>
                    <a:pt x="1222" y="88"/>
                  </a:cubicBezTo>
                  <a:cubicBezTo>
                    <a:pt x="1222" y="88"/>
                    <a:pt x="1222" y="88"/>
                    <a:pt x="1222" y="88"/>
                  </a:cubicBezTo>
                  <a:cubicBezTo>
                    <a:pt x="1222" y="88"/>
                    <a:pt x="1222" y="88"/>
                    <a:pt x="1222" y="87"/>
                  </a:cubicBezTo>
                  <a:cubicBezTo>
                    <a:pt x="1222" y="87"/>
                    <a:pt x="1222" y="87"/>
                    <a:pt x="1222" y="87"/>
                  </a:cubicBezTo>
                  <a:cubicBezTo>
                    <a:pt x="1222" y="87"/>
                    <a:pt x="1223" y="87"/>
                    <a:pt x="1223" y="87"/>
                  </a:cubicBezTo>
                  <a:lnTo>
                    <a:pt x="1222" y="88"/>
                  </a:lnTo>
                  <a:close/>
                  <a:moveTo>
                    <a:pt x="1223" y="68"/>
                  </a:moveTo>
                  <a:cubicBezTo>
                    <a:pt x="1223" y="68"/>
                    <a:pt x="1223" y="68"/>
                    <a:pt x="1223" y="68"/>
                  </a:cubicBezTo>
                  <a:cubicBezTo>
                    <a:pt x="1223" y="68"/>
                    <a:pt x="1223" y="68"/>
                    <a:pt x="1223" y="68"/>
                  </a:cubicBezTo>
                  <a:cubicBezTo>
                    <a:pt x="1224" y="68"/>
                    <a:pt x="1224" y="68"/>
                    <a:pt x="1224" y="68"/>
                  </a:cubicBezTo>
                  <a:cubicBezTo>
                    <a:pt x="1224" y="68"/>
                    <a:pt x="1224" y="68"/>
                    <a:pt x="1223" y="68"/>
                  </a:cubicBezTo>
                  <a:close/>
                  <a:moveTo>
                    <a:pt x="1230" y="71"/>
                  </a:moveTo>
                  <a:cubicBezTo>
                    <a:pt x="1230" y="71"/>
                    <a:pt x="1230" y="71"/>
                    <a:pt x="1230" y="71"/>
                  </a:cubicBezTo>
                  <a:cubicBezTo>
                    <a:pt x="1230" y="71"/>
                    <a:pt x="1230" y="71"/>
                    <a:pt x="1230" y="71"/>
                  </a:cubicBezTo>
                  <a:cubicBezTo>
                    <a:pt x="1229" y="71"/>
                    <a:pt x="1228" y="71"/>
                    <a:pt x="1227" y="70"/>
                  </a:cubicBezTo>
                  <a:cubicBezTo>
                    <a:pt x="1226" y="69"/>
                    <a:pt x="1225" y="69"/>
                    <a:pt x="1224" y="68"/>
                  </a:cubicBezTo>
                  <a:cubicBezTo>
                    <a:pt x="1225" y="68"/>
                    <a:pt x="1225" y="68"/>
                    <a:pt x="1226" y="68"/>
                  </a:cubicBezTo>
                  <a:cubicBezTo>
                    <a:pt x="1226" y="67"/>
                    <a:pt x="1226" y="67"/>
                    <a:pt x="1226" y="66"/>
                  </a:cubicBezTo>
                  <a:cubicBezTo>
                    <a:pt x="1227" y="66"/>
                    <a:pt x="1227" y="66"/>
                    <a:pt x="1227" y="67"/>
                  </a:cubicBezTo>
                  <a:cubicBezTo>
                    <a:pt x="1227" y="67"/>
                    <a:pt x="1227" y="68"/>
                    <a:pt x="1227" y="68"/>
                  </a:cubicBezTo>
                  <a:cubicBezTo>
                    <a:pt x="1227" y="70"/>
                    <a:pt x="1230" y="71"/>
                    <a:pt x="1231" y="71"/>
                  </a:cubicBezTo>
                  <a:cubicBezTo>
                    <a:pt x="1231" y="71"/>
                    <a:pt x="1232" y="71"/>
                    <a:pt x="1232" y="71"/>
                  </a:cubicBezTo>
                  <a:cubicBezTo>
                    <a:pt x="1232" y="71"/>
                    <a:pt x="1232" y="72"/>
                    <a:pt x="1233" y="72"/>
                  </a:cubicBezTo>
                  <a:cubicBezTo>
                    <a:pt x="1232" y="71"/>
                    <a:pt x="1231" y="71"/>
                    <a:pt x="1230" y="71"/>
                  </a:cubicBezTo>
                  <a:close/>
                  <a:moveTo>
                    <a:pt x="1244" y="54"/>
                  </a:moveTo>
                  <a:cubicBezTo>
                    <a:pt x="1244" y="54"/>
                    <a:pt x="1245" y="55"/>
                    <a:pt x="1247" y="55"/>
                  </a:cubicBezTo>
                  <a:cubicBezTo>
                    <a:pt x="1247" y="55"/>
                    <a:pt x="1247" y="55"/>
                    <a:pt x="1247" y="55"/>
                  </a:cubicBezTo>
                  <a:cubicBezTo>
                    <a:pt x="1247" y="56"/>
                    <a:pt x="1247" y="56"/>
                    <a:pt x="1247" y="56"/>
                  </a:cubicBezTo>
                  <a:cubicBezTo>
                    <a:pt x="1246" y="56"/>
                    <a:pt x="1246" y="56"/>
                    <a:pt x="1246" y="57"/>
                  </a:cubicBezTo>
                  <a:cubicBezTo>
                    <a:pt x="1245" y="55"/>
                    <a:pt x="1243" y="54"/>
                    <a:pt x="1241" y="54"/>
                  </a:cubicBezTo>
                  <a:cubicBezTo>
                    <a:pt x="1241" y="54"/>
                    <a:pt x="1241" y="53"/>
                    <a:pt x="1240" y="53"/>
                  </a:cubicBezTo>
                  <a:cubicBezTo>
                    <a:pt x="1240" y="53"/>
                    <a:pt x="1241" y="53"/>
                    <a:pt x="1242" y="53"/>
                  </a:cubicBezTo>
                  <a:cubicBezTo>
                    <a:pt x="1243" y="53"/>
                    <a:pt x="1243" y="53"/>
                    <a:pt x="1243" y="54"/>
                  </a:cubicBezTo>
                  <a:cubicBezTo>
                    <a:pt x="1243" y="54"/>
                    <a:pt x="1244" y="54"/>
                    <a:pt x="1244" y="54"/>
                  </a:cubicBezTo>
                  <a:close/>
                  <a:moveTo>
                    <a:pt x="789" y="52"/>
                  </a:moveTo>
                  <a:cubicBezTo>
                    <a:pt x="789" y="52"/>
                    <a:pt x="789" y="52"/>
                    <a:pt x="789" y="52"/>
                  </a:cubicBezTo>
                  <a:cubicBezTo>
                    <a:pt x="789" y="52"/>
                    <a:pt x="789" y="52"/>
                    <a:pt x="789" y="52"/>
                  </a:cubicBezTo>
                  <a:close/>
                  <a:moveTo>
                    <a:pt x="564" y="126"/>
                  </a:moveTo>
                  <a:cubicBezTo>
                    <a:pt x="565" y="126"/>
                    <a:pt x="565" y="126"/>
                    <a:pt x="565" y="126"/>
                  </a:cubicBezTo>
                  <a:cubicBezTo>
                    <a:pt x="565" y="126"/>
                    <a:pt x="565" y="126"/>
                    <a:pt x="565" y="126"/>
                  </a:cubicBezTo>
                  <a:lnTo>
                    <a:pt x="564" y="126"/>
                  </a:lnTo>
                  <a:close/>
                  <a:moveTo>
                    <a:pt x="394" y="97"/>
                  </a:move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6"/>
                    <a:pt x="395" y="96"/>
                  </a:cubicBezTo>
                  <a:cubicBezTo>
                    <a:pt x="394" y="97"/>
                    <a:pt x="394" y="97"/>
                    <a:pt x="394" y="97"/>
                  </a:cubicBezTo>
                  <a:close/>
                  <a:moveTo>
                    <a:pt x="384" y="100"/>
                  </a:moveTo>
                  <a:cubicBezTo>
                    <a:pt x="383" y="100"/>
                    <a:pt x="383" y="100"/>
                    <a:pt x="383" y="100"/>
                  </a:cubicBezTo>
                  <a:cubicBezTo>
                    <a:pt x="384" y="100"/>
                    <a:pt x="384" y="100"/>
                    <a:pt x="384" y="100"/>
                  </a:cubicBezTo>
                  <a:cubicBezTo>
                    <a:pt x="384" y="100"/>
                    <a:pt x="384" y="100"/>
                    <a:pt x="384" y="100"/>
                  </a:cubicBezTo>
                  <a:close/>
                  <a:moveTo>
                    <a:pt x="268" y="198"/>
                  </a:moveTo>
                  <a:cubicBezTo>
                    <a:pt x="268" y="198"/>
                    <a:pt x="268" y="198"/>
                    <a:pt x="268" y="198"/>
                  </a:cubicBezTo>
                  <a:cubicBezTo>
                    <a:pt x="268" y="198"/>
                    <a:pt x="268" y="198"/>
                    <a:pt x="268" y="198"/>
                  </a:cubicBezTo>
                  <a:close/>
                  <a:moveTo>
                    <a:pt x="261" y="224"/>
                  </a:moveTo>
                  <a:cubicBezTo>
                    <a:pt x="261" y="224"/>
                    <a:pt x="261" y="224"/>
                    <a:pt x="261" y="224"/>
                  </a:cubicBezTo>
                  <a:cubicBezTo>
                    <a:pt x="261" y="224"/>
                    <a:pt x="261" y="224"/>
                    <a:pt x="261" y="224"/>
                  </a:cubicBezTo>
                  <a:close/>
                  <a:moveTo>
                    <a:pt x="225" y="313"/>
                  </a:moveTo>
                  <a:cubicBezTo>
                    <a:pt x="225" y="313"/>
                    <a:pt x="225" y="313"/>
                    <a:pt x="225" y="313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3"/>
                    <a:pt x="225" y="313"/>
                    <a:pt x="225" y="313"/>
                  </a:cubicBezTo>
                  <a:close/>
                  <a:moveTo>
                    <a:pt x="130" y="471"/>
                  </a:moveTo>
                  <a:cubicBezTo>
                    <a:pt x="131" y="471"/>
                    <a:pt x="132" y="470"/>
                    <a:pt x="132" y="470"/>
                  </a:cubicBezTo>
                  <a:cubicBezTo>
                    <a:pt x="133" y="469"/>
                    <a:pt x="133" y="470"/>
                    <a:pt x="133" y="470"/>
                  </a:cubicBezTo>
                  <a:cubicBezTo>
                    <a:pt x="134" y="470"/>
                    <a:pt x="135" y="470"/>
                    <a:pt x="136" y="469"/>
                  </a:cubicBezTo>
                  <a:cubicBezTo>
                    <a:pt x="137" y="468"/>
                    <a:pt x="137" y="468"/>
                    <a:pt x="138" y="468"/>
                  </a:cubicBezTo>
                  <a:cubicBezTo>
                    <a:pt x="138" y="468"/>
                    <a:pt x="138" y="468"/>
                    <a:pt x="139" y="468"/>
                  </a:cubicBezTo>
                  <a:cubicBezTo>
                    <a:pt x="139" y="468"/>
                    <a:pt x="139" y="468"/>
                    <a:pt x="140" y="468"/>
                  </a:cubicBezTo>
                  <a:cubicBezTo>
                    <a:pt x="141" y="468"/>
                    <a:pt x="142" y="468"/>
                    <a:pt x="143" y="468"/>
                  </a:cubicBezTo>
                  <a:cubicBezTo>
                    <a:pt x="143" y="468"/>
                    <a:pt x="144" y="468"/>
                    <a:pt x="145" y="468"/>
                  </a:cubicBezTo>
                  <a:cubicBezTo>
                    <a:pt x="146" y="468"/>
                    <a:pt x="146" y="468"/>
                    <a:pt x="146" y="468"/>
                  </a:cubicBezTo>
                  <a:cubicBezTo>
                    <a:pt x="148" y="468"/>
                    <a:pt x="149" y="468"/>
                    <a:pt x="150" y="467"/>
                  </a:cubicBezTo>
                  <a:cubicBezTo>
                    <a:pt x="151" y="467"/>
                    <a:pt x="151" y="467"/>
                    <a:pt x="151" y="467"/>
                  </a:cubicBezTo>
                  <a:cubicBezTo>
                    <a:pt x="151" y="467"/>
                    <a:pt x="151" y="467"/>
                    <a:pt x="152" y="467"/>
                  </a:cubicBezTo>
                  <a:cubicBezTo>
                    <a:pt x="152" y="466"/>
                    <a:pt x="152" y="466"/>
                    <a:pt x="152" y="466"/>
                  </a:cubicBezTo>
                  <a:cubicBezTo>
                    <a:pt x="152" y="466"/>
                    <a:pt x="152" y="466"/>
                    <a:pt x="152" y="466"/>
                  </a:cubicBezTo>
                  <a:cubicBezTo>
                    <a:pt x="152" y="467"/>
                    <a:pt x="152" y="467"/>
                    <a:pt x="152" y="467"/>
                  </a:cubicBezTo>
                  <a:cubicBezTo>
                    <a:pt x="152" y="467"/>
                    <a:pt x="152" y="468"/>
                    <a:pt x="153" y="468"/>
                  </a:cubicBezTo>
                  <a:cubicBezTo>
                    <a:pt x="154" y="468"/>
                    <a:pt x="155" y="466"/>
                    <a:pt x="156" y="463"/>
                  </a:cubicBezTo>
                  <a:cubicBezTo>
                    <a:pt x="157" y="462"/>
                    <a:pt x="157" y="462"/>
                    <a:pt x="158" y="462"/>
                  </a:cubicBezTo>
                  <a:cubicBezTo>
                    <a:pt x="159" y="462"/>
                    <a:pt x="160" y="461"/>
                    <a:pt x="161" y="460"/>
                  </a:cubicBezTo>
                  <a:cubicBezTo>
                    <a:pt x="162" y="460"/>
                    <a:pt x="162" y="460"/>
                    <a:pt x="162" y="460"/>
                  </a:cubicBezTo>
                  <a:cubicBezTo>
                    <a:pt x="162" y="460"/>
                    <a:pt x="162" y="460"/>
                    <a:pt x="162" y="460"/>
                  </a:cubicBezTo>
                  <a:cubicBezTo>
                    <a:pt x="163" y="460"/>
                    <a:pt x="163" y="460"/>
                    <a:pt x="164" y="460"/>
                  </a:cubicBezTo>
                  <a:cubicBezTo>
                    <a:pt x="165" y="460"/>
                    <a:pt x="165" y="460"/>
                    <a:pt x="166" y="459"/>
                  </a:cubicBezTo>
                  <a:cubicBezTo>
                    <a:pt x="166" y="458"/>
                    <a:pt x="166" y="457"/>
                    <a:pt x="165" y="457"/>
                  </a:cubicBezTo>
                  <a:cubicBezTo>
                    <a:pt x="165" y="456"/>
                    <a:pt x="166" y="456"/>
                    <a:pt x="166" y="455"/>
                  </a:cubicBezTo>
                  <a:cubicBezTo>
                    <a:pt x="167" y="455"/>
                    <a:pt x="167" y="455"/>
                    <a:pt x="167" y="455"/>
                  </a:cubicBezTo>
                  <a:cubicBezTo>
                    <a:pt x="168" y="454"/>
                    <a:pt x="168" y="454"/>
                    <a:pt x="168" y="453"/>
                  </a:cubicBezTo>
                  <a:cubicBezTo>
                    <a:pt x="170" y="452"/>
                    <a:pt x="170" y="451"/>
                    <a:pt x="171" y="450"/>
                  </a:cubicBezTo>
                  <a:cubicBezTo>
                    <a:pt x="171" y="450"/>
                    <a:pt x="172" y="449"/>
                    <a:pt x="172" y="449"/>
                  </a:cubicBezTo>
                  <a:cubicBezTo>
                    <a:pt x="173" y="449"/>
                    <a:pt x="174" y="447"/>
                    <a:pt x="174" y="446"/>
                  </a:cubicBezTo>
                  <a:cubicBezTo>
                    <a:pt x="174" y="445"/>
                    <a:pt x="174" y="444"/>
                    <a:pt x="173" y="444"/>
                  </a:cubicBezTo>
                  <a:cubicBezTo>
                    <a:pt x="173" y="444"/>
                    <a:pt x="172" y="443"/>
                    <a:pt x="172" y="442"/>
                  </a:cubicBezTo>
                  <a:cubicBezTo>
                    <a:pt x="172" y="441"/>
                    <a:pt x="172" y="441"/>
                    <a:pt x="172" y="441"/>
                  </a:cubicBezTo>
                  <a:cubicBezTo>
                    <a:pt x="172" y="439"/>
                    <a:pt x="173" y="438"/>
                    <a:pt x="174" y="438"/>
                  </a:cubicBezTo>
                  <a:cubicBezTo>
                    <a:pt x="175" y="436"/>
                    <a:pt x="177" y="432"/>
                    <a:pt x="177" y="432"/>
                  </a:cubicBezTo>
                  <a:cubicBezTo>
                    <a:pt x="178" y="432"/>
                    <a:pt x="179" y="431"/>
                    <a:pt x="180" y="431"/>
                  </a:cubicBezTo>
                  <a:cubicBezTo>
                    <a:pt x="180" y="430"/>
                    <a:pt x="181" y="430"/>
                    <a:pt x="181" y="430"/>
                  </a:cubicBezTo>
                  <a:cubicBezTo>
                    <a:pt x="183" y="429"/>
                    <a:pt x="183" y="427"/>
                    <a:pt x="182" y="426"/>
                  </a:cubicBezTo>
                  <a:cubicBezTo>
                    <a:pt x="183" y="426"/>
                    <a:pt x="183" y="426"/>
                    <a:pt x="183" y="426"/>
                  </a:cubicBezTo>
                  <a:cubicBezTo>
                    <a:pt x="183" y="426"/>
                    <a:pt x="184" y="425"/>
                    <a:pt x="184" y="425"/>
                  </a:cubicBezTo>
                  <a:cubicBezTo>
                    <a:pt x="184" y="424"/>
                    <a:pt x="185" y="424"/>
                    <a:pt x="185" y="424"/>
                  </a:cubicBezTo>
                  <a:cubicBezTo>
                    <a:pt x="186" y="424"/>
                    <a:pt x="186" y="424"/>
                    <a:pt x="186" y="424"/>
                  </a:cubicBezTo>
                  <a:cubicBezTo>
                    <a:pt x="187" y="423"/>
                    <a:pt x="191" y="422"/>
                    <a:pt x="192" y="422"/>
                  </a:cubicBezTo>
                  <a:cubicBezTo>
                    <a:pt x="193" y="422"/>
                    <a:pt x="194" y="420"/>
                    <a:pt x="195" y="419"/>
                  </a:cubicBezTo>
                  <a:cubicBezTo>
                    <a:pt x="195" y="419"/>
                    <a:pt x="196" y="419"/>
                    <a:pt x="197" y="418"/>
                  </a:cubicBezTo>
                  <a:cubicBezTo>
                    <a:pt x="198" y="418"/>
                    <a:pt x="199" y="417"/>
                    <a:pt x="200" y="416"/>
                  </a:cubicBezTo>
                  <a:cubicBezTo>
                    <a:pt x="201" y="416"/>
                    <a:pt x="201" y="416"/>
                    <a:pt x="201" y="416"/>
                  </a:cubicBezTo>
                  <a:cubicBezTo>
                    <a:pt x="202" y="415"/>
                    <a:pt x="203" y="414"/>
                    <a:pt x="202" y="413"/>
                  </a:cubicBezTo>
                  <a:cubicBezTo>
                    <a:pt x="202" y="412"/>
                    <a:pt x="202" y="412"/>
                    <a:pt x="202" y="412"/>
                  </a:cubicBezTo>
                  <a:cubicBezTo>
                    <a:pt x="203" y="411"/>
                    <a:pt x="203" y="411"/>
                    <a:pt x="203" y="411"/>
                  </a:cubicBezTo>
                  <a:cubicBezTo>
                    <a:pt x="203" y="411"/>
                    <a:pt x="203" y="411"/>
                    <a:pt x="203" y="411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09"/>
                    <a:pt x="205" y="408"/>
                    <a:pt x="205" y="407"/>
                  </a:cubicBezTo>
                  <a:cubicBezTo>
                    <a:pt x="205" y="406"/>
                    <a:pt x="205" y="406"/>
                    <a:pt x="205" y="405"/>
                  </a:cubicBezTo>
                  <a:cubicBezTo>
                    <a:pt x="205" y="404"/>
                    <a:pt x="206" y="404"/>
                    <a:pt x="205" y="403"/>
                  </a:cubicBezTo>
                  <a:cubicBezTo>
                    <a:pt x="207" y="402"/>
                    <a:pt x="211" y="399"/>
                    <a:pt x="211" y="399"/>
                  </a:cubicBezTo>
                  <a:cubicBezTo>
                    <a:pt x="211" y="399"/>
                    <a:pt x="213" y="399"/>
                    <a:pt x="213" y="400"/>
                  </a:cubicBezTo>
                  <a:cubicBezTo>
                    <a:pt x="214" y="401"/>
                    <a:pt x="216" y="401"/>
                    <a:pt x="217" y="400"/>
                  </a:cubicBezTo>
                  <a:cubicBezTo>
                    <a:pt x="217" y="401"/>
                    <a:pt x="218" y="401"/>
                    <a:pt x="218" y="401"/>
                  </a:cubicBezTo>
                  <a:cubicBezTo>
                    <a:pt x="218" y="401"/>
                    <a:pt x="218" y="401"/>
                    <a:pt x="218" y="401"/>
                  </a:cubicBezTo>
                  <a:cubicBezTo>
                    <a:pt x="218" y="401"/>
                    <a:pt x="219" y="402"/>
                    <a:pt x="220" y="403"/>
                  </a:cubicBezTo>
                  <a:cubicBezTo>
                    <a:pt x="220" y="403"/>
                    <a:pt x="221" y="403"/>
                    <a:pt x="221" y="403"/>
                  </a:cubicBezTo>
                  <a:cubicBezTo>
                    <a:pt x="221" y="404"/>
                    <a:pt x="222" y="404"/>
                    <a:pt x="224" y="404"/>
                  </a:cubicBezTo>
                  <a:cubicBezTo>
                    <a:pt x="224" y="404"/>
                    <a:pt x="224" y="404"/>
                    <a:pt x="224" y="404"/>
                  </a:cubicBezTo>
                  <a:cubicBezTo>
                    <a:pt x="224" y="404"/>
                    <a:pt x="225" y="404"/>
                    <a:pt x="225" y="404"/>
                  </a:cubicBezTo>
                  <a:cubicBezTo>
                    <a:pt x="226" y="404"/>
                    <a:pt x="226" y="404"/>
                    <a:pt x="227" y="404"/>
                  </a:cubicBezTo>
                  <a:cubicBezTo>
                    <a:pt x="228" y="404"/>
                    <a:pt x="229" y="403"/>
                    <a:pt x="230" y="403"/>
                  </a:cubicBezTo>
                  <a:cubicBezTo>
                    <a:pt x="230" y="403"/>
                    <a:pt x="230" y="402"/>
                    <a:pt x="230" y="402"/>
                  </a:cubicBezTo>
                  <a:cubicBezTo>
                    <a:pt x="230" y="401"/>
                    <a:pt x="231" y="401"/>
                    <a:pt x="231" y="401"/>
                  </a:cubicBezTo>
                  <a:cubicBezTo>
                    <a:pt x="232" y="401"/>
                    <a:pt x="232" y="400"/>
                    <a:pt x="233" y="400"/>
                  </a:cubicBezTo>
                  <a:cubicBezTo>
                    <a:pt x="233" y="400"/>
                    <a:pt x="233" y="399"/>
                    <a:pt x="233" y="399"/>
                  </a:cubicBezTo>
                  <a:cubicBezTo>
                    <a:pt x="233" y="399"/>
                    <a:pt x="234" y="399"/>
                    <a:pt x="234" y="399"/>
                  </a:cubicBezTo>
                  <a:cubicBezTo>
                    <a:pt x="234" y="399"/>
                    <a:pt x="234" y="399"/>
                    <a:pt x="234" y="399"/>
                  </a:cubicBezTo>
                  <a:cubicBezTo>
                    <a:pt x="235" y="398"/>
                    <a:pt x="237" y="398"/>
                    <a:pt x="237" y="398"/>
                  </a:cubicBezTo>
                  <a:cubicBezTo>
                    <a:pt x="237" y="398"/>
                    <a:pt x="237" y="398"/>
                    <a:pt x="237" y="398"/>
                  </a:cubicBezTo>
                  <a:cubicBezTo>
                    <a:pt x="239" y="397"/>
                    <a:pt x="241" y="395"/>
                    <a:pt x="242" y="393"/>
                  </a:cubicBezTo>
                  <a:cubicBezTo>
                    <a:pt x="243" y="393"/>
                    <a:pt x="243" y="393"/>
                    <a:pt x="243" y="393"/>
                  </a:cubicBezTo>
                  <a:cubicBezTo>
                    <a:pt x="244" y="392"/>
                    <a:pt x="245" y="392"/>
                    <a:pt x="247" y="392"/>
                  </a:cubicBezTo>
                  <a:cubicBezTo>
                    <a:pt x="248" y="392"/>
                    <a:pt x="249" y="394"/>
                    <a:pt x="249" y="394"/>
                  </a:cubicBezTo>
                  <a:cubicBezTo>
                    <a:pt x="249" y="395"/>
                    <a:pt x="251" y="396"/>
                    <a:pt x="252" y="396"/>
                  </a:cubicBezTo>
                  <a:cubicBezTo>
                    <a:pt x="252" y="396"/>
                    <a:pt x="253" y="396"/>
                    <a:pt x="253" y="396"/>
                  </a:cubicBezTo>
                  <a:cubicBezTo>
                    <a:pt x="253" y="396"/>
                    <a:pt x="253" y="397"/>
                    <a:pt x="253" y="398"/>
                  </a:cubicBezTo>
                  <a:cubicBezTo>
                    <a:pt x="253" y="399"/>
                    <a:pt x="253" y="399"/>
                    <a:pt x="254" y="400"/>
                  </a:cubicBezTo>
                  <a:cubicBezTo>
                    <a:pt x="254" y="401"/>
                    <a:pt x="254" y="402"/>
                    <a:pt x="254" y="403"/>
                  </a:cubicBezTo>
                  <a:cubicBezTo>
                    <a:pt x="254" y="403"/>
                    <a:pt x="254" y="403"/>
                    <a:pt x="254" y="403"/>
                  </a:cubicBezTo>
                  <a:cubicBezTo>
                    <a:pt x="254" y="403"/>
                    <a:pt x="254" y="403"/>
                    <a:pt x="254" y="403"/>
                  </a:cubicBezTo>
                  <a:cubicBezTo>
                    <a:pt x="254" y="403"/>
                    <a:pt x="254" y="403"/>
                    <a:pt x="254" y="403"/>
                  </a:cubicBezTo>
                  <a:cubicBezTo>
                    <a:pt x="253" y="404"/>
                    <a:pt x="253" y="405"/>
                    <a:pt x="254" y="406"/>
                  </a:cubicBezTo>
                  <a:cubicBezTo>
                    <a:pt x="254" y="407"/>
                    <a:pt x="255" y="407"/>
                    <a:pt x="255" y="407"/>
                  </a:cubicBezTo>
                  <a:cubicBezTo>
                    <a:pt x="255" y="408"/>
                    <a:pt x="256" y="409"/>
                    <a:pt x="257" y="409"/>
                  </a:cubicBezTo>
                  <a:cubicBezTo>
                    <a:pt x="258" y="408"/>
                    <a:pt x="258" y="408"/>
                    <a:pt x="258" y="408"/>
                  </a:cubicBezTo>
                  <a:cubicBezTo>
                    <a:pt x="258" y="408"/>
                    <a:pt x="258" y="408"/>
                    <a:pt x="258" y="408"/>
                  </a:cubicBezTo>
                  <a:cubicBezTo>
                    <a:pt x="257" y="409"/>
                    <a:pt x="257" y="409"/>
                    <a:pt x="257" y="409"/>
                  </a:cubicBezTo>
                  <a:cubicBezTo>
                    <a:pt x="257" y="410"/>
                    <a:pt x="257" y="410"/>
                    <a:pt x="257" y="410"/>
                  </a:cubicBezTo>
                  <a:cubicBezTo>
                    <a:pt x="257" y="410"/>
                    <a:pt x="257" y="410"/>
                    <a:pt x="257" y="410"/>
                  </a:cubicBezTo>
                  <a:cubicBezTo>
                    <a:pt x="257" y="411"/>
                    <a:pt x="257" y="411"/>
                    <a:pt x="257" y="412"/>
                  </a:cubicBezTo>
                  <a:cubicBezTo>
                    <a:pt x="258" y="413"/>
                    <a:pt x="259" y="413"/>
                    <a:pt x="260" y="413"/>
                  </a:cubicBezTo>
                  <a:cubicBezTo>
                    <a:pt x="260" y="413"/>
                    <a:pt x="260" y="413"/>
                    <a:pt x="260" y="413"/>
                  </a:cubicBezTo>
                  <a:cubicBezTo>
                    <a:pt x="261" y="414"/>
                    <a:pt x="261" y="414"/>
                    <a:pt x="262" y="415"/>
                  </a:cubicBezTo>
                  <a:cubicBezTo>
                    <a:pt x="262" y="415"/>
                    <a:pt x="262" y="415"/>
                    <a:pt x="262" y="415"/>
                  </a:cubicBezTo>
                  <a:cubicBezTo>
                    <a:pt x="262" y="416"/>
                    <a:pt x="262" y="416"/>
                    <a:pt x="263" y="416"/>
                  </a:cubicBezTo>
                  <a:cubicBezTo>
                    <a:pt x="263" y="417"/>
                    <a:pt x="263" y="417"/>
                    <a:pt x="264" y="418"/>
                  </a:cubicBezTo>
                  <a:cubicBezTo>
                    <a:pt x="264" y="419"/>
                    <a:pt x="265" y="421"/>
                    <a:pt x="267" y="421"/>
                  </a:cubicBezTo>
                  <a:cubicBezTo>
                    <a:pt x="267" y="422"/>
                    <a:pt x="268" y="422"/>
                    <a:pt x="268" y="424"/>
                  </a:cubicBezTo>
                  <a:cubicBezTo>
                    <a:pt x="269" y="425"/>
                    <a:pt x="270" y="426"/>
                    <a:pt x="271" y="426"/>
                  </a:cubicBezTo>
                  <a:cubicBezTo>
                    <a:pt x="271" y="426"/>
                    <a:pt x="272" y="426"/>
                    <a:pt x="273" y="425"/>
                  </a:cubicBezTo>
                  <a:cubicBezTo>
                    <a:pt x="273" y="425"/>
                    <a:pt x="274" y="426"/>
                    <a:pt x="274" y="426"/>
                  </a:cubicBezTo>
                  <a:cubicBezTo>
                    <a:pt x="274" y="428"/>
                    <a:pt x="276" y="429"/>
                    <a:pt x="277" y="430"/>
                  </a:cubicBezTo>
                  <a:cubicBezTo>
                    <a:pt x="277" y="430"/>
                    <a:pt x="277" y="430"/>
                    <a:pt x="277" y="430"/>
                  </a:cubicBezTo>
                  <a:cubicBezTo>
                    <a:pt x="277" y="431"/>
                    <a:pt x="277" y="431"/>
                    <a:pt x="277" y="432"/>
                  </a:cubicBezTo>
                  <a:cubicBezTo>
                    <a:pt x="278" y="433"/>
                    <a:pt x="278" y="433"/>
                    <a:pt x="280" y="433"/>
                  </a:cubicBezTo>
                  <a:cubicBezTo>
                    <a:pt x="280" y="433"/>
                    <a:pt x="281" y="432"/>
                    <a:pt x="281" y="432"/>
                  </a:cubicBezTo>
                  <a:cubicBezTo>
                    <a:pt x="281" y="433"/>
                    <a:pt x="281" y="433"/>
                    <a:pt x="281" y="434"/>
                  </a:cubicBezTo>
                  <a:cubicBezTo>
                    <a:pt x="281" y="435"/>
                    <a:pt x="282" y="436"/>
                    <a:pt x="282" y="436"/>
                  </a:cubicBezTo>
                  <a:cubicBezTo>
                    <a:pt x="283" y="437"/>
                    <a:pt x="283" y="437"/>
                    <a:pt x="283" y="437"/>
                  </a:cubicBezTo>
                  <a:cubicBezTo>
                    <a:pt x="283" y="437"/>
                    <a:pt x="283" y="437"/>
                    <a:pt x="283" y="438"/>
                  </a:cubicBezTo>
                  <a:cubicBezTo>
                    <a:pt x="284" y="439"/>
                    <a:pt x="285" y="439"/>
                    <a:pt x="286" y="439"/>
                  </a:cubicBezTo>
                  <a:cubicBezTo>
                    <a:pt x="286" y="439"/>
                    <a:pt x="286" y="439"/>
                    <a:pt x="286" y="439"/>
                  </a:cubicBezTo>
                  <a:cubicBezTo>
                    <a:pt x="286" y="440"/>
                    <a:pt x="287" y="440"/>
                    <a:pt x="287" y="440"/>
                  </a:cubicBezTo>
                  <a:cubicBezTo>
                    <a:pt x="287" y="441"/>
                    <a:pt x="287" y="441"/>
                    <a:pt x="287" y="442"/>
                  </a:cubicBezTo>
                  <a:cubicBezTo>
                    <a:pt x="287" y="443"/>
                    <a:pt x="287" y="443"/>
                    <a:pt x="287" y="443"/>
                  </a:cubicBezTo>
                  <a:cubicBezTo>
                    <a:pt x="287" y="444"/>
                    <a:pt x="288" y="444"/>
                    <a:pt x="288" y="446"/>
                  </a:cubicBezTo>
                  <a:cubicBezTo>
                    <a:pt x="288" y="448"/>
                    <a:pt x="288" y="449"/>
                    <a:pt x="287" y="449"/>
                  </a:cubicBezTo>
                  <a:cubicBezTo>
                    <a:pt x="285" y="450"/>
                    <a:pt x="285" y="452"/>
                    <a:pt x="285" y="453"/>
                  </a:cubicBezTo>
                  <a:cubicBezTo>
                    <a:pt x="285" y="453"/>
                    <a:pt x="286" y="453"/>
                    <a:pt x="285" y="453"/>
                  </a:cubicBezTo>
                  <a:cubicBezTo>
                    <a:pt x="285" y="453"/>
                    <a:pt x="285" y="453"/>
                    <a:pt x="285" y="453"/>
                  </a:cubicBezTo>
                  <a:cubicBezTo>
                    <a:pt x="285" y="454"/>
                    <a:pt x="285" y="454"/>
                    <a:pt x="285" y="454"/>
                  </a:cubicBezTo>
                  <a:cubicBezTo>
                    <a:pt x="285" y="454"/>
                    <a:pt x="284" y="454"/>
                    <a:pt x="284" y="454"/>
                  </a:cubicBezTo>
                  <a:cubicBezTo>
                    <a:pt x="284" y="454"/>
                    <a:pt x="284" y="454"/>
                    <a:pt x="284" y="454"/>
                  </a:cubicBezTo>
                  <a:cubicBezTo>
                    <a:pt x="283" y="454"/>
                    <a:pt x="283" y="454"/>
                    <a:pt x="283" y="454"/>
                  </a:cubicBezTo>
                  <a:cubicBezTo>
                    <a:pt x="282" y="454"/>
                    <a:pt x="282" y="454"/>
                    <a:pt x="282" y="455"/>
                  </a:cubicBezTo>
                  <a:cubicBezTo>
                    <a:pt x="281" y="455"/>
                    <a:pt x="281" y="455"/>
                    <a:pt x="281" y="455"/>
                  </a:cubicBezTo>
                  <a:cubicBezTo>
                    <a:pt x="280" y="455"/>
                    <a:pt x="280" y="455"/>
                    <a:pt x="280" y="455"/>
                  </a:cubicBezTo>
                  <a:cubicBezTo>
                    <a:pt x="279" y="455"/>
                    <a:pt x="279" y="455"/>
                    <a:pt x="279" y="455"/>
                  </a:cubicBezTo>
                  <a:cubicBezTo>
                    <a:pt x="278" y="455"/>
                    <a:pt x="278" y="455"/>
                    <a:pt x="277" y="455"/>
                  </a:cubicBezTo>
                  <a:cubicBezTo>
                    <a:pt x="277" y="455"/>
                    <a:pt x="277" y="456"/>
                    <a:pt x="277" y="456"/>
                  </a:cubicBezTo>
                  <a:cubicBezTo>
                    <a:pt x="277" y="456"/>
                    <a:pt x="276" y="456"/>
                    <a:pt x="276" y="456"/>
                  </a:cubicBezTo>
                  <a:cubicBezTo>
                    <a:pt x="276" y="456"/>
                    <a:pt x="276" y="456"/>
                    <a:pt x="276" y="456"/>
                  </a:cubicBezTo>
                  <a:cubicBezTo>
                    <a:pt x="275" y="456"/>
                    <a:pt x="275" y="456"/>
                    <a:pt x="274" y="456"/>
                  </a:cubicBezTo>
                  <a:cubicBezTo>
                    <a:pt x="274" y="456"/>
                    <a:pt x="274" y="456"/>
                    <a:pt x="274" y="456"/>
                  </a:cubicBezTo>
                  <a:cubicBezTo>
                    <a:pt x="273" y="456"/>
                    <a:pt x="273" y="455"/>
                    <a:pt x="273" y="455"/>
                  </a:cubicBezTo>
                  <a:cubicBezTo>
                    <a:pt x="272" y="455"/>
                    <a:pt x="272" y="455"/>
                    <a:pt x="271" y="455"/>
                  </a:cubicBezTo>
                  <a:cubicBezTo>
                    <a:pt x="271" y="457"/>
                    <a:pt x="271" y="457"/>
                    <a:pt x="271" y="457"/>
                  </a:cubicBezTo>
                  <a:cubicBezTo>
                    <a:pt x="271" y="455"/>
                    <a:pt x="271" y="455"/>
                    <a:pt x="271" y="455"/>
                  </a:cubicBezTo>
                  <a:cubicBezTo>
                    <a:pt x="271" y="455"/>
                    <a:pt x="270" y="455"/>
                    <a:pt x="270" y="455"/>
                  </a:cubicBezTo>
                  <a:cubicBezTo>
                    <a:pt x="270" y="455"/>
                    <a:pt x="269" y="455"/>
                    <a:pt x="268" y="455"/>
                  </a:cubicBezTo>
                  <a:cubicBezTo>
                    <a:pt x="267" y="454"/>
                    <a:pt x="266" y="454"/>
                    <a:pt x="265" y="455"/>
                  </a:cubicBezTo>
                  <a:cubicBezTo>
                    <a:pt x="265" y="454"/>
                    <a:pt x="265" y="454"/>
                    <a:pt x="265" y="454"/>
                  </a:cubicBezTo>
                  <a:cubicBezTo>
                    <a:pt x="264" y="452"/>
                    <a:pt x="264" y="452"/>
                    <a:pt x="264" y="452"/>
                  </a:cubicBezTo>
                  <a:cubicBezTo>
                    <a:pt x="263" y="454"/>
                    <a:pt x="263" y="454"/>
                    <a:pt x="263" y="454"/>
                  </a:cubicBezTo>
                  <a:cubicBezTo>
                    <a:pt x="262" y="455"/>
                    <a:pt x="262" y="455"/>
                    <a:pt x="262" y="455"/>
                  </a:cubicBezTo>
                  <a:cubicBezTo>
                    <a:pt x="262" y="455"/>
                    <a:pt x="262" y="455"/>
                    <a:pt x="262" y="456"/>
                  </a:cubicBezTo>
                  <a:cubicBezTo>
                    <a:pt x="261" y="456"/>
                    <a:pt x="261" y="456"/>
                    <a:pt x="261" y="457"/>
                  </a:cubicBezTo>
                  <a:cubicBezTo>
                    <a:pt x="260" y="458"/>
                    <a:pt x="261" y="458"/>
                    <a:pt x="261" y="459"/>
                  </a:cubicBezTo>
                  <a:cubicBezTo>
                    <a:pt x="261" y="459"/>
                    <a:pt x="261" y="460"/>
                    <a:pt x="261" y="460"/>
                  </a:cubicBezTo>
                  <a:cubicBezTo>
                    <a:pt x="260" y="461"/>
                    <a:pt x="260" y="461"/>
                    <a:pt x="261" y="462"/>
                  </a:cubicBezTo>
                  <a:cubicBezTo>
                    <a:pt x="261" y="463"/>
                    <a:pt x="262" y="463"/>
                    <a:pt x="263" y="463"/>
                  </a:cubicBezTo>
                  <a:cubicBezTo>
                    <a:pt x="263" y="463"/>
                    <a:pt x="263" y="463"/>
                    <a:pt x="263" y="464"/>
                  </a:cubicBezTo>
                  <a:cubicBezTo>
                    <a:pt x="264" y="464"/>
                    <a:pt x="264" y="464"/>
                    <a:pt x="264" y="464"/>
                  </a:cubicBezTo>
                  <a:cubicBezTo>
                    <a:pt x="264" y="464"/>
                    <a:pt x="264" y="464"/>
                    <a:pt x="265" y="464"/>
                  </a:cubicBezTo>
                  <a:cubicBezTo>
                    <a:pt x="265" y="465"/>
                    <a:pt x="265" y="465"/>
                    <a:pt x="265" y="465"/>
                  </a:cubicBezTo>
                  <a:cubicBezTo>
                    <a:pt x="265" y="465"/>
                    <a:pt x="265" y="465"/>
                    <a:pt x="266" y="465"/>
                  </a:cubicBezTo>
                  <a:cubicBezTo>
                    <a:pt x="266" y="465"/>
                    <a:pt x="266" y="466"/>
                    <a:pt x="267" y="466"/>
                  </a:cubicBezTo>
                  <a:cubicBezTo>
                    <a:pt x="267" y="466"/>
                    <a:pt x="267" y="467"/>
                    <a:pt x="268" y="467"/>
                  </a:cubicBezTo>
                  <a:cubicBezTo>
                    <a:pt x="268" y="467"/>
                    <a:pt x="268" y="467"/>
                    <a:pt x="268" y="467"/>
                  </a:cubicBezTo>
                  <a:cubicBezTo>
                    <a:pt x="269" y="468"/>
                    <a:pt x="269" y="468"/>
                    <a:pt x="269" y="468"/>
                  </a:cubicBezTo>
                  <a:cubicBezTo>
                    <a:pt x="269" y="468"/>
                    <a:pt x="269" y="468"/>
                    <a:pt x="269" y="468"/>
                  </a:cubicBezTo>
                  <a:cubicBezTo>
                    <a:pt x="270" y="468"/>
                    <a:pt x="270" y="468"/>
                    <a:pt x="270" y="468"/>
                  </a:cubicBezTo>
                  <a:cubicBezTo>
                    <a:pt x="271" y="468"/>
                    <a:pt x="271" y="468"/>
                    <a:pt x="272" y="469"/>
                  </a:cubicBezTo>
                  <a:cubicBezTo>
                    <a:pt x="272" y="469"/>
                    <a:pt x="272" y="469"/>
                    <a:pt x="273" y="470"/>
                  </a:cubicBezTo>
                  <a:cubicBezTo>
                    <a:pt x="273" y="470"/>
                    <a:pt x="274" y="470"/>
                    <a:pt x="274" y="471"/>
                  </a:cubicBezTo>
                  <a:cubicBezTo>
                    <a:pt x="275" y="471"/>
                    <a:pt x="275" y="471"/>
                    <a:pt x="275" y="471"/>
                  </a:cubicBezTo>
                  <a:cubicBezTo>
                    <a:pt x="275" y="471"/>
                    <a:pt x="275" y="471"/>
                    <a:pt x="276" y="472"/>
                  </a:cubicBezTo>
                  <a:cubicBezTo>
                    <a:pt x="276" y="472"/>
                    <a:pt x="277" y="472"/>
                    <a:pt x="277" y="472"/>
                  </a:cubicBezTo>
                  <a:cubicBezTo>
                    <a:pt x="277" y="472"/>
                    <a:pt x="277" y="473"/>
                    <a:pt x="277" y="473"/>
                  </a:cubicBezTo>
                  <a:cubicBezTo>
                    <a:pt x="277" y="473"/>
                    <a:pt x="278" y="473"/>
                    <a:pt x="278" y="473"/>
                  </a:cubicBezTo>
                  <a:cubicBezTo>
                    <a:pt x="278" y="474"/>
                    <a:pt x="279" y="474"/>
                    <a:pt x="279" y="474"/>
                  </a:cubicBezTo>
                  <a:cubicBezTo>
                    <a:pt x="280" y="474"/>
                    <a:pt x="281" y="473"/>
                    <a:pt x="281" y="472"/>
                  </a:cubicBezTo>
                  <a:cubicBezTo>
                    <a:pt x="281" y="472"/>
                    <a:pt x="281" y="471"/>
                    <a:pt x="281" y="471"/>
                  </a:cubicBezTo>
                  <a:cubicBezTo>
                    <a:pt x="282" y="470"/>
                    <a:pt x="282" y="470"/>
                    <a:pt x="282" y="470"/>
                  </a:cubicBezTo>
                  <a:cubicBezTo>
                    <a:pt x="282" y="470"/>
                    <a:pt x="282" y="470"/>
                    <a:pt x="282" y="469"/>
                  </a:cubicBezTo>
                  <a:cubicBezTo>
                    <a:pt x="283" y="468"/>
                    <a:pt x="282" y="467"/>
                    <a:pt x="282" y="467"/>
                  </a:cubicBezTo>
                  <a:cubicBezTo>
                    <a:pt x="282" y="466"/>
                    <a:pt x="282" y="466"/>
                    <a:pt x="282" y="466"/>
                  </a:cubicBezTo>
                  <a:cubicBezTo>
                    <a:pt x="282" y="466"/>
                    <a:pt x="282" y="466"/>
                    <a:pt x="282" y="465"/>
                  </a:cubicBezTo>
                  <a:cubicBezTo>
                    <a:pt x="282" y="465"/>
                    <a:pt x="282" y="465"/>
                    <a:pt x="282" y="464"/>
                  </a:cubicBezTo>
                  <a:cubicBezTo>
                    <a:pt x="282" y="463"/>
                    <a:pt x="282" y="462"/>
                    <a:pt x="282" y="461"/>
                  </a:cubicBezTo>
                  <a:cubicBezTo>
                    <a:pt x="283" y="461"/>
                    <a:pt x="283" y="460"/>
                    <a:pt x="284" y="460"/>
                  </a:cubicBezTo>
                  <a:cubicBezTo>
                    <a:pt x="284" y="459"/>
                    <a:pt x="284" y="459"/>
                    <a:pt x="285" y="459"/>
                  </a:cubicBezTo>
                  <a:cubicBezTo>
                    <a:pt x="285" y="459"/>
                    <a:pt x="285" y="459"/>
                    <a:pt x="286" y="459"/>
                  </a:cubicBezTo>
                  <a:cubicBezTo>
                    <a:pt x="287" y="459"/>
                    <a:pt x="290" y="459"/>
                    <a:pt x="291" y="457"/>
                  </a:cubicBezTo>
                  <a:cubicBezTo>
                    <a:pt x="291" y="457"/>
                    <a:pt x="292" y="456"/>
                    <a:pt x="293" y="455"/>
                  </a:cubicBezTo>
                  <a:cubicBezTo>
                    <a:pt x="294" y="454"/>
                    <a:pt x="294" y="454"/>
                    <a:pt x="295" y="452"/>
                  </a:cubicBezTo>
                  <a:cubicBezTo>
                    <a:pt x="295" y="451"/>
                    <a:pt x="296" y="450"/>
                    <a:pt x="297" y="449"/>
                  </a:cubicBezTo>
                  <a:cubicBezTo>
                    <a:pt x="299" y="449"/>
                    <a:pt x="299" y="447"/>
                    <a:pt x="298" y="446"/>
                  </a:cubicBezTo>
                  <a:cubicBezTo>
                    <a:pt x="298" y="446"/>
                    <a:pt x="298" y="446"/>
                    <a:pt x="298" y="446"/>
                  </a:cubicBezTo>
                  <a:cubicBezTo>
                    <a:pt x="298" y="446"/>
                    <a:pt x="298" y="446"/>
                    <a:pt x="298" y="445"/>
                  </a:cubicBezTo>
                  <a:cubicBezTo>
                    <a:pt x="298" y="445"/>
                    <a:pt x="299" y="444"/>
                    <a:pt x="299" y="444"/>
                  </a:cubicBezTo>
                  <a:cubicBezTo>
                    <a:pt x="299" y="442"/>
                    <a:pt x="297" y="440"/>
                    <a:pt x="296" y="439"/>
                  </a:cubicBezTo>
                  <a:cubicBezTo>
                    <a:pt x="296" y="439"/>
                    <a:pt x="297" y="438"/>
                    <a:pt x="297" y="437"/>
                  </a:cubicBezTo>
                  <a:cubicBezTo>
                    <a:pt x="298" y="436"/>
                    <a:pt x="298" y="436"/>
                    <a:pt x="298" y="436"/>
                  </a:cubicBezTo>
                  <a:cubicBezTo>
                    <a:pt x="298" y="436"/>
                    <a:pt x="298" y="435"/>
                    <a:pt x="299" y="435"/>
                  </a:cubicBezTo>
                  <a:cubicBezTo>
                    <a:pt x="299" y="435"/>
                    <a:pt x="299" y="435"/>
                    <a:pt x="299" y="435"/>
                  </a:cubicBezTo>
                  <a:cubicBezTo>
                    <a:pt x="300" y="435"/>
                    <a:pt x="300" y="435"/>
                    <a:pt x="300" y="435"/>
                  </a:cubicBezTo>
                  <a:cubicBezTo>
                    <a:pt x="301" y="436"/>
                    <a:pt x="302" y="436"/>
                    <a:pt x="303" y="436"/>
                  </a:cubicBezTo>
                  <a:cubicBezTo>
                    <a:pt x="303" y="436"/>
                    <a:pt x="304" y="436"/>
                    <a:pt x="304" y="436"/>
                  </a:cubicBezTo>
                  <a:cubicBezTo>
                    <a:pt x="304" y="436"/>
                    <a:pt x="304" y="437"/>
                    <a:pt x="304" y="438"/>
                  </a:cubicBezTo>
                  <a:cubicBezTo>
                    <a:pt x="304" y="439"/>
                    <a:pt x="304" y="440"/>
                    <a:pt x="306" y="440"/>
                  </a:cubicBezTo>
                  <a:cubicBezTo>
                    <a:pt x="307" y="441"/>
                    <a:pt x="309" y="440"/>
                    <a:pt x="309" y="438"/>
                  </a:cubicBezTo>
                  <a:cubicBezTo>
                    <a:pt x="310" y="438"/>
                    <a:pt x="310" y="437"/>
                    <a:pt x="310" y="436"/>
                  </a:cubicBezTo>
                  <a:cubicBezTo>
                    <a:pt x="311" y="435"/>
                    <a:pt x="310" y="434"/>
                    <a:pt x="310" y="433"/>
                  </a:cubicBezTo>
                  <a:cubicBezTo>
                    <a:pt x="310" y="433"/>
                    <a:pt x="309" y="433"/>
                    <a:pt x="309" y="433"/>
                  </a:cubicBezTo>
                  <a:cubicBezTo>
                    <a:pt x="309" y="431"/>
                    <a:pt x="307" y="429"/>
                    <a:pt x="306" y="429"/>
                  </a:cubicBezTo>
                  <a:cubicBezTo>
                    <a:pt x="305" y="428"/>
                    <a:pt x="303" y="426"/>
                    <a:pt x="302" y="426"/>
                  </a:cubicBezTo>
                  <a:cubicBezTo>
                    <a:pt x="302" y="425"/>
                    <a:pt x="301" y="424"/>
                    <a:pt x="299" y="423"/>
                  </a:cubicBezTo>
                  <a:cubicBezTo>
                    <a:pt x="297" y="423"/>
                    <a:pt x="296" y="422"/>
                    <a:pt x="296" y="422"/>
                  </a:cubicBezTo>
                  <a:cubicBezTo>
                    <a:pt x="295" y="421"/>
                    <a:pt x="295" y="421"/>
                    <a:pt x="294" y="421"/>
                  </a:cubicBezTo>
                  <a:cubicBezTo>
                    <a:pt x="294" y="421"/>
                    <a:pt x="293" y="420"/>
                    <a:pt x="293" y="420"/>
                  </a:cubicBezTo>
                  <a:cubicBezTo>
                    <a:pt x="293" y="420"/>
                    <a:pt x="293" y="420"/>
                    <a:pt x="293" y="420"/>
                  </a:cubicBezTo>
                  <a:cubicBezTo>
                    <a:pt x="294" y="420"/>
                    <a:pt x="296" y="418"/>
                    <a:pt x="295" y="417"/>
                  </a:cubicBezTo>
                  <a:cubicBezTo>
                    <a:pt x="295" y="416"/>
                    <a:pt x="294" y="415"/>
                    <a:pt x="292" y="415"/>
                  </a:cubicBezTo>
                  <a:cubicBezTo>
                    <a:pt x="289" y="415"/>
                    <a:pt x="288" y="415"/>
                    <a:pt x="287" y="413"/>
                  </a:cubicBezTo>
                  <a:cubicBezTo>
                    <a:pt x="286" y="412"/>
                    <a:pt x="285" y="411"/>
                    <a:pt x="284" y="410"/>
                  </a:cubicBezTo>
                  <a:cubicBezTo>
                    <a:pt x="281" y="408"/>
                    <a:pt x="281" y="405"/>
                    <a:pt x="281" y="403"/>
                  </a:cubicBezTo>
                  <a:cubicBezTo>
                    <a:pt x="281" y="402"/>
                    <a:pt x="281" y="402"/>
                    <a:pt x="281" y="402"/>
                  </a:cubicBezTo>
                  <a:cubicBezTo>
                    <a:pt x="280" y="400"/>
                    <a:pt x="278" y="397"/>
                    <a:pt x="275" y="394"/>
                  </a:cubicBezTo>
                  <a:cubicBezTo>
                    <a:pt x="274" y="394"/>
                    <a:pt x="273" y="392"/>
                    <a:pt x="273" y="392"/>
                  </a:cubicBezTo>
                  <a:cubicBezTo>
                    <a:pt x="272" y="391"/>
                    <a:pt x="272" y="389"/>
                    <a:pt x="272" y="387"/>
                  </a:cubicBezTo>
                  <a:cubicBezTo>
                    <a:pt x="272" y="387"/>
                    <a:pt x="272" y="387"/>
                    <a:pt x="272" y="387"/>
                  </a:cubicBezTo>
                  <a:cubicBezTo>
                    <a:pt x="272" y="387"/>
                    <a:pt x="273" y="386"/>
                    <a:pt x="273" y="386"/>
                  </a:cubicBezTo>
                  <a:cubicBezTo>
                    <a:pt x="274" y="385"/>
                    <a:pt x="273" y="384"/>
                    <a:pt x="273" y="383"/>
                  </a:cubicBezTo>
                  <a:cubicBezTo>
                    <a:pt x="273" y="383"/>
                    <a:pt x="273" y="383"/>
                    <a:pt x="273" y="383"/>
                  </a:cubicBezTo>
                  <a:cubicBezTo>
                    <a:pt x="273" y="382"/>
                    <a:pt x="273" y="382"/>
                    <a:pt x="273" y="382"/>
                  </a:cubicBezTo>
                  <a:cubicBezTo>
                    <a:pt x="273" y="381"/>
                    <a:pt x="273" y="381"/>
                    <a:pt x="273" y="381"/>
                  </a:cubicBezTo>
                  <a:cubicBezTo>
                    <a:pt x="274" y="380"/>
                    <a:pt x="275" y="380"/>
                    <a:pt x="275" y="379"/>
                  </a:cubicBezTo>
                  <a:cubicBezTo>
                    <a:pt x="276" y="379"/>
                    <a:pt x="276" y="379"/>
                    <a:pt x="278" y="378"/>
                  </a:cubicBezTo>
                  <a:cubicBezTo>
                    <a:pt x="278" y="378"/>
                    <a:pt x="279" y="378"/>
                    <a:pt x="279" y="378"/>
                  </a:cubicBezTo>
                  <a:cubicBezTo>
                    <a:pt x="279" y="378"/>
                    <a:pt x="279" y="377"/>
                    <a:pt x="279" y="377"/>
                  </a:cubicBezTo>
                  <a:cubicBezTo>
                    <a:pt x="279" y="378"/>
                    <a:pt x="279" y="378"/>
                    <a:pt x="279" y="378"/>
                  </a:cubicBezTo>
                  <a:cubicBezTo>
                    <a:pt x="279" y="379"/>
                    <a:pt x="279" y="379"/>
                    <a:pt x="279" y="380"/>
                  </a:cubicBezTo>
                  <a:cubicBezTo>
                    <a:pt x="279" y="380"/>
                    <a:pt x="279" y="380"/>
                    <a:pt x="279" y="380"/>
                  </a:cubicBezTo>
                  <a:cubicBezTo>
                    <a:pt x="279" y="380"/>
                    <a:pt x="279" y="380"/>
                    <a:pt x="279" y="380"/>
                  </a:cubicBezTo>
                  <a:cubicBezTo>
                    <a:pt x="279" y="381"/>
                    <a:pt x="279" y="381"/>
                    <a:pt x="279" y="381"/>
                  </a:cubicBezTo>
                  <a:cubicBezTo>
                    <a:pt x="279" y="381"/>
                    <a:pt x="279" y="381"/>
                    <a:pt x="279" y="381"/>
                  </a:cubicBezTo>
                  <a:cubicBezTo>
                    <a:pt x="279" y="382"/>
                    <a:pt x="279" y="382"/>
                    <a:pt x="279" y="382"/>
                  </a:cubicBezTo>
                  <a:cubicBezTo>
                    <a:pt x="279" y="382"/>
                    <a:pt x="279" y="382"/>
                    <a:pt x="279" y="382"/>
                  </a:cubicBezTo>
                  <a:cubicBezTo>
                    <a:pt x="279" y="382"/>
                    <a:pt x="279" y="382"/>
                    <a:pt x="279" y="383"/>
                  </a:cubicBezTo>
                  <a:cubicBezTo>
                    <a:pt x="279" y="384"/>
                    <a:pt x="279" y="384"/>
                    <a:pt x="279" y="384"/>
                  </a:cubicBezTo>
                  <a:cubicBezTo>
                    <a:pt x="280" y="385"/>
                    <a:pt x="280" y="387"/>
                    <a:pt x="282" y="387"/>
                  </a:cubicBezTo>
                  <a:cubicBezTo>
                    <a:pt x="282" y="387"/>
                    <a:pt x="282" y="387"/>
                    <a:pt x="282" y="387"/>
                  </a:cubicBezTo>
                  <a:cubicBezTo>
                    <a:pt x="282" y="387"/>
                    <a:pt x="282" y="387"/>
                    <a:pt x="282" y="387"/>
                  </a:cubicBezTo>
                  <a:cubicBezTo>
                    <a:pt x="284" y="387"/>
                    <a:pt x="284" y="386"/>
                    <a:pt x="284" y="386"/>
                  </a:cubicBezTo>
                  <a:cubicBezTo>
                    <a:pt x="284" y="386"/>
                    <a:pt x="284" y="385"/>
                    <a:pt x="284" y="385"/>
                  </a:cubicBezTo>
                  <a:cubicBezTo>
                    <a:pt x="285" y="385"/>
                    <a:pt x="285" y="383"/>
                    <a:pt x="286" y="382"/>
                  </a:cubicBezTo>
                  <a:cubicBezTo>
                    <a:pt x="286" y="382"/>
                    <a:pt x="286" y="382"/>
                    <a:pt x="287" y="383"/>
                  </a:cubicBezTo>
                  <a:cubicBezTo>
                    <a:pt x="287" y="383"/>
                    <a:pt x="287" y="383"/>
                    <a:pt x="287" y="383"/>
                  </a:cubicBezTo>
                  <a:cubicBezTo>
                    <a:pt x="288" y="384"/>
                    <a:pt x="288" y="384"/>
                    <a:pt x="288" y="386"/>
                  </a:cubicBezTo>
                  <a:cubicBezTo>
                    <a:pt x="288" y="386"/>
                    <a:pt x="288" y="386"/>
                    <a:pt x="288" y="386"/>
                  </a:cubicBezTo>
                  <a:cubicBezTo>
                    <a:pt x="288" y="388"/>
                    <a:pt x="289" y="389"/>
                    <a:pt x="289" y="390"/>
                  </a:cubicBezTo>
                  <a:cubicBezTo>
                    <a:pt x="290" y="390"/>
                    <a:pt x="290" y="391"/>
                    <a:pt x="290" y="391"/>
                  </a:cubicBezTo>
                  <a:cubicBezTo>
                    <a:pt x="290" y="391"/>
                    <a:pt x="290" y="391"/>
                    <a:pt x="290" y="392"/>
                  </a:cubicBezTo>
                  <a:cubicBezTo>
                    <a:pt x="289" y="392"/>
                    <a:pt x="288" y="394"/>
                    <a:pt x="293" y="399"/>
                  </a:cubicBezTo>
                  <a:cubicBezTo>
                    <a:pt x="293" y="399"/>
                    <a:pt x="293" y="399"/>
                    <a:pt x="293" y="399"/>
                  </a:cubicBezTo>
                  <a:cubicBezTo>
                    <a:pt x="293" y="399"/>
                    <a:pt x="293" y="399"/>
                    <a:pt x="293" y="400"/>
                  </a:cubicBezTo>
                  <a:cubicBezTo>
                    <a:pt x="293" y="400"/>
                    <a:pt x="293" y="401"/>
                    <a:pt x="293" y="401"/>
                  </a:cubicBezTo>
                  <a:cubicBezTo>
                    <a:pt x="294" y="402"/>
                    <a:pt x="295" y="402"/>
                    <a:pt x="297" y="401"/>
                  </a:cubicBezTo>
                  <a:cubicBezTo>
                    <a:pt x="298" y="401"/>
                    <a:pt x="298" y="401"/>
                    <a:pt x="298" y="401"/>
                  </a:cubicBezTo>
                  <a:cubicBezTo>
                    <a:pt x="299" y="401"/>
                    <a:pt x="300" y="403"/>
                    <a:pt x="301" y="403"/>
                  </a:cubicBezTo>
                  <a:cubicBezTo>
                    <a:pt x="301" y="404"/>
                    <a:pt x="301" y="404"/>
                    <a:pt x="301" y="404"/>
                  </a:cubicBezTo>
                  <a:cubicBezTo>
                    <a:pt x="301" y="404"/>
                    <a:pt x="302" y="405"/>
                    <a:pt x="302" y="405"/>
                  </a:cubicBezTo>
                  <a:cubicBezTo>
                    <a:pt x="302" y="405"/>
                    <a:pt x="302" y="405"/>
                    <a:pt x="302" y="406"/>
                  </a:cubicBezTo>
                  <a:cubicBezTo>
                    <a:pt x="302" y="407"/>
                    <a:pt x="302" y="407"/>
                    <a:pt x="305" y="409"/>
                  </a:cubicBezTo>
                  <a:cubicBezTo>
                    <a:pt x="306" y="409"/>
                    <a:pt x="307" y="410"/>
                    <a:pt x="307" y="410"/>
                  </a:cubicBezTo>
                  <a:cubicBezTo>
                    <a:pt x="308" y="410"/>
                    <a:pt x="308" y="410"/>
                    <a:pt x="308" y="411"/>
                  </a:cubicBezTo>
                  <a:cubicBezTo>
                    <a:pt x="310" y="414"/>
                    <a:pt x="310" y="414"/>
                    <a:pt x="310" y="414"/>
                  </a:cubicBezTo>
                  <a:cubicBezTo>
                    <a:pt x="310" y="413"/>
                    <a:pt x="310" y="413"/>
                    <a:pt x="310" y="413"/>
                  </a:cubicBezTo>
                  <a:cubicBezTo>
                    <a:pt x="310" y="413"/>
                    <a:pt x="311" y="414"/>
                    <a:pt x="311" y="414"/>
                  </a:cubicBezTo>
                  <a:cubicBezTo>
                    <a:pt x="312" y="415"/>
                    <a:pt x="312" y="415"/>
                    <a:pt x="313" y="415"/>
                  </a:cubicBezTo>
                  <a:cubicBezTo>
                    <a:pt x="313" y="416"/>
                    <a:pt x="314" y="417"/>
                    <a:pt x="314" y="418"/>
                  </a:cubicBezTo>
                  <a:cubicBezTo>
                    <a:pt x="315" y="418"/>
                    <a:pt x="315" y="419"/>
                    <a:pt x="315" y="419"/>
                  </a:cubicBezTo>
                  <a:cubicBezTo>
                    <a:pt x="315" y="419"/>
                    <a:pt x="315" y="420"/>
                    <a:pt x="315" y="420"/>
                  </a:cubicBezTo>
                  <a:cubicBezTo>
                    <a:pt x="315" y="420"/>
                    <a:pt x="315" y="420"/>
                    <a:pt x="315" y="420"/>
                  </a:cubicBezTo>
                  <a:cubicBezTo>
                    <a:pt x="315" y="420"/>
                    <a:pt x="315" y="422"/>
                    <a:pt x="315" y="422"/>
                  </a:cubicBezTo>
                  <a:cubicBezTo>
                    <a:pt x="314" y="422"/>
                    <a:pt x="314" y="423"/>
                    <a:pt x="314" y="423"/>
                  </a:cubicBezTo>
                  <a:cubicBezTo>
                    <a:pt x="314" y="424"/>
                    <a:pt x="313" y="425"/>
                    <a:pt x="314" y="426"/>
                  </a:cubicBezTo>
                  <a:cubicBezTo>
                    <a:pt x="314" y="426"/>
                    <a:pt x="314" y="427"/>
                    <a:pt x="313" y="428"/>
                  </a:cubicBezTo>
                  <a:cubicBezTo>
                    <a:pt x="312" y="429"/>
                    <a:pt x="313" y="430"/>
                    <a:pt x="314" y="431"/>
                  </a:cubicBezTo>
                  <a:cubicBezTo>
                    <a:pt x="313" y="431"/>
                    <a:pt x="313" y="431"/>
                    <a:pt x="313" y="432"/>
                  </a:cubicBezTo>
                  <a:cubicBezTo>
                    <a:pt x="312" y="432"/>
                    <a:pt x="312" y="434"/>
                    <a:pt x="313" y="435"/>
                  </a:cubicBezTo>
                  <a:cubicBezTo>
                    <a:pt x="313" y="436"/>
                    <a:pt x="314" y="436"/>
                    <a:pt x="315" y="437"/>
                  </a:cubicBezTo>
                  <a:cubicBezTo>
                    <a:pt x="316" y="437"/>
                    <a:pt x="316" y="437"/>
                    <a:pt x="316" y="437"/>
                  </a:cubicBezTo>
                  <a:cubicBezTo>
                    <a:pt x="316" y="438"/>
                    <a:pt x="317" y="439"/>
                    <a:pt x="318" y="439"/>
                  </a:cubicBezTo>
                  <a:cubicBezTo>
                    <a:pt x="318" y="440"/>
                    <a:pt x="319" y="441"/>
                    <a:pt x="319" y="441"/>
                  </a:cubicBezTo>
                  <a:cubicBezTo>
                    <a:pt x="319" y="441"/>
                    <a:pt x="319" y="441"/>
                    <a:pt x="319" y="441"/>
                  </a:cubicBezTo>
                  <a:cubicBezTo>
                    <a:pt x="319" y="442"/>
                    <a:pt x="319" y="442"/>
                    <a:pt x="319" y="442"/>
                  </a:cubicBezTo>
                  <a:cubicBezTo>
                    <a:pt x="319" y="442"/>
                    <a:pt x="319" y="442"/>
                    <a:pt x="319" y="442"/>
                  </a:cubicBezTo>
                  <a:cubicBezTo>
                    <a:pt x="319" y="442"/>
                    <a:pt x="319" y="442"/>
                    <a:pt x="319" y="442"/>
                  </a:cubicBezTo>
                  <a:cubicBezTo>
                    <a:pt x="320" y="444"/>
                    <a:pt x="320" y="444"/>
                    <a:pt x="320" y="444"/>
                  </a:cubicBezTo>
                  <a:cubicBezTo>
                    <a:pt x="320" y="444"/>
                    <a:pt x="320" y="444"/>
                    <a:pt x="320" y="444"/>
                  </a:cubicBezTo>
                  <a:cubicBezTo>
                    <a:pt x="320" y="444"/>
                    <a:pt x="321" y="444"/>
                    <a:pt x="321" y="445"/>
                  </a:cubicBezTo>
                  <a:cubicBezTo>
                    <a:pt x="321" y="445"/>
                    <a:pt x="321" y="446"/>
                    <a:pt x="321" y="448"/>
                  </a:cubicBezTo>
                  <a:cubicBezTo>
                    <a:pt x="321" y="448"/>
                    <a:pt x="321" y="448"/>
                    <a:pt x="321" y="448"/>
                  </a:cubicBezTo>
                  <a:cubicBezTo>
                    <a:pt x="321" y="450"/>
                    <a:pt x="322" y="450"/>
                    <a:pt x="323" y="450"/>
                  </a:cubicBezTo>
                  <a:cubicBezTo>
                    <a:pt x="323" y="450"/>
                    <a:pt x="323" y="451"/>
                    <a:pt x="324" y="451"/>
                  </a:cubicBezTo>
                  <a:cubicBezTo>
                    <a:pt x="324" y="451"/>
                    <a:pt x="324" y="452"/>
                    <a:pt x="324" y="453"/>
                  </a:cubicBezTo>
                  <a:cubicBezTo>
                    <a:pt x="324" y="453"/>
                    <a:pt x="324" y="454"/>
                    <a:pt x="325" y="455"/>
                  </a:cubicBezTo>
                  <a:cubicBezTo>
                    <a:pt x="326" y="456"/>
                    <a:pt x="327" y="456"/>
                    <a:pt x="327" y="456"/>
                  </a:cubicBezTo>
                  <a:cubicBezTo>
                    <a:pt x="326" y="456"/>
                    <a:pt x="326" y="457"/>
                    <a:pt x="325" y="458"/>
                  </a:cubicBezTo>
                  <a:cubicBezTo>
                    <a:pt x="325" y="458"/>
                    <a:pt x="324" y="460"/>
                    <a:pt x="326" y="462"/>
                  </a:cubicBezTo>
                  <a:cubicBezTo>
                    <a:pt x="326" y="462"/>
                    <a:pt x="326" y="463"/>
                    <a:pt x="326" y="463"/>
                  </a:cubicBezTo>
                  <a:cubicBezTo>
                    <a:pt x="326" y="463"/>
                    <a:pt x="327" y="463"/>
                    <a:pt x="327" y="463"/>
                  </a:cubicBezTo>
                  <a:cubicBezTo>
                    <a:pt x="327" y="463"/>
                    <a:pt x="327" y="463"/>
                    <a:pt x="327" y="464"/>
                  </a:cubicBezTo>
                  <a:cubicBezTo>
                    <a:pt x="327" y="464"/>
                    <a:pt x="327" y="464"/>
                    <a:pt x="327" y="464"/>
                  </a:cubicBezTo>
                  <a:cubicBezTo>
                    <a:pt x="327" y="465"/>
                    <a:pt x="327" y="465"/>
                    <a:pt x="327" y="466"/>
                  </a:cubicBezTo>
                  <a:cubicBezTo>
                    <a:pt x="327" y="466"/>
                    <a:pt x="327" y="467"/>
                    <a:pt x="327" y="467"/>
                  </a:cubicBezTo>
                  <a:cubicBezTo>
                    <a:pt x="327" y="468"/>
                    <a:pt x="328" y="469"/>
                    <a:pt x="328" y="469"/>
                  </a:cubicBezTo>
                  <a:cubicBezTo>
                    <a:pt x="328" y="469"/>
                    <a:pt x="328" y="469"/>
                    <a:pt x="328" y="469"/>
                  </a:cubicBezTo>
                  <a:cubicBezTo>
                    <a:pt x="329" y="470"/>
                    <a:pt x="329" y="470"/>
                    <a:pt x="329" y="470"/>
                  </a:cubicBezTo>
                  <a:cubicBezTo>
                    <a:pt x="329" y="471"/>
                    <a:pt x="329" y="471"/>
                    <a:pt x="329" y="471"/>
                  </a:cubicBezTo>
                  <a:cubicBezTo>
                    <a:pt x="329" y="471"/>
                    <a:pt x="329" y="473"/>
                    <a:pt x="331" y="473"/>
                  </a:cubicBezTo>
                  <a:cubicBezTo>
                    <a:pt x="332" y="473"/>
                    <a:pt x="332" y="473"/>
                    <a:pt x="332" y="473"/>
                  </a:cubicBezTo>
                  <a:cubicBezTo>
                    <a:pt x="333" y="473"/>
                    <a:pt x="333" y="473"/>
                    <a:pt x="333" y="473"/>
                  </a:cubicBezTo>
                  <a:cubicBezTo>
                    <a:pt x="333" y="473"/>
                    <a:pt x="333" y="473"/>
                    <a:pt x="333" y="473"/>
                  </a:cubicBezTo>
                  <a:cubicBezTo>
                    <a:pt x="332" y="473"/>
                    <a:pt x="332" y="473"/>
                    <a:pt x="332" y="473"/>
                  </a:cubicBezTo>
                  <a:cubicBezTo>
                    <a:pt x="333" y="474"/>
                    <a:pt x="333" y="474"/>
                    <a:pt x="333" y="474"/>
                  </a:cubicBezTo>
                  <a:cubicBezTo>
                    <a:pt x="333" y="474"/>
                    <a:pt x="332" y="475"/>
                    <a:pt x="333" y="475"/>
                  </a:cubicBezTo>
                  <a:cubicBezTo>
                    <a:pt x="333" y="476"/>
                    <a:pt x="334" y="477"/>
                    <a:pt x="335" y="477"/>
                  </a:cubicBezTo>
                  <a:cubicBezTo>
                    <a:pt x="336" y="477"/>
                    <a:pt x="337" y="476"/>
                    <a:pt x="337" y="475"/>
                  </a:cubicBezTo>
                  <a:cubicBezTo>
                    <a:pt x="337" y="475"/>
                    <a:pt x="337" y="475"/>
                    <a:pt x="337" y="475"/>
                  </a:cubicBezTo>
                  <a:cubicBezTo>
                    <a:pt x="337" y="476"/>
                    <a:pt x="338" y="477"/>
                    <a:pt x="339" y="477"/>
                  </a:cubicBezTo>
                  <a:cubicBezTo>
                    <a:pt x="339" y="477"/>
                    <a:pt x="340" y="476"/>
                    <a:pt x="340" y="476"/>
                  </a:cubicBezTo>
                  <a:cubicBezTo>
                    <a:pt x="341" y="475"/>
                    <a:pt x="341" y="474"/>
                    <a:pt x="341" y="473"/>
                  </a:cubicBezTo>
                  <a:cubicBezTo>
                    <a:pt x="341" y="473"/>
                    <a:pt x="341" y="473"/>
                    <a:pt x="341" y="472"/>
                  </a:cubicBezTo>
                  <a:cubicBezTo>
                    <a:pt x="341" y="472"/>
                    <a:pt x="341" y="471"/>
                    <a:pt x="340" y="470"/>
                  </a:cubicBezTo>
                  <a:cubicBezTo>
                    <a:pt x="340" y="470"/>
                    <a:pt x="340" y="470"/>
                    <a:pt x="340" y="470"/>
                  </a:cubicBezTo>
                  <a:cubicBezTo>
                    <a:pt x="340" y="469"/>
                    <a:pt x="340" y="469"/>
                    <a:pt x="340" y="469"/>
                  </a:cubicBezTo>
                  <a:cubicBezTo>
                    <a:pt x="340" y="469"/>
                    <a:pt x="340" y="468"/>
                    <a:pt x="340" y="467"/>
                  </a:cubicBezTo>
                  <a:cubicBezTo>
                    <a:pt x="341" y="467"/>
                    <a:pt x="341" y="467"/>
                    <a:pt x="342" y="467"/>
                  </a:cubicBezTo>
                  <a:cubicBezTo>
                    <a:pt x="342" y="467"/>
                    <a:pt x="343" y="466"/>
                    <a:pt x="343" y="465"/>
                  </a:cubicBezTo>
                  <a:cubicBezTo>
                    <a:pt x="343" y="465"/>
                    <a:pt x="343" y="464"/>
                    <a:pt x="343" y="464"/>
                  </a:cubicBezTo>
                  <a:cubicBezTo>
                    <a:pt x="342" y="464"/>
                    <a:pt x="342" y="463"/>
                    <a:pt x="342" y="463"/>
                  </a:cubicBezTo>
                  <a:cubicBezTo>
                    <a:pt x="341" y="464"/>
                    <a:pt x="341" y="464"/>
                    <a:pt x="341" y="464"/>
                  </a:cubicBezTo>
                  <a:cubicBezTo>
                    <a:pt x="342" y="463"/>
                    <a:pt x="342" y="463"/>
                    <a:pt x="342" y="463"/>
                  </a:cubicBezTo>
                  <a:cubicBezTo>
                    <a:pt x="342" y="463"/>
                    <a:pt x="341" y="462"/>
                    <a:pt x="341" y="462"/>
                  </a:cubicBezTo>
                  <a:cubicBezTo>
                    <a:pt x="341" y="462"/>
                    <a:pt x="341" y="462"/>
                    <a:pt x="341" y="462"/>
                  </a:cubicBezTo>
                  <a:cubicBezTo>
                    <a:pt x="341" y="462"/>
                    <a:pt x="341" y="462"/>
                    <a:pt x="341" y="462"/>
                  </a:cubicBezTo>
                  <a:cubicBezTo>
                    <a:pt x="342" y="461"/>
                    <a:pt x="342" y="461"/>
                    <a:pt x="342" y="461"/>
                  </a:cubicBezTo>
                  <a:cubicBezTo>
                    <a:pt x="342" y="461"/>
                    <a:pt x="342" y="461"/>
                    <a:pt x="343" y="462"/>
                  </a:cubicBezTo>
                  <a:cubicBezTo>
                    <a:pt x="343" y="462"/>
                    <a:pt x="343" y="462"/>
                    <a:pt x="343" y="462"/>
                  </a:cubicBezTo>
                  <a:cubicBezTo>
                    <a:pt x="344" y="462"/>
                    <a:pt x="345" y="463"/>
                    <a:pt x="345" y="463"/>
                  </a:cubicBezTo>
                  <a:cubicBezTo>
                    <a:pt x="346" y="464"/>
                    <a:pt x="346" y="464"/>
                    <a:pt x="346" y="464"/>
                  </a:cubicBezTo>
                  <a:cubicBezTo>
                    <a:pt x="346" y="465"/>
                    <a:pt x="347" y="465"/>
                    <a:pt x="347" y="465"/>
                  </a:cubicBezTo>
                  <a:cubicBezTo>
                    <a:pt x="348" y="465"/>
                    <a:pt x="348" y="464"/>
                    <a:pt x="348" y="464"/>
                  </a:cubicBezTo>
                  <a:cubicBezTo>
                    <a:pt x="349" y="463"/>
                    <a:pt x="348" y="460"/>
                    <a:pt x="348" y="460"/>
                  </a:cubicBezTo>
                  <a:cubicBezTo>
                    <a:pt x="348" y="460"/>
                    <a:pt x="348" y="460"/>
                    <a:pt x="348" y="460"/>
                  </a:cubicBezTo>
                  <a:cubicBezTo>
                    <a:pt x="348" y="460"/>
                    <a:pt x="348" y="460"/>
                    <a:pt x="348" y="460"/>
                  </a:cubicBezTo>
                  <a:cubicBezTo>
                    <a:pt x="348" y="459"/>
                    <a:pt x="348" y="459"/>
                    <a:pt x="348" y="459"/>
                  </a:cubicBezTo>
                  <a:cubicBezTo>
                    <a:pt x="348" y="460"/>
                    <a:pt x="349" y="460"/>
                    <a:pt x="349" y="460"/>
                  </a:cubicBezTo>
                  <a:cubicBezTo>
                    <a:pt x="349" y="460"/>
                    <a:pt x="349" y="460"/>
                    <a:pt x="349" y="460"/>
                  </a:cubicBezTo>
                  <a:cubicBezTo>
                    <a:pt x="349" y="460"/>
                    <a:pt x="349" y="460"/>
                    <a:pt x="350" y="460"/>
                  </a:cubicBezTo>
                  <a:cubicBezTo>
                    <a:pt x="353" y="462"/>
                    <a:pt x="353" y="462"/>
                    <a:pt x="353" y="462"/>
                  </a:cubicBezTo>
                  <a:cubicBezTo>
                    <a:pt x="352" y="459"/>
                    <a:pt x="352" y="459"/>
                    <a:pt x="352" y="459"/>
                  </a:cubicBezTo>
                  <a:cubicBezTo>
                    <a:pt x="352" y="458"/>
                    <a:pt x="351" y="457"/>
                    <a:pt x="351" y="456"/>
                  </a:cubicBezTo>
                  <a:cubicBezTo>
                    <a:pt x="351" y="456"/>
                    <a:pt x="351" y="456"/>
                    <a:pt x="351" y="456"/>
                  </a:cubicBezTo>
                  <a:cubicBezTo>
                    <a:pt x="351" y="455"/>
                    <a:pt x="350" y="455"/>
                    <a:pt x="350" y="455"/>
                  </a:cubicBezTo>
                  <a:cubicBezTo>
                    <a:pt x="350" y="455"/>
                    <a:pt x="350" y="455"/>
                    <a:pt x="350" y="454"/>
                  </a:cubicBezTo>
                  <a:cubicBezTo>
                    <a:pt x="350" y="454"/>
                    <a:pt x="350" y="454"/>
                    <a:pt x="350" y="453"/>
                  </a:cubicBezTo>
                  <a:cubicBezTo>
                    <a:pt x="350" y="453"/>
                    <a:pt x="350" y="451"/>
                    <a:pt x="348" y="451"/>
                  </a:cubicBezTo>
                  <a:cubicBezTo>
                    <a:pt x="347" y="451"/>
                    <a:pt x="347" y="451"/>
                    <a:pt x="347" y="451"/>
                  </a:cubicBezTo>
                  <a:cubicBezTo>
                    <a:pt x="347" y="451"/>
                    <a:pt x="347" y="451"/>
                    <a:pt x="347" y="452"/>
                  </a:cubicBezTo>
                  <a:cubicBezTo>
                    <a:pt x="346" y="451"/>
                    <a:pt x="346" y="451"/>
                    <a:pt x="346" y="451"/>
                  </a:cubicBezTo>
                  <a:cubicBezTo>
                    <a:pt x="346" y="451"/>
                    <a:pt x="345" y="451"/>
                    <a:pt x="345" y="451"/>
                  </a:cubicBezTo>
                  <a:cubicBezTo>
                    <a:pt x="345" y="451"/>
                    <a:pt x="345" y="451"/>
                    <a:pt x="345" y="451"/>
                  </a:cubicBezTo>
                  <a:cubicBezTo>
                    <a:pt x="345" y="451"/>
                    <a:pt x="345" y="451"/>
                    <a:pt x="344" y="450"/>
                  </a:cubicBezTo>
                  <a:cubicBezTo>
                    <a:pt x="344" y="450"/>
                    <a:pt x="344" y="450"/>
                    <a:pt x="344" y="450"/>
                  </a:cubicBezTo>
                  <a:cubicBezTo>
                    <a:pt x="344" y="449"/>
                    <a:pt x="343" y="449"/>
                    <a:pt x="343" y="448"/>
                  </a:cubicBezTo>
                  <a:cubicBezTo>
                    <a:pt x="343" y="448"/>
                    <a:pt x="343" y="448"/>
                    <a:pt x="343" y="448"/>
                  </a:cubicBezTo>
                  <a:cubicBezTo>
                    <a:pt x="344" y="447"/>
                    <a:pt x="343" y="446"/>
                    <a:pt x="343" y="446"/>
                  </a:cubicBezTo>
                  <a:cubicBezTo>
                    <a:pt x="342" y="445"/>
                    <a:pt x="342" y="444"/>
                    <a:pt x="342" y="444"/>
                  </a:cubicBezTo>
                  <a:cubicBezTo>
                    <a:pt x="342" y="443"/>
                    <a:pt x="342" y="442"/>
                    <a:pt x="342" y="442"/>
                  </a:cubicBezTo>
                  <a:cubicBezTo>
                    <a:pt x="342" y="440"/>
                    <a:pt x="341" y="439"/>
                    <a:pt x="340" y="438"/>
                  </a:cubicBezTo>
                  <a:cubicBezTo>
                    <a:pt x="340" y="438"/>
                    <a:pt x="340" y="437"/>
                    <a:pt x="339" y="435"/>
                  </a:cubicBezTo>
                  <a:cubicBezTo>
                    <a:pt x="340" y="435"/>
                    <a:pt x="340" y="435"/>
                    <a:pt x="340" y="435"/>
                  </a:cubicBezTo>
                  <a:cubicBezTo>
                    <a:pt x="340" y="435"/>
                    <a:pt x="340" y="435"/>
                    <a:pt x="340" y="435"/>
                  </a:cubicBezTo>
                  <a:cubicBezTo>
                    <a:pt x="340" y="435"/>
                    <a:pt x="340" y="436"/>
                    <a:pt x="342" y="437"/>
                  </a:cubicBezTo>
                  <a:cubicBezTo>
                    <a:pt x="342" y="437"/>
                    <a:pt x="342" y="437"/>
                    <a:pt x="342" y="437"/>
                  </a:cubicBezTo>
                  <a:cubicBezTo>
                    <a:pt x="342" y="437"/>
                    <a:pt x="342" y="437"/>
                    <a:pt x="342" y="437"/>
                  </a:cubicBezTo>
                  <a:cubicBezTo>
                    <a:pt x="341" y="437"/>
                    <a:pt x="341" y="438"/>
                    <a:pt x="342" y="439"/>
                  </a:cubicBezTo>
                  <a:cubicBezTo>
                    <a:pt x="342" y="440"/>
                    <a:pt x="344" y="441"/>
                    <a:pt x="345" y="441"/>
                  </a:cubicBezTo>
                  <a:cubicBezTo>
                    <a:pt x="345" y="441"/>
                    <a:pt x="346" y="441"/>
                    <a:pt x="346" y="441"/>
                  </a:cubicBezTo>
                  <a:cubicBezTo>
                    <a:pt x="346" y="440"/>
                    <a:pt x="346" y="440"/>
                    <a:pt x="347" y="440"/>
                  </a:cubicBezTo>
                  <a:cubicBezTo>
                    <a:pt x="347" y="440"/>
                    <a:pt x="348" y="440"/>
                    <a:pt x="349" y="439"/>
                  </a:cubicBezTo>
                  <a:cubicBezTo>
                    <a:pt x="349" y="439"/>
                    <a:pt x="349" y="438"/>
                    <a:pt x="349" y="437"/>
                  </a:cubicBezTo>
                  <a:cubicBezTo>
                    <a:pt x="349" y="437"/>
                    <a:pt x="349" y="437"/>
                    <a:pt x="349" y="437"/>
                  </a:cubicBezTo>
                  <a:cubicBezTo>
                    <a:pt x="350" y="438"/>
                    <a:pt x="350" y="438"/>
                    <a:pt x="350" y="438"/>
                  </a:cubicBezTo>
                  <a:cubicBezTo>
                    <a:pt x="350" y="438"/>
                    <a:pt x="350" y="438"/>
                    <a:pt x="350" y="438"/>
                  </a:cubicBezTo>
                  <a:cubicBezTo>
                    <a:pt x="351" y="438"/>
                    <a:pt x="351" y="437"/>
                    <a:pt x="352" y="437"/>
                  </a:cubicBezTo>
                  <a:cubicBezTo>
                    <a:pt x="352" y="435"/>
                    <a:pt x="350" y="433"/>
                    <a:pt x="349" y="433"/>
                  </a:cubicBezTo>
                  <a:cubicBezTo>
                    <a:pt x="349" y="432"/>
                    <a:pt x="349" y="432"/>
                    <a:pt x="349" y="431"/>
                  </a:cubicBezTo>
                  <a:cubicBezTo>
                    <a:pt x="349" y="431"/>
                    <a:pt x="349" y="431"/>
                    <a:pt x="349" y="431"/>
                  </a:cubicBezTo>
                  <a:cubicBezTo>
                    <a:pt x="349" y="431"/>
                    <a:pt x="349" y="431"/>
                    <a:pt x="349" y="431"/>
                  </a:cubicBezTo>
                  <a:cubicBezTo>
                    <a:pt x="349" y="431"/>
                    <a:pt x="349" y="431"/>
                    <a:pt x="349" y="431"/>
                  </a:cubicBezTo>
                  <a:cubicBezTo>
                    <a:pt x="350" y="431"/>
                    <a:pt x="351" y="431"/>
                    <a:pt x="351" y="431"/>
                  </a:cubicBezTo>
                  <a:cubicBezTo>
                    <a:pt x="351" y="430"/>
                    <a:pt x="351" y="430"/>
                    <a:pt x="351" y="430"/>
                  </a:cubicBezTo>
                  <a:cubicBezTo>
                    <a:pt x="351" y="430"/>
                    <a:pt x="351" y="430"/>
                    <a:pt x="351" y="430"/>
                  </a:cubicBezTo>
                  <a:cubicBezTo>
                    <a:pt x="352" y="430"/>
                    <a:pt x="352" y="430"/>
                    <a:pt x="352" y="430"/>
                  </a:cubicBezTo>
                  <a:cubicBezTo>
                    <a:pt x="352" y="430"/>
                    <a:pt x="352" y="430"/>
                    <a:pt x="353" y="430"/>
                  </a:cubicBezTo>
                  <a:cubicBezTo>
                    <a:pt x="354" y="431"/>
                    <a:pt x="356" y="430"/>
                    <a:pt x="357" y="429"/>
                  </a:cubicBezTo>
                  <a:cubicBezTo>
                    <a:pt x="357" y="429"/>
                    <a:pt x="357" y="429"/>
                    <a:pt x="357" y="429"/>
                  </a:cubicBezTo>
                  <a:cubicBezTo>
                    <a:pt x="358" y="430"/>
                    <a:pt x="359" y="430"/>
                    <a:pt x="359" y="430"/>
                  </a:cubicBezTo>
                  <a:cubicBezTo>
                    <a:pt x="359" y="430"/>
                    <a:pt x="359" y="430"/>
                    <a:pt x="360" y="430"/>
                  </a:cubicBezTo>
                  <a:cubicBezTo>
                    <a:pt x="360" y="430"/>
                    <a:pt x="360" y="430"/>
                    <a:pt x="361" y="430"/>
                  </a:cubicBezTo>
                  <a:cubicBezTo>
                    <a:pt x="361" y="430"/>
                    <a:pt x="361" y="430"/>
                    <a:pt x="361" y="430"/>
                  </a:cubicBezTo>
                  <a:cubicBezTo>
                    <a:pt x="362" y="431"/>
                    <a:pt x="362" y="431"/>
                    <a:pt x="362" y="432"/>
                  </a:cubicBezTo>
                  <a:cubicBezTo>
                    <a:pt x="363" y="432"/>
                    <a:pt x="363" y="432"/>
                    <a:pt x="363" y="433"/>
                  </a:cubicBezTo>
                  <a:cubicBezTo>
                    <a:pt x="364" y="433"/>
                    <a:pt x="364" y="433"/>
                    <a:pt x="365" y="433"/>
                  </a:cubicBezTo>
                  <a:cubicBezTo>
                    <a:pt x="364" y="433"/>
                    <a:pt x="364" y="433"/>
                    <a:pt x="364" y="434"/>
                  </a:cubicBezTo>
                  <a:cubicBezTo>
                    <a:pt x="364" y="434"/>
                    <a:pt x="363" y="434"/>
                    <a:pt x="363" y="434"/>
                  </a:cubicBezTo>
                  <a:cubicBezTo>
                    <a:pt x="363" y="435"/>
                    <a:pt x="363" y="435"/>
                    <a:pt x="363" y="436"/>
                  </a:cubicBezTo>
                  <a:cubicBezTo>
                    <a:pt x="363" y="437"/>
                    <a:pt x="364" y="437"/>
                    <a:pt x="364" y="437"/>
                  </a:cubicBezTo>
                  <a:cubicBezTo>
                    <a:pt x="364" y="437"/>
                    <a:pt x="363" y="437"/>
                    <a:pt x="363" y="438"/>
                  </a:cubicBezTo>
                  <a:cubicBezTo>
                    <a:pt x="362" y="439"/>
                    <a:pt x="362" y="440"/>
                    <a:pt x="362" y="441"/>
                  </a:cubicBezTo>
                  <a:cubicBezTo>
                    <a:pt x="362" y="442"/>
                    <a:pt x="362" y="442"/>
                    <a:pt x="362" y="442"/>
                  </a:cubicBezTo>
                  <a:cubicBezTo>
                    <a:pt x="362" y="443"/>
                    <a:pt x="363" y="443"/>
                    <a:pt x="363" y="444"/>
                  </a:cubicBezTo>
                  <a:cubicBezTo>
                    <a:pt x="362" y="444"/>
                    <a:pt x="361" y="445"/>
                    <a:pt x="361" y="445"/>
                  </a:cubicBezTo>
                  <a:cubicBezTo>
                    <a:pt x="360" y="446"/>
                    <a:pt x="360" y="448"/>
                    <a:pt x="361" y="448"/>
                  </a:cubicBezTo>
                  <a:cubicBezTo>
                    <a:pt x="361" y="449"/>
                    <a:pt x="362" y="449"/>
                    <a:pt x="362" y="449"/>
                  </a:cubicBezTo>
                  <a:cubicBezTo>
                    <a:pt x="362" y="449"/>
                    <a:pt x="362" y="450"/>
                    <a:pt x="363" y="450"/>
                  </a:cubicBezTo>
                  <a:cubicBezTo>
                    <a:pt x="363" y="450"/>
                    <a:pt x="364" y="450"/>
                    <a:pt x="364" y="450"/>
                  </a:cubicBezTo>
                  <a:cubicBezTo>
                    <a:pt x="364" y="450"/>
                    <a:pt x="365" y="450"/>
                    <a:pt x="365" y="450"/>
                  </a:cubicBezTo>
                  <a:cubicBezTo>
                    <a:pt x="365" y="450"/>
                    <a:pt x="366" y="450"/>
                    <a:pt x="366" y="450"/>
                  </a:cubicBezTo>
                  <a:cubicBezTo>
                    <a:pt x="366" y="450"/>
                    <a:pt x="366" y="450"/>
                    <a:pt x="367" y="451"/>
                  </a:cubicBezTo>
                  <a:cubicBezTo>
                    <a:pt x="366" y="451"/>
                    <a:pt x="366" y="451"/>
                    <a:pt x="366" y="451"/>
                  </a:cubicBezTo>
                  <a:cubicBezTo>
                    <a:pt x="366" y="451"/>
                    <a:pt x="366" y="451"/>
                    <a:pt x="365" y="451"/>
                  </a:cubicBezTo>
                  <a:cubicBezTo>
                    <a:pt x="365" y="451"/>
                    <a:pt x="364" y="452"/>
                    <a:pt x="364" y="452"/>
                  </a:cubicBezTo>
                  <a:cubicBezTo>
                    <a:pt x="363" y="453"/>
                    <a:pt x="363" y="454"/>
                    <a:pt x="363" y="455"/>
                  </a:cubicBezTo>
                  <a:cubicBezTo>
                    <a:pt x="363" y="455"/>
                    <a:pt x="363" y="455"/>
                    <a:pt x="363" y="455"/>
                  </a:cubicBezTo>
                  <a:cubicBezTo>
                    <a:pt x="363" y="455"/>
                    <a:pt x="362" y="456"/>
                    <a:pt x="362" y="456"/>
                  </a:cubicBezTo>
                  <a:cubicBezTo>
                    <a:pt x="362" y="457"/>
                    <a:pt x="362" y="458"/>
                    <a:pt x="363" y="459"/>
                  </a:cubicBezTo>
                  <a:cubicBezTo>
                    <a:pt x="364" y="460"/>
                    <a:pt x="366" y="460"/>
                    <a:pt x="367" y="460"/>
                  </a:cubicBezTo>
                  <a:cubicBezTo>
                    <a:pt x="368" y="460"/>
                    <a:pt x="368" y="460"/>
                    <a:pt x="368" y="460"/>
                  </a:cubicBezTo>
                  <a:cubicBezTo>
                    <a:pt x="368" y="460"/>
                    <a:pt x="368" y="461"/>
                    <a:pt x="368" y="461"/>
                  </a:cubicBezTo>
                  <a:cubicBezTo>
                    <a:pt x="368" y="461"/>
                    <a:pt x="367" y="462"/>
                    <a:pt x="367" y="462"/>
                  </a:cubicBezTo>
                  <a:cubicBezTo>
                    <a:pt x="367" y="462"/>
                    <a:pt x="367" y="463"/>
                    <a:pt x="368" y="464"/>
                  </a:cubicBezTo>
                  <a:cubicBezTo>
                    <a:pt x="368" y="464"/>
                    <a:pt x="368" y="465"/>
                    <a:pt x="368" y="465"/>
                  </a:cubicBezTo>
                  <a:cubicBezTo>
                    <a:pt x="368" y="465"/>
                    <a:pt x="368" y="466"/>
                    <a:pt x="368" y="466"/>
                  </a:cubicBezTo>
                  <a:cubicBezTo>
                    <a:pt x="368" y="467"/>
                    <a:pt x="369" y="467"/>
                    <a:pt x="370" y="468"/>
                  </a:cubicBezTo>
                  <a:cubicBezTo>
                    <a:pt x="369" y="468"/>
                    <a:pt x="369" y="469"/>
                    <a:pt x="369" y="469"/>
                  </a:cubicBezTo>
                  <a:cubicBezTo>
                    <a:pt x="369" y="470"/>
                    <a:pt x="370" y="470"/>
                    <a:pt x="371" y="470"/>
                  </a:cubicBezTo>
                  <a:cubicBezTo>
                    <a:pt x="370" y="471"/>
                    <a:pt x="370" y="472"/>
                    <a:pt x="370" y="472"/>
                  </a:cubicBezTo>
                  <a:cubicBezTo>
                    <a:pt x="370" y="473"/>
                    <a:pt x="372" y="474"/>
                    <a:pt x="372" y="474"/>
                  </a:cubicBezTo>
                  <a:cubicBezTo>
                    <a:pt x="372" y="474"/>
                    <a:pt x="373" y="474"/>
                    <a:pt x="373" y="474"/>
                  </a:cubicBezTo>
                  <a:cubicBezTo>
                    <a:pt x="373" y="474"/>
                    <a:pt x="373" y="474"/>
                    <a:pt x="373" y="474"/>
                  </a:cubicBezTo>
                  <a:cubicBezTo>
                    <a:pt x="374" y="474"/>
                    <a:pt x="374" y="474"/>
                    <a:pt x="374" y="474"/>
                  </a:cubicBezTo>
                  <a:cubicBezTo>
                    <a:pt x="374" y="474"/>
                    <a:pt x="374" y="474"/>
                    <a:pt x="375" y="474"/>
                  </a:cubicBezTo>
                  <a:cubicBezTo>
                    <a:pt x="375" y="474"/>
                    <a:pt x="375" y="474"/>
                    <a:pt x="375" y="474"/>
                  </a:cubicBezTo>
                  <a:cubicBezTo>
                    <a:pt x="375" y="474"/>
                    <a:pt x="375" y="474"/>
                    <a:pt x="375" y="474"/>
                  </a:cubicBezTo>
                  <a:cubicBezTo>
                    <a:pt x="376" y="474"/>
                    <a:pt x="376" y="474"/>
                    <a:pt x="376" y="474"/>
                  </a:cubicBezTo>
                  <a:cubicBezTo>
                    <a:pt x="377" y="474"/>
                    <a:pt x="377" y="474"/>
                    <a:pt x="377" y="474"/>
                  </a:cubicBezTo>
                  <a:cubicBezTo>
                    <a:pt x="377" y="474"/>
                    <a:pt x="377" y="474"/>
                    <a:pt x="377" y="474"/>
                  </a:cubicBezTo>
                  <a:cubicBezTo>
                    <a:pt x="377" y="474"/>
                    <a:pt x="378" y="474"/>
                    <a:pt x="378" y="473"/>
                  </a:cubicBezTo>
                  <a:cubicBezTo>
                    <a:pt x="379" y="473"/>
                    <a:pt x="379" y="473"/>
                    <a:pt x="379" y="473"/>
                  </a:cubicBezTo>
                  <a:cubicBezTo>
                    <a:pt x="379" y="474"/>
                    <a:pt x="380" y="475"/>
                    <a:pt x="381" y="475"/>
                  </a:cubicBezTo>
                  <a:cubicBezTo>
                    <a:pt x="381" y="475"/>
                    <a:pt x="382" y="474"/>
                    <a:pt x="382" y="474"/>
                  </a:cubicBezTo>
                  <a:cubicBezTo>
                    <a:pt x="383" y="474"/>
                    <a:pt x="383" y="476"/>
                    <a:pt x="383" y="477"/>
                  </a:cubicBezTo>
                  <a:cubicBezTo>
                    <a:pt x="383" y="477"/>
                    <a:pt x="383" y="478"/>
                    <a:pt x="384" y="478"/>
                  </a:cubicBezTo>
                  <a:cubicBezTo>
                    <a:pt x="384" y="479"/>
                    <a:pt x="385" y="479"/>
                    <a:pt x="386" y="479"/>
                  </a:cubicBezTo>
                  <a:cubicBezTo>
                    <a:pt x="386" y="479"/>
                    <a:pt x="387" y="479"/>
                    <a:pt x="387" y="479"/>
                  </a:cubicBezTo>
                  <a:cubicBezTo>
                    <a:pt x="388" y="479"/>
                    <a:pt x="388" y="479"/>
                    <a:pt x="388" y="479"/>
                  </a:cubicBezTo>
                  <a:cubicBezTo>
                    <a:pt x="388" y="479"/>
                    <a:pt x="388" y="479"/>
                    <a:pt x="389" y="479"/>
                  </a:cubicBezTo>
                  <a:cubicBezTo>
                    <a:pt x="390" y="479"/>
                    <a:pt x="390" y="478"/>
                    <a:pt x="391" y="478"/>
                  </a:cubicBezTo>
                  <a:cubicBezTo>
                    <a:pt x="391" y="478"/>
                    <a:pt x="392" y="479"/>
                    <a:pt x="393" y="479"/>
                  </a:cubicBezTo>
                  <a:cubicBezTo>
                    <a:pt x="393" y="479"/>
                    <a:pt x="393" y="479"/>
                    <a:pt x="393" y="479"/>
                  </a:cubicBezTo>
                  <a:cubicBezTo>
                    <a:pt x="393" y="479"/>
                    <a:pt x="393" y="479"/>
                    <a:pt x="393" y="479"/>
                  </a:cubicBezTo>
                  <a:cubicBezTo>
                    <a:pt x="396" y="479"/>
                    <a:pt x="397" y="475"/>
                    <a:pt x="397" y="474"/>
                  </a:cubicBezTo>
                  <a:cubicBezTo>
                    <a:pt x="397" y="474"/>
                    <a:pt x="397" y="474"/>
                    <a:pt x="397" y="474"/>
                  </a:cubicBezTo>
                  <a:cubicBezTo>
                    <a:pt x="397" y="473"/>
                    <a:pt x="397" y="473"/>
                    <a:pt x="397" y="473"/>
                  </a:cubicBezTo>
                  <a:cubicBezTo>
                    <a:pt x="397" y="473"/>
                    <a:pt x="398" y="473"/>
                    <a:pt x="398" y="473"/>
                  </a:cubicBezTo>
                  <a:cubicBezTo>
                    <a:pt x="399" y="474"/>
                    <a:pt x="401" y="474"/>
                    <a:pt x="402" y="474"/>
                  </a:cubicBezTo>
                  <a:cubicBezTo>
                    <a:pt x="402" y="474"/>
                    <a:pt x="403" y="474"/>
                    <a:pt x="403" y="474"/>
                  </a:cubicBezTo>
                  <a:cubicBezTo>
                    <a:pt x="404" y="474"/>
                    <a:pt x="405" y="475"/>
                    <a:pt x="406" y="476"/>
                  </a:cubicBezTo>
                  <a:cubicBezTo>
                    <a:pt x="406" y="477"/>
                    <a:pt x="407" y="477"/>
                    <a:pt x="407" y="478"/>
                  </a:cubicBezTo>
                  <a:cubicBezTo>
                    <a:pt x="408" y="478"/>
                    <a:pt x="408" y="478"/>
                    <a:pt x="408" y="479"/>
                  </a:cubicBezTo>
                  <a:cubicBezTo>
                    <a:pt x="409" y="480"/>
                    <a:pt x="409" y="480"/>
                    <a:pt x="410" y="480"/>
                  </a:cubicBezTo>
                  <a:cubicBezTo>
                    <a:pt x="410" y="480"/>
                    <a:pt x="410" y="480"/>
                    <a:pt x="410" y="480"/>
                  </a:cubicBezTo>
                  <a:cubicBezTo>
                    <a:pt x="411" y="480"/>
                    <a:pt x="412" y="480"/>
                    <a:pt x="412" y="480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3" y="480"/>
                    <a:pt x="413" y="480"/>
                    <a:pt x="413" y="480"/>
                  </a:cubicBezTo>
                  <a:cubicBezTo>
                    <a:pt x="414" y="480"/>
                    <a:pt x="414" y="479"/>
                    <a:pt x="414" y="479"/>
                  </a:cubicBezTo>
                  <a:cubicBezTo>
                    <a:pt x="414" y="479"/>
                    <a:pt x="415" y="479"/>
                    <a:pt x="415" y="479"/>
                  </a:cubicBezTo>
                  <a:cubicBezTo>
                    <a:pt x="416" y="480"/>
                    <a:pt x="417" y="479"/>
                    <a:pt x="418" y="479"/>
                  </a:cubicBezTo>
                  <a:cubicBezTo>
                    <a:pt x="418" y="479"/>
                    <a:pt x="419" y="480"/>
                    <a:pt x="419" y="480"/>
                  </a:cubicBezTo>
                  <a:cubicBezTo>
                    <a:pt x="420" y="480"/>
                    <a:pt x="421" y="480"/>
                    <a:pt x="423" y="475"/>
                  </a:cubicBezTo>
                  <a:cubicBezTo>
                    <a:pt x="423" y="475"/>
                    <a:pt x="424" y="475"/>
                    <a:pt x="425" y="475"/>
                  </a:cubicBezTo>
                  <a:cubicBezTo>
                    <a:pt x="426" y="475"/>
                    <a:pt x="426" y="474"/>
                    <a:pt x="426" y="474"/>
                  </a:cubicBezTo>
                  <a:cubicBezTo>
                    <a:pt x="426" y="474"/>
                    <a:pt x="427" y="474"/>
                    <a:pt x="427" y="474"/>
                  </a:cubicBezTo>
                  <a:cubicBezTo>
                    <a:pt x="427" y="474"/>
                    <a:pt x="427" y="474"/>
                    <a:pt x="427" y="474"/>
                  </a:cubicBezTo>
                  <a:cubicBezTo>
                    <a:pt x="427" y="475"/>
                    <a:pt x="427" y="476"/>
                    <a:pt x="430" y="476"/>
                  </a:cubicBezTo>
                  <a:cubicBezTo>
                    <a:pt x="430" y="476"/>
                    <a:pt x="430" y="476"/>
                    <a:pt x="430" y="476"/>
                  </a:cubicBezTo>
                  <a:cubicBezTo>
                    <a:pt x="430" y="476"/>
                    <a:pt x="430" y="476"/>
                    <a:pt x="431" y="476"/>
                  </a:cubicBezTo>
                  <a:cubicBezTo>
                    <a:pt x="431" y="476"/>
                    <a:pt x="431" y="476"/>
                    <a:pt x="431" y="476"/>
                  </a:cubicBezTo>
                  <a:cubicBezTo>
                    <a:pt x="431" y="476"/>
                    <a:pt x="431" y="476"/>
                    <a:pt x="431" y="476"/>
                  </a:cubicBezTo>
                  <a:cubicBezTo>
                    <a:pt x="431" y="476"/>
                    <a:pt x="431" y="477"/>
                    <a:pt x="431" y="477"/>
                  </a:cubicBezTo>
                  <a:cubicBezTo>
                    <a:pt x="433" y="477"/>
                    <a:pt x="433" y="477"/>
                    <a:pt x="433" y="477"/>
                  </a:cubicBezTo>
                  <a:cubicBezTo>
                    <a:pt x="431" y="477"/>
                    <a:pt x="431" y="477"/>
                    <a:pt x="431" y="477"/>
                  </a:cubicBezTo>
                  <a:cubicBezTo>
                    <a:pt x="432" y="478"/>
                    <a:pt x="431" y="479"/>
                    <a:pt x="431" y="480"/>
                  </a:cubicBezTo>
                  <a:cubicBezTo>
                    <a:pt x="431" y="480"/>
                    <a:pt x="431" y="480"/>
                    <a:pt x="431" y="481"/>
                  </a:cubicBezTo>
                  <a:cubicBezTo>
                    <a:pt x="431" y="483"/>
                    <a:pt x="431" y="486"/>
                    <a:pt x="432" y="487"/>
                  </a:cubicBezTo>
                  <a:cubicBezTo>
                    <a:pt x="432" y="487"/>
                    <a:pt x="432" y="488"/>
                    <a:pt x="432" y="489"/>
                  </a:cubicBezTo>
                  <a:cubicBezTo>
                    <a:pt x="431" y="490"/>
                    <a:pt x="431" y="491"/>
                    <a:pt x="431" y="492"/>
                  </a:cubicBezTo>
                  <a:cubicBezTo>
                    <a:pt x="431" y="492"/>
                    <a:pt x="431" y="493"/>
                    <a:pt x="431" y="493"/>
                  </a:cubicBezTo>
                  <a:cubicBezTo>
                    <a:pt x="431" y="494"/>
                    <a:pt x="431" y="495"/>
                    <a:pt x="431" y="495"/>
                  </a:cubicBezTo>
                  <a:cubicBezTo>
                    <a:pt x="432" y="496"/>
                    <a:pt x="432" y="496"/>
                    <a:pt x="432" y="496"/>
                  </a:cubicBezTo>
                  <a:cubicBezTo>
                    <a:pt x="430" y="495"/>
                    <a:pt x="430" y="495"/>
                    <a:pt x="430" y="495"/>
                  </a:cubicBezTo>
                  <a:cubicBezTo>
                    <a:pt x="430" y="496"/>
                    <a:pt x="430" y="496"/>
                    <a:pt x="430" y="497"/>
                  </a:cubicBezTo>
                  <a:cubicBezTo>
                    <a:pt x="430" y="497"/>
                    <a:pt x="430" y="497"/>
                    <a:pt x="430" y="497"/>
                  </a:cubicBezTo>
                  <a:cubicBezTo>
                    <a:pt x="430" y="498"/>
                    <a:pt x="428" y="501"/>
                    <a:pt x="427" y="503"/>
                  </a:cubicBezTo>
                  <a:cubicBezTo>
                    <a:pt x="427" y="503"/>
                    <a:pt x="427" y="503"/>
                    <a:pt x="427" y="503"/>
                  </a:cubicBezTo>
                  <a:cubicBezTo>
                    <a:pt x="426" y="505"/>
                    <a:pt x="426" y="506"/>
                    <a:pt x="426" y="507"/>
                  </a:cubicBezTo>
                  <a:cubicBezTo>
                    <a:pt x="426" y="507"/>
                    <a:pt x="425" y="508"/>
                    <a:pt x="425" y="509"/>
                  </a:cubicBezTo>
                  <a:cubicBezTo>
                    <a:pt x="425" y="509"/>
                    <a:pt x="425" y="509"/>
                    <a:pt x="425" y="509"/>
                  </a:cubicBezTo>
                  <a:cubicBezTo>
                    <a:pt x="425" y="511"/>
                    <a:pt x="425" y="511"/>
                    <a:pt x="425" y="511"/>
                  </a:cubicBezTo>
                  <a:cubicBezTo>
                    <a:pt x="424" y="514"/>
                    <a:pt x="423" y="516"/>
                    <a:pt x="423" y="516"/>
                  </a:cubicBezTo>
                  <a:cubicBezTo>
                    <a:pt x="423" y="518"/>
                    <a:pt x="422" y="520"/>
                    <a:pt x="422" y="521"/>
                  </a:cubicBezTo>
                  <a:cubicBezTo>
                    <a:pt x="422" y="521"/>
                    <a:pt x="422" y="521"/>
                    <a:pt x="422" y="521"/>
                  </a:cubicBezTo>
                  <a:cubicBezTo>
                    <a:pt x="421" y="523"/>
                    <a:pt x="421" y="523"/>
                    <a:pt x="421" y="523"/>
                  </a:cubicBezTo>
                  <a:cubicBezTo>
                    <a:pt x="421" y="523"/>
                    <a:pt x="421" y="523"/>
                    <a:pt x="421" y="523"/>
                  </a:cubicBezTo>
                  <a:cubicBezTo>
                    <a:pt x="421" y="524"/>
                    <a:pt x="421" y="524"/>
                    <a:pt x="421" y="524"/>
                  </a:cubicBezTo>
                  <a:cubicBezTo>
                    <a:pt x="421" y="524"/>
                    <a:pt x="421" y="524"/>
                    <a:pt x="421" y="524"/>
                  </a:cubicBezTo>
                  <a:cubicBezTo>
                    <a:pt x="420" y="524"/>
                    <a:pt x="420" y="524"/>
                    <a:pt x="420" y="524"/>
                  </a:cubicBezTo>
                  <a:cubicBezTo>
                    <a:pt x="420" y="525"/>
                    <a:pt x="420" y="525"/>
                    <a:pt x="420" y="525"/>
                  </a:cubicBezTo>
                  <a:cubicBezTo>
                    <a:pt x="420" y="525"/>
                    <a:pt x="420" y="526"/>
                    <a:pt x="420" y="526"/>
                  </a:cubicBezTo>
                  <a:cubicBezTo>
                    <a:pt x="420" y="526"/>
                    <a:pt x="420" y="526"/>
                    <a:pt x="420" y="526"/>
                  </a:cubicBezTo>
                  <a:cubicBezTo>
                    <a:pt x="419" y="526"/>
                    <a:pt x="419" y="526"/>
                    <a:pt x="418" y="526"/>
                  </a:cubicBezTo>
                  <a:cubicBezTo>
                    <a:pt x="417" y="527"/>
                    <a:pt x="415" y="527"/>
                    <a:pt x="413" y="529"/>
                  </a:cubicBezTo>
                  <a:cubicBezTo>
                    <a:pt x="413" y="529"/>
                    <a:pt x="412" y="528"/>
                    <a:pt x="412" y="528"/>
                  </a:cubicBezTo>
                  <a:cubicBezTo>
                    <a:pt x="412" y="528"/>
                    <a:pt x="412" y="528"/>
                    <a:pt x="412" y="528"/>
                  </a:cubicBezTo>
                  <a:cubicBezTo>
                    <a:pt x="411" y="528"/>
                    <a:pt x="410" y="529"/>
                    <a:pt x="410" y="530"/>
                  </a:cubicBezTo>
                  <a:cubicBezTo>
                    <a:pt x="409" y="530"/>
                    <a:pt x="408" y="529"/>
                    <a:pt x="407" y="528"/>
                  </a:cubicBezTo>
                  <a:cubicBezTo>
                    <a:pt x="405" y="527"/>
                    <a:pt x="405" y="527"/>
                    <a:pt x="405" y="527"/>
                  </a:cubicBezTo>
                  <a:cubicBezTo>
                    <a:pt x="405" y="528"/>
                    <a:pt x="405" y="528"/>
                    <a:pt x="405" y="528"/>
                  </a:cubicBezTo>
                  <a:cubicBezTo>
                    <a:pt x="405" y="528"/>
                    <a:pt x="405" y="528"/>
                    <a:pt x="404" y="528"/>
                  </a:cubicBezTo>
                  <a:cubicBezTo>
                    <a:pt x="404" y="528"/>
                    <a:pt x="404" y="528"/>
                    <a:pt x="404" y="528"/>
                  </a:cubicBezTo>
                  <a:cubicBezTo>
                    <a:pt x="404" y="528"/>
                    <a:pt x="404" y="528"/>
                    <a:pt x="404" y="528"/>
                  </a:cubicBezTo>
                  <a:cubicBezTo>
                    <a:pt x="405" y="528"/>
                    <a:pt x="405" y="528"/>
                    <a:pt x="405" y="528"/>
                  </a:cubicBezTo>
                  <a:cubicBezTo>
                    <a:pt x="405" y="527"/>
                    <a:pt x="405" y="527"/>
                    <a:pt x="405" y="527"/>
                  </a:cubicBezTo>
                  <a:cubicBezTo>
                    <a:pt x="404" y="525"/>
                    <a:pt x="403" y="525"/>
                    <a:pt x="401" y="525"/>
                  </a:cubicBezTo>
                  <a:cubicBezTo>
                    <a:pt x="401" y="526"/>
                    <a:pt x="401" y="526"/>
                    <a:pt x="401" y="526"/>
                  </a:cubicBezTo>
                  <a:cubicBezTo>
                    <a:pt x="400" y="525"/>
                    <a:pt x="400" y="525"/>
                    <a:pt x="400" y="525"/>
                  </a:cubicBezTo>
                  <a:cubicBezTo>
                    <a:pt x="400" y="525"/>
                    <a:pt x="399" y="525"/>
                    <a:pt x="398" y="524"/>
                  </a:cubicBezTo>
                  <a:cubicBezTo>
                    <a:pt x="398" y="524"/>
                    <a:pt x="398" y="524"/>
                    <a:pt x="398" y="524"/>
                  </a:cubicBezTo>
                  <a:cubicBezTo>
                    <a:pt x="397" y="524"/>
                    <a:pt x="396" y="523"/>
                    <a:pt x="394" y="523"/>
                  </a:cubicBezTo>
                  <a:cubicBezTo>
                    <a:pt x="394" y="523"/>
                    <a:pt x="394" y="523"/>
                    <a:pt x="394" y="523"/>
                  </a:cubicBezTo>
                  <a:cubicBezTo>
                    <a:pt x="394" y="523"/>
                    <a:pt x="394" y="523"/>
                    <a:pt x="394" y="523"/>
                  </a:cubicBezTo>
                  <a:cubicBezTo>
                    <a:pt x="392" y="524"/>
                    <a:pt x="392" y="524"/>
                    <a:pt x="392" y="524"/>
                  </a:cubicBezTo>
                  <a:cubicBezTo>
                    <a:pt x="392" y="524"/>
                    <a:pt x="392" y="525"/>
                    <a:pt x="391" y="525"/>
                  </a:cubicBezTo>
                  <a:cubicBezTo>
                    <a:pt x="391" y="525"/>
                    <a:pt x="391" y="525"/>
                    <a:pt x="391" y="525"/>
                  </a:cubicBezTo>
                  <a:cubicBezTo>
                    <a:pt x="391" y="526"/>
                    <a:pt x="391" y="526"/>
                    <a:pt x="391" y="526"/>
                  </a:cubicBezTo>
                  <a:cubicBezTo>
                    <a:pt x="390" y="525"/>
                    <a:pt x="390" y="525"/>
                    <a:pt x="390" y="525"/>
                  </a:cubicBezTo>
                  <a:cubicBezTo>
                    <a:pt x="390" y="525"/>
                    <a:pt x="390" y="525"/>
                    <a:pt x="390" y="525"/>
                  </a:cubicBezTo>
                  <a:cubicBezTo>
                    <a:pt x="389" y="525"/>
                    <a:pt x="389" y="525"/>
                    <a:pt x="388" y="525"/>
                  </a:cubicBezTo>
                  <a:cubicBezTo>
                    <a:pt x="386" y="526"/>
                    <a:pt x="385" y="527"/>
                    <a:pt x="383" y="528"/>
                  </a:cubicBezTo>
                  <a:cubicBezTo>
                    <a:pt x="383" y="528"/>
                    <a:pt x="383" y="528"/>
                    <a:pt x="383" y="529"/>
                  </a:cubicBezTo>
                  <a:cubicBezTo>
                    <a:pt x="382" y="529"/>
                    <a:pt x="382" y="529"/>
                    <a:pt x="382" y="529"/>
                  </a:cubicBezTo>
                  <a:cubicBezTo>
                    <a:pt x="382" y="529"/>
                    <a:pt x="381" y="529"/>
                    <a:pt x="380" y="529"/>
                  </a:cubicBezTo>
                  <a:cubicBezTo>
                    <a:pt x="380" y="529"/>
                    <a:pt x="379" y="529"/>
                    <a:pt x="379" y="529"/>
                  </a:cubicBezTo>
                  <a:cubicBezTo>
                    <a:pt x="379" y="529"/>
                    <a:pt x="378" y="528"/>
                    <a:pt x="378" y="528"/>
                  </a:cubicBezTo>
                  <a:cubicBezTo>
                    <a:pt x="377" y="528"/>
                    <a:pt x="376" y="528"/>
                    <a:pt x="375" y="528"/>
                  </a:cubicBezTo>
                  <a:cubicBezTo>
                    <a:pt x="374" y="528"/>
                    <a:pt x="374" y="528"/>
                    <a:pt x="374" y="528"/>
                  </a:cubicBezTo>
                  <a:cubicBezTo>
                    <a:pt x="374" y="528"/>
                    <a:pt x="373" y="528"/>
                    <a:pt x="373" y="528"/>
                  </a:cubicBezTo>
                  <a:cubicBezTo>
                    <a:pt x="373" y="527"/>
                    <a:pt x="373" y="527"/>
                    <a:pt x="373" y="527"/>
                  </a:cubicBezTo>
                  <a:cubicBezTo>
                    <a:pt x="372" y="527"/>
                    <a:pt x="372" y="526"/>
                    <a:pt x="371" y="526"/>
                  </a:cubicBezTo>
                  <a:cubicBezTo>
                    <a:pt x="371" y="526"/>
                    <a:pt x="371" y="526"/>
                    <a:pt x="371" y="526"/>
                  </a:cubicBezTo>
                  <a:cubicBezTo>
                    <a:pt x="370" y="526"/>
                    <a:pt x="370" y="526"/>
                    <a:pt x="370" y="526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0" y="526"/>
                    <a:pt x="370" y="526"/>
                    <a:pt x="370" y="526"/>
                  </a:cubicBezTo>
                  <a:cubicBezTo>
                    <a:pt x="368" y="526"/>
                    <a:pt x="368" y="526"/>
                    <a:pt x="368" y="526"/>
                  </a:cubicBezTo>
                  <a:cubicBezTo>
                    <a:pt x="367" y="526"/>
                    <a:pt x="366" y="525"/>
                    <a:pt x="365" y="525"/>
                  </a:cubicBezTo>
                  <a:cubicBezTo>
                    <a:pt x="364" y="525"/>
                    <a:pt x="363" y="524"/>
                    <a:pt x="362" y="524"/>
                  </a:cubicBezTo>
                  <a:cubicBezTo>
                    <a:pt x="361" y="524"/>
                    <a:pt x="360" y="524"/>
                    <a:pt x="359" y="523"/>
                  </a:cubicBezTo>
                  <a:cubicBezTo>
                    <a:pt x="358" y="523"/>
                    <a:pt x="357" y="523"/>
                    <a:pt x="355" y="523"/>
                  </a:cubicBezTo>
                  <a:cubicBezTo>
                    <a:pt x="355" y="523"/>
                    <a:pt x="354" y="523"/>
                    <a:pt x="353" y="523"/>
                  </a:cubicBezTo>
                  <a:cubicBezTo>
                    <a:pt x="353" y="523"/>
                    <a:pt x="352" y="523"/>
                    <a:pt x="352" y="522"/>
                  </a:cubicBezTo>
                  <a:cubicBezTo>
                    <a:pt x="352" y="522"/>
                    <a:pt x="352" y="522"/>
                    <a:pt x="352" y="522"/>
                  </a:cubicBezTo>
                  <a:cubicBezTo>
                    <a:pt x="352" y="522"/>
                    <a:pt x="352" y="522"/>
                    <a:pt x="352" y="522"/>
                  </a:cubicBezTo>
                  <a:cubicBezTo>
                    <a:pt x="352" y="522"/>
                    <a:pt x="352" y="522"/>
                    <a:pt x="352" y="522"/>
                  </a:cubicBezTo>
                  <a:cubicBezTo>
                    <a:pt x="352" y="521"/>
                    <a:pt x="352" y="521"/>
                    <a:pt x="351" y="521"/>
                  </a:cubicBezTo>
                  <a:cubicBezTo>
                    <a:pt x="351" y="521"/>
                    <a:pt x="351" y="521"/>
                    <a:pt x="351" y="521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50" y="519"/>
                    <a:pt x="349" y="519"/>
                    <a:pt x="349" y="519"/>
                  </a:cubicBezTo>
                  <a:cubicBezTo>
                    <a:pt x="348" y="519"/>
                    <a:pt x="348" y="519"/>
                    <a:pt x="347" y="519"/>
                  </a:cubicBezTo>
                  <a:cubicBezTo>
                    <a:pt x="347" y="519"/>
                    <a:pt x="347" y="519"/>
                    <a:pt x="347" y="519"/>
                  </a:cubicBezTo>
                  <a:cubicBezTo>
                    <a:pt x="346" y="519"/>
                    <a:pt x="346" y="519"/>
                    <a:pt x="345" y="519"/>
                  </a:cubicBezTo>
                  <a:cubicBezTo>
                    <a:pt x="344" y="518"/>
                    <a:pt x="342" y="517"/>
                    <a:pt x="341" y="517"/>
                  </a:cubicBezTo>
                  <a:cubicBezTo>
                    <a:pt x="341" y="517"/>
                    <a:pt x="341" y="517"/>
                    <a:pt x="340" y="517"/>
                  </a:cubicBezTo>
                  <a:cubicBezTo>
                    <a:pt x="340" y="517"/>
                    <a:pt x="340" y="517"/>
                    <a:pt x="340" y="517"/>
                  </a:cubicBezTo>
                  <a:cubicBezTo>
                    <a:pt x="339" y="517"/>
                    <a:pt x="338" y="517"/>
                    <a:pt x="338" y="517"/>
                  </a:cubicBezTo>
                  <a:cubicBezTo>
                    <a:pt x="338" y="517"/>
                    <a:pt x="338" y="516"/>
                    <a:pt x="338" y="516"/>
                  </a:cubicBezTo>
                  <a:cubicBezTo>
                    <a:pt x="338" y="515"/>
                    <a:pt x="338" y="515"/>
                    <a:pt x="338" y="515"/>
                  </a:cubicBezTo>
                  <a:cubicBezTo>
                    <a:pt x="338" y="513"/>
                    <a:pt x="336" y="512"/>
                    <a:pt x="335" y="512"/>
                  </a:cubicBezTo>
                  <a:cubicBezTo>
                    <a:pt x="335" y="512"/>
                    <a:pt x="335" y="512"/>
                    <a:pt x="335" y="512"/>
                  </a:cubicBezTo>
                  <a:cubicBezTo>
                    <a:pt x="334" y="511"/>
                    <a:pt x="333" y="511"/>
                    <a:pt x="332" y="511"/>
                  </a:cubicBezTo>
                  <a:cubicBezTo>
                    <a:pt x="331" y="510"/>
                    <a:pt x="330" y="510"/>
                    <a:pt x="329" y="510"/>
                  </a:cubicBezTo>
                  <a:cubicBezTo>
                    <a:pt x="327" y="510"/>
                    <a:pt x="326" y="509"/>
                    <a:pt x="324" y="510"/>
                  </a:cubicBezTo>
                  <a:cubicBezTo>
                    <a:pt x="324" y="510"/>
                    <a:pt x="323" y="510"/>
                    <a:pt x="323" y="510"/>
                  </a:cubicBezTo>
                  <a:cubicBezTo>
                    <a:pt x="322" y="511"/>
                    <a:pt x="322" y="511"/>
                    <a:pt x="321" y="511"/>
                  </a:cubicBezTo>
                  <a:cubicBezTo>
                    <a:pt x="321" y="511"/>
                    <a:pt x="320" y="511"/>
                    <a:pt x="320" y="511"/>
                  </a:cubicBezTo>
                  <a:cubicBezTo>
                    <a:pt x="319" y="511"/>
                    <a:pt x="319" y="511"/>
                    <a:pt x="318" y="511"/>
                  </a:cubicBezTo>
                  <a:cubicBezTo>
                    <a:pt x="317" y="512"/>
                    <a:pt x="316" y="513"/>
                    <a:pt x="315" y="513"/>
                  </a:cubicBezTo>
                  <a:cubicBezTo>
                    <a:pt x="314" y="514"/>
                    <a:pt x="314" y="514"/>
                    <a:pt x="313" y="514"/>
                  </a:cubicBezTo>
                  <a:cubicBezTo>
                    <a:pt x="313" y="515"/>
                    <a:pt x="312" y="515"/>
                    <a:pt x="312" y="516"/>
                  </a:cubicBezTo>
                  <a:cubicBezTo>
                    <a:pt x="311" y="517"/>
                    <a:pt x="310" y="518"/>
                    <a:pt x="310" y="519"/>
                  </a:cubicBezTo>
                  <a:cubicBezTo>
                    <a:pt x="310" y="520"/>
                    <a:pt x="310" y="522"/>
                    <a:pt x="310" y="523"/>
                  </a:cubicBezTo>
                  <a:cubicBezTo>
                    <a:pt x="310" y="524"/>
                    <a:pt x="310" y="525"/>
                    <a:pt x="310" y="526"/>
                  </a:cubicBezTo>
                  <a:cubicBezTo>
                    <a:pt x="310" y="527"/>
                    <a:pt x="310" y="527"/>
                    <a:pt x="310" y="527"/>
                  </a:cubicBezTo>
                  <a:cubicBezTo>
                    <a:pt x="311" y="528"/>
                    <a:pt x="311" y="530"/>
                    <a:pt x="310" y="531"/>
                  </a:cubicBezTo>
                  <a:cubicBezTo>
                    <a:pt x="310" y="531"/>
                    <a:pt x="310" y="531"/>
                    <a:pt x="310" y="531"/>
                  </a:cubicBezTo>
                  <a:cubicBezTo>
                    <a:pt x="310" y="531"/>
                    <a:pt x="310" y="532"/>
                    <a:pt x="310" y="532"/>
                  </a:cubicBezTo>
                  <a:cubicBezTo>
                    <a:pt x="310" y="532"/>
                    <a:pt x="310" y="532"/>
                    <a:pt x="310" y="532"/>
                  </a:cubicBezTo>
                  <a:cubicBezTo>
                    <a:pt x="309" y="532"/>
                    <a:pt x="309" y="533"/>
                    <a:pt x="309" y="533"/>
                  </a:cubicBezTo>
                  <a:cubicBezTo>
                    <a:pt x="308" y="534"/>
                    <a:pt x="308" y="534"/>
                    <a:pt x="308" y="534"/>
                  </a:cubicBezTo>
                  <a:cubicBezTo>
                    <a:pt x="308" y="534"/>
                    <a:pt x="308" y="534"/>
                    <a:pt x="308" y="534"/>
                  </a:cubicBezTo>
                  <a:cubicBezTo>
                    <a:pt x="308" y="535"/>
                    <a:pt x="307" y="535"/>
                    <a:pt x="306" y="535"/>
                  </a:cubicBezTo>
                  <a:cubicBezTo>
                    <a:pt x="305" y="535"/>
                    <a:pt x="305" y="535"/>
                    <a:pt x="305" y="535"/>
                  </a:cubicBezTo>
                  <a:cubicBezTo>
                    <a:pt x="303" y="535"/>
                    <a:pt x="302" y="534"/>
                    <a:pt x="301" y="532"/>
                  </a:cubicBezTo>
                  <a:cubicBezTo>
                    <a:pt x="301" y="532"/>
                    <a:pt x="300" y="531"/>
                    <a:pt x="299" y="530"/>
                  </a:cubicBezTo>
                  <a:cubicBezTo>
                    <a:pt x="299" y="530"/>
                    <a:pt x="299" y="530"/>
                    <a:pt x="299" y="530"/>
                  </a:cubicBezTo>
                  <a:cubicBezTo>
                    <a:pt x="298" y="530"/>
                    <a:pt x="298" y="529"/>
                    <a:pt x="297" y="529"/>
                  </a:cubicBezTo>
                  <a:cubicBezTo>
                    <a:pt x="297" y="529"/>
                    <a:pt x="296" y="529"/>
                    <a:pt x="295" y="529"/>
                  </a:cubicBezTo>
                  <a:cubicBezTo>
                    <a:pt x="295" y="529"/>
                    <a:pt x="295" y="528"/>
                    <a:pt x="294" y="528"/>
                  </a:cubicBezTo>
                  <a:cubicBezTo>
                    <a:pt x="290" y="526"/>
                    <a:pt x="290" y="526"/>
                    <a:pt x="290" y="526"/>
                  </a:cubicBezTo>
                  <a:cubicBezTo>
                    <a:pt x="290" y="526"/>
                    <a:pt x="290" y="526"/>
                    <a:pt x="289" y="526"/>
                  </a:cubicBezTo>
                  <a:cubicBezTo>
                    <a:pt x="289" y="526"/>
                    <a:pt x="289" y="526"/>
                    <a:pt x="288" y="526"/>
                  </a:cubicBezTo>
                  <a:cubicBezTo>
                    <a:pt x="288" y="525"/>
                    <a:pt x="287" y="525"/>
                    <a:pt x="286" y="525"/>
                  </a:cubicBezTo>
                  <a:cubicBezTo>
                    <a:pt x="286" y="525"/>
                    <a:pt x="285" y="525"/>
                    <a:pt x="285" y="525"/>
                  </a:cubicBezTo>
                  <a:cubicBezTo>
                    <a:pt x="285" y="525"/>
                    <a:pt x="284" y="525"/>
                    <a:pt x="284" y="525"/>
                  </a:cubicBezTo>
                  <a:cubicBezTo>
                    <a:pt x="283" y="525"/>
                    <a:pt x="283" y="525"/>
                    <a:pt x="282" y="524"/>
                  </a:cubicBezTo>
                  <a:cubicBezTo>
                    <a:pt x="282" y="524"/>
                    <a:pt x="281" y="524"/>
                    <a:pt x="281" y="523"/>
                  </a:cubicBezTo>
                  <a:cubicBezTo>
                    <a:pt x="280" y="523"/>
                    <a:pt x="280" y="523"/>
                    <a:pt x="280" y="522"/>
                  </a:cubicBezTo>
                  <a:cubicBezTo>
                    <a:pt x="280" y="522"/>
                    <a:pt x="280" y="521"/>
                    <a:pt x="280" y="521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9" y="520"/>
                    <a:pt x="279" y="520"/>
                    <a:pt x="279" y="519"/>
                  </a:cubicBezTo>
                  <a:cubicBezTo>
                    <a:pt x="279" y="519"/>
                    <a:pt x="279" y="518"/>
                    <a:pt x="279" y="518"/>
                  </a:cubicBezTo>
                  <a:cubicBezTo>
                    <a:pt x="279" y="517"/>
                    <a:pt x="279" y="517"/>
                    <a:pt x="279" y="517"/>
                  </a:cubicBezTo>
                  <a:cubicBezTo>
                    <a:pt x="279" y="516"/>
                    <a:pt x="279" y="516"/>
                    <a:pt x="279" y="516"/>
                  </a:cubicBezTo>
                  <a:cubicBezTo>
                    <a:pt x="279" y="514"/>
                    <a:pt x="278" y="514"/>
                    <a:pt x="277" y="514"/>
                  </a:cubicBezTo>
                  <a:cubicBezTo>
                    <a:pt x="277" y="514"/>
                    <a:pt x="277" y="514"/>
                    <a:pt x="276" y="513"/>
                  </a:cubicBezTo>
                  <a:cubicBezTo>
                    <a:pt x="276" y="513"/>
                    <a:pt x="276" y="513"/>
                    <a:pt x="276" y="513"/>
                  </a:cubicBezTo>
                  <a:cubicBezTo>
                    <a:pt x="275" y="513"/>
                    <a:pt x="275" y="513"/>
                    <a:pt x="275" y="513"/>
                  </a:cubicBezTo>
                  <a:cubicBezTo>
                    <a:pt x="274" y="513"/>
                    <a:pt x="274" y="512"/>
                    <a:pt x="273" y="512"/>
                  </a:cubicBezTo>
                  <a:cubicBezTo>
                    <a:pt x="273" y="512"/>
                    <a:pt x="272" y="512"/>
                    <a:pt x="272" y="511"/>
                  </a:cubicBezTo>
                  <a:cubicBezTo>
                    <a:pt x="271" y="512"/>
                    <a:pt x="271" y="512"/>
                    <a:pt x="271" y="512"/>
                  </a:cubicBezTo>
                  <a:cubicBezTo>
                    <a:pt x="271" y="511"/>
                    <a:pt x="271" y="511"/>
                    <a:pt x="271" y="511"/>
                  </a:cubicBezTo>
                  <a:cubicBezTo>
                    <a:pt x="271" y="511"/>
                    <a:pt x="271" y="511"/>
                    <a:pt x="270" y="510"/>
                  </a:cubicBezTo>
                  <a:cubicBezTo>
                    <a:pt x="270" y="510"/>
                    <a:pt x="270" y="510"/>
                    <a:pt x="269" y="510"/>
                  </a:cubicBezTo>
                  <a:cubicBezTo>
                    <a:pt x="269" y="510"/>
                    <a:pt x="269" y="510"/>
                    <a:pt x="269" y="510"/>
                  </a:cubicBezTo>
                  <a:cubicBezTo>
                    <a:pt x="268" y="510"/>
                    <a:pt x="268" y="509"/>
                    <a:pt x="267" y="509"/>
                  </a:cubicBezTo>
                  <a:cubicBezTo>
                    <a:pt x="267" y="509"/>
                    <a:pt x="267" y="509"/>
                    <a:pt x="266" y="508"/>
                  </a:cubicBezTo>
                  <a:cubicBezTo>
                    <a:pt x="265" y="508"/>
                    <a:pt x="264" y="508"/>
                    <a:pt x="263" y="508"/>
                  </a:cubicBezTo>
                  <a:cubicBezTo>
                    <a:pt x="262" y="508"/>
                    <a:pt x="261" y="508"/>
                    <a:pt x="261" y="508"/>
                  </a:cubicBezTo>
                  <a:cubicBezTo>
                    <a:pt x="260" y="508"/>
                    <a:pt x="259" y="508"/>
                    <a:pt x="259" y="508"/>
                  </a:cubicBezTo>
                  <a:cubicBezTo>
                    <a:pt x="258" y="508"/>
                    <a:pt x="258" y="508"/>
                    <a:pt x="258" y="508"/>
                  </a:cubicBezTo>
                  <a:cubicBezTo>
                    <a:pt x="258" y="508"/>
                    <a:pt x="258" y="508"/>
                    <a:pt x="257" y="508"/>
                  </a:cubicBezTo>
                  <a:cubicBezTo>
                    <a:pt x="257" y="508"/>
                    <a:pt x="257" y="508"/>
                    <a:pt x="257" y="508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8"/>
                    <a:pt x="255" y="508"/>
                  </a:cubicBezTo>
                  <a:cubicBezTo>
                    <a:pt x="255" y="508"/>
                    <a:pt x="255" y="507"/>
                    <a:pt x="255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3" y="505"/>
                    <a:pt x="252" y="505"/>
                    <a:pt x="251" y="505"/>
                  </a:cubicBezTo>
                  <a:cubicBezTo>
                    <a:pt x="251" y="505"/>
                    <a:pt x="250" y="505"/>
                    <a:pt x="250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4"/>
                    <a:pt x="249" y="504"/>
                    <a:pt x="249" y="504"/>
                  </a:cubicBezTo>
                  <a:cubicBezTo>
                    <a:pt x="249" y="504"/>
                    <a:pt x="249" y="504"/>
                    <a:pt x="249" y="504"/>
                  </a:cubicBezTo>
                  <a:cubicBezTo>
                    <a:pt x="249" y="504"/>
                    <a:pt x="249" y="504"/>
                    <a:pt x="249" y="503"/>
                  </a:cubicBezTo>
                  <a:cubicBezTo>
                    <a:pt x="249" y="503"/>
                    <a:pt x="249" y="503"/>
                    <a:pt x="249" y="503"/>
                  </a:cubicBezTo>
                  <a:cubicBezTo>
                    <a:pt x="249" y="502"/>
                    <a:pt x="249" y="502"/>
                    <a:pt x="249" y="502"/>
                  </a:cubicBezTo>
                  <a:cubicBezTo>
                    <a:pt x="249" y="501"/>
                    <a:pt x="249" y="501"/>
                    <a:pt x="249" y="500"/>
                  </a:cubicBezTo>
                  <a:cubicBezTo>
                    <a:pt x="248" y="499"/>
                    <a:pt x="246" y="499"/>
                    <a:pt x="246" y="500"/>
                  </a:cubicBezTo>
                  <a:cubicBezTo>
                    <a:pt x="245" y="501"/>
                    <a:pt x="245" y="501"/>
                    <a:pt x="245" y="501"/>
                  </a:cubicBezTo>
                  <a:cubicBezTo>
                    <a:pt x="245" y="500"/>
                    <a:pt x="244" y="500"/>
                    <a:pt x="243" y="500"/>
                  </a:cubicBezTo>
                  <a:cubicBezTo>
                    <a:pt x="243" y="500"/>
                    <a:pt x="243" y="500"/>
                    <a:pt x="243" y="500"/>
                  </a:cubicBezTo>
                  <a:cubicBezTo>
                    <a:pt x="243" y="500"/>
                    <a:pt x="243" y="499"/>
                    <a:pt x="242" y="499"/>
                  </a:cubicBezTo>
                  <a:cubicBezTo>
                    <a:pt x="242" y="499"/>
                    <a:pt x="242" y="499"/>
                    <a:pt x="242" y="499"/>
                  </a:cubicBezTo>
                  <a:cubicBezTo>
                    <a:pt x="242" y="499"/>
                    <a:pt x="242" y="499"/>
                    <a:pt x="242" y="499"/>
                  </a:cubicBezTo>
                  <a:cubicBezTo>
                    <a:pt x="242" y="498"/>
                    <a:pt x="242" y="498"/>
                    <a:pt x="242" y="498"/>
                  </a:cubicBezTo>
                  <a:cubicBezTo>
                    <a:pt x="242" y="498"/>
                    <a:pt x="242" y="498"/>
                    <a:pt x="242" y="497"/>
                  </a:cubicBezTo>
                  <a:cubicBezTo>
                    <a:pt x="242" y="497"/>
                    <a:pt x="242" y="497"/>
                    <a:pt x="242" y="496"/>
                  </a:cubicBezTo>
                  <a:cubicBezTo>
                    <a:pt x="242" y="496"/>
                    <a:pt x="242" y="496"/>
                    <a:pt x="242" y="496"/>
                  </a:cubicBezTo>
                  <a:cubicBezTo>
                    <a:pt x="243" y="496"/>
                    <a:pt x="244" y="496"/>
                    <a:pt x="244" y="495"/>
                  </a:cubicBezTo>
                  <a:cubicBezTo>
                    <a:pt x="245" y="495"/>
                    <a:pt x="245" y="494"/>
                    <a:pt x="246" y="493"/>
                  </a:cubicBezTo>
                  <a:cubicBezTo>
                    <a:pt x="246" y="493"/>
                    <a:pt x="246" y="493"/>
                    <a:pt x="246" y="493"/>
                  </a:cubicBezTo>
                  <a:cubicBezTo>
                    <a:pt x="246" y="493"/>
                    <a:pt x="246" y="493"/>
                    <a:pt x="246" y="492"/>
                  </a:cubicBezTo>
                  <a:cubicBezTo>
                    <a:pt x="247" y="492"/>
                    <a:pt x="247" y="492"/>
                    <a:pt x="247" y="491"/>
                  </a:cubicBezTo>
                  <a:cubicBezTo>
                    <a:pt x="247" y="491"/>
                    <a:pt x="247" y="491"/>
                    <a:pt x="247" y="491"/>
                  </a:cubicBezTo>
                  <a:cubicBezTo>
                    <a:pt x="247" y="490"/>
                    <a:pt x="248" y="490"/>
                    <a:pt x="248" y="489"/>
                  </a:cubicBezTo>
                  <a:cubicBezTo>
                    <a:pt x="249" y="489"/>
                    <a:pt x="249" y="489"/>
                    <a:pt x="249" y="489"/>
                  </a:cubicBezTo>
                  <a:cubicBezTo>
                    <a:pt x="250" y="488"/>
                    <a:pt x="250" y="486"/>
                    <a:pt x="250" y="485"/>
                  </a:cubicBezTo>
                  <a:cubicBezTo>
                    <a:pt x="250" y="483"/>
                    <a:pt x="250" y="482"/>
                    <a:pt x="249" y="480"/>
                  </a:cubicBezTo>
                  <a:cubicBezTo>
                    <a:pt x="249" y="480"/>
                    <a:pt x="249" y="480"/>
                    <a:pt x="248" y="480"/>
                  </a:cubicBezTo>
                  <a:cubicBezTo>
                    <a:pt x="248" y="479"/>
                    <a:pt x="248" y="479"/>
                    <a:pt x="248" y="479"/>
                  </a:cubicBezTo>
                  <a:cubicBezTo>
                    <a:pt x="247" y="478"/>
                    <a:pt x="248" y="477"/>
                    <a:pt x="248" y="476"/>
                  </a:cubicBezTo>
                  <a:cubicBezTo>
                    <a:pt x="248" y="476"/>
                    <a:pt x="248" y="476"/>
                    <a:pt x="248" y="476"/>
                  </a:cubicBezTo>
                  <a:cubicBezTo>
                    <a:pt x="248" y="475"/>
                    <a:pt x="248" y="475"/>
                    <a:pt x="248" y="475"/>
                  </a:cubicBezTo>
                  <a:cubicBezTo>
                    <a:pt x="248" y="475"/>
                    <a:pt x="249" y="474"/>
                    <a:pt x="249" y="474"/>
                  </a:cubicBezTo>
                  <a:cubicBezTo>
                    <a:pt x="249" y="474"/>
                    <a:pt x="249" y="474"/>
                    <a:pt x="249" y="474"/>
                  </a:cubicBezTo>
                  <a:cubicBezTo>
                    <a:pt x="249" y="473"/>
                    <a:pt x="250" y="473"/>
                    <a:pt x="250" y="473"/>
                  </a:cubicBezTo>
                  <a:cubicBezTo>
                    <a:pt x="250" y="472"/>
                    <a:pt x="250" y="472"/>
                    <a:pt x="250" y="472"/>
                  </a:cubicBezTo>
                  <a:cubicBezTo>
                    <a:pt x="251" y="472"/>
                    <a:pt x="251" y="471"/>
                    <a:pt x="251" y="470"/>
                  </a:cubicBezTo>
                  <a:cubicBezTo>
                    <a:pt x="251" y="470"/>
                    <a:pt x="252" y="469"/>
                    <a:pt x="252" y="468"/>
                  </a:cubicBezTo>
                  <a:cubicBezTo>
                    <a:pt x="252" y="467"/>
                    <a:pt x="251" y="466"/>
                    <a:pt x="250" y="466"/>
                  </a:cubicBezTo>
                  <a:cubicBezTo>
                    <a:pt x="249" y="466"/>
                    <a:pt x="249" y="466"/>
                    <a:pt x="249" y="466"/>
                  </a:cubicBezTo>
                  <a:cubicBezTo>
                    <a:pt x="248" y="466"/>
                    <a:pt x="247" y="466"/>
                    <a:pt x="246" y="467"/>
                  </a:cubicBezTo>
                  <a:cubicBezTo>
                    <a:pt x="246" y="467"/>
                    <a:pt x="246" y="467"/>
                    <a:pt x="246" y="467"/>
                  </a:cubicBezTo>
                  <a:cubicBezTo>
                    <a:pt x="246" y="468"/>
                    <a:pt x="245" y="468"/>
                    <a:pt x="245" y="468"/>
                  </a:cubicBezTo>
                  <a:cubicBezTo>
                    <a:pt x="245" y="468"/>
                    <a:pt x="244" y="468"/>
                    <a:pt x="244" y="468"/>
                  </a:cubicBezTo>
                  <a:cubicBezTo>
                    <a:pt x="244" y="468"/>
                    <a:pt x="245" y="467"/>
                    <a:pt x="245" y="467"/>
                  </a:cubicBezTo>
                  <a:cubicBezTo>
                    <a:pt x="245" y="467"/>
                    <a:pt x="246" y="466"/>
                    <a:pt x="246" y="465"/>
                  </a:cubicBezTo>
                  <a:cubicBezTo>
                    <a:pt x="246" y="465"/>
                    <a:pt x="245" y="463"/>
                    <a:pt x="242" y="463"/>
                  </a:cubicBezTo>
                  <a:cubicBezTo>
                    <a:pt x="242" y="463"/>
                    <a:pt x="242" y="463"/>
                    <a:pt x="242" y="463"/>
                  </a:cubicBezTo>
                  <a:cubicBezTo>
                    <a:pt x="241" y="463"/>
                    <a:pt x="241" y="463"/>
                    <a:pt x="240" y="463"/>
                  </a:cubicBezTo>
                  <a:cubicBezTo>
                    <a:pt x="240" y="463"/>
                    <a:pt x="239" y="463"/>
                    <a:pt x="239" y="463"/>
                  </a:cubicBezTo>
                  <a:cubicBezTo>
                    <a:pt x="237" y="463"/>
                    <a:pt x="236" y="464"/>
                    <a:pt x="235" y="464"/>
                  </a:cubicBezTo>
                  <a:cubicBezTo>
                    <a:pt x="235" y="464"/>
                    <a:pt x="234" y="465"/>
                    <a:pt x="234" y="465"/>
                  </a:cubicBezTo>
                  <a:cubicBezTo>
                    <a:pt x="233" y="465"/>
                    <a:pt x="233" y="466"/>
                    <a:pt x="232" y="466"/>
                  </a:cubicBezTo>
                  <a:cubicBezTo>
                    <a:pt x="232" y="466"/>
                    <a:pt x="232" y="466"/>
                    <a:pt x="232" y="466"/>
                  </a:cubicBezTo>
                  <a:cubicBezTo>
                    <a:pt x="232" y="466"/>
                    <a:pt x="232" y="466"/>
                    <a:pt x="232" y="466"/>
                  </a:cubicBezTo>
                  <a:cubicBezTo>
                    <a:pt x="232" y="466"/>
                    <a:pt x="232" y="466"/>
                    <a:pt x="231" y="466"/>
                  </a:cubicBezTo>
                  <a:cubicBezTo>
                    <a:pt x="231" y="466"/>
                    <a:pt x="231" y="466"/>
                    <a:pt x="231" y="466"/>
                  </a:cubicBezTo>
                  <a:cubicBezTo>
                    <a:pt x="231" y="466"/>
                    <a:pt x="231" y="466"/>
                    <a:pt x="231" y="466"/>
                  </a:cubicBezTo>
                  <a:cubicBezTo>
                    <a:pt x="230" y="466"/>
                    <a:pt x="230" y="466"/>
                    <a:pt x="229" y="467"/>
                  </a:cubicBezTo>
                  <a:cubicBezTo>
                    <a:pt x="229" y="467"/>
                    <a:pt x="229" y="467"/>
                    <a:pt x="228" y="467"/>
                  </a:cubicBezTo>
                  <a:cubicBezTo>
                    <a:pt x="228" y="467"/>
                    <a:pt x="228" y="467"/>
                    <a:pt x="228" y="467"/>
                  </a:cubicBezTo>
                  <a:cubicBezTo>
                    <a:pt x="227" y="467"/>
                    <a:pt x="227" y="467"/>
                    <a:pt x="227" y="466"/>
                  </a:cubicBezTo>
                  <a:cubicBezTo>
                    <a:pt x="226" y="466"/>
                    <a:pt x="226" y="466"/>
                    <a:pt x="225" y="466"/>
                  </a:cubicBezTo>
                  <a:cubicBezTo>
                    <a:pt x="225" y="465"/>
                    <a:pt x="225" y="465"/>
                    <a:pt x="225" y="465"/>
                  </a:cubicBezTo>
                  <a:cubicBezTo>
                    <a:pt x="224" y="465"/>
                    <a:pt x="224" y="465"/>
                    <a:pt x="224" y="465"/>
                  </a:cubicBezTo>
                  <a:cubicBezTo>
                    <a:pt x="223" y="464"/>
                    <a:pt x="222" y="464"/>
                    <a:pt x="221" y="465"/>
                  </a:cubicBezTo>
                  <a:cubicBezTo>
                    <a:pt x="220" y="466"/>
                    <a:pt x="220" y="466"/>
                    <a:pt x="220" y="467"/>
                  </a:cubicBezTo>
                  <a:cubicBezTo>
                    <a:pt x="220" y="467"/>
                    <a:pt x="220" y="468"/>
                    <a:pt x="220" y="468"/>
                  </a:cubicBezTo>
                  <a:cubicBezTo>
                    <a:pt x="220" y="468"/>
                    <a:pt x="220" y="467"/>
                    <a:pt x="220" y="467"/>
                  </a:cubicBezTo>
                  <a:cubicBezTo>
                    <a:pt x="219" y="467"/>
                    <a:pt x="219" y="467"/>
                    <a:pt x="219" y="467"/>
                  </a:cubicBezTo>
                  <a:cubicBezTo>
                    <a:pt x="218" y="466"/>
                    <a:pt x="218" y="466"/>
                    <a:pt x="217" y="466"/>
                  </a:cubicBezTo>
                  <a:cubicBezTo>
                    <a:pt x="217" y="465"/>
                    <a:pt x="217" y="465"/>
                    <a:pt x="216" y="465"/>
                  </a:cubicBezTo>
                  <a:cubicBezTo>
                    <a:pt x="216" y="465"/>
                    <a:pt x="215" y="465"/>
                    <a:pt x="214" y="466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14" y="467"/>
                    <a:pt x="214" y="467"/>
                    <a:pt x="214" y="467"/>
                  </a:cubicBezTo>
                  <a:cubicBezTo>
                    <a:pt x="214" y="467"/>
                    <a:pt x="214" y="467"/>
                    <a:pt x="214" y="467"/>
                  </a:cubicBezTo>
                  <a:cubicBezTo>
                    <a:pt x="214" y="467"/>
                    <a:pt x="214" y="467"/>
                    <a:pt x="214" y="467"/>
                  </a:cubicBezTo>
                  <a:cubicBezTo>
                    <a:pt x="212" y="466"/>
                    <a:pt x="211" y="466"/>
                    <a:pt x="210" y="467"/>
                  </a:cubicBezTo>
                  <a:cubicBezTo>
                    <a:pt x="209" y="468"/>
                    <a:pt x="209" y="469"/>
                    <a:pt x="209" y="469"/>
                  </a:cubicBezTo>
                  <a:cubicBezTo>
                    <a:pt x="209" y="469"/>
                    <a:pt x="209" y="469"/>
                    <a:pt x="209" y="469"/>
                  </a:cubicBezTo>
                  <a:cubicBezTo>
                    <a:pt x="209" y="469"/>
                    <a:pt x="208" y="469"/>
                    <a:pt x="208" y="469"/>
                  </a:cubicBezTo>
                  <a:cubicBezTo>
                    <a:pt x="208" y="469"/>
                    <a:pt x="208" y="469"/>
                    <a:pt x="208" y="469"/>
                  </a:cubicBezTo>
                  <a:cubicBezTo>
                    <a:pt x="208" y="469"/>
                    <a:pt x="207" y="469"/>
                    <a:pt x="207" y="469"/>
                  </a:cubicBezTo>
                  <a:cubicBezTo>
                    <a:pt x="207" y="469"/>
                    <a:pt x="207" y="469"/>
                    <a:pt x="207" y="469"/>
                  </a:cubicBezTo>
                  <a:cubicBezTo>
                    <a:pt x="207" y="469"/>
                    <a:pt x="206" y="469"/>
                    <a:pt x="206" y="469"/>
                  </a:cubicBezTo>
                  <a:cubicBezTo>
                    <a:pt x="206" y="469"/>
                    <a:pt x="206" y="468"/>
                    <a:pt x="206" y="468"/>
                  </a:cubicBezTo>
                  <a:cubicBezTo>
                    <a:pt x="205" y="468"/>
                    <a:pt x="204" y="467"/>
                    <a:pt x="203" y="466"/>
                  </a:cubicBezTo>
                  <a:cubicBezTo>
                    <a:pt x="202" y="466"/>
                    <a:pt x="201" y="466"/>
                    <a:pt x="201" y="466"/>
                  </a:cubicBezTo>
                  <a:cubicBezTo>
                    <a:pt x="200" y="467"/>
                    <a:pt x="199" y="466"/>
                    <a:pt x="199" y="466"/>
                  </a:cubicBezTo>
                  <a:cubicBezTo>
                    <a:pt x="198" y="466"/>
                    <a:pt x="196" y="466"/>
                    <a:pt x="195" y="466"/>
                  </a:cubicBezTo>
                  <a:cubicBezTo>
                    <a:pt x="195" y="466"/>
                    <a:pt x="195" y="466"/>
                    <a:pt x="195" y="466"/>
                  </a:cubicBezTo>
                  <a:cubicBezTo>
                    <a:pt x="194" y="467"/>
                    <a:pt x="194" y="467"/>
                    <a:pt x="193" y="467"/>
                  </a:cubicBezTo>
                  <a:cubicBezTo>
                    <a:pt x="193" y="467"/>
                    <a:pt x="193" y="467"/>
                    <a:pt x="192" y="467"/>
                  </a:cubicBezTo>
                  <a:cubicBezTo>
                    <a:pt x="192" y="467"/>
                    <a:pt x="192" y="467"/>
                    <a:pt x="192" y="467"/>
                  </a:cubicBezTo>
                  <a:cubicBezTo>
                    <a:pt x="191" y="467"/>
                    <a:pt x="190" y="467"/>
                    <a:pt x="189" y="468"/>
                  </a:cubicBezTo>
                  <a:cubicBezTo>
                    <a:pt x="189" y="468"/>
                    <a:pt x="188" y="468"/>
                    <a:pt x="187" y="468"/>
                  </a:cubicBezTo>
                  <a:cubicBezTo>
                    <a:pt x="187" y="468"/>
                    <a:pt x="187" y="469"/>
                    <a:pt x="187" y="469"/>
                  </a:cubicBezTo>
                  <a:cubicBezTo>
                    <a:pt x="187" y="469"/>
                    <a:pt x="187" y="468"/>
                    <a:pt x="187" y="468"/>
                  </a:cubicBezTo>
                  <a:cubicBezTo>
                    <a:pt x="186" y="468"/>
                    <a:pt x="186" y="468"/>
                    <a:pt x="185" y="468"/>
                  </a:cubicBezTo>
                  <a:cubicBezTo>
                    <a:pt x="184" y="468"/>
                    <a:pt x="183" y="468"/>
                    <a:pt x="182" y="469"/>
                  </a:cubicBezTo>
                  <a:cubicBezTo>
                    <a:pt x="182" y="469"/>
                    <a:pt x="182" y="469"/>
                    <a:pt x="181" y="469"/>
                  </a:cubicBezTo>
                  <a:cubicBezTo>
                    <a:pt x="180" y="470"/>
                    <a:pt x="180" y="470"/>
                    <a:pt x="179" y="470"/>
                  </a:cubicBezTo>
                  <a:cubicBezTo>
                    <a:pt x="179" y="470"/>
                    <a:pt x="179" y="470"/>
                    <a:pt x="179" y="470"/>
                  </a:cubicBezTo>
                  <a:cubicBezTo>
                    <a:pt x="178" y="470"/>
                    <a:pt x="178" y="470"/>
                    <a:pt x="178" y="470"/>
                  </a:cubicBezTo>
                  <a:cubicBezTo>
                    <a:pt x="177" y="469"/>
                    <a:pt x="176" y="469"/>
                    <a:pt x="174" y="470"/>
                  </a:cubicBezTo>
                  <a:cubicBezTo>
                    <a:pt x="174" y="470"/>
                    <a:pt x="173" y="471"/>
                    <a:pt x="173" y="471"/>
                  </a:cubicBezTo>
                  <a:cubicBezTo>
                    <a:pt x="172" y="471"/>
                    <a:pt x="172" y="471"/>
                    <a:pt x="171" y="472"/>
                  </a:cubicBezTo>
                  <a:cubicBezTo>
                    <a:pt x="170" y="472"/>
                    <a:pt x="169" y="473"/>
                    <a:pt x="168" y="474"/>
                  </a:cubicBezTo>
                  <a:cubicBezTo>
                    <a:pt x="168" y="474"/>
                    <a:pt x="167" y="474"/>
                    <a:pt x="167" y="475"/>
                  </a:cubicBezTo>
                  <a:cubicBezTo>
                    <a:pt x="167" y="475"/>
                    <a:pt x="166" y="476"/>
                    <a:pt x="166" y="476"/>
                  </a:cubicBezTo>
                  <a:cubicBezTo>
                    <a:pt x="165" y="475"/>
                    <a:pt x="165" y="475"/>
                    <a:pt x="164" y="475"/>
                  </a:cubicBezTo>
                  <a:cubicBezTo>
                    <a:pt x="164" y="475"/>
                    <a:pt x="164" y="475"/>
                    <a:pt x="164" y="475"/>
                  </a:cubicBezTo>
                  <a:cubicBezTo>
                    <a:pt x="163" y="475"/>
                    <a:pt x="163" y="475"/>
                    <a:pt x="163" y="475"/>
                  </a:cubicBezTo>
                  <a:cubicBezTo>
                    <a:pt x="163" y="475"/>
                    <a:pt x="163" y="475"/>
                    <a:pt x="163" y="475"/>
                  </a:cubicBezTo>
                  <a:cubicBezTo>
                    <a:pt x="162" y="476"/>
                    <a:pt x="162" y="476"/>
                    <a:pt x="162" y="476"/>
                  </a:cubicBezTo>
                  <a:cubicBezTo>
                    <a:pt x="162" y="476"/>
                    <a:pt x="162" y="476"/>
                    <a:pt x="162" y="476"/>
                  </a:cubicBezTo>
                  <a:cubicBezTo>
                    <a:pt x="161" y="476"/>
                    <a:pt x="160" y="476"/>
                    <a:pt x="159" y="476"/>
                  </a:cubicBezTo>
                  <a:cubicBezTo>
                    <a:pt x="158" y="477"/>
                    <a:pt x="157" y="479"/>
                    <a:pt x="156" y="480"/>
                  </a:cubicBezTo>
                  <a:cubicBezTo>
                    <a:pt x="156" y="480"/>
                    <a:pt x="156" y="480"/>
                    <a:pt x="156" y="480"/>
                  </a:cubicBezTo>
                  <a:cubicBezTo>
                    <a:pt x="156" y="480"/>
                    <a:pt x="155" y="480"/>
                    <a:pt x="155" y="480"/>
                  </a:cubicBezTo>
                  <a:cubicBezTo>
                    <a:pt x="155" y="481"/>
                    <a:pt x="155" y="481"/>
                    <a:pt x="155" y="481"/>
                  </a:cubicBezTo>
                  <a:cubicBezTo>
                    <a:pt x="155" y="481"/>
                    <a:pt x="155" y="481"/>
                    <a:pt x="155" y="481"/>
                  </a:cubicBezTo>
                  <a:cubicBezTo>
                    <a:pt x="154" y="481"/>
                    <a:pt x="154" y="481"/>
                    <a:pt x="153" y="481"/>
                  </a:cubicBezTo>
                  <a:cubicBezTo>
                    <a:pt x="153" y="481"/>
                    <a:pt x="153" y="481"/>
                    <a:pt x="153" y="481"/>
                  </a:cubicBezTo>
                  <a:cubicBezTo>
                    <a:pt x="152" y="481"/>
                    <a:pt x="152" y="481"/>
                    <a:pt x="151" y="481"/>
                  </a:cubicBezTo>
                  <a:cubicBezTo>
                    <a:pt x="151" y="481"/>
                    <a:pt x="151" y="481"/>
                    <a:pt x="151" y="481"/>
                  </a:cubicBezTo>
                  <a:cubicBezTo>
                    <a:pt x="151" y="481"/>
                    <a:pt x="151" y="481"/>
                    <a:pt x="150" y="481"/>
                  </a:cubicBezTo>
                  <a:cubicBezTo>
                    <a:pt x="147" y="481"/>
                    <a:pt x="147" y="481"/>
                    <a:pt x="147" y="481"/>
                  </a:cubicBezTo>
                  <a:cubicBezTo>
                    <a:pt x="148" y="481"/>
                    <a:pt x="148" y="481"/>
                    <a:pt x="148" y="481"/>
                  </a:cubicBezTo>
                  <a:cubicBezTo>
                    <a:pt x="147" y="481"/>
                    <a:pt x="147" y="481"/>
                    <a:pt x="147" y="481"/>
                  </a:cubicBezTo>
                  <a:cubicBezTo>
                    <a:pt x="147" y="481"/>
                    <a:pt x="147" y="481"/>
                    <a:pt x="147" y="482"/>
                  </a:cubicBezTo>
                  <a:cubicBezTo>
                    <a:pt x="147" y="481"/>
                    <a:pt x="147" y="480"/>
                    <a:pt x="145" y="479"/>
                  </a:cubicBezTo>
                  <a:cubicBezTo>
                    <a:pt x="144" y="478"/>
                    <a:pt x="143" y="479"/>
                    <a:pt x="142" y="480"/>
                  </a:cubicBezTo>
                  <a:cubicBezTo>
                    <a:pt x="142" y="480"/>
                    <a:pt x="142" y="481"/>
                    <a:pt x="142" y="481"/>
                  </a:cubicBezTo>
                  <a:cubicBezTo>
                    <a:pt x="142" y="481"/>
                    <a:pt x="141" y="480"/>
                    <a:pt x="141" y="480"/>
                  </a:cubicBezTo>
                  <a:cubicBezTo>
                    <a:pt x="141" y="480"/>
                    <a:pt x="141" y="480"/>
                    <a:pt x="140" y="480"/>
                  </a:cubicBezTo>
                  <a:cubicBezTo>
                    <a:pt x="139" y="480"/>
                    <a:pt x="138" y="480"/>
                    <a:pt x="137" y="480"/>
                  </a:cubicBezTo>
                  <a:cubicBezTo>
                    <a:pt x="137" y="480"/>
                    <a:pt x="137" y="480"/>
                    <a:pt x="137" y="480"/>
                  </a:cubicBezTo>
                  <a:cubicBezTo>
                    <a:pt x="136" y="480"/>
                    <a:pt x="136" y="480"/>
                    <a:pt x="136" y="480"/>
                  </a:cubicBezTo>
                  <a:cubicBezTo>
                    <a:pt x="135" y="481"/>
                    <a:pt x="135" y="481"/>
                    <a:pt x="135" y="481"/>
                  </a:cubicBezTo>
                  <a:cubicBezTo>
                    <a:pt x="133" y="481"/>
                    <a:pt x="132" y="481"/>
                    <a:pt x="131" y="480"/>
                  </a:cubicBezTo>
                  <a:cubicBezTo>
                    <a:pt x="130" y="480"/>
                    <a:pt x="130" y="479"/>
                    <a:pt x="130" y="478"/>
                  </a:cubicBezTo>
                  <a:cubicBezTo>
                    <a:pt x="129" y="477"/>
                    <a:pt x="129" y="475"/>
                    <a:pt x="127" y="475"/>
                  </a:cubicBezTo>
                  <a:cubicBezTo>
                    <a:pt x="127" y="475"/>
                    <a:pt x="126" y="475"/>
                    <a:pt x="126" y="475"/>
                  </a:cubicBezTo>
                  <a:cubicBezTo>
                    <a:pt x="127" y="474"/>
                    <a:pt x="128" y="473"/>
                    <a:pt x="130" y="471"/>
                  </a:cubicBezTo>
                  <a:close/>
                  <a:moveTo>
                    <a:pt x="265" y="456"/>
                  </a:moveTo>
                  <a:cubicBezTo>
                    <a:pt x="265" y="455"/>
                    <a:pt x="265" y="455"/>
                    <a:pt x="265" y="455"/>
                  </a:cubicBezTo>
                  <a:cubicBezTo>
                    <a:pt x="265" y="455"/>
                    <a:pt x="265" y="455"/>
                    <a:pt x="265" y="455"/>
                  </a:cubicBezTo>
                  <a:cubicBezTo>
                    <a:pt x="265" y="455"/>
                    <a:pt x="265" y="455"/>
                    <a:pt x="265" y="455"/>
                  </a:cubicBezTo>
                  <a:cubicBezTo>
                    <a:pt x="265" y="456"/>
                    <a:pt x="265" y="456"/>
                    <a:pt x="265" y="456"/>
                  </a:cubicBezTo>
                  <a:close/>
                  <a:moveTo>
                    <a:pt x="15" y="645"/>
                  </a:moveTo>
                  <a:cubicBezTo>
                    <a:pt x="15" y="645"/>
                    <a:pt x="15" y="645"/>
                    <a:pt x="15" y="645"/>
                  </a:cubicBezTo>
                  <a:cubicBezTo>
                    <a:pt x="15" y="645"/>
                    <a:pt x="15" y="645"/>
                    <a:pt x="15" y="645"/>
                  </a:cubicBezTo>
                  <a:cubicBezTo>
                    <a:pt x="15" y="645"/>
                    <a:pt x="15" y="645"/>
                    <a:pt x="15" y="645"/>
                  </a:cubicBezTo>
                  <a:close/>
                  <a:moveTo>
                    <a:pt x="29" y="743"/>
                  </a:moveTo>
                  <a:cubicBezTo>
                    <a:pt x="29" y="744"/>
                    <a:pt x="29" y="744"/>
                    <a:pt x="29" y="744"/>
                  </a:cubicBezTo>
                  <a:cubicBezTo>
                    <a:pt x="28" y="743"/>
                    <a:pt x="28" y="743"/>
                    <a:pt x="28" y="743"/>
                  </a:cubicBezTo>
                  <a:lnTo>
                    <a:pt x="29" y="743"/>
                  </a:lnTo>
                  <a:close/>
                  <a:moveTo>
                    <a:pt x="214" y="841"/>
                  </a:moveTo>
                  <a:cubicBezTo>
                    <a:pt x="214" y="841"/>
                    <a:pt x="214" y="841"/>
                    <a:pt x="214" y="841"/>
                  </a:cubicBezTo>
                  <a:cubicBezTo>
                    <a:pt x="214" y="841"/>
                    <a:pt x="214" y="841"/>
                    <a:pt x="214" y="841"/>
                  </a:cubicBezTo>
                  <a:close/>
                  <a:moveTo>
                    <a:pt x="1023" y="716"/>
                  </a:moveTo>
                  <a:cubicBezTo>
                    <a:pt x="1023" y="716"/>
                    <a:pt x="1023" y="716"/>
                    <a:pt x="1023" y="716"/>
                  </a:cubicBezTo>
                  <a:cubicBezTo>
                    <a:pt x="1023" y="716"/>
                    <a:pt x="1023" y="716"/>
                    <a:pt x="1023" y="716"/>
                  </a:cubicBezTo>
                  <a:cubicBezTo>
                    <a:pt x="1023" y="717"/>
                    <a:pt x="1023" y="717"/>
                    <a:pt x="1023" y="717"/>
                  </a:cubicBezTo>
                  <a:cubicBezTo>
                    <a:pt x="1023" y="717"/>
                    <a:pt x="1023" y="717"/>
                    <a:pt x="1023" y="717"/>
                  </a:cubicBezTo>
                  <a:lnTo>
                    <a:pt x="1023" y="716"/>
                  </a:lnTo>
                  <a:close/>
                  <a:moveTo>
                    <a:pt x="1122" y="259"/>
                  </a:moveTo>
                  <a:cubicBezTo>
                    <a:pt x="1122" y="259"/>
                    <a:pt x="1122" y="260"/>
                    <a:pt x="1122" y="260"/>
                  </a:cubicBezTo>
                  <a:cubicBezTo>
                    <a:pt x="1122" y="260"/>
                    <a:pt x="1123" y="260"/>
                    <a:pt x="1123" y="260"/>
                  </a:cubicBezTo>
                  <a:cubicBezTo>
                    <a:pt x="1122" y="260"/>
                    <a:pt x="1122" y="260"/>
                    <a:pt x="1122" y="260"/>
                  </a:cubicBezTo>
                  <a:cubicBezTo>
                    <a:pt x="1122" y="260"/>
                    <a:pt x="1122" y="259"/>
                    <a:pt x="1121" y="258"/>
                  </a:cubicBezTo>
                  <a:cubicBezTo>
                    <a:pt x="1122" y="258"/>
                    <a:pt x="1122" y="259"/>
                    <a:pt x="1122" y="259"/>
                  </a:cubicBezTo>
                  <a:close/>
                  <a:moveTo>
                    <a:pt x="1133" y="175"/>
                  </a:moveTo>
                  <a:cubicBezTo>
                    <a:pt x="1133" y="175"/>
                    <a:pt x="1133" y="175"/>
                    <a:pt x="1133" y="175"/>
                  </a:cubicBezTo>
                  <a:cubicBezTo>
                    <a:pt x="1133" y="175"/>
                    <a:pt x="1133" y="175"/>
                    <a:pt x="1133" y="175"/>
                  </a:cubicBezTo>
                  <a:close/>
                  <a:moveTo>
                    <a:pt x="1154" y="173"/>
                  </a:moveTo>
                  <a:cubicBezTo>
                    <a:pt x="1154" y="173"/>
                    <a:pt x="1154" y="173"/>
                    <a:pt x="1154" y="173"/>
                  </a:cubicBezTo>
                  <a:cubicBezTo>
                    <a:pt x="1154" y="173"/>
                    <a:pt x="1154" y="173"/>
                    <a:pt x="1154" y="173"/>
                  </a:cubicBezTo>
                  <a:cubicBezTo>
                    <a:pt x="1154" y="173"/>
                    <a:pt x="1154" y="173"/>
                    <a:pt x="1154" y="173"/>
                  </a:cubicBezTo>
                  <a:close/>
                  <a:moveTo>
                    <a:pt x="791" y="47"/>
                  </a:moveTo>
                  <a:cubicBezTo>
                    <a:pt x="791" y="47"/>
                    <a:pt x="791" y="47"/>
                    <a:pt x="791" y="48"/>
                  </a:cubicBezTo>
                  <a:cubicBezTo>
                    <a:pt x="791" y="48"/>
                    <a:pt x="791" y="48"/>
                    <a:pt x="791" y="48"/>
                  </a:cubicBezTo>
                  <a:cubicBezTo>
                    <a:pt x="790" y="48"/>
                    <a:pt x="789" y="49"/>
                    <a:pt x="789" y="51"/>
                  </a:cubicBezTo>
                  <a:cubicBezTo>
                    <a:pt x="789" y="50"/>
                    <a:pt x="789" y="50"/>
                    <a:pt x="789" y="50"/>
                  </a:cubicBezTo>
                  <a:cubicBezTo>
                    <a:pt x="788" y="50"/>
                    <a:pt x="786" y="50"/>
                    <a:pt x="785" y="51"/>
                  </a:cubicBezTo>
                  <a:cubicBezTo>
                    <a:pt x="785" y="52"/>
                    <a:pt x="784" y="52"/>
                    <a:pt x="783" y="52"/>
                  </a:cubicBezTo>
                  <a:cubicBezTo>
                    <a:pt x="783" y="52"/>
                    <a:pt x="782" y="52"/>
                    <a:pt x="782" y="52"/>
                  </a:cubicBezTo>
                  <a:cubicBezTo>
                    <a:pt x="781" y="52"/>
                    <a:pt x="781" y="52"/>
                    <a:pt x="781" y="52"/>
                  </a:cubicBezTo>
                  <a:cubicBezTo>
                    <a:pt x="781" y="52"/>
                    <a:pt x="781" y="51"/>
                    <a:pt x="781" y="51"/>
                  </a:cubicBezTo>
                  <a:cubicBezTo>
                    <a:pt x="782" y="49"/>
                    <a:pt x="784" y="48"/>
                    <a:pt x="785" y="47"/>
                  </a:cubicBezTo>
                  <a:cubicBezTo>
                    <a:pt x="786" y="47"/>
                    <a:pt x="786" y="47"/>
                    <a:pt x="786" y="47"/>
                  </a:cubicBezTo>
                  <a:cubicBezTo>
                    <a:pt x="787" y="46"/>
                    <a:pt x="788" y="45"/>
                    <a:pt x="788" y="43"/>
                  </a:cubicBezTo>
                  <a:cubicBezTo>
                    <a:pt x="788" y="43"/>
                    <a:pt x="788" y="42"/>
                    <a:pt x="788" y="42"/>
                  </a:cubicBezTo>
                  <a:cubicBezTo>
                    <a:pt x="789" y="42"/>
                    <a:pt x="789" y="41"/>
                    <a:pt x="789" y="41"/>
                  </a:cubicBezTo>
                  <a:cubicBezTo>
                    <a:pt x="789" y="42"/>
                    <a:pt x="789" y="42"/>
                    <a:pt x="789" y="42"/>
                  </a:cubicBezTo>
                  <a:cubicBezTo>
                    <a:pt x="789" y="42"/>
                    <a:pt x="789" y="42"/>
                    <a:pt x="789" y="43"/>
                  </a:cubicBezTo>
                  <a:cubicBezTo>
                    <a:pt x="789" y="43"/>
                    <a:pt x="789" y="44"/>
                    <a:pt x="789" y="45"/>
                  </a:cubicBezTo>
                  <a:cubicBezTo>
                    <a:pt x="789" y="46"/>
                    <a:pt x="790" y="47"/>
                    <a:pt x="791" y="47"/>
                  </a:cubicBezTo>
                  <a:close/>
                  <a:moveTo>
                    <a:pt x="679" y="44"/>
                  </a:moveTo>
                  <a:cubicBezTo>
                    <a:pt x="679" y="44"/>
                    <a:pt x="679" y="44"/>
                    <a:pt x="679" y="44"/>
                  </a:cubicBezTo>
                  <a:cubicBezTo>
                    <a:pt x="679" y="44"/>
                    <a:pt x="679" y="44"/>
                    <a:pt x="679" y="44"/>
                  </a:cubicBezTo>
                  <a:cubicBezTo>
                    <a:pt x="679" y="44"/>
                    <a:pt x="679" y="44"/>
                    <a:pt x="679" y="44"/>
                  </a:cubicBezTo>
                  <a:cubicBezTo>
                    <a:pt x="679" y="44"/>
                    <a:pt x="679" y="44"/>
                    <a:pt x="679" y="44"/>
                  </a:cubicBezTo>
                  <a:close/>
                  <a:moveTo>
                    <a:pt x="649" y="79"/>
                  </a:moveTo>
                  <a:cubicBezTo>
                    <a:pt x="649" y="79"/>
                    <a:pt x="649" y="79"/>
                    <a:pt x="649" y="80"/>
                  </a:cubicBezTo>
                  <a:cubicBezTo>
                    <a:pt x="649" y="80"/>
                    <a:pt x="649" y="80"/>
                    <a:pt x="649" y="80"/>
                  </a:cubicBezTo>
                  <a:cubicBezTo>
                    <a:pt x="649" y="80"/>
                    <a:pt x="648" y="79"/>
                    <a:pt x="647" y="78"/>
                  </a:cubicBezTo>
                  <a:cubicBezTo>
                    <a:pt x="648" y="79"/>
                    <a:pt x="648" y="79"/>
                    <a:pt x="649" y="79"/>
                  </a:cubicBezTo>
                  <a:close/>
                  <a:moveTo>
                    <a:pt x="568" y="122"/>
                  </a:moveTo>
                  <a:cubicBezTo>
                    <a:pt x="568" y="122"/>
                    <a:pt x="568" y="122"/>
                    <a:pt x="568" y="122"/>
                  </a:cubicBezTo>
                  <a:cubicBezTo>
                    <a:pt x="568" y="122"/>
                    <a:pt x="568" y="122"/>
                    <a:pt x="568" y="122"/>
                  </a:cubicBezTo>
                  <a:close/>
                  <a:moveTo>
                    <a:pt x="565" y="124"/>
                  </a:moveTo>
                  <a:cubicBezTo>
                    <a:pt x="565" y="124"/>
                    <a:pt x="565" y="124"/>
                    <a:pt x="566" y="124"/>
                  </a:cubicBezTo>
                  <a:cubicBezTo>
                    <a:pt x="566" y="124"/>
                    <a:pt x="566" y="125"/>
                    <a:pt x="566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4"/>
                    <a:pt x="565" y="124"/>
                    <a:pt x="565" y="124"/>
                  </a:cubicBezTo>
                  <a:cubicBezTo>
                    <a:pt x="565" y="124"/>
                    <a:pt x="565" y="124"/>
                    <a:pt x="565" y="124"/>
                  </a:cubicBezTo>
                  <a:close/>
                  <a:moveTo>
                    <a:pt x="466" y="169"/>
                  </a:moveTo>
                  <a:cubicBezTo>
                    <a:pt x="466" y="169"/>
                    <a:pt x="466" y="169"/>
                    <a:pt x="466" y="169"/>
                  </a:cubicBezTo>
                  <a:cubicBezTo>
                    <a:pt x="466" y="169"/>
                    <a:pt x="466" y="169"/>
                    <a:pt x="466" y="169"/>
                  </a:cubicBezTo>
                  <a:close/>
                  <a:moveTo>
                    <a:pt x="428" y="113"/>
                  </a:moveTo>
                  <a:cubicBezTo>
                    <a:pt x="428" y="113"/>
                    <a:pt x="428" y="113"/>
                    <a:pt x="428" y="113"/>
                  </a:cubicBezTo>
                  <a:cubicBezTo>
                    <a:pt x="428" y="113"/>
                    <a:pt x="428" y="113"/>
                    <a:pt x="428" y="113"/>
                  </a:cubicBezTo>
                  <a:close/>
                  <a:moveTo>
                    <a:pt x="352" y="113"/>
                  </a:moveTo>
                  <a:cubicBezTo>
                    <a:pt x="352" y="113"/>
                    <a:pt x="352" y="113"/>
                    <a:pt x="352" y="113"/>
                  </a:cubicBezTo>
                  <a:cubicBezTo>
                    <a:pt x="352" y="113"/>
                    <a:pt x="352" y="113"/>
                    <a:pt x="351" y="113"/>
                  </a:cubicBezTo>
                  <a:cubicBezTo>
                    <a:pt x="351" y="113"/>
                    <a:pt x="351" y="113"/>
                    <a:pt x="351" y="113"/>
                  </a:cubicBezTo>
                  <a:cubicBezTo>
                    <a:pt x="352" y="113"/>
                    <a:pt x="352" y="113"/>
                    <a:pt x="352" y="113"/>
                  </a:cubicBezTo>
                  <a:close/>
                  <a:moveTo>
                    <a:pt x="334" y="130"/>
                  </a:moveTo>
                  <a:cubicBezTo>
                    <a:pt x="334" y="130"/>
                    <a:pt x="334" y="131"/>
                    <a:pt x="334" y="131"/>
                  </a:cubicBezTo>
                  <a:cubicBezTo>
                    <a:pt x="334" y="131"/>
                    <a:pt x="334" y="131"/>
                    <a:pt x="334" y="131"/>
                  </a:cubicBezTo>
                  <a:lnTo>
                    <a:pt x="334" y="130"/>
                  </a:lnTo>
                  <a:close/>
                  <a:moveTo>
                    <a:pt x="159" y="396"/>
                  </a:moveTo>
                  <a:cubicBezTo>
                    <a:pt x="159" y="396"/>
                    <a:pt x="159" y="396"/>
                    <a:pt x="159" y="396"/>
                  </a:cubicBezTo>
                  <a:cubicBezTo>
                    <a:pt x="159" y="396"/>
                    <a:pt x="159" y="396"/>
                    <a:pt x="159" y="396"/>
                  </a:cubicBezTo>
                  <a:close/>
                  <a:moveTo>
                    <a:pt x="196" y="795"/>
                  </a:moveTo>
                  <a:cubicBezTo>
                    <a:pt x="196" y="795"/>
                    <a:pt x="196" y="795"/>
                    <a:pt x="196" y="795"/>
                  </a:cubicBezTo>
                  <a:cubicBezTo>
                    <a:pt x="196" y="795"/>
                    <a:pt x="196" y="795"/>
                    <a:pt x="196" y="795"/>
                  </a:cubicBezTo>
                  <a:cubicBezTo>
                    <a:pt x="196" y="795"/>
                    <a:pt x="196" y="795"/>
                    <a:pt x="196" y="795"/>
                  </a:cubicBezTo>
                  <a:close/>
                  <a:moveTo>
                    <a:pt x="247" y="917"/>
                  </a:moveTo>
                  <a:cubicBezTo>
                    <a:pt x="247" y="917"/>
                    <a:pt x="247" y="917"/>
                    <a:pt x="247" y="917"/>
                  </a:cubicBezTo>
                  <a:cubicBezTo>
                    <a:pt x="247" y="917"/>
                    <a:pt x="247" y="917"/>
                    <a:pt x="247" y="917"/>
                  </a:cubicBezTo>
                  <a:close/>
                  <a:moveTo>
                    <a:pt x="532" y="540"/>
                  </a:moveTo>
                  <a:cubicBezTo>
                    <a:pt x="532" y="540"/>
                    <a:pt x="532" y="540"/>
                    <a:pt x="532" y="540"/>
                  </a:cubicBezTo>
                  <a:cubicBezTo>
                    <a:pt x="532" y="540"/>
                    <a:pt x="532" y="540"/>
                    <a:pt x="532" y="540"/>
                  </a:cubicBezTo>
                  <a:cubicBezTo>
                    <a:pt x="532" y="540"/>
                    <a:pt x="532" y="540"/>
                    <a:pt x="532" y="540"/>
                  </a:cubicBezTo>
                  <a:close/>
                  <a:moveTo>
                    <a:pt x="720" y="619"/>
                  </a:move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5585" y="1895"/>
              <a:ext cx="33" cy="94"/>
            </a:xfrm>
            <a:custGeom>
              <a:avLst/>
              <a:gdLst>
                <a:gd name="T0" fmla="*/ 0 w 14"/>
                <a:gd name="T1" fmla="*/ 23 h 40"/>
                <a:gd name="T2" fmla="*/ 0 w 14"/>
                <a:gd name="T3" fmla="*/ 24 h 40"/>
                <a:gd name="T4" fmla="*/ 0 w 14"/>
                <a:gd name="T5" fmla="*/ 25 h 40"/>
                <a:gd name="T6" fmla="*/ 0 w 14"/>
                <a:gd name="T7" fmla="*/ 27 h 40"/>
                <a:gd name="T8" fmla="*/ 2 w 14"/>
                <a:gd name="T9" fmla="*/ 27 h 40"/>
                <a:gd name="T10" fmla="*/ 2 w 14"/>
                <a:gd name="T11" fmla="*/ 27 h 40"/>
                <a:gd name="T12" fmla="*/ 1 w 14"/>
                <a:gd name="T13" fmla="*/ 27 h 40"/>
                <a:gd name="T14" fmla="*/ 1 w 14"/>
                <a:gd name="T15" fmla="*/ 28 h 40"/>
                <a:gd name="T16" fmla="*/ 2 w 14"/>
                <a:gd name="T17" fmla="*/ 31 h 40"/>
                <a:gd name="T18" fmla="*/ 4 w 14"/>
                <a:gd name="T19" fmla="*/ 33 h 40"/>
                <a:gd name="T20" fmla="*/ 7 w 14"/>
                <a:gd name="T21" fmla="*/ 34 h 40"/>
                <a:gd name="T22" fmla="*/ 7 w 14"/>
                <a:gd name="T23" fmla="*/ 36 h 40"/>
                <a:gd name="T24" fmla="*/ 7 w 14"/>
                <a:gd name="T25" fmla="*/ 36 h 40"/>
                <a:gd name="T26" fmla="*/ 7 w 14"/>
                <a:gd name="T27" fmla="*/ 37 h 40"/>
                <a:gd name="T28" fmla="*/ 8 w 14"/>
                <a:gd name="T29" fmla="*/ 40 h 40"/>
                <a:gd name="T30" fmla="*/ 10 w 14"/>
                <a:gd name="T31" fmla="*/ 40 h 40"/>
                <a:gd name="T32" fmla="*/ 12 w 14"/>
                <a:gd name="T33" fmla="*/ 38 h 40"/>
                <a:gd name="T34" fmla="*/ 12 w 14"/>
                <a:gd name="T35" fmla="*/ 35 h 40"/>
                <a:gd name="T36" fmla="*/ 12 w 14"/>
                <a:gd name="T37" fmla="*/ 34 h 40"/>
                <a:gd name="T38" fmla="*/ 12 w 14"/>
                <a:gd name="T39" fmla="*/ 32 h 40"/>
                <a:gd name="T40" fmla="*/ 12 w 14"/>
                <a:gd name="T41" fmla="*/ 31 h 40"/>
                <a:gd name="T42" fmla="*/ 12 w 14"/>
                <a:gd name="T43" fmla="*/ 30 h 40"/>
                <a:gd name="T44" fmla="*/ 12 w 14"/>
                <a:gd name="T45" fmla="*/ 29 h 40"/>
                <a:gd name="T46" fmla="*/ 13 w 14"/>
                <a:gd name="T47" fmla="*/ 25 h 40"/>
                <a:gd name="T48" fmla="*/ 13 w 14"/>
                <a:gd name="T49" fmla="*/ 24 h 40"/>
                <a:gd name="T50" fmla="*/ 13 w 14"/>
                <a:gd name="T51" fmla="*/ 22 h 40"/>
                <a:gd name="T52" fmla="*/ 13 w 14"/>
                <a:gd name="T53" fmla="*/ 22 h 40"/>
                <a:gd name="T54" fmla="*/ 13 w 14"/>
                <a:gd name="T55" fmla="*/ 19 h 40"/>
                <a:gd name="T56" fmla="*/ 14 w 14"/>
                <a:gd name="T57" fmla="*/ 18 h 40"/>
                <a:gd name="T58" fmla="*/ 14 w 14"/>
                <a:gd name="T59" fmla="*/ 15 h 40"/>
                <a:gd name="T60" fmla="*/ 14 w 14"/>
                <a:gd name="T61" fmla="*/ 13 h 40"/>
                <a:gd name="T62" fmla="*/ 14 w 14"/>
                <a:gd name="T63" fmla="*/ 12 h 40"/>
                <a:gd name="T64" fmla="*/ 14 w 14"/>
                <a:gd name="T65" fmla="*/ 9 h 40"/>
                <a:gd name="T66" fmla="*/ 13 w 14"/>
                <a:gd name="T67" fmla="*/ 7 h 40"/>
                <a:gd name="T68" fmla="*/ 14 w 14"/>
                <a:gd name="T69" fmla="*/ 5 h 40"/>
                <a:gd name="T70" fmla="*/ 14 w 14"/>
                <a:gd name="T71" fmla="*/ 4 h 40"/>
                <a:gd name="T72" fmla="*/ 12 w 14"/>
                <a:gd name="T73" fmla="*/ 3 h 40"/>
                <a:gd name="T74" fmla="*/ 12 w 14"/>
                <a:gd name="T75" fmla="*/ 3 h 40"/>
                <a:gd name="T76" fmla="*/ 11 w 14"/>
                <a:gd name="T77" fmla="*/ 2 h 40"/>
                <a:gd name="T78" fmla="*/ 10 w 14"/>
                <a:gd name="T79" fmla="*/ 2 h 40"/>
                <a:gd name="T80" fmla="*/ 8 w 14"/>
                <a:gd name="T81" fmla="*/ 0 h 40"/>
                <a:gd name="T82" fmla="*/ 7 w 14"/>
                <a:gd name="T83" fmla="*/ 1 h 40"/>
                <a:gd name="T84" fmla="*/ 6 w 14"/>
                <a:gd name="T85" fmla="*/ 2 h 40"/>
                <a:gd name="T86" fmla="*/ 5 w 14"/>
                <a:gd name="T87" fmla="*/ 3 h 40"/>
                <a:gd name="T88" fmla="*/ 5 w 14"/>
                <a:gd name="T89" fmla="*/ 3 h 40"/>
                <a:gd name="T90" fmla="*/ 3 w 14"/>
                <a:gd name="T91" fmla="*/ 5 h 40"/>
                <a:gd name="T92" fmla="*/ 3 w 14"/>
                <a:gd name="T93" fmla="*/ 6 h 40"/>
                <a:gd name="T94" fmla="*/ 3 w 14"/>
                <a:gd name="T95" fmla="*/ 7 h 40"/>
                <a:gd name="T96" fmla="*/ 1 w 14"/>
                <a:gd name="T97" fmla="*/ 11 h 40"/>
                <a:gd name="T98" fmla="*/ 1 w 14"/>
                <a:gd name="T99" fmla="*/ 14 h 40"/>
                <a:gd name="T100" fmla="*/ 2 w 14"/>
                <a:gd name="T101" fmla="*/ 14 h 40"/>
                <a:gd name="T102" fmla="*/ 2 w 14"/>
                <a:gd name="T103" fmla="*/ 14 h 40"/>
                <a:gd name="T104" fmla="*/ 1 w 14"/>
                <a:gd name="T105" fmla="*/ 15 h 40"/>
                <a:gd name="T106" fmla="*/ 1 w 14"/>
                <a:gd name="T107" fmla="*/ 16 h 40"/>
                <a:gd name="T108" fmla="*/ 0 w 14"/>
                <a:gd name="T109" fmla="*/ 21 h 40"/>
                <a:gd name="T110" fmla="*/ 0 w 14"/>
                <a:gd name="T111" fmla="*/ 22 h 40"/>
                <a:gd name="T112" fmla="*/ 0 w 14"/>
                <a:gd name="T11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" h="40">
                  <a:moveTo>
                    <a:pt x="0" y="23"/>
                  </a:move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9"/>
                    <a:pt x="1" y="30"/>
                    <a:pt x="2" y="31"/>
                  </a:cubicBezTo>
                  <a:cubicBezTo>
                    <a:pt x="3" y="31"/>
                    <a:pt x="4" y="32"/>
                    <a:pt x="4" y="33"/>
                  </a:cubicBezTo>
                  <a:cubicBezTo>
                    <a:pt x="5" y="33"/>
                    <a:pt x="6" y="34"/>
                    <a:pt x="7" y="34"/>
                  </a:cubicBezTo>
                  <a:cubicBezTo>
                    <a:pt x="7" y="35"/>
                    <a:pt x="7" y="35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7"/>
                    <a:pt x="7" y="37"/>
                  </a:cubicBezTo>
                  <a:cubicBezTo>
                    <a:pt x="7" y="38"/>
                    <a:pt x="7" y="39"/>
                    <a:pt x="8" y="40"/>
                  </a:cubicBezTo>
                  <a:cubicBezTo>
                    <a:pt x="9" y="40"/>
                    <a:pt x="9" y="40"/>
                    <a:pt x="10" y="40"/>
                  </a:cubicBezTo>
                  <a:cubicBezTo>
                    <a:pt x="11" y="40"/>
                    <a:pt x="12" y="40"/>
                    <a:pt x="12" y="38"/>
                  </a:cubicBezTo>
                  <a:cubicBezTo>
                    <a:pt x="12" y="37"/>
                    <a:pt x="12" y="36"/>
                    <a:pt x="12" y="35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3"/>
                    <a:pt x="12" y="33"/>
                    <a:pt x="12" y="32"/>
                  </a:cubicBezTo>
                  <a:cubicBezTo>
                    <a:pt x="12" y="32"/>
                    <a:pt x="12" y="31"/>
                    <a:pt x="12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3" y="28"/>
                    <a:pt x="13" y="27"/>
                    <a:pt x="13" y="25"/>
                  </a:cubicBezTo>
                  <a:cubicBezTo>
                    <a:pt x="13" y="25"/>
                    <a:pt x="13" y="24"/>
                    <a:pt x="13" y="24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1"/>
                    <a:pt x="13" y="20"/>
                    <a:pt x="13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4" y="14"/>
                    <a:pt x="14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0"/>
                    <a:pt x="14" y="9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4" y="5"/>
                    <a:pt x="14" y="4"/>
                    <a:pt x="14" y="4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8" y="0"/>
                    <a:pt x="7" y="1"/>
                    <a:pt x="7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4"/>
                    <a:pt x="4" y="4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2" y="8"/>
                    <a:pt x="1" y="9"/>
                    <a:pt x="1" y="11"/>
                  </a:cubicBezTo>
                  <a:cubicBezTo>
                    <a:pt x="1" y="12"/>
                    <a:pt x="1" y="13"/>
                    <a:pt x="1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0" y="18"/>
                    <a:pt x="0" y="19"/>
                    <a:pt x="0" y="21"/>
                  </a:cubicBezTo>
                  <a:cubicBezTo>
                    <a:pt x="0" y="21"/>
                    <a:pt x="0" y="21"/>
                    <a:pt x="0" y="22"/>
                  </a:cubicBezTo>
                  <a:cubicBezTo>
                    <a:pt x="0" y="22"/>
                    <a:pt x="0" y="22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3416" y="1206"/>
              <a:ext cx="14" cy="14"/>
            </a:xfrm>
            <a:custGeom>
              <a:avLst/>
              <a:gdLst>
                <a:gd name="T0" fmla="*/ 6 w 6"/>
                <a:gd name="T1" fmla="*/ 3 h 6"/>
                <a:gd name="T2" fmla="*/ 6 w 6"/>
                <a:gd name="T3" fmla="*/ 3 h 6"/>
                <a:gd name="T4" fmla="*/ 5 w 6"/>
                <a:gd name="T5" fmla="*/ 1 h 6"/>
                <a:gd name="T6" fmla="*/ 3 w 6"/>
                <a:gd name="T7" fmla="*/ 1 h 6"/>
                <a:gd name="T8" fmla="*/ 2 w 6"/>
                <a:gd name="T9" fmla="*/ 2 h 6"/>
                <a:gd name="T10" fmla="*/ 0 w 6"/>
                <a:gd name="T11" fmla="*/ 5 h 6"/>
                <a:gd name="T12" fmla="*/ 2 w 6"/>
                <a:gd name="T13" fmla="*/ 6 h 6"/>
                <a:gd name="T14" fmla="*/ 3 w 6"/>
                <a:gd name="T15" fmla="*/ 6 h 6"/>
                <a:gd name="T16" fmla="*/ 5 w 6"/>
                <a:gd name="T17" fmla="*/ 6 h 6"/>
                <a:gd name="T18" fmla="*/ 4 w 6"/>
                <a:gd name="T19" fmla="*/ 5 h 6"/>
                <a:gd name="T20" fmla="*/ 6 w 6"/>
                <a:gd name="T2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6"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5"/>
                    <a:pt x="1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6" y="4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" name="Freeform 16"/>
            <p:cNvSpPr>
              <a:spLocks noEditPoints="1"/>
            </p:cNvSpPr>
            <p:nvPr/>
          </p:nvSpPr>
          <p:spPr bwMode="auto">
            <a:xfrm>
              <a:off x="3250" y="865"/>
              <a:ext cx="152" cy="97"/>
            </a:xfrm>
            <a:custGeom>
              <a:avLst/>
              <a:gdLst>
                <a:gd name="T0" fmla="*/ 5 w 64"/>
                <a:gd name="T1" fmla="*/ 29 h 41"/>
                <a:gd name="T2" fmla="*/ 4 w 64"/>
                <a:gd name="T3" fmla="*/ 34 h 41"/>
                <a:gd name="T4" fmla="*/ 11 w 64"/>
                <a:gd name="T5" fmla="*/ 34 h 41"/>
                <a:gd name="T6" fmla="*/ 14 w 64"/>
                <a:gd name="T7" fmla="*/ 34 h 41"/>
                <a:gd name="T8" fmla="*/ 19 w 64"/>
                <a:gd name="T9" fmla="*/ 38 h 41"/>
                <a:gd name="T10" fmla="*/ 24 w 64"/>
                <a:gd name="T11" fmla="*/ 41 h 41"/>
                <a:gd name="T12" fmla="*/ 33 w 64"/>
                <a:gd name="T13" fmla="*/ 37 h 41"/>
                <a:gd name="T14" fmla="*/ 37 w 64"/>
                <a:gd name="T15" fmla="*/ 37 h 41"/>
                <a:gd name="T16" fmla="*/ 47 w 64"/>
                <a:gd name="T17" fmla="*/ 31 h 41"/>
                <a:gd name="T18" fmla="*/ 53 w 64"/>
                <a:gd name="T19" fmla="*/ 30 h 41"/>
                <a:gd name="T20" fmla="*/ 55 w 64"/>
                <a:gd name="T21" fmla="*/ 30 h 41"/>
                <a:gd name="T22" fmla="*/ 56 w 64"/>
                <a:gd name="T23" fmla="*/ 27 h 41"/>
                <a:gd name="T24" fmla="*/ 60 w 64"/>
                <a:gd name="T25" fmla="*/ 25 h 41"/>
                <a:gd name="T26" fmla="*/ 62 w 64"/>
                <a:gd name="T27" fmla="*/ 21 h 41"/>
                <a:gd name="T28" fmla="*/ 62 w 64"/>
                <a:gd name="T29" fmla="*/ 15 h 41"/>
                <a:gd name="T30" fmla="*/ 61 w 64"/>
                <a:gd name="T31" fmla="*/ 13 h 41"/>
                <a:gd name="T32" fmla="*/ 61 w 64"/>
                <a:gd name="T33" fmla="*/ 10 h 41"/>
                <a:gd name="T34" fmla="*/ 62 w 64"/>
                <a:gd name="T35" fmla="*/ 6 h 41"/>
                <a:gd name="T36" fmla="*/ 57 w 64"/>
                <a:gd name="T37" fmla="*/ 7 h 41"/>
                <a:gd name="T38" fmla="*/ 54 w 64"/>
                <a:gd name="T39" fmla="*/ 2 h 41"/>
                <a:gd name="T40" fmla="*/ 50 w 64"/>
                <a:gd name="T41" fmla="*/ 7 h 41"/>
                <a:gd name="T42" fmla="*/ 47 w 64"/>
                <a:gd name="T43" fmla="*/ 7 h 41"/>
                <a:gd name="T44" fmla="*/ 44 w 64"/>
                <a:gd name="T45" fmla="*/ 7 h 41"/>
                <a:gd name="T46" fmla="*/ 37 w 64"/>
                <a:gd name="T47" fmla="*/ 6 h 41"/>
                <a:gd name="T48" fmla="*/ 32 w 64"/>
                <a:gd name="T49" fmla="*/ 7 h 41"/>
                <a:gd name="T50" fmla="*/ 28 w 64"/>
                <a:gd name="T51" fmla="*/ 6 h 41"/>
                <a:gd name="T52" fmla="*/ 25 w 64"/>
                <a:gd name="T53" fmla="*/ 10 h 41"/>
                <a:gd name="T54" fmla="*/ 24 w 64"/>
                <a:gd name="T55" fmla="*/ 9 h 41"/>
                <a:gd name="T56" fmla="*/ 23 w 64"/>
                <a:gd name="T57" fmla="*/ 5 h 41"/>
                <a:gd name="T58" fmla="*/ 17 w 64"/>
                <a:gd name="T59" fmla="*/ 0 h 41"/>
                <a:gd name="T60" fmla="*/ 11 w 64"/>
                <a:gd name="T61" fmla="*/ 4 h 41"/>
                <a:gd name="T62" fmla="*/ 10 w 64"/>
                <a:gd name="T63" fmla="*/ 4 h 41"/>
                <a:gd name="T64" fmla="*/ 8 w 64"/>
                <a:gd name="T65" fmla="*/ 8 h 41"/>
                <a:gd name="T66" fmla="*/ 5 w 64"/>
                <a:gd name="T67" fmla="*/ 10 h 41"/>
                <a:gd name="T68" fmla="*/ 6 w 64"/>
                <a:gd name="T69" fmla="*/ 15 h 41"/>
                <a:gd name="T70" fmla="*/ 11 w 64"/>
                <a:gd name="T71" fmla="*/ 14 h 41"/>
                <a:gd name="T72" fmla="*/ 13 w 64"/>
                <a:gd name="T73" fmla="*/ 14 h 41"/>
                <a:gd name="T74" fmla="*/ 12 w 64"/>
                <a:gd name="T75" fmla="*/ 17 h 41"/>
                <a:gd name="T76" fmla="*/ 9 w 64"/>
                <a:gd name="T77" fmla="*/ 17 h 41"/>
                <a:gd name="T78" fmla="*/ 5 w 64"/>
                <a:gd name="T79" fmla="*/ 18 h 41"/>
                <a:gd name="T80" fmla="*/ 0 w 64"/>
                <a:gd name="T81" fmla="*/ 17 h 41"/>
                <a:gd name="T82" fmla="*/ 1 w 64"/>
                <a:gd name="T83" fmla="*/ 21 h 41"/>
                <a:gd name="T84" fmla="*/ 4 w 64"/>
                <a:gd name="T85" fmla="*/ 22 h 41"/>
                <a:gd name="T86" fmla="*/ 9 w 64"/>
                <a:gd name="T87" fmla="*/ 23 h 41"/>
                <a:gd name="T88" fmla="*/ 10 w 64"/>
                <a:gd name="T89" fmla="*/ 26 h 41"/>
                <a:gd name="T90" fmla="*/ 8 w 64"/>
                <a:gd name="T91" fmla="*/ 28 h 41"/>
                <a:gd name="T92" fmla="*/ 21 w 64"/>
                <a:gd name="T93" fmla="*/ 13 h 41"/>
                <a:gd name="T94" fmla="*/ 22 w 64"/>
                <a:gd name="T95" fmla="*/ 13 h 41"/>
                <a:gd name="T96" fmla="*/ 15 w 64"/>
                <a:gd name="T97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41">
                  <a:moveTo>
                    <a:pt x="8" y="28"/>
                  </a:moveTo>
                  <a:cubicBezTo>
                    <a:pt x="8" y="28"/>
                    <a:pt x="7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4" y="29"/>
                    <a:pt x="3" y="29"/>
                    <a:pt x="2" y="30"/>
                  </a:cubicBezTo>
                  <a:cubicBezTo>
                    <a:pt x="2" y="31"/>
                    <a:pt x="2" y="31"/>
                    <a:pt x="2" y="32"/>
                  </a:cubicBezTo>
                  <a:cubicBezTo>
                    <a:pt x="2" y="33"/>
                    <a:pt x="3" y="34"/>
                    <a:pt x="4" y="34"/>
                  </a:cubicBezTo>
                  <a:cubicBezTo>
                    <a:pt x="5" y="34"/>
                    <a:pt x="7" y="33"/>
                    <a:pt x="9" y="33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0" y="33"/>
                    <a:pt x="11" y="34"/>
                    <a:pt x="11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3" y="34"/>
                    <a:pt x="13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5"/>
                    <a:pt x="15" y="36"/>
                    <a:pt x="16" y="37"/>
                  </a:cubicBezTo>
                  <a:cubicBezTo>
                    <a:pt x="17" y="38"/>
                    <a:pt x="18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9"/>
                    <a:pt x="20" y="39"/>
                    <a:pt x="20" y="39"/>
                  </a:cubicBezTo>
                  <a:cubicBezTo>
                    <a:pt x="21" y="40"/>
                    <a:pt x="22" y="40"/>
                    <a:pt x="23" y="41"/>
                  </a:cubicBezTo>
                  <a:cubicBezTo>
                    <a:pt x="23" y="41"/>
                    <a:pt x="24" y="41"/>
                    <a:pt x="24" y="41"/>
                  </a:cubicBezTo>
                  <a:cubicBezTo>
                    <a:pt x="25" y="41"/>
                    <a:pt x="26" y="41"/>
                    <a:pt x="27" y="40"/>
                  </a:cubicBezTo>
                  <a:cubicBezTo>
                    <a:pt x="27" y="40"/>
                    <a:pt x="28" y="39"/>
                    <a:pt x="29" y="39"/>
                  </a:cubicBezTo>
                  <a:cubicBezTo>
                    <a:pt x="30" y="39"/>
                    <a:pt x="31" y="39"/>
                    <a:pt x="33" y="37"/>
                  </a:cubicBezTo>
                  <a:cubicBezTo>
                    <a:pt x="33" y="37"/>
                    <a:pt x="33" y="37"/>
                    <a:pt x="34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7" y="37"/>
                    <a:pt x="37" y="37"/>
                  </a:cubicBezTo>
                  <a:cubicBezTo>
                    <a:pt x="37" y="36"/>
                    <a:pt x="37" y="36"/>
                    <a:pt x="38" y="36"/>
                  </a:cubicBezTo>
                  <a:cubicBezTo>
                    <a:pt x="39" y="36"/>
                    <a:pt x="41" y="35"/>
                    <a:pt x="46" y="32"/>
                  </a:cubicBezTo>
                  <a:cubicBezTo>
                    <a:pt x="46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8" y="34"/>
                    <a:pt x="51" y="33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5" y="30"/>
                    <a:pt x="55" y="30"/>
                  </a:cubicBezTo>
                  <a:cubicBezTo>
                    <a:pt x="56" y="29"/>
                    <a:pt x="56" y="28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8" y="27"/>
                    <a:pt x="58" y="27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4"/>
                    <a:pt x="61" y="24"/>
                    <a:pt x="62" y="24"/>
                  </a:cubicBezTo>
                  <a:cubicBezTo>
                    <a:pt x="62" y="23"/>
                    <a:pt x="63" y="22"/>
                    <a:pt x="63" y="22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19"/>
                    <a:pt x="63" y="19"/>
                    <a:pt x="64" y="18"/>
                  </a:cubicBezTo>
                  <a:cubicBezTo>
                    <a:pt x="64" y="17"/>
                    <a:pt x="63" y="16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4"/>
                    <a:pt x="61" y="14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2"/>
                    <a:pt x="62" y="11"/>
                    <a:pt x="61" y="11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2" y="9"/>
                    <a:pt x="62" y="9"/>
                  </a:cubicBezTo>
                  <a:cubicBezTo>
                    <a:pt x="63" y="9"/>
                    <a:pt x="64" y="8"/>
                    <a:pt x="64" y="7"/>
                  </a:cubicBezTo>
                  <a:cubicBezTo>
                    <a:pt x="63" y="7"/>
                    <a:pt x="63" y="6"/>
                    <a:pt x="62" y="6"/>
                  </a:cubicBezTo>
                  <a:cubicBezTo>
                    <a:pt x="61" y="6"/>
                    <a:pt x="60" y="6"/>
                    <a:pt x="60" y="6"/>
                  </a:cubicBezTo>
                  <a:cubicBezTo>
                    <a:pt x="60" y="6"/>
                    <a:pt x="60" y="6"/>
                    <a:pt x="59" y="6"/>
                  </a:cubicBezTo>
                  <a:cubicBezTo>
                    <a:pt x="58" y="6"/>
                    <a:pt x="58" y="7"/>
                    <a:pt x="57" y="7"/>
                  </a:cubicBezTo>
                  <a:cubicBezTo>
                    <a:pt x="57" y="6"/>
                    <a:pt x="57" y="5"/>
                    <a:pt x="57" y="5"/>
                  </a:cubicBezTo>
                  <a:cubicBezTo>
                    <a:pt x="57" y="4"/>
                    <a:pt x="57" y="3"/>
                    <a:pt x="57" y="3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4" y="2"/>
                    <a:pt x="53" y="2"/>
                    <a:pt x="52" y="3"/>
                  </a:cubicBezTo>
                  <a:cubicBezTo>
                    <a:pt x="51" y="4"/>
                    <a:pt x="50" y="6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9" y="7"/>
                    <a:pt x="49" y="7"/>
                    <a:pt x="48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7"/>
                    <a:pt x="47" y="7"/>
                  </a:cubicBezTo>
                  <a:cubicBezTo>
                    <a:pt x="46" y="7"/>
                    <a:pt x="46" y="7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8"/>
                    <a:pt x="44" y="8"/>
                    <a:pt x="44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41" y="6"/>
                    <a:pt x="40" y="6"/>
                    <a:pt x="40" y="7"/>
                  </a:cubicBezTo>
                  <a:cubicBezTo>
                    <a:pt x="39" y="6"/>
                    <a:pt x="38" y="6"/>
                    <a:pt x="37" y="6"/>
                  </a:cubicBezTo>
                  <a:cubicBezTo>
                    <a:pt x="36" y="6"/>
                    <a:pt x="35" y="6"/>
                    <a:pt x="34" y="6"/>
                  </a:cubicBezTo>
                  <a:cubicBezTo>
                    <a:pt x="33" y="6"/>
                    <a:pt x="33" y="7"/>
                    <a:pt x="33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6"/>
                    <a:pt x="31" y="6"/>
                    <a:pt x="30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6"/>
                    <a:pt x="28" y="6"/>
                  </a:cubicBezTo>
                  <a:cubicBezTo>
                    <a:pt x="27" y="7"/>
                    <a:pt x="27" y="8"/>
                    <a:pt x="27" y="9"/>
                  </a:cubicBezTo>
                  <a:cubicBezTo>
                    <a:pt x="27" y="9"/>
                    <a:pt x="27" y="10"/>
                    <a:pt x="26" y="10"/>
                  </a:cubicBezTo>
                  <a:cubicBezTo>
                    <a:pt x="26" y="10"/>
                    <a:pt x="25" y="10"/>
                    <a:pt x="25" y="10"/>
                  </a:cubicBezTo>
                  <a:cubicBezTo>
                    <a:pt x="24" y="10"/>
                    <a:pt x="24" y="10"/>
                    <a:pt x="23" y="11"/>
                  </a:cubicBezTo>
                  <a:cubicBezTo>
                    <a:pt x="23" y="11"/>
                    <a:pt x="23" y="10"/>
                    <a:pt x="23" y="10"/>
                  </a:cubicBezTo>
                  <a:cubicBezTo>
                    <a:pt x="23" y="9"/>
                    <a:pt x="24" y="9"/>
                    <a:pt x="24" y="9"/>
                  </a:cubicBezTo>
                  <a:cubicBezTo>
                    <a:pt x="24" y="8"/>
                    <a:pt x="24" y="6"/>
                    <a:pt x="23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3"/>
                    <a:pt x="21" y="3"/>
                  </a:cubicBezTo>
                  <a:cubicBezTo>
                    <a:pt x="21" y="3"/>
                    <a:pt x="21" y="2"/>
                    <a:pt x="20" y="2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6" y="0"/>
                    <a:pt x="14" y="1"/>
                    <a:pt x="14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3"/>
                    <a:pt x="11" y="3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9" y="4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cubicBezTo>
                    <a:pt x="8" y="6"/>
                    <a:pt x="8" y="7"/>
                    <a:pt x="8" y="8"/>
                  </a:cubicBezTo>
                  <a:cubicBezTo>
                    <a:pt x="7" y="8"/>
                    <a:pt x="6" y="9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9"/>
                    <a:pt x="2" y="10"/>
                    <a:pt x="2" y="11"/>
                  </a:cubicBezTo>
                  <a:cubicBezTo>
                    <a:pt x="1" y="13"/>
                    <a:pt x="4" y="15"/>
                    <a:pt x="4" y="15"/>
                  </a:cubicBezTo>
                  <a:cubicBezTo>
                    <a:pt x="5" y="15"/>
                    <a:pt x="5" y="15"/>
                    <a:pt x="6" y="15"/>
                  </a:cubicBezTo>
                  <a:cubicBezTo>
                    <a:pt x="7" y="15"/>
                    <a:pt x="7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4"/>
                    <a:pt x="11" y="14"/>
                  </a:cubicBezTo>
                  <a:cubicBezTo>
                    <a:pt x="11" y="14"/>
                    <a:pt x="11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5"/>
                    <a:pt x="12" y="16"/>
                  </a:cubicBezTo>
                  <a:cubicBezTo>
                    <a:pt x="12" y="16"/>
                    <a:pt x="12" y="17"/>
                    <a:pt x="12" y="17"/>
                  </a:cubicBezTo>
                  <a:cubicBezTo>
                    <a:pt x="12" y="17"/>
                    <a:pt x="12" y="17"/>
                    <a:pt x="11" y="17"/>
                  </a:cubicBezTo>
                  <a:cubicBezTo>
                    <a:pt x="11" y="17"/>
                    <a:pt x="11" y="17"/>
                    <a:pt x="10" y="17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9" y="17"/>
                    <a:pt x="8" y="17"/>
                    <a:pt x="8" y="17"/>
                  </a:cubicBezTo>
                  <a:cubicBezTo>
                    <a:pt x="8" y="17"/>
                    <a:pt x="8" y="17"/>
                    <a:pt x="7" y="17"/>
                  </a:cubicBezTo>
                  <a:cubicBezTo>
                    <a:pt x="7" y="17"/>
                    <a:pt x="6" y="17"/>
                    <a:pt x="5" y="18"/>
                  </a:cubicBezTo>
                  <a:cubicBezTo>
                    <a:pt x="5" y="18"/>
                    <a:pt x="4" y="17"/>
                    <a:pt x="4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6"/>
                    <a:pt x="1" y="16"/>
                    <a:pt x="0" y="17"/>
                  </a:cubicBezTo>
                  <a:cubicBezTo>
                    <a:pt x="0" y="18"/>
                    <a:pt x="0" y="19"/>
                    <a:pt x="0" y="19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" y="22"/>
                    <a:pt x="2" y="22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4" y="22"/>
                    <a:pt x="4" y="22"/>
                  </a:cubicBezTo>
                  <a:cubicBezTo>
                    <a:pt x="5" y="22"/>
                    <a:pt x="5" y="22"/>
                    <a:pt x="7" y="22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2"/>
                    <a:pt x="9" y="22"/>
                    <a:pt x="9" y="23"/>
                  </a:cubicBezTo>
                  <a:cubicBezTo>
                    <a:pt x="9" y="23"/>
                    <a:pt x="9" y="24"/>
                    <a:pt x="9" y="25"/>
                  </a:cubicBezTo>
                  <a:cubicBezTo>
                    <a:pt x="9" y="25"/>
                    <a:pt x="9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7"/>
                    <a:pt x="10" y="27"/>
                  </a:cubicBezTo>
                  <a:cubicBezTo>
                    <a:pt x="10" y="27"/>
                    <a:pt x="9" y="27"/>
                    <a:pt x="9" y="28"/>
                  </a:cubicBezTo>
                  <a:cubicBezTo>
                    <a:pt x="9" y="28"/>
                    <a:pt x="9" y="28"/>
                    <a:pt x="8" y="28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3"/>
                    <a:pt x="22" y="12"/>
                    <a:pt x="22" y="12"/>
                  </a:cubicBezTo>
                  <a:cubicBezTo>
                    <a:pt x="22" y="13"/>
                    <a:pt x="22" y="13"/>
                    <a:pt x="22" y="13"/>
                  </a:cubicBezTo>
                  <a:close/>
                  <a:moveTo>
                    <a:pt x="15" y="5"/>
                  </a:moveTo>
                  <a:cubicBezTo>
                    <a:pt x="15" y="5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5"/>
                    <a:pt x="14" y="5"/>
                  </a:cubicBezTo>
                  <a:cubicBezTo>
                    <a:pt x="14" y="5"/>
                    <a:pt x="15" y="5"/>
                    <a:pt x="1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8" name="Freeform 17"/>
            <p:cNvSpPr>
              <a:spLocks noEditPoints="1"/>
            </p:cNvSpPr>
            <p:nvPr/>
          </p:nvSpPr>
          <p:spPr bwMode="auto">
            <a:xfrm>
              <a:off x="5686" y="1336"/>
              <a:ext cx="201" cy="417"/>
            </a:xfrm>
            <a:custGeom>
              <a:avLst/>
              <a:gdLst>
                <a:gd name="T0" fmla="*/ 1 w 85"/>
                <a:gd name="T1" fmla="*/ 147 h 176"/>
                <a:gd name="T2" fmla="*/ 5 w 85"/>
                <a:gd name="T3" fmla="*/ 158 h 176"/>
                <a:gd name="T4" fmla="*/ 13 w 85"/>
                <a:gd name="T5" fmla="*/ 161 h 176"/>
                <a:gd name="T6" fmla="*/ 12 w 85"/>
                <a:gd name="T7" fmla="*/ 169 h 176"/>
                <a:gd name="T8" fmla="*/ 19 w 85"/>
                <a:gd name="T9" fmla="*/ 176 h 176"/>
                <a:gd name="T10" fmla="*/ 24 w 85"/>
                <a:gd name="T11" fmla="*/ 163 h 176"/>
                <a:gd name="T12" fmla="*/ 24 w 85"/>
                <a:gd name="T13" fmla="*/ 155 h 176"/>
                <a:gd name="T14" fmla="*/ 26 w 85"/>
                <a:gd name="T15" fmla="*/ 154 h 176"/>
                <a:gd name="T16" fmla="*/ 31 w 85"/>
                <a:gd name="T17" fmla="*/ 150 h 176"/>
                <a:gd name="T18" fmla="*/ 35 w 85"/>
                <a:gd name="T19" fmla="*/ 147 h 176"/>
                <a:gd name="T20" fmla="*/ 40 w 85"/>
                <a:gd name="T21" fmla="*/ 145 h 176"/>
                <a:gd name="T22" fmla="*/ 45 w 85"/>
                <a:gd name="T23" fmla="*/ 145 h 176"/>
                <a:gd name="T24" fmla="*/ 51 w 85"/>
                <a:gd name="T25" fmla="*/ 141 h 176"/>
                <a:gd name="T26" fmla="*/ 53 w 85"/>
                <a:gd name="T27" fmla="*/ 132 h 176"/>
                <a:gd name="T28" fmla="*/ 61 w 85"/>
                <a:gd name="T29" fmla="*/ 132 h 176"/>
                <a:gd name="T30" fmla="*/ 65 w 85"/>
                <a:gd name="T31" fmla="*/ 129 h 176"/>
                <a:gd name="T32" fmla="*/ 70 w 85"/>
                <a:gd name="T33" fmla="*/ 129 h 176"/>
                <a:gd name="T34" fmla="*/ 77 w 85"/>
                <a:gd name="T35" fmla="*/ 120 h 176"/>
                <a:gd name="T36" fmla="*/ 73 w 85"/>
                <a:gd name="T37" fmla="*/ 104 h 176"/>
                <a:gd name="T38" fmla="*/ 71 w 85"/>
                <a:gd name="T39" fmla="*/ 88 h 176"/>
                <a:gd name="T40" fmla="*/ 70 w 85"/>
                <a:gd name="T41" fmla="*/ 77 h 176"/>
                <a:gd name="T42" fmla="*/ 58 w 85"/>
                <a:gd name="T43" fmla="*/ 58 h 176"/>
                <a:gd name="T44" fmla="*/ 52 w 85"/>
                <a:gd name="T45" fmla="*/ 48 h 176"/>
                <a:gd name="T46" fmla="*/ 57 w 85"/>
                <a:gd name="T47" fmla="*/ 45 h 176"/>
                <a:gd name="T48" fmla="*/ 65 w 85"/>
                <a:gd name="T49" fmla="*/ 43 h 176"/>
                <a:gd name="T50" fmla="*/ 68 w 85"/>
                <a:gd name="T51" fmla="*/ 36 h 176"/>
                <a:gd name="T52" fmla="*/ 70 w 85"/>
                <a:gd name="T53" fmla="*/ 26 h 176"/>
                <a:gd name="T54" fmla="*/ 73 w 85"/>
                <a:gd name="T55" fmla="*/ 18 h 176"/>
                <a:gd name="T56" fmla="*/ 85 w 85"/>
                <a:gd name="T57" fmla="*/ 15 h 176"/>
                <a:gd name="T58" fmla="*/ 83 w 85"/>
                <a:gd name="T59" fmla="*/ 0 h 176"/>
                <a:gd name="T60" fmla="*/ 75 w 85"/>
                <a:gd name="T61" fmla="*/ 5 h 176"/>
                <a:gd name="T62" fmla="*/ 74 w 85"/>
                <a:gd name="T63" fmla="*/ 12 h 176"/>
                <a:gd name="T64" fmla="*/ 64 w 85"/>
                <a:gd name="T65" fmla="*/ 18 h 176"/>
                <a:gd name="T66" fmla="*/ 61 w 85"/>
                <a:gd name="T67" fmla="*/ 19 h 176"/>
                <a:gd name="T68" fmla="*/ 39 w 85"/>
                <a:gd name="T69" fmla="*/ 9 h 176"/>
                <a:gd name="T70" fmla="*/ 39 w 85"/>
                <a:gd name="T71" fmla="*/ 23 h 176"/>
                <a:gd name="T72" fmla="*/ 37 w 85"/>
                <a:gd name="T73" fmla="*/ 31 h 176"/>
                <a:gd name="T74" fmla="*/ 36 w 85"/>
                <a:gd name="T75" fmla="*/ 43 h 176"/>
                <a:gd name="T76" fmla="*/ 45 w 85"/>
                <a:gd name="T77" fmla="*/ 55 h 176"/>
                <a:gd name="T78" fmla="*/ 49 w 85"/>
                <a:gd name="T79" fmla="*/ 54 h 176"/>
                <a:gd name="T80" fmla="*/ 48 w 85"/>
                <a:gd name="T81" fmla="*/ 65 h 176"/>
                <a:gd name="T82" fmla="*/ 53 w 85"/>
                <a:gd name="T83" fmla="*/ 80 h 176"/>
                <a:gd name="T84" fmla="*/ 51 w 85"/>
                <a:gd name="T85" fmla="*/ 100 h 176"/>
                <a:gd name="T86" fmla="*/ 42 w 85"/>
                <a:gd name="T87" fmla="*/ 98 h 176"/>
                <a:gd name="T88" fmla="*/ 39 w 85"/>
                <a:gd name="T89" fmla="*/ 112 h 176"/>
                <a:gd name="T90" fmla="*/ 33 w 85"/>
                <a:gd name="T91" fmla="*/ 119 h 176"/>
                <a:gd name="T92" fmla="*/ 23 w 85"/>
                <a:gd name="T93" fmla="*/ 121 h 176"/>
                <a:gd name="T94" fmla="*/ 13 w 85"/>
                <a:gd name="T95" fmla="*/ 131 h 176"/>
                <a:gd name="T96" fmla="*/ 7 w 85"/>
                <a:gd name="T97" fmla="*/ 141 h 176"/>
                <a:gd name="T98" fmla="*/ 36 w 85"/>
                <a:gd name="T99" fmla="*/ 136 h 176"/>
                <a:gd name="T100" fmla="*/ 23 w 85"/>
                <a:gd name="T101" fmla="*/ 139 h 176"/>
                <a:gd name="T102" fmla="*/ 21 w 85"/>
                <a:gd name="T103" fmla="*/ 145 h 176"/>
                <a:gd name="T104" fmla="*/ 19 w 85"/>
                <a:gd name="T105" fmla="*/ 143 h 176"/>
                <a:gd name="T106" fmla="*/ 14 w 85"/>
                <a:gd name="T107" fmla="*/ 143 h 176"/>
                <a:gd name="T108" fmla="*/ 19 w 85"/>
                <a:gd name="T109" fmla="*/ 148 h 176"/>
                <a:gd name="T110" fmla="*/ 27 w 85"/>
                <a:gd name="T111" fmla="*/ 137 h 176"/>
                <a:gd name="T112" fmla="*/ 25 w 85"/>
                <a:gd name="T113" fmla="*/ 136 h 176"/>
                <a:gd name="T114" fmla="*/ 52 w 85"/>
                <a:gd name="T115" fmla="*/ 57 h 176"/>
                <a:gd name="T116" fmla="*/ 38 w 85"/>
                <a:gd name="T117" fmla="*/ 138 h 176"/>
                <a:gd name="T118" fmla="*/ 33 w 85"/>
                <a:gd name="T119" fmla="*/ 134 h 176"/>
                <a:gd name="T120" fmla="*/ 40 w 85"/>
                <a:gd name="T121" fmla="*/ 132 h 176"/>
                <a:gd name="T122" fmla="*/ 68 w 85"/>
                <a:gd name="T123" fmla="*/ 21 h 176"/>
                <a:gd name="T124" fmla="*/ 28 w 85"/>
                <a:gd name="T125" fmla="*/ 12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176">
                  <a:moveTo>
                    <a:pt x="6" y="142"/>
                  </a:moveTo>
                  <a:cubicBezTo>
                    <a:pt x="6" y="142"/>
                    <a:pt x="6" y="142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5" y="143"/>
                    <a:pt x="5" y="143"/>
                    <a:pt x="4" y="144"/>
                  </a:cubicBezTo>
                  <a:cubicBezTo>
                    <a:pt x="4" y="144"/>
                    <a:pt x="4" y="145"/>
                    <a:pt x="4" y="145"/>
                  </a:cubicBezTo>
                  <a:cubicBezTo>
                    <a:pt x="3" y="145"/>
                    <a:pt x="3" y="145"/>
                    <a:pt x="2" y="147"/>
                  </a:cubicBezTo>
                  <a:cubicBezTo>
                    <a:pt x="2" y="147"/>
                    <a:pt x="1" y="147"/>
                    <a:pt x="1" y="147"/>
                  </a:cubicBezTo>
                  <a:cubicBezTo>
                    <a:pt x="1" y="148"/>
                    <a:pt x="0" y="149"/>
                    <a:pt x="1" y="150"/>
                  </a:cubicBezTo>
                  <a:cubicBezTo>
                    <a:pt x="2" y="150"/>
                    <a:pt x="2" y="151"/>
                    <a:pt x="2" y="151"/>
                  </a:cubicBezTo>
                  <a:cubicBezTo>
                    <a:pt x="2" y="151"/>
                    <a:pt x="2" y="152"/>
                    <a:pt x="2" y="153"/>
                  </a:cubicBezTo>
                  <a:cubicBezTo>
                    <a:pt x="2" y="154"/>
                    <a:pt x="3" y="155"/>
                    <a:pt x="3" y="155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4" y="158"/>
                    <a:pt x="4" y="158"/>
                    <a:pt x="5" y="158"/>
                  </a:cubicBezTo>
                  <a:cubicBezTo>
                    <a:pt x="5" y="160"/>
                    <a:pt x="8" y="160"/>
                    <a:pt x="9" y="158"/>
                  </a:cubicBezTo>
                  <a:cubicBezTo>
                    <a:pt x="9" y="159"/>
                    <a:pt x="9" y="159"/>
                    <a:pt x="10" y="159"/>
                  </a:cubicBezTo>
                  <a:cubicBezTo>
                    <a:pt x="10" y="159"/>
                    <a:pt x="11" y="158"/>
                    <a:pt x="11" y="158"/>
                  </a:cubicBezTo>
                  <a:cubicBezTo>
                    <a:pt x="11" y="158"/>
                    <a:pt x="11" y="158"/>
                    <a:pt x="11" y="158"/>
                  </a:cubicBezTo>
                  <a:cubicBezTo>
                    <a:pt x="12" y="159"/>
                    <a:pt x="12" y="160"/>
                    <a:pt x="12" y="160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1" y="161"/>
                    <a:pt x="10" y="161"/>
                    <a:pt x="10" y="162"/>
                  </a:cubicBezTo>
                  <a:cubicBezTo>
                    <a:pt x="10" y="164"/>
                    <a:pt x="11" y="165"/>
                    <a:pt x="11" y="165"/>
                  </a:cubicBezTo>
                  <a:cubicBezTo>
                    <a:pt x="11" y="165"/>
                    <a:pt x="11" y="165"/>
                    <a:pt x="11" y="165"/>
                  </a:cubicBezTo>
                  <a:cubicBezTo>
                    <a:pt x="11" y="166"/>
                    <a:pt x="12" y="167"/>
                    <a:pt x="12" y="167"/>
                  </a:cubicBezTo>
                  <a:cubicBezTo>
                    <a:pt x="12" y="168"/>
                    <a:pt x="12" y="168"/>
                    <a:pt x="12" y="169"/>
                  </a:cubicBezTo>
                  <a:cubicBezTo>
                    <a:pt x="12" y="169"/>
                    <a:pt x="12" y="169"/>
                    <a:pt x="12" y="169"/>
                  </a:cubicBezTo>
                  <a:cubicBezTo>
                    <a:pt x="12" y="170"/>
                    <a:pt x="12" y="171"/>
                    <a:pt x="13" y="172"/>
                  </a:cubicBezTo>
                  <a:cubicBezTo>
                    <a:pt x="13" y="173"/>
                    <a:pt x="14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6" y="174"/>
                    <a:pt x="17" y="174"/>
                    <a:pt x="17" y="174"/>
                  </a:cubicBezTo>
                  <a:cubicBezTo>
                    <a:pt x="18" y="174"/>
                    <a:pt x="18" y="175"/>
                    <a:pt x="18" y="175"/>
                  </a:cubicBezTo>
                  <a:cubicBezTo>
                    <a:pt x="18" y="175"/>
                    <a:pt x="19" y="176"/>
                    <a:pt x="19" y="176"/>
                  </a:cubicBezTo>
                  <a:cubicBezTo>
                    <a:pt x="20" y="176"/>
                    <a:pt x="21" y="175"/>
                    <a:pt x="21" y="174"/>
                  </a:cubicBezTo>
                  <a:cubicBezTo>
                    <a:pt x="22" y="174"/>
                    <a:pt x="23" y="173"/>
                    <a:pt x="23" y="171"/>
                  </a:cubicBezTo>
                  <a:cubicBezTo>
                    <a:pt x="24" y="171"/>
                    <a:pt x="24" y="170"/>
                    <a:pt x="25" y="169"/>
                  </a:cubicBezTo>
                  <a:cubicBezTo>
                    <a:pt x="25" y="168"/>
                    <a:pt x="24" y="166"/>
                    <a:pt x="24" y="165"/>
                  </a:cubicBezTo>
                  <a:cubicBezTo>
                    <a:pt x="24" y="165"/>
                    <a:pt x="24" y="165"/>
                    <a:pt x="24" y="165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3"/>
                    <a:pt x="24" y="163"/>
                    <a:pt x="24" y="163"/>
                  </a:cubicBezTo>
                  <a:cubicBezTo>
                    <a:pt x="24" y="163"/>
                    <a:pt x="24" y="162"/>
                    <a:pt x="24" y="162"/>
                  </a:cubicBezTo>
                  <a:cubicBezTo>
                    <a:pt x="24" y="161"/>
                    <a:pt x="24" y="161"/>
                    <a:pt x="23" y="161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59"/>
                    <a:pt x="23" y="159"/>
                    <a:pt x="24" y="159"/>
                  </a:cubicBezTo>
                  <a:cubicBezTo>
                    <a:pt x="24" y="158"/>
                    <a:pt x="25" y="157"/>
                    <a:pt x="24" y="156"/>
                  </a:cubicBezTo>
                  <a:cubicBezTo>
                    <a:pt x="24" y="156"/>
                    <a:pt x="24" y="156"/>
                    <a:pt x="24" y="156"/>
                  </a:cubicBezTo>
                  <a:cubicBezTo>
                    <a:pt x="24" y="156"/>
                    <a:pt x="24" y="155"/>
                    <a:pt x="24" y="155"/>
                  </a:cubicBezTo>
                  <a:cubicBezTo>
                    <a:pt x="25" y="154"/>
                    <a:pt x="25" y="153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5" y="153"/>
                    <a:pt x="25" y="153"/>
                  </a:cubicBezTo>
                  <a:cubicBezTo>
                    <a:pt x="25" y="154"/>
                    <a:pt x="26" y="154"/>
                    <a:pt x="26" y="154"/>
                  </a:cubicBezTo>
                  <a:cubicBezTo>
                    <a:pt x="26" y="155"/>
                    <a:pt x="27" y="155"/>
                    <a:pt x="28" y="155"/>
                  </a:cubicBezTo>
                  <a:cubicBezTo>
                    <a:pt x="28" y="155"/>
                    <a:pt x="28" y="155"/>
                    <a:pt x="28" y="155"/>
                  </a:cubicBezTo>
                  <a:cubicBezTo>
                    <a:pt x="29" y="155"/>
                    <a:pt x="29" y="155"/>
                    <a:pt x="29" y="154"/>
                  </a:cubicBezTo>
                  <a:cubicBezTo>
                    <a:pt x="30" y="154"/>
                    <a:pt x="31" y="154"/>
                    <a:pt x="31" y="153"/>
                  </a:cubicBezTo>
                  <a:cubicBezTo>
                    <a:pt x="32" y="153"/>
                    <a:pt x="31" y="152"/>
                    <a:pt x="31" y="151"/>
                  </a:cubicBezTo>
                  <a:cubicBezTo>
                    <a:pt x="31" y="151"/>
                    <a:pt x="31" y="150"/>
                    <a:pt x="31" y="15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2" y="150"/>
                    <a:pt x="33" y="149"/>
                    <a:pt x="32" y="148"/>
                  </a:cubicBezTo>
                  <a:cubicBezTo>
                    <a:pt x="32" y="148"/>
                    <a:pt x="32" y="148"/>
                    <a:pt x="32" y="147"/>
                  </a:cubicBezTo>
                  <a:cubicBezTo>
                    <a:pt x="32" y="147"/>
                    <a:pt x="32" y="147"/>
                    <a:pt x="32" y="147"/>
                  </a:cubicBezTo>
                  <a:cubicBezTo>
                    <a:pt x="32" y="147"/>
                    <a:pt x="32" y="147"/>
                    <a:pt x="33" y="146"/>
                  </a:cubicBezTo>
                  <a:cubicBezTo>
                    <a:pt x="33" y="146"/>
                    <a:pt x="33" y="146"/>
                    <a:pt x="34" y="146"/>
                  </a:cubicBezTo>
                  <a:cubicBezTo>
                    <a:pt x="34" y="146"/>
                    <a:pt x="34" y="146"/>
                    <a:pt x="34" y="146"/>
                  </a:cubicBezTo>
                  <a:cubicBezTo>
                    <a:pt x="35" y="146"/>
                    <a:pt x="35" y="147"/>
                    <a:pt x="35" y="147"/>
                  </a:cubicBezTo>
                  <a:cubicBezTo>
                    <a:pt x="35" y="147"/>
                    <a:pt x="35" y="147"/>
                    <a:pt x="36" y="147"/>
                  </a:cubicBezTo>
                  <a:cubicBezTo>
                    <a:pt x="36" y="147"/>
                    <a:pt x="36" y="147"/>
                    <a:pt x="36" y="148"/>
                  </a:cubicBezTo>
                  <a:cubicBezTo>
                    <a:pt x="36" y="148"/>
                    <a:pt x="36" y="148"/>
                    <a:pt x="36" y="148"/>
                  </a:cubicBezTo>
                  <a:cubicBezTo>
                    <a:pt x="36" y="148"/>
                    <a:pt x="36" y="148"/>
                    <a:pt x="37" y="149"/>
                  </a:cubicBezTo>
                  <a:cubicBezTo>
                    <a:pt x="37" y="149"/>
                    <a:pt x="37" y="149"/>
                    <a:pt x="38" y="149"/>
                  </a:cubicBezTo>
                  <a:cubicBezTo>
                    <a:pt x="38" y="149"/>
                    <a:pt x="39" y="149"/>
                    <a:pt x="40" y="147"/>
                  </a:cubicBezTo>
                  <a:cubicBezTo>
                    <a:pt x="40" y="147"/>
                    <a:pt x="40" y="146"/>
                    <a:pt x="40" y="145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40" y="144"/>
                    <a:pt x="40" y="144"/>
                    <a:pt x="40" y="143"/>
                  </a:cubicBezTo>
                  <a:cubicBezTo>
                    <a:pt x="40" y="143"/>
                    <a:pt x="41" y="143"/>
                    <a:pt x="41" y="142"/>
                  </a:cubicBezTo>
                  <a:cubicBezTo>
                    <a:pt x="41" y="142"/>
                    <a:pt x="41" y="141"/>
                    <a:pt x="41" y="141"/>
                  </a:cubicBezTo>
                  <a:cubicBezTo>
                    <a:pt x="41" y="141"/>
                    <a:pt x="41" y="141"/>
                    <a:pt x="41" y="141"/>
                  </a:cubicBezTo>
                  <a:cubicBezTo>
                    <a:pt x="42" y="142"/>
                    <a:pt x="43" y="142"/>
                    <a:pt x="44" y="143"/>
                  </a:cubicBezTo>
                  <a:cubicBezTo>
                    <a:pt x="44" y="143"/>
                    <a:pt x="44" y="144"/>
                    <a:pt x="45" y="145"/>
                  </a:cubicBezTo>
                  <a:cubicBezTo>
                    <a:pt x="46" y="145"/>
                    <a:pt x="47" y="145"/>
                    <a:pt x="47" y="145"/>
                  </a:cubicBezTo>
                  <a:cubicBezTo>
                    <a:pt x="48" y="145"/>
                    <a:pt x="48" y="146"/>
                    <a:pt x="49" y="146"/>
                  </a:cubicBezTo>
                  <a:cubicBezTo>
                    <a:pt x="49" y="146"/>
                    <a:pt x="50" y="146"/>
                    <a:pt x="51" y="144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1" y="143"/>
                    <a:pt x="51" y="143"/>
                    <a:pt x="51" y="142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52" y="140"/>
                    <a:pt x="52" y="140"/>
                    <a:pt x="52" y="139"/>
                  </a:cubicBezTo>
                  <a:cubicBezTo>
                    <a:pt x="52" y="139"/>
                    <a:pt x="52" y="138"/>
                    <a:pt x="52" y="138"/>
                  </a:cubicBezTo>
                  <a:cubicBezTo>
                    <a:pt x="52" y="137"/>
                    <a:pt x="52" y="136"/>
                    <a:pt x="52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3" y="136"/>
                    <a:pt x="53" y="135"/>
                    <a:pt x="54" y="135"/>
                  </a:cubicBezTo>
                  <a:cubicBezTo>
                    <a:pt x="54" y="134"/>
                    <a:pt x="54" y="134"/>
                    <a:pt x="54" y="133"/>
                  </a:cubicBezTo>
                  <a:cubicBezTo>
                    <a:pt x="54" y="133"/>
                    <a:pt x="53" y="132"/>
                    <a:pt x="53" y="132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3" y="132"/>
                    <a:pt x="53" y="132"/>
                    <a:pt x="54" y="132"/>
                  </a:cubicBezTo>
                  <a:cubicBezTo>
                    <a:pt x="54" y="132"/>
                    <a:pt x="54" y="132"/>
                    <a:pt x="54" y="132"/>
                  </a:cubicBezTo>
                  <a:cubicBezTo>
                    <a:pt x="55" y="132"/>
                    <a:pt x="55" y="132"/>
                    <a:pt x="56" y="132"/>
                  </a:cubicBezTo>
                  <a:cubicBezTo>
                    <a:pt x="56" y="132"/>
                    <a:pt x="56" y="131"/>
                    <a:pt x="57" y="131"/>
                  </a:cubicBezTo>
                  <a:cubicBezTo>
                    <a:pt x="57" y="131"/>
                    <a:pt x="57" y="131"/>
                    <a:pt x="58" y="131"/>
                  </a:cubicBezTo>
                  <a:cubicBezTo>
                    <a:pt x="59" y="131"/>
                    <a:pt x="60" y="131"/>
                    <a:pt x="61" y="132"/>
                  </a:cubicBezTo>
                  <a:cubicBezTo>
                    <a:pt x="62" y="133"/>
                    <a:pt x="64" y="132"/>
                    <a:pt x="64" y="131"/>
                  </a:cubicBezTo>
                  <a:cubicBezTo>
                    <a:pt x="64" y="130"/>
                    <a:pt x="64" y="129"/>
                    <a:pt x="64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5" y="128"/>
                    <a:pt x="65" y="128"/>
                    <a:pt x="65" y="128"/>
                  </a:cubicBezTo>
                  <a:cubicBezTo>
                    <a:pt x="65" y="129"/>
                    <a:pt x="65" y="129"/>
                    <a:pt x="65" y="129"/>
                  </a:cubicBezTo>
                  <a:cubicBezTo>
                    <a:pt x="65" y="130"/>
                    <a:pt x="65" y="131"/>
                    <a:pt x="65" y="131"/>
                  </a:cubicBezTo>
                  <a:cubicBezTo>
                    <a:pt x="65" y="132"/>
                    <a:pt x="66" y="132"/>
                    <a:pt x="67" y="132"/>
                  </a:cubicBezTo>
                  <a:cubicBezTo>
                    <a:pt x="67" y="132"/>
                    <a:pt x="67" y="132"/>
                    <a:pt x="67" y="132"/>
                  </a:cubicBezTo>
                  <a:cubicBezTo>
                    <a:pt x="67" y="132"/>
                    <a:pt x="69" y="131"/>
                    <a:pt x="69" y="129"/>
                  </a:cubicBezTo>
                  <a:cubicBezTo>
                    <a:pt x="69" y="129"/>
                    <a:pt x="69" y="129"/>
                    <a:pt x="69" y="128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69" y="129"/>
                    <a:pt x="70" y="129"/>
                    <a:pt x="70" y="129"/>
                  </a:cubicBezTo>
                  <a:cubicBezTo>
                    <a:pt x="71" y="129"/>
                    <a:pt x="71" y="128"/>
                    <a:pt x="71" y="128"/>
                  </a:cubicBezTo>
                  <a:cubicBezTo>
                    <a:pt x="72" y="128"/>
                    <a:pt x="73" y="128"/>
                    <a:pt x="73" y="127"/>
                  </a:cubicBezTo>
                  <a:cubicBezTo>
                    <a:pt x="74" y="127"/>
                    <a:pt x="74" y="126"/>
                    <a:pt x="74" y="125"/>
                  </a:cubicBezTo>
                  <a:cubicBezTo>
                    <a:pt x="74" y="124"/>
                    <a:pt x="74" y="124"/>
                    <a:pt x="75" y="124"/>
                  </a:cubicBezTo>
                  <a:cubicBezTo>
                    <a:pt x="75" y="124"/>
                    <a:pt x="75" y="123"/>
                    <a:pt x="76" y="123"/>
                  </a:cubicBezTo>
                  <a:cubicBezTo>
                    <a:pt x="76" y="123"/>
                    <a:pt x="78" y="122"/>
                    <a:pt x="77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7" y="119"/>
                    <a:pt x="77" y="119"/>
                    <a:pt x="77" y="119"/>
                  </a:cubicBezTo>
                  <a:cubicBezTo>
                    <a:pt x="79" y="117"/>
                    <a:pt x="78" y="115"/>
                    <a:pt x="76" y="113"/>
                  </a:cubicBezTo>
                  <a:cubicBezTo>
                    <a:pt x="75" y="112"/>
                    <a:pt x="75" y="112"/>
                    <a:pt x="75" y="111"/>
                  </a:cubicBezTo>
                  <a:cubicBezTo>
                    <a:pt x="75" y="111"/>
                    <a:pt x="75" y="110"/>
                    <a:pt x="75" y="109"/>
                  </a:cubicBezTo>
                  <a:cubicBezTo>
                    <a:pt x="74" y="108"/>
                    <a:pt x="74" y="108"/>
                    <a:pt x="74" y="107"/>
                  </a:cubicBezTo>
                  <a:cubicBezTo>
                    <a:pt x="74" y="107"/>
                    <a:pt x="74" y="106"/>
                    <a:pt x="74" y="105"/>
                  </a:cubicBezTo>
                  <a:cubicBezTo>
                    <a:pt x="73" y="105"/>
                    <a:pt x="73" y="104"/>
                    <a:pt x="73" y="104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4" y="103"/>
                    <a:pt x="75" y="101"/>
                    <a:pt x="73" y="99"/>
                  </a:cubicBezTo>
                  <a:cubicBezTo>
                    <a:pt x="73" y="98"/>
                    <a:pt x="72" y="97"/>
                    <a:pt x="72" y="96"/>
                  </a:cubicBezTo>
                  <a:cubicBezTo>
                    <a:pt x="72" y="95"/>
                    <a:pt x="72" y="94"/>
                    <a:pt x="71" y="93"/>
                  </a:cubicBezTo>
                  <a:cubicBezTo>
                    <a:pt x="71" y="92"/>
                    <a:pt x="68" y="89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9" y="89"/>
                    <a:pt x="70" y="89"/>
                    <a:pt x="71" y="88"/>
                  </a:cubicBezTo>
                  <a:cubicBezTo>
                    <a:pt x="71" y="88"/>
                    <a:pt x="71" y="87"/>
                    <a:pt x="71" y="86"/>
                  </a:cubicBezTo>
                  <a:cubicBezTo>
                    <a:pt x="71" y="85"/>
                    <a:pt x="71" y="85"/>
                    <a:pt x="70" y="84"/>
                  </a:cubicBezTo>
                  <a:cubicBezTo>
                    <a:pt x="71" y="84"/>
                    <a:pt x="70" y="83"/>
                    <a:pt x="70" y="8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0" y="81"/>
                    <a:pt x="70" y="80"/>
                    <a:pt x="70" y="80"/>
                  </a:cubicBezTo>
                  <a:cubicBezTo>
                    <a:pt x="70" y="79"/>
                    <a:pt x="71" y="79"/>
                    <a:pt x="71" y="79"/>
                  </a:cubicBezTo>
                  <a:cubicBezTo>
                    <a:pt x="71" y="78"/>
                    <a:pt x="71" y="77"/>
                    <a:pt x="70" y="77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1" y="76"/>
                    <a:pt x="71" y="75"/>
                    <a:pt x="71" y="75"/>
                  </a:cubicBezTo>
                  <a:cubicBezTo>
                    <a:pt x="71" y="74"/>
                    <a:pt x="70" y="73"/>
                    <a:pt x="69" y="73"/>
                  </a:cubicBezTo>
                  <a:cubicBezTo>
                    <a:pt x="69" y="72"/>
                    <a:pt x="68" y="71"/>
                    <a:pt x="67" y="71"/>
                  </a:cubicBezTo>
                  <a:cubicBezTo>
                    <a:pt x="67" y="70"/>
                    <a:pt x="66" y="67"/>
                    <a:pt x="63" y="64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59" y="60"/>
                    <a:pt x="58" y="59"/>
                    <a:pt x="58" y="58"/>
                  </a:cubicBezTo>
                  <a:cubicBezTo>
                    <a:pt x="58" y="57"/>
                    <a:pt x="57" y="56"/>
                    <a:pt x="57" y="55"/>
                  </a:cubicBezTo>
                  <a:cubicBezTo>
                    <a:pt x="56" y="55"/>
                    <a:pt x="56" y="54"/>
                    <a:pt x="56" y="54"/>
                  </a:cubicBezTo>
                  <a:cubicBezTo>
                    <a:pt x="56" y="53"/>
                    <a:pt x="55" y="51"/>
                    <a:pt x="53" y="51"/>
                  </a:cubicBezTo>
                  <a:cubicBezTo>
                    <a:pt x="53" y="51"/>
                    <a:pt x="53" y="51"/>
                    <a:pt x="52" y="51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2" y="49"/>
                    <a:pt x="52" y="48"/>
                  </a:cubicBezTo>
                  <a:cubicBezTo>
                    <a:pt x="51" y="47"/>
                    <a:pt x="46" y="44"/>
                    <a:pt x="46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4"/>
                    <a:pt x="47" y="44"/>
                    <a:pt x="48" y="4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0" y="42"/>
                    <a:pt x="50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4" y="42"/>
                    <a:pt x="56" y="44"/>
                    <a:pt x="57" y="45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8" y="46"/>
                    <a:pt x="59" y="47"/>
                    <a:pt x="60" y="47"/>
                  </a:cubicBezTo>
                  <a:cubicBezTo>
                    <a:pt x="60" y="47"/>
                    <a:pt x="61" y="47"/>
                    <a:pt x="63" y="48"/>
                  </a:cubicBezTo>
                  <a:cubicBezTo>
                    <a:pt x="64" y="49"/>
                    <a:pt x="65" y="48"/>
                    <a:pt x="66" y="47"/>
                  </a:cubicBezTo>
                  <a:cubicBezTo>
                    <a:pt x="67" y="46"/>
                    <a:pt x="66" y="45"/>
                    <a:pt x="65" y="43"/>
                  </a:cubicBezTo>
                  <a:cubicBezTo>
                    <a:pt x="65" y="42"/>
                    <a:pt x="65" y="42"/>
                    <a:pt x="64" y="42"/>
                  </a:cubicBezTo>
                  <a:cubicBezTo>
                    <a:pt x="64" y="41"/>
                    <a:pt x="64" y="40"/>
                    <a:pt x="64" y="40"/>
                  </a:cubicBezTo>
                  <a:cubicBezTo>
                    <a:pt x="65" y="39"/>
                    <a:pt x="65" y="38"/>
                    <a:pt x="65" y="37"/>
                  </a:cubicBezTo>
                  <a:cubicBezTo>
                    <a:pt x="65" y="36"/>
                    <a:pt x="65" y="36"/>
                    <a:pt x="65" y="35"/>
                  </a:cubicBezTo>
                  <a:cubicBezTo>
                    <a:pt x="65" y="35"/>
                    <a:pt x="65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7" y="35"/>
                    <a:pt x="68" y="36"/>
                    <a:pt x="68" y="36"/>
                  </a:cubicBezTo>
                  <a:cubicBezTo>
                    <a:pt x="69" y="36"/>
                    <a:pt x="70" y="36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1" y="34"/>
                    <a:pt x="71" y="33"/>
                    <a:pt x="72" y="32"/>
                  </a:cubicBezTo>
                  <a:cubicBezTo>
                    <a:pt x="72" y="32"/>
                    <a:pt x="73" y="32"/>
                    <a:pt x="73" y="32"/>
                  </a:cubicBezTo>
                  <a:cubicBezTo>
                    <a:pt x="75" y="32"/>
                    <a:pt x="76" y="31"/>
                    <a:pt x="76" y="30"/>
                  </a:cubicBezTo>
                  <a:cubicBezTo>
                    <a:pt x="76" y="29"/>
                    <a:pt x="73" y="28"/>
                    <a:pt x="71" y="27"/>
                  </a:cubicBezTo>
                  <a:cubicBezTo>
                    <a:pt x="71" y="27"/>
                    <a:pt x="70" y="26"/>
                    <a:pt x="70" y="26"/>
                  </a:cubicBezTo>
                  <a:cubicBezTo>
                    <a:pt x="69" y="26"/>
                    <a:pt x="69" y="25"/>
                    <a:pt x="69" y="24"/>
                  </a:cubicBezTo>
                  <a:cubicBezTo>
                    <a:pt x="69" y="25"/>
                    <a:pt x="70" y="25"/>
                    <a:pt x="70" y="25"/>
                  </a:cubicBezTo>
                  <a:cubicBezTo>
                    <a:pt x="71" y="25"/>
                    <a:pt x="71" y="25"/>
                    <a:pt x="72" y="24"/>
                  </a:cubicBezTo>
                  <a:cubicBezTo>
                    <a:pt x="72" y="23"/>
                    <a:pt x="72" y="23"/>
                    <a:pt x="72" y="22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0"/>
                    <a:pt x="72" y="19"/>
                    <a:pt x="72" y="19"/>
                  </a:cubicBezTo>
                  <a:cubicBezTo>
                    <a:pt x="72" y="19"/>
                    <a:pt x="72" y="18"/>
                    <a:pt x="73" y="18"/>
                  </a:cubicBezTo>
                  <a:cubicBezTo>
                    <a:pt x="73" y="17"/>
                    <a:pt x="74" y="16"/>
                    <a:pt x="74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8" y="14"/>
                    <a:pt x="79" y="12"/>
                    <a:pt x="79" y="10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8"/>
                    <a:pt x="79" y="8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2" y="7"/>
                    <a:pt x="82" y="7"/>
                    <a:pt x="82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6"/>
                    <a:pt x="83" y="5"/>
                    <a:pt x="83" y="5"/>
                  </a:cubicBezTo>
                  <a:cubicBezTo>
                    <a:pt x="84" y="5"/>
                    <a:pt x="85" y="4"/>
                    <a:pt x="85" y="3"/>
                  </a:cubicBezTo>
                  <a:cubicBezTo>
                    <a:pt x="85" y="3"/>
                    <a:pt x="85" y="2"/>
                    <a:pt x="85" y="1"/>
                  </a:cubicBezTo>
                  <a:cubicBezTo>
                    <a:pt x="84" y="0"/>
                    <a:pt x="83" y="0"/>
                    <a:pt x="83" y="0"/>
                  </a:cubicBezTo>
                  <a:cubicBezTo>
                    <a:pt x="81" y="0"/>
                    <a:pt x="80" y="1"/>
                    <a:pt x="80" y="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9" y="3"/>
                    <a:pt x="79" y="3"/>
                    <a:pt x="78" y="3"/>
                  </a:cubicBezTo>
                  <a:cubicBezTo>
                    <a:pt x="78" y="3"/>
                    <a:pt x="77" y="3"/>
                    <a:pt x="76" y="4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5" y="11"/>
                    <a:pt x="74" y="11"/>
                  </a:cubicBezTo>
                  <a:cubicBezTo>
                    <a:pt x="74" y="12"/>
                    <a:pt x="74" y="12"/>
                    <a:pt x="74" y="13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3"/>
                    <a:pt x="69" y="15"/>
                  </a:cubicBezTo>
                  <a:cubicBezTo>
                    <a:pt x="69" y="15"/>
                    <a:pt x="69" y="16"/>
                    <a:pt x="69" y="16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5" y="17"/>
                    <a:pt x="65" y="17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3" y="20"/>
                    <a:pt x="63" y="20"/>
                    <a:pt x="62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1" y="21"/>
                    <a:pt x="61" y="20"/>
                    <a:pt x="61" y="20"/>
                  </a:cubicBezTo>
                  <a:cubicBezTo>
                    <a:pt x="61" y="20"/>
                    <a:pt x="61" y="20"/>
                    <a:pt x="61" y="19"/>
                  </a:cubicBezTo>
                  <a:cubicBezTo>
                    <a:pt x="60" y="18"/>
                    <a:pt x="59" y="18"/>
                    <a:pt x="59" y="18"/>
                  </a:cubicBezTo>
                  <a:cubicBezTo>
                    <a:pt x="58" y="18"/>
                    <a:pt x="57" y="18"/>
                    <a:pt x="57" y="19"/>
                  </a:cubicBezTo>
                  <a:cubicBezTo>
                    <a:pt x="57" y="19"/>
                    <a:pt x="56" y="19"/>
                    <a:pt x="56" y="19"/>
                  </a:cubicBezTo>
                  <a:cubicBezTo>
                    <a:pt x="56" y="18"/>
                    <a:pt x="55" y="18"/>
                    <a:pt x="54" y="18"/>
                  </a:cubicBezTo>
                  <a:cubicBezTo>
                    <a:pt x="54" y="17"/>
                    <a:pt x="53" y="17"/>
                    <a:pt x="52" y="17"/>
                  </a:cubicBezTo>
                  <a:cubicBezTo>
                    <a:pt x="50" y="17"/>
                    <a:pt x="48" y="16"/>
                    <a:pt x="47" y="14"/>
                  </a:cubicBezTo>
                  <a:cubicBezTo>
                    <a:pt x="45" y="11"/>
                    <a:pt x="42" y="10"/>
                    <a:pt x="39" y="9"/>
                  </a:cubicBezTo>
                  <a:cubicBezTo>
                    <a:pt x="39" y="9"/>
                    <a:pt x="38" y="9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7" y="6"/>
                    <a:pt x="36" y="5"/>
                    <a:pt x="35" y="5"/>
                  </a:cubicBezTo>
                  <a:cubicBezTo>
                    <a:pt x="34" y="5"/>
                    <a:pt x="33" y="6"/>
                    <a:pt x="33" y="7"/>
                  </a:cubicBezTo>
                  <a:cubicBezTo>
                    <a:pt x="31" y="10"/>
                    <a:pt x="34" y="13"/>
                    <a:pt x="36" y="16"/>
                  </a:cubicBezTo>
                  <a:cubicBezTo>
                    <a:pt x="36" y="16"/>
                    <a:pt x="37" y="17"/>
                    <a:pt x="37" y="17"/>
                  </a:cubicBezTo>
                  <a:cubicBezTo>
                    <a:pt x="38" y="19"/>
                    <a:pt x="38" y="21"/>
                    <a:pt x="39" y="23"/>
                  </a:cubicBezTo>
                  <a:cubicBezTo>
                    <a:pt x="39" y="23"/>
                    <a:pt x="39" y="24"/>
                    <a:pt x="40" y="25"/>
                  </a:cubicBezTo>
                  <a:cubicBezTo>
                    <a:pt x="40" y="25"/>
                    <a:pt x="40" y="26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9"/>
                    <a:pt x="41" y="30"/>
                    <a:pt x="42" y="32"/>
                  </a:cubicBezTo>
                  <a:cubicBezTo>
                    <a:pt x="42" y="32"/>
                    <a:pt x="42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0" y="31"/>
                    <a:pt x="38" y="30"/>
                    <a:pt x="37" y="31"/>
                  </a:cubicBezTo>
                  <a:cubicBezTo>
                    <a:pt x="36" y="31"/>
                    <a:pt x="36" y="31"/>
                    <a:pt x="36" y="32"/>
                  </a:cubicBezTo>
                  <a:cubicBezTo>
                    <a:pt x="35" y="33"/>
                    <a:pt x="37" y="36"/>
                    <a:pt x="38" y="36"/>
                  </a:cubicBezTo>
                  <a:cubicBezTo>
                    <a:pt x="38" y="37"/>
                    <a:pt x="38" y="37"/>
                    <a:pt x="37" y="38"/>
                  </a:cubicBezTo>
                  <a:cubicBezTo>
                    <a:pt x="37" y="39"/>
                    <a:pt x="37" y="39"/>
                    <a:pt x="36" y="39"/>
                  </a:cubicBezTo>
                  <a:cubicBezTo>
                    <a:pt x="35" y="39"/>
                    <a:pt x="35" y="40"/>
                    <a:pt x="35" y="40"/>
                  </a:cubicBezTo>
                  <a:cubicBezTo>
                    <a:pt x="35" y="41"/>
                    <a:pt x="35" y="42"/>
                    <a:pt x="36" y="42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5"/>
                    <a:pt x="38" y="46"/>
                    <a:pt x="40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51"/>
                    <a:pt x="41" y="52"/>
                    <a:pt x="42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55"/>
                    <a:pt x="45" y="55"/>
                  </a:cubicBezTo>
                  <a:cubicBezTo>
                    <a:pt x="46" y="55"/>
                    <a:pt x="47" y="53"/>
                    <a:pt x="47" y="52"/>
                  </a:cubicBezTo>
                  <a:cubicBezTo>
                    <a:pt x="47" y="51"/>
                    <a:pt x="47" y="50"/>
                    <a:pt x="47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51"/>
                    <a:pt x="48" y="52"/>
                    <a:pt x="49" y="53"/>
                  </a:cubicBezTo>
                  <a:cubicBezTo>
                    <a:pt x="49" y="53"/>
                    <a:pt x="49" y="53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7" y="54"/>
                    <a:pt x="47" y="54"/>
                    <a:pt x="46" y="55"/>
                  </a:cubicBezTo>
                  <a:cubicBezTo>
                    <a:pt x="46" y="56"/>
                    <a:pt x="46" y="57"/>
                    <a:pt x="47" y="57"/>
                  </a:cubicBezTo>
                  <a:cubicBezTo>
                    <a:pt x="47" y="58"/>
                    <a:pt x="47" y="60"/>
                    <a:pt x="47" y="60"/>
                  </a:cubicBezTo>
                  <a:cubicBezTo>
                    <a:pt x="46" y="61"/>
                    <a:pt x="46" y="61"/>
                    <a:pt x="46" y="62"/>
                  </a:cubicBezTo>
                  <a:cubicBezTo>
                    <a:pt x="46" y="63"/>
                    <a:pt x="46" y="64"/>
                    <a:pt x="47" y="65"/>
                  </a:cubicBezTo>
                  <a:cubicBezTo>
                    <a:pt x="47" y="65"/>
                    <a:pt x="48" y="65"/>
                    <a:pt x="48" y="65"/>
                  </a:cubicBezTo>
                  <a:cubicBezTo>
                    <a:pt x="47" y="67"/>
                    <a:pt x="48" y="68"/>
                    <a:pt x="49" y="69"/>
                  </a:cubicBezTo>
                  <a:cubicBezTo>
                    <a:pt x="48" y="71"/>
                    <a:pt x="48" y="72"/>
                    <a:pt x="48" y="72"/>
                  </a:cubicBezTo>
                  <a:cubicBezTo>
                    <a:pt x="49" y="73"/>
                    <a:pt x="50" y="73"/>
                    <a:pt x="51" y="73"/>
                  </a:cubicBezTo>
                  <a:cubicBezTo>
                    <a:pt x="51" y="75"/>
                    <a:pt x="51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8"/>
                    <a:pt x="52" y="79"/>
                    <a:pt x="53" y="80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2" y="84"/>
                    <a:pt x="52" y="85"/>
                    <a:pt x="53" y="87"/>
                  </a:cubicBezTo>
                  <a:cubicBezTo>
                    <a:pt x="53" y="88"/>
                    <a:pt x="54" y="90"/>
                    <a:pt x="53" y="92"/>
                  </a:cubicBezTo>
                  <a:cubicBezTo>
                    <a:pt x="52" y="93"/>
                    <a:pt x="52" y="94"/>
                    <a:pt x="52" y="95"/>
                  </a:cubicBezTo>
                  <a:cubicBezTo>
                    <a:pt x="52" y="95"/>
                    <a:pt x="52" y="95"/>
                    <a:pt x="52" y="96"/>
                  </a:cubicBezTo>
                  <a:cubicBezTo>
                    <a:pt x="51" y="97"/>
                    <a:pt x="51" y="98"/>
                    <a:pt x="51" y="99"/>
                  </a:cubicBezTo>
                  <a:cubicBezTo>
                    <a:pt x="51" y="99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0" y="101"/>
                    <a:pt x="47" y="103"/>
                    <a:pt x="46" y="105"/>
                  </a:cubicBezTo>
                  <a:cubicBezTo>
                    <a:pt x="45" y="104"/>
                    <a:pt x="45" y="103"/>
                    <a:pt x="44" y="103"/>
                  </a:cubicBezTo>
                  <a:cubicBezTo>
                    <a:pt x="45" y="103"/>
                    <a:pt x="45" y="102"/>
                    <a:pt x="45" y="102"/>
                  </a:cubicBezTo>
                  <a:cubicBezTo>
                    <a:pt x="45" y="101"/>
                    <a:pt x="45" y="100"/>
                    <a:pt x="44" y="99"/>
                  </a:cubicBezTo>
                  <a:cubicBezTo>
                    <a:pt x="44" y="99"/>
                    <a:pt x="43" y="98"/>
                    <a:pt x="42" y="98"/>
                  </a:cubicBezTo>
                  <a:cubicBezTo>
                    <a:pt x="42" y="98"/>
                    <a:pt x="42" y="98"/>
                    <a:pt x="41" y="98"/>
                  </a:cubicBezTo>
                  <a:cubicBezTo>
                    <a:pt x="41" y="98"/>
                    <a:pt x="39" y="99"/>
                    <a:pt x="38" y="101"/>
                  </a:cubicBezTo>
                  <a:cubicBezTo>
                    <a:pt x="38" y="101"/>
                    <a:pt x="38" y="102"/>
                    <a:pt x="38" y="103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5"/>
                    <a:pt x="40" y="107"/>
                    <a:pt x="41" y="108"/>
                  </a:cubicBezTo>
                  <a:cubicBezTo>
                    <a:pt x="40" y="108"/>
                    <a:pt x="40" y="110"/>
                    <a:pt x="40" y="111"/>
                  </a:cubicBezTo>
                  <a:cubicBezTo>
                    <a:pt x="40" y="112"/>
                    <a:pt x="39" y="112"/>
                    <a:pt x="39" y="112"/>
                  </a:cubicBezTo>
                  <a:cubicBezTo>
                    <a:pt x="39" y="112"/>
                    <a:pt x="39" y="113"/>
                    <a:pt x="39" y="114"/>
                  </a:cubicBezTo>
                  <a:cubicBezTo>
                    <a:pt x="39" y="114"/>
                    <a:pt x="38" y="115"/>
                    <a:pt x="38" y="116"/>
                  </a:cubicBezTo>
                  <a:cubicBezTo>
                    <a:pt x="38" y="118"/>
                    <a:pt x="38" y="119"/>
                    <a:pt x="38" y="120"/>
                  </a:cubicBezTo>
                  <a:cubicBezTo>
                    <a:pt x="38" y="120"/>
                    <a:pt x="37" y="120"/>
                    <a:pt x="37" y="120"/>
                  </a:cubicBezTo>
                  <a:cubicBezTo>
                    <a:pt x="36" y="119"/>
                    <a:pt x="36" y="118"/>
                    <a:pt x="35" y="118"/>
                  </a:cubicBezTo>
                  <a:cubicBezTo>
                    <a:pt x="34" y="118"/>
                    <a:pt x="34" y="119"/>
                    <a:pt x="33" y="119"/>
                  </a:cubicBezTo>
                  <a:cubicBezTo>
                    <a:pt x="33" y="119"/>
                    <a:pt x="33" y="119"/>
                    <a:pt x="33" y="119"/>
                  </a:cubicBezTo>
                  <a:cubicBezTo>
                    <a:pt x="33" y="119"/>
                    <a:pt x="33" y="119"/>
                    <a:pt x="33" y="119"/>
                  </a:cubicBezTo>
                  <a:cubicBezTo>
                    <a:pt x="32" y="119"/>
                    <a:pt x="31" y="119"/>
                    <a:pt x="31" y="119"/>
                  </a:cubicBezTo>
                  <a:cubicBezTo>
                    <a:pt x="30" y="119"/>
                    <a:pt x="29" y="120"/>
                    <a:pt x="28" y="121"/>
                  </a:cubicBezTo>
                  <a:cubicBezTo>
                    <a:pt x="28" y="121"/>
                    <a:pt x="28" y="121"/>
                    <a:pt x="28" y="121"/>
                  </a:cubicBezTo>
                  <a:cubicBezTo>
                    <a:pt x="27" y="120"/>
                    <a:pt x="25" y="120"/>
                    <a:pt x="24" y="121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21"/>
                    <a:pt x="23" y="121"/>
                    <a:pt x="23" y="121"/>
                  </a:cubicBezTo>
                  <a:cubicBezTo>
                    <a:pt x="23" y="121"/>
                    <a:pt x="22" y="121"/>
                    <a:pt x="21" y="121"/>
                  </a:cubicBezTo>
                  <a:cubicBezTo>
                    <a:pt x="21" y="121"/>
                    <a:pt x="19" y="121"/>
                    <a:pt x="19" y="122"/>
                  </a:cubicBezTo>
                  <a:cubicBezTo>
                    <a:pt x="19" y="122"/>
                    <a:pt x="17" y="123"/>
                    <a:pt x="17" y="123"/>
                  </a:cubicBezTo>
                  <a:cubicBezTo>
                    <a:pt x="16" y="124"/>
                    <a:pt x="16" y="125"/>
                    <a:pt x="16" y="125"/>
                  </a:cubicBezTo>
                  <a:cubicBezTo>
                    <a:pt x="16" y="125"/>
                    <a:pt x="16" y="126"/>
                    <a:pt x="16" y="126"/>
                  </a:cubicBezTo>
                  <a:cubicBezTo>
                    <a:pt x="15" y="127"/>
                    <a:pt x="14" y="128"/>
                    <a:pt x="14" y="129"/>
                  </a:cubicBezTo>
                  <a:cubicBezTo>
                    <a:pt x="14" y="130"/>
                    <a:pt x="14" y="131"/>
                    <a:pt x="13" y="131"/>
                  </a:cubicBezTo>
                  <a:cubicBezTo>
                    <a:pt x="12" y="132"/>
                    <a:pt x="11" y="132"/>
                    <a:pt x="11" y="134"/>
                  </a:cubicBezTo>
                  <a:cubicBezTo>
                    <a:pt x="11" y="134"/>
                    <a:pt x="11" y="135"/>
                    <a:pt x="11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35"/>
                    <a:pt x="7" y="135"/>
                    <a:pt x="6" y="136"/>
                  </a:cubicBezTo>
                  <a:cubicBezTo>
                    <a:pt x="6" y="136"/>
                    <a:pt x="6" y="137"/>
                    <a:pt x="6" y="138"/>
                  </a:cubicBezTo>
                  <a:cubicBezTo>
                    <a:pt x="6" y="139"/>
                    <a:pt x="6" y="140"/>
                    <a:pt x="7" y="141"/>
                  </a:cubicBezTo>
                  <a:cubicBezTo>
                    <a:pt x="7" y="141"/>
                    <a:pt x="7" y="141"/>
                    <a:pt x="7" y="141"/>
                  </a:cubicBezTo>
                  <a:lnTo>
                    <a:pt x="6" y="142"/>
                  </a:lnTo>
                  <a:close/>
                  <a:moveTo>
                    <a:pt x="43" y="43"/>
                  </a:moveTo>
                  <a:cubicBezTo>
                    <a:pt x="43" y="43"/>
                    <a:pt x="43" y="43"/>
                    <a:pt x="43" y="43"/>
                  </a:cubicBezTo>
                  <a:cubicBezTo>
                    <a:pt x="43" y="43"/>
                    <a:pt x="44" y="43"/>
                    <a:pt x="44" y="44"/>
                  </a:cubicBezTo>
                  <a:cubicBezTo>
                    <a:pt x="44" y="43"/>
                    <a:pt x="43" y="43"/>
                    <a:pt x="43" y="43"/>
                  </a:cubicBezTo>
                  <a:close/>
                  <a:moveTo>
                    <a:pt x="36" y="136"/>
                  </a:moveTo>
                  <a:cubicBezTo>
                    <a:pt x="36" y="136"/>
                    <a:pt x="36" y="136"/>
                    <a:pt x="36" y="136"/>
                  </a:cubicBezTo>
                  <a:cubicBezTo>
                    <a:pt x="36" y="136"/>
                    <a:pt x="36" y="136"/>
                    <a:pt x="36" y="136"/>
                  </a:cubicBezTo>
                  <a:close/>
                  <a:moveTo>
                    <a:pt x="21" y="141"/>
                  </a:moveTo>
                  <a:cubicBezTo>
                    <a:pt x="21" y="140"/>
                    <a:pt x="21" y="139"/>
                    <a:pt x="21" y="139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40"/>
                    <a:pt x="23" y="140"/>
                    <a:pt x="23" y="141"/>
                  </a:cubicBezTo>
                  <a:cubicBezTo>
                    <a:pt x="23" y="141"/>
                    <a:pt x="23" y="142"/>
                    <a:pt x="23" y="142"/>
                  </a:cubicBezTo>
                  <a:cubicBezTo>
                    <a:pt x="23" y="142"/>
                    <a:pt x="23" y="143"/>
                    <a:pt x="23" y="143"/>
                  </a:cubicBezTo>
                  <a:cubicBezTo>
                    <a:pt x="23" y="143"/>
                    <a:pt x="23" y="143"/>
                    <a:pt x="22" y="144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21" y="145"/>
                    <a:pt x="21" y="145"/>
                    <a:pt x="21" y="145"/>
                  </a:cubicBezTo>
                  <a:cubicBezTo>
                    <a:pt x="21" y="145"/>
                    <a:pt x="21" y="145"/>
                    <a:pt x="21" y="145"/>
                  </a:cubicBezTo>
                  <a:cubicBezTo>
                    <a:pt x="20" y="146"/>
                    <a:pt x="20" y="146"/>
                    <a:pt x="20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19" y="147"/>
                    <a:pt x="19" y="147"/>
                    <a:pt x="19" y="147"/>
                  </a:cubicBezTo>
                  <a:cubicBezTo>
                    <a:pt x="20" y="146"/>
                    <a:pt x="19" y="144"/>
                    <a:pt x="18" y="143"/>
                  </a:cubicBezTo>
                  <a:cubicBezTo>
                    <a:pt x="18" y="143"/>
                    <a:pt x="18" y="143"/>
                    <a:pt x="18" y="143"/>
                  </a:cubicBezTo>
                  <a:cubicBezTo>
                    <a:pt x="18" y="143"/>
                    <a:pt x="18" y="143"/>
                    <a:pt x="19" y="143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20" y="143"/>
                    <a:pt x="20" y="143"/>
                    <a:pt x="20" y="142"/>
                  </a:cubicBezTo>
                  <a:cubicBezTo>
                    <a:pt x="21" y="142"/>
                    <a:pt x="21" y="141"/>
                    <a:pt x="21" y="141"/>
                  </a:cubicBezTo>
                  <a:close/>
                  <a:moveTo>
                    <a:pt x="15" y="143"/>
                  </a:moveTo>
                  <a:cubicBezTo>
                    <a:pt x="15" y="143"/>
                    <a:pt x="15" y="143"/>
                    <a:pt x="15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43"/>
                    <a:pt x="14" y="143"/>
                    <a:pt x="14" y="142"/>
                  </a:cubicBezTo>
                  <a:cubicBezTo>
                    <a:pt x="14" y="143"/>
                    <a:pt x="15" y="142"/>
                    <a:pt x="16" y="142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2"/>
                    <a:pt x="17" y="143"/>
                    <a:pt x="17" y="143"/>
                  </a:cubicBezTo>
                  <a:cubicBezTo>
                    <a:pt x="16" y="143"/>
                    <a:pt x="15" y="143"/>
                    <a:pt x="15" y="143"/>
                  </a:cubicBezTo>
                  <a:close/>
                  <a:moveTo>
                    <a:pt x="19" y="148"/>
                  </a:moveTo>
                  <a:cubicBezTo>
                    <a:pt x="19" y="148"/>
                    <a:pt x="19" y="148"/>
                    <a:pt x="19" y="148"/>
                  </a:cubicBezTo>
                  <a:cubicBezTo>
                    <a:pt x="19" y="148"/>
                    <a:pt x="19" y="148"/>
                    <a:pt x="19" y="148"/>
                  </a:cubicBezTo>
                  <a:close/>
                  <a:moveTo>
                    <a:pt x="28" y="135"/>
                  </a:moveTo>
                  <a:cubicBezTo>
                    <a:pt x="28" y="136"/>
                    <a:pt x="28" y="137"/>
                    <a:pt x="28" y="137"/>
                  </a:cubicBezTo>
                  <a:cubicBezTo>
                    <a:pt x="28" y="137"/>
                    <a:pt x="28" y="137"/>
                    <a:pt x="28" y="137"/>
                  </a:cubicBezTo>
                  <a:cubicBezTo>
                    <a:pt x="28" y="137"/>
                    <a:pt x="28" y="137"/>
                    <a:pt x="28" y="137"/>
                  </a:cubicBezTo>
                  <a:cubicBezTo>
                    <a:pt x="28" y="137"/>
                    <a:pt x="27" y="137"/>
                    <a:pt x="27" y="137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7" y="136"/>
                    <a:pt x="28" y="136"/>
                    <a:pt x="28" y="135"/>
                  </a:cubicBezTo>
                  <a:cubicBezTo>
                    <a:pt x="28" y="135"/>
                    <a:pt x="28" y="135"/>
                    <a:pt x="29" y="135"/>
                  </a:cubicBezTo>
                  <a:cubicBezTo>
                    <a:pt x="29" y="135"/>
                    <a:pt x="29" y="135"/>
                    <a:pt x="28" y="135"/>
                  </a:cubicBezTo>
                  <a:close/>
                  <a:moveTo>
                    <a:pt x="25" y="136"/>
                  </a:moveTo>
                  <a:cubicBezTo>
                    <a:pt x="25" y="136"/>
                    <a:pt x="25" y="136"/>
                    <a:pt x="25" y="136"/>
                  </a:cubicBezTo>
                  <a:cubicBezTo>
                    <a:pt x="25" y="136"/>
                    <a:pt x="25" y="136"/>
                    <a:pt x="25" y="136"/>
                  </a:cubicBezTo>
                  <a:close/>
                  <a:moveTo>
                    <a:pt x="35" y="136"/>
                  </a:moveTo>
                  <a:cubicBezTo>
                    <a:pt x="35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lose/>
                  <a:moveTo>
                    <a:pt x="52" y="57"/>
                  </a:moveTo>
                  <a:cubicBezTo>
                    <a:pt x="52" y="57"/>
                    <a:pt x="52" y="57"/>
                    <a:pt x="52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lose/>
                  <a:moveTo>
                    <a:pt x="35" y="145"/>
                  </a:moveTo>
                  <a:cubicBezTo>
                    <a:pt x="35" y="145"/>
                    <a:pt x="35" y="145"/>
                    <a:pt x="35" y="145"/>
                  </a:cubicBezTo>
                  <a:cubicBezTo>
                    <a:pt x="35" y="145"/>
                    <a:pt x="35" y="145"/>
                    <a:pt x="35" y="145"/>
                  </a:cubicBezTo>
                  <a:close/>
                  <a:moveTo>
                    <a:pt x="39" y="138"/>
                  </a:moveTo>
                  <a:cubicBezTo>
                    <a:pt x="39" y="138"/>
                    <a:pt x="39" y="138"/>
                    <a:pt x="38" y="138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8" y="138"/>
                    <a:pt x="38" y="138"/>
                    <a:pt x="38" y="13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6"/>
                    <a:pt x="37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4"/>
                    <a:pt x="35" y="134"/>
                    <a:pt x="35" y="134"/>
                  </a:cubicBezTo>
                  <a:cubicBezTo>
                    <a:pt x="34" y="133"/>
                    <a:pt x="33" y="133"/>
                    <a:pt x="33" y="134"/>
                  </a:cubicBezTo>
                  <a:cubicBezTo>
                    <a:pt x="33" y="134"/>
                    <a:pt x="32" y="134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3" y="132"/>
                    <a:pt x="34" y="132"/>
                    <a:pt x="34" y="132"/>
                  </a:cubicBezTo>
                  <a:cubicBezTo>
                    <a:pt x="36" y="133"/>
                    <a:pt x="38" y="133"/>
                    <a:pt x="39" y="132"/>
                  </a:cubicBezTo>
                  <a:cubicBezTo>
                    <a:pt x="39" y="132"/>
                    <a:pt x="40" y="132"/>
                    <a:pt x="40" y="132"/>
                  </a:cubicBezTo>
                  <a:cubicBezTo>
                    <a:pt x="40" y="132"/>
                    <a:pt x="40" y="132"/>
                    <a:pt x="40" y="132"/>
                  </a:cubicBezTo>
                  <a:cubicBezTo>
                    <a:pt x="39" y="133"/>
                    <a:pt x="38" y="134"/>
                    <a:pt x="38" y="135"/>
                  </a:cubicBezTo>
                  <a:cubicBezTo>
                    <a:pt x="38" y="135"/>
                    <a:pt x="39" y="136"/>
                    <a:pt x="40" y="136"/>
                  </a:cubicBezTo>
                  <a:cubicBezTo>
                    <a:pt x="40" y="137"/>
                    <a:pt x="40" y="138"/>
                    <a:pt x="40" y="139"/>
                  </a:cubicBezTo>
                  <a:cubicBezTo>
                    <a:pt x="40" y="139"/>
                    <a:pt x="40" y="139"/>
                    <a:pt x="40" y="139"/>
                  </a:cubicBezTo>
                  <a:cubicBezTo>
                    <a:pt x="40" y="139"/>
                    <a:pt x="39" y="138"/>
                    <a:pt x="39" y="138"/>
                  </a:cubicBezTo>
                  <a:close/>
                  <a:moveTo>
                    <a:pt x="68" y="20"/>
                  </a:moveTo>
                  <a:cubicBezTo>
                    <a:pt x="68" y="21"/>
                    <a:pt x="68" y="21"/>
                    <a:pt x="68" y="21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20"/>
                    <a:pt x="68" y="20"/>
                  </a:cubicBezTo>
                  <a:close/>
                  <a:moveTo>
                    <a:pt x="28" y="122"/>
                  </a:moveTo>
                  <a:cubicBezTo>
                    <a:pt x="28" y="122"/>
                    <a:pt x="28" y="122"/>
                    <a:pt x="28" y="122"/>
                  </a:cubicBezTo>
                  <a:cubicBezTo>
                    <a:pt x="28" y="122"/>
                    <a:pt x="28" y="122"/>
                    <a:pt x="28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5906" y="1286"/>
              <a:ext cx="10" cy="17"/>
            </a:xfrm>
            <a:custGeom>
              <a:avLst/>
              <a:gdLst>
                <a:gd name="T0" fmla="*/ 0 w 4"/>
                <a:gd name="T1" fmla="*/ 4 h 7"/>
                <a:gd name="T2" fmla="*/ 0 w 4"/>
                <a:gd name="T3" fmla="*/ 5 h 7"/>
                <a:gd name="T4" fmla="*/ 0 w 4"/>
                <a:gd name="T5" fmla="*/ 6 h 7"/>
                <a:gd name="T6" fmla="*/ 1 w 4"/>
                <a:gd name="T7" fmla="*/ 7 h 7"/>
                <a:gd name="T8" fmla="*/ 1 w 4"/>
                <a:gd name="T9" fmla="*/ 7 h 7"/>
                <a:gd name="T10" fmla="*/ 2 w 4"/>
                <a:gd name="T11" fmla="*/ 7 h 7"/>
                <a:gd name="T12" fmla="*/ 3 w 4"/>
                <a:gd name="T13" fmla="*/ 6 h 7"/>
                <a:gd name="T14" fmla="*/ 3 w 4"/>
                <a:gd name="T15" fmla="*/ 5 h 7"/>
                <a:gd name="T16" fmla="*/ 4 w 4"/>
                <a:gd name="T17" fmla="*/ 4 h 7"/>
                <a:gd name="T18" fmla="*/ 4 w 4"/>
                <a:gd name="T19" fmla="*/ 3 h 7"/>
                <a:gd name="T20" fmla="*/ 4 w 4"/>
                <a:gd name="T21" fmla="*/ 3 h 7"/>
                <a:gd name="T22" fmla="*/ 4 w 4"/>
                <a:gd name="T23" fmla="*/ 1 h 7"/>
                <a:gd name="T24" fmla="*/ 2 w 4"/>
                <a:gd name="T25" fmla="*/ 1 h 7"/>
                <a:gd name="T26" fmla="*/ 0 w 4"/>
                <a:gd name="T27" fmla="*/ 2 h 7"/>
                <a:gd name="T28" fmla="*/ 0 w 4"/>
                <a:gd name="T29" fmla="*/ 3 h 7"/>
                <a:gd name="T30" fmla="*/ 0 w 4"/>
                <a:gd name="T31" fmla="*/ 4 h 7"/>
                <a:gd name="T32" fmla="*/ 1 w 4"/>
                <a:gd name="T33" fmla="*/ 4 h 7"/>
                <a:gd name="T34" fmla="*/ 1 w 4"/>
                <a:gd name="T35" fmla="*/ 4 h 7"/>
                <a:gd name="T36" fmla="*/ 0 w 4"/>
                <a:gd name="T37" fmla="*/ 4 h 7"/>
                <a:gd name="T38" fmla="*/ 1 w 4"/>
                <a:gd name="T39" fmla="*/ 4 h 7"/>
                <a:gd name="T40" fmla="*/ 1 w 4"/>
                <a:gd name="T41" fmla="*/ 4 h 7"/>
                <a:gd name="T42" fmla="*/ 1 w 4"/>
                <a:gd name="T43" fmla="*/ 5 h 7"/>
                <a:gd name="T44" fmla="*/ 1 w 4"/>
                <a:gd name="T45" fmla="*/ 4 h 7"/>
                <a:gd name="T46" fmla="*/ 2 w 4"/>
                <a:gd name="T47" fmla="*/ 5 h 7"/>
                <a:gd name="T48" fmla="*/ 2 w 4"/>
                <a:gd name="T49" fmla="*/ 5 h 7"/>
                <a:gd name="T50" fmla="*/ 2 w 4"/>
                <a:gd name="T5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" h="7">
                  <a:moveTo>
                    <a:pt x="0" y="4"/>
                  </a:move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5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0" y="4"/>
                  </a:lnTo>
                  <a:close/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lnTo>
                    <a:pt x="1" y="4"/>
                  </a:lnTo>
                  <a:close/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0" name="Freeform 19"/>
            <p:cNvSpPr>
              <a:spLocks/>
            </p:cNvSpPr>
            <p:nvPr/>
          </p:nvSpPr>
          <p:spPr bwMode="auto">
            <a:xfrm>
              <a:off x="5885" y="1312"/>
              <a:ext cx="19" cy="29"/>
            </a:xfrm>
            <a:custGeom>
              <a:avLst/>
              <a:gdLst>
                <a:gd name="T0" fmla="*/ 1 w 8"/>
                <a:gd name="T1" fmla="*/ 12 h 12"/>
                <a:gd name="T2" fmla="*/ 2 w 8"/>
                <a:gd name="T3" fmla="*/ 12 h 12"/>
                <a:gd name="T4" fmla="*/ 6 w 8"/>
                <a:gd name="T5" fmla="*/ 7 h 12"/>
                <a:gd name="T6" fmla="*/ 6 w 8"/>
                <a:gd name="T7" fmla="*/ 5 h 12"/>
                <a:gd name="T8" fmla="*/ 6 w 8"/>
                <a:gd name="T9" fmla="*/ 5 h 12"/>
                <a:gd name="T10" fmla="*/ 7 w 8"/>
                <a:gd name="T11" fmla="*/ 4 h 12"/>
                <a:gd name="T12" fmla="*/ 8 w 8"/>
                <a:gd name="T13" fmla="*/ 2 h 12"/>
                <a:gd name="T14" fmla="*/ 7 w 8"/>
                <a:gd name="T15" fmla="*/ 1 h 12"/>
                <a:gd name="T16" fmla="*/ 6 w 8"/>
                <a:gd name="T17" fmla="*/ 0 h 12"/>
                <a:gd name="T18" fmla="*/ 3 w 8"/>
                <a:gd name="T19" fmla="*/ 2 h 12"/>
                <a:gd name="T20" fmla="*/ 2 w 8"/>
                <a:gd name="T21" fmla="*/ 5 h 12"/>
                <a:gd name="T22" fmla="*/ 2 w 8"/>
                <a:gd name="T23" fmla="*/ 5 h 12"/>
                <a:gd name="T24" fmla="*/ 2 w 8"/>
                <a:gd name="T25" fmla="*/ 5 h 12"/>
                <a:gd name="T26" fmla="*/ 1 w 8"/>
                <a:gd name="T27" fmla="*/ 7 h 12"/>
                <a:gd name="T28" fmla="*/ 1 w 8"/>
                <a:gd name="T29" fmla="*/ 11 h 12"/>
                <a:gd name="T30" fmla="*/ 1 w 8"/>
                <a:gd name="T3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2">
                  <a:moveTo>
                    <a:pt x="1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4" y="10"/>
                    <a:pt x="6" y="7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7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4" y="0"/>
                    <a:pt x="3" y="2"/>
                    <a:pt x="3" y="2"/>
                  </a:cubicBezTo>
                  <a:cubicBezTo>
                    <a:pt x="2" y="3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0" y="8"/>
                    <a:pt x="0" y="10"/>
                    <a:pt x="1" y="11"/>
                  </a:cubicBezTo>
                  <a:lnTo>
                    <a:pt x="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1" name="Freeform 20"/>
            <p:cNvSpPr>
              <a:spLocks/>
            </p:cNvSpPr>
            <p:nvPr/>
          </p:nvSpPr>
          <p:spPr bwMode="auto">
            <a:xfrm>
              <a:off x="5842" y="2704"/>
              <a:ext cx="31" cy="36"/>
            </a:xfrm>
            <a:custGeom>
              <a:avLst/>
              <a:gdLst>
                <a:gd name="T0" fmla="*/ 12 w 13"/>
                <a:gd name="T1" fmla="*/ 1 h 15"/>
                <a:gd name="T2" fmla="*/ 11 w 13"/>
                <a:gd name="T3" fmla="*/ 0 h 15"/>
                <a:gd name="T4" fmla="*/ 8 w 13"/>
                <a:gd name="T5" fmla="*/ 1 h 15"/>
                <a:gd name="T6" fmla="*/ 7 w 13"/>
                <a:gd name="T7" fmla="*/ 2 h 15"/>
                <a:gd name="T8" fmla="*/ 5 w 13"/>
                <a:gd name="T9" fmla="*/ 4 h 15"/>
                <a:gd name="T10" fmla="*/ 5 w 13"/>
                <a:gd name="T11" fmla="*/ 5 h 15"/>
                <a:gd name="T12" fmla="*/ 5 w 13"/>
                <a:gd name="T13" fmla="*/ 6 h 15"/>
                <a:gd name="T14" fmla="*/ 5 w 13"/>
                <a:gd name="T15" fmla="*/ 6 h 15"/>
                <a:gd name="T16" fmla="*/ 4 w 13"/>
                <a:gd name="T17" fmla="*/ 7 h 15"/>
                <a:gd name="T18" fmla="*/ 3 w 13"/>
                <a:gd name="T19" fmla="*/ 10 h 15"/>
                <a:gd name="T20" fmla="*/ 1 w 13"/>
                <a:gd name="T21" fmla="*/ 11 h 15"/>
                <a:gd name="T22" fmla="*/ 1 w 13"/>
                <a:gd name="T23" fmla="*/ 14 h 15"/>
                <a:gd name="T24" fmla="*/ 3 w 13"/>
                <a:gd name="T25" fmla="*/ 15 h 15"/>
                <a:gd name="T26" fmla="*/ 6 w 13"/>
                <a:gd name="T27" fmla="*/ 14 h 15"/>
                <a:gd name="T28" fmla="*/ 7 w 13"/>
                <a:gd name="T29" fmla="*/ 12 h 15"/>
                <a:gd name="T30" fmla="*/ 7 w 13"/>
                <a:gd name="T31" fmla="*/ 11 h 15"/>
                <a:gd name="T32" fmla="*/ 9 w 13"/>
                <a:gd name="T33" fmla="*/ 9 h 15"/>
                <a:gd name="T34" fmla="*/ 9 w 13"/>
                <a:gd name="T35" fmla="*/ 8 h 15"/>
                <a:gd name="T36" fmla="*/ 12 w 13"/>
                <a:gd name="T37" fmla="*/ 3 h 15"/>
                <a:gd name="T38" fmla="*/ 12 w 13"/>
                <a:gd name="T39" fmla="*/ 3 h 15"/>
                <a:gd name="T40" fmla="*/ 12 w 13"/>
                <a:gd name="T41" fmla="*/ 3 h 15"/>
                <a:gd name="T42" fmla="*/ 12 w 13"/>
                <a:gd name="T4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12" y="1"/>
                  </a:move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8" y="1"/>
                    <a:pt x="8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3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6"/>
                    <a:pt x="4" y="7"/>
                  </a:cubicBezTo>
                  <a:cubicBezTo>
                    <a:pt x="4" y="7"/>
                    <a:pt x="3" y="8"/>
                    <a:pt x="3" y="10"/>
                  </a:cubicBezTo>
                  <a:cubicBezTo>
                    <a:pt x="2" y="10"/>
                    <a:pt x="1" y="11"/>
                    <a:pt x="1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4" y="15"/>
                    <a:pt x="5" y="15"/>
                    <a:pt x="6" y="14"/>
                  </a:cubicBezTo>
                  <a:cubicBezTo>
                    <a:pt x="7" y="14"/>
                    <a:pt x="7" y="13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7" y="11"/>
                    <a:pt x="8" y="10"/>
                    <a:pt x="9" y="9"/>
                  </a:cubicBezTo>
                  <a:cubicBezTo>
                    <a:pt x="9" y="9"/>
                    <a:pt x="9" y="8"/>
                    <a:pt x="9" y="8"/>
                  </a:cubicBezTo>
                  <a:cubicBezTo>
                    <a:pt x="11" y="7"/>
                    <a:pt x="12" y="5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3" y="2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909" y="2664"/>
              <a:ext cx="21" cy="40"/>
            </a:xfrm>
            <a:custGeom>
              <a:avLst/>
              <a:gdLst>
                <a:gd name="T0" fmla="*/ 9 w 9"/>
                <a:gd name="T1" fmla="*/ 7 h 17"/>
                <a:gd name="T2" fmla="*/ 9 w 9"/>
                <a:gd name="T3" fmla="*/ 5 h 17"/>
                <a:gd name="T4" fmla="*/ 9 w 9"/>
                <a:gd name="T5" fmla="*/ 5 h 17"/>
                <a:gd name="T6" fmla="*/ 9 w 9"/>
                <a:gd name="T7" fmla="*/ 4 h 17"/>
                <a:gd name="T8" fmla="*/ 8 w 9"/>
                <a:gd name="T9" fmla="*/ 1 h 17"/>
                <a:gd name="T10" fmla="*/ 3 w 9"/>
                <a:gd name="T11" fmla="*/ 1 h 17"/>
                <a:gd name="T12" fmla="*/ 3 w 9"/>
                <a:gd name="T13" fmla="*/ 3 h 17"/>
                <a:gd name="T14" fmla="*/ 3 w 9"/>
                <a:gd name="T15" fmla="*/ 4 h 17"/>
                <a:gd name="T16" fmla="*/ 3 w 9"/>
                <a:gd name="T17" fmla="*/ 5 h 17"/>
                <a:gd name="T18" fmla="*/ 3 w 9"/>
                <a:gd name="T19" fmla="*/ 5 h 17"/>
                <a:gd name="T20" fmla="*/ 2 w 9"/>
                <a:gd name="T21" fmla="*/ 5 h 17"/>
                <a:gd name="T22" fmla="*/ 1 w 9"/>
                <a:gd name="T23" fmla="*/ 6 h 17"/>
                <a:gd name="T24" fmla="*/ 2 w 9"/>
                <a:gd name="T25" fmla="*/ 8 h 17"/>
                <a:gd name="T26" fmla="*/ 2 w 9"/>
                <a:gd name="T27" fmla="*/ 8 h 17"/>
                <a:gd name="T28" fmla="*/ 1 w 9"/>
                <a:gd name="T29" fmla="*/ 10 h 17"/>
                <a:gd name="T30" fmla="*/ 0 w 9"/>
                <a:gd name="T31" fmla="*/ 12 h 17"/>
                <a:gd name="T32" fmla="*/ 1 w 9"/>
                <a:gd name="T33" fmla="*/ 14 h 17"/>
                <a:gd name="T34" fmla="*/ 2 w 9"/>
                <a:gd name="T35" fmla="*/ 16 h 17"/>
                <a:gd name="T36" fmla="*/ 3 w 9"/>
                <a:gd name="T37" fmla="*/ 17 h 17"/>
                <a:gd name="T38" fmla="*/ 3 w 9"/>
                <a:gd name="T39" fmla="*/ 17 h 17"/>
                <a:gd name="T40" fmla="*/ 6 w 9"/>
                <a:gd name="T41" fmla="*/ 14 h 17"/>
                <a:gd name="T42" fmla="*/ 6 w 9"/>
                <a:gd name="T43" fmla="*/ 12 h 17"/>
                <a:gd name="T44" fmla="*/ 7 w 9"/>
                <a:gd name="T45" fmla="*/ 11 h 17"/>
                <a:gd name="T46" fmla="*/ 8 w 9"/>
                <a:gd name="T47" fmla="*/ 10 h 17"/>
                <a:gd name="T48" fmla="*/ 9 w 9"/>
                <a:gd name="T49" fmla="*/ 9 h 17"/>
                <a:gd name="T50" fmla="*/ 9 w 9"/>
                <a:gd name="T51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" h="17">
                  <a:moveTo>
                    <a:pt x="9" y="7"/>
                  </a:moveTo>
                  <a:cubicBezTo>
                    <a:pt x="9" y="6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2"/>
                    <a:pt x="8" y="1"/>
                  </a:cubicBezTo>
                  <a:cubicBezTo>
                    <a:pt x="7" y="0"/>
                    <a:pt x="5" y="0"/>
                    <a:pt x="3" y="1"/>
                  </a:cubicBez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0" y="11"/>
                    <a:pt x="0" y="12"/>
                  </a:cubicBezTo>
                  <a:cubicBezTo>
                    <a:pt x="0" y="13"/>
                    <a:pt x="1" y="14"/>
                    <a:pt x="1" y="14"/>
                  </a:cubicBezTo>
                  <a:cubicBezTo>
                    <a:pt x="1" y="15"/>
                    <a:pt x="1" y="16"/>
                    <a:pt x="2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5" y="16"/>
                    <a:pt x="6" y="14"/>
                  </a:cubicBezTo>
                  <a:cubicBezTo>
                    <a:pt x="6" y="14"/>
                    <a:pt x="6" y="13"/>
                    <a:pt x="6" y="12"/>
                  </a:cubicBezTo>
                  <a:cubicBezTo>
                    <a:pt x="6" y="12"/>
                    <a:pt x="7" y="11"/>
                    <a:pt x="7" y="11"/>
                  </a:cubicBezTo>
                  <a:cubicBezTo>
                    <a:pt x="7" y="11"/>
                    <a:pt x="8" y="10"/>
                    <a:pt x="8" y="10"/>
                  </a:cubicBezTo>
                  <a:cubicBezTo>
                    <a:pt x="8" y="10"/>
                    <a:pt x="8" y="10"/>
                    <a:pt x="9" y="9"/>
                  </a:cubicBezTo>
                  <a:cubicBezTo>
                    <a:pt x="9" y="9"/>
                    <a:pt x="9" y="8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3" name="Freeform 22"/>
            <p:cNvSpPr>
              <a:spLocks noEditPoints="1"/>
            </p:cNvSpPr>
            <p:nvPr/>
          </p:nvSpPr>
          <p:spPr bwMode="auto">
            <a:xfrm>
              <a:off x="5750" y="2713"/>
              <a:ext cx="26" cy="15"/>
            </a:xfrm>
            <a:custGeom>
              <a:avLst/>
              <a:gdLst>
                <a:gd name="T0" fmla="*/ 6 w 11"/>
                <a:gd name="T1" fmla="*/ 1 h 6"/>
                <a:gd name="T2" fmla="*/ 5 w 11"/>
                <a:gd name="T3" fmla="*/ 1 h 6"/>
                <a:gd name="T4" fmla="*/ 4 w 11"/>
                <a:gd name="T5" fmla="*/ 1 h 6"/>
                <a:gd name="T6" fmla="*/ 4 w 11"/>
                <a:gd name="T7" fmla="*/ 1 h 6"/>
                <a:gd name="T8" fmla="*/ 2 w 11"/>
                <a:gd name="T9" fmla="*/ 2 h 6"/>
                <a:gd name="T10" fmla="*/ 1 w 11"/>
                <a:gd name="T11" fmla="*/ 2 h 6"/>
                <a:gd name="T12" fmla="*/ 0 w 11"/>
                <a:gd name="T13" fmla="*/ 4 h 6"/>
                <a:gd name="T14" fmla="*/ 0 w 11"/>
                <a:gd name="T15" fmla="*/ 5 h 6"/>
                <a:gd name="T16" fmla="*/ 2 w 11"/>
                <a:gd name="T17" fmla="*/ 6 h 6"/>
                <a:gd name="T18" fmla="*/ 3 w 11"/>
                <a:gd name="T19" fmla="*/ 6 h 6"/>
                <a:gd name="T20" fmla="*/ 4 w 11"/>
                <a:gd name="T21" fmla="*/ 6 h 6"/>
                <a:gd name="T22" fmla="*/ 4 w 11"/>
                <a:gd name="T23" fmla="*/ 6 h 6"/>
                <a:gd name="T24" fmla="*/ 5 w 11"/>
                <a:gd name="T25" fmla="*/ 6 h 6"/>
                <a:gd name="T26" fmla="*/ 6 w 11"/>
                <a:gd name="T27" fmla="*/ 6 h 6"/>
                <a:gd name="T28" fmla="*/ 8 w 11"/>
                <a:gd name="T29" fmla="*/ 5 h 6"/>
                <a:gd name="T30" fmla="*/ 9 w 11"/>
                <a:gd name="T31" fmla="*/ 5 h 6"/>
                <a:gd name="T32" fmla="*/ 9 w 11"/>
                <a:gd name="T33" fmla="*/ 5 h 6"/>
                <a:gd name="T34" fmla="*/ 11 w 11"/>
                <a:gd name="T35" fmla="*/ 4 h 6"/>
                <a:gd name="T36" fmla="*/ 10 w 11"/>
                <a:gd name="T37" fmla="*/ 2 h 6"/>
                <a:gd name="T38" fmla="*/ 9 w 11"/>
                <a:gd name="T39" fmla="*/ 1 h 6"/>
                <a:gd name="T40" fmla="*/ 7 w 11"/>
                <a:gd name="T41" fmla="*/ 0 h 6"/>
                <a:gd name="T42" fmla="*/ 6 w 11"/>
                <a:gd name="T43" fmla="*/ 1 h 6"/>
                <a:gd name="T44" fmla="*/ 7 w 11"/>
                <a:gd name="T45" fmla="*/ 2 h 6"/>
                <a:gd name="T46" fmla="*/ 7 w 11"/>
                <a:gd name="T47" fmla="*/ 2 h 6"/>
                <a:gd name="T48" fmla="*/ 6 w 11"/>
                <a:gd name="T49" fmla="*/ 1 h 6"/>
                <a:gd name="T50" fmla="*/ 8 w 11"/>
                <a:gd name="T51" fmla="*/ 1 h 6"/>
                <a:gd name="T52" fmla="*/ 8 w 11"/>
                <a:gd name="T53" fmla="*/ 1 h 6"/>
                <a:gd name="T54" fmla="*/ 8 w 11"/>
                <a:gd name="T5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" h="6">
                  <a:moveTo>
                    <a:pt x="6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7" y="6"/>
                    <a:pt x="8" y="5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11" y="5"/>
                    <a:pt x="11" y="4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9" y="1"/>
                    <a:pt x="9" y="0"/>
                    <a:pt x="7" y="0"/>
                  </a:cubicBezTo>
                  <a:cubicBezTo>
                    <a:pt x="7" y="0"/>
                    <a:pt x="6" y="1"/>
                    <a:pt x="6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6" y="1"/>
                  </a:lnTo>
                  <a:close/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4" name="Freeform 23"/>
            <p:cNvSpPr>
              <a:spLocks noEditPoints="1"/>
            </p:cNvSpPr>
            <p:nvPr/>
          </p:nvSpPr>
          <p:spPr bwMode="auto">
            <a:xfrm>
              <a:off x="5701" y="2725"/>
              <a:ext cx="42" cy="19"/>
            </a:xfrm>
            <a:custGeom>
              <a:avLst/>
              <a:gdLst>
                <a:gd name="T0" fmla="*/ 2 w 18"/>
                <a:gd name="T1" fmla="*/ 7 h 8"/>
                <a:gd name="T2" fmla="*/ 3 w 18"/>
                <a:gd name="T3" fmla="*/ 7 h 8"/>
                <a:gd name="T4" fmla="*/ 4 w 18"/>
                <a:gd name="T5" fmla="*/ 8 h 8"/>
                <a:gd name="T6" fmla="*/ 4 w 18"/>
                <a:gd name="T7" fmla="*/ 7 h 8"/>
                <a:gd name="T8" fmla="*/ 6 w 18"/>
                <a:gd name="T9" fmla="*/ 6 h 8"/>
                <a:gd name="T10" fmla="*/ 6 w 18"/>
                <a:gd name="T11" fmla="*/ 6 h 8"/>
                <a:gd name="T12" fmla="*/ 7 w 18"/>
                <a:gd name="T13" fmla="*/ 5 h 8"/>
                <a:gd name="T14" fmla="*/ 7 w 18"/>
                <a:gd name="T15" fmla="*/ 5 h 8"/>
                <a:gd name="T16" fmla="*/ 7 w 18"/>
                <a:gd name="T17" fmla="*/ 6 h 8"/>
                <a:gd name="T18" fmla="*/ 8 w 18"/>
                <a:gd name="T19" fmla="*/ 7 h 8"/>
                <a:gd name="T20" fmla="*/ 10 w 18"/>
                <a:gd name="T21" fmla="*/ 5 h 8"/>
                <a:gd name="T22" fmla="*/ 12 w 18"/>
                <a:gd name="T23" fmla="*/ 6 h 8"/>
                <a:gd name="T24" fmla="*/ 13 w 18"/>
                <a:gd name="T25" fmla="*/ 6 h 8"/>
                <a:gd name="T26" fmla="*/ 14 w 18"/>
                <a:gd name="T27" fmla="*/ 5 h 8"/>
                <a:gd name="T28" fmla="*/ 15 w 18"/>
                <a:gd name="T29" fmla="*/ 5 h 8"/>
                <a:gd name="T30" fmla="*/ 18 w 18"/>
                <a:gd name="T31" fmla="*/ 3 h 8"/>
                <a:gd name="T32" fmla="*/ 18 w 18"/>
                <a:gd name="T33" fmla="*/ 1 h 8"/>
                <a:gd name="T34" fmla="*/ 15 w 18"/>
                <a:gd name="T35" fmla="*/ 1 h 8"/>
                <a:gd name="T36" fmla="*/ 15 w 18"/>
                <a:gd name="T37" fmla="*/ 0 h 8"/>
                <a:gd name="T38" fmla="*/ 14 w 18"/>
                <a:gd name="T39" fmla="*/ 0 h 8"/>
                <a:gd name="T40" fmla="*/ 13 w 18"/>
                <a:gd name="T41" fmla="*/ 0 h 8"/>
                <a:gd name="T42" fmla="*/ 12 w 18"/>
                <a:gd name="T43" fmla="*/ 0 h 8"/>
                <a:gd name="T44" fmla="*/ 10 w 18"/>
                <a:gd name="T45" fmla="*/ 1 h 8"/>
                <a:gd name="T46" fmla="*/ 10 w 18"/>
                <a:gd name="T47" fmla="*/ 1 h 8"/>
                <a:gd name="T48" fmla="*/ 9 w 18"/>
                <a:gd name="T49" fmla="*/ 1 h 8"/>
                <a:gd name="T50" fmla="*/ 9 w 18"/>
                <a:gd name="T51" fmla="*/ 1 h 8"/>
                <a:gd name="T52" fmla="*/ 7 w 18"/>
                <a:gd name="T53" fmla="*/ 2 h 8"/>
                <a:gd name="T54" fmla="*/ 6 w 18"/>
                <a:gd name="T55" fmla="*/ 2 h 8"/>
                <a:gd name="T56" fmla="*/ 4 w 18"/>
                <a:gd name="T57" fmla="*/ 2 h 8"/>
                <a:gd name="T58" fmla="*/ 4 w 18"/>
                <a:gd name="T59" fmla="*/ 3 h 8"/>
                <a:gd name="T60" fmla="*/ 3 w 18"/>
                <a:gd name="T61" fmla="*/ 3 h 8"/>
                <a:gd name="T62" fmla="*/ 2 w 18"/>
                <a:gd name="T63" fmla="*/ 3 h 8"/>
                <a:gd name="T64" fmla="*/ 1 w 18"/>
                <a:gd name="T65" fmla="*/ 4 h 8"/>
                <a:gd name="T66" fmla="*/ 1 w 18"/>
                <a:gd name="T67" fmla="*/ 4 h 8"/>
                <a:gd name="T68" fmla="*/ 0 w 18"/>
                <a:gd name="T69" fmla="*/ 6 h 8"/>
                <a:gd name="T70" fmla="*/ 1 w 18"/>
                <a:gd name="T71" fmla="*/ 7 h 8"/>
                <a:gd name="T72" fmla="*/ 2 w 18"/>
                <a:gd name="T73" fmla="*/ 7 h 8"/>
                <a:gd name="T74" fmla="*/ 9 w 18"/>
                <a:gd name="T75" fmla="*/ 4 h 8"/>
                <a:gd name="T76" fmla="*/ 10 w 18"/>
                <a:gd name="T77" fmla="*/ 5 h 8"/>
                <a:gd name="T78" fmla="*/ 10 w 18"/>
                <a:gd name="T79" fmla="*/ 5 h 8"/>
                <a:gd name="T80" fmla="*/ 10 w 18"/>
                <a:gd name="T81" fmla="*/ 5 h 8"/>
                <a:gd name="T82" fmla="*/ 9 w 18"/>
                <a:gd name="T8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" h="8">
                  <a:moveTo>
                    <a:pt x="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6"/>
                    <a:pt x="7" y="6"/>
                  </a:cubicBezTo>
                  <a:cubicBezTo>
                    <a:pt x="7" y="6"/>
                    <a:pt x="8" y="7"/>
                    <a:pt x="8" y="7"/>
                  </a:cubicBezTo>
                  <a:cubicBezTo>
                    <a:pt x="9" y="7"/>
                    <a:pt x="10" y="6"/>
                    <a:pt x="10" y="5"/>
                  </a:cubicBezTo>
                  <a:cubicBezTo>
                    <a:pt x="10" y="5"/>
                    <a:pt x="11" y="6"/>
                    <a:pt x="12" y="6"/>
                  </a:cubicBezTo>
                  <a:cubicBezTo>
                    <a:pt x="12" y="6"/>
                    <a:pt x="12" y="6"/>
                    <a:pt x="13" y="6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7" y="5"/>
                    <a:pt x="18" y="4"/>
                    <a:pt x="18" y="3"/>
                  </a:cubicBezTo>
                  <a:cubicBezTo>
                    <a:pt x="18" y="3"/>
                    <a:pt x="18" y="2"/>
                    <a:pt x="18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1" y="0"/>
                    <a:pt x="10" y="0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6"/>
                    <a:pt x="0" y="6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lose/>
                  <a:moveTo>
                    <a:pt x="9" y="4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632" y="2725"/>
              <a:ext cx="69" cy="26"/>
            </a:xfrm>
            <a:custGeom>
              <a:avLst/>
              <a:gdLst>
                <a:gd name="T0" fmla="*/ 12 w 29"/>
                <a:gd name="T1" fmla="*/ 11 h 11"/>
                <a:gd name="T2" fmla="*/ 12 w 29"/>
                <a:gd name="T3" fmla="*/ 11 h 11"/>
                <a:gd name="T4" fmla="*/ 16 w 29"/>
                <a:gd name="T5" fmla="*/ 10 h 11"/>
                <a:gd name="T6" fmla="*/ 17 w 29"/>
                <a:gd name="T7" fmla="*/ 9 h 11"/>
                <a:gd name="T8" fmla="*/ 17 w 29"/>
                <a:gd name="T9" fmla="*/ 9 h 11"/>
                <a:gd name="T10" fmla="*/ 18 w 29"/>
                <a:gd name="T11" fmla="*/ 10 h 11"/>
                <a:gd name="T12" fmla="*/ 20 w 29"/>
                <a:gd name="T13" fmla="*/ 10 h 11"/>
                <a:gd name="T14" fmla="*/ 20 w 29"/>
                <a:gd name="T15" fmla="*/ 10 h 11"/>
                <a:gd name="T16" fmla="*/ 21 w 29"/>
                <a:gd name="T17" fmla="*/ 10 h 11"/>
                <a:gd name="T18" fmla="*/ 21 w 29"/>
                <a:gd name="T19" fmla="*/ 10 h 11"/>
                <a:gd name="T20" fmla="*/ 22 w 29"/>
                <a:gd name="T21" fmla="*/ 10 h 11"/>
                <a:gd name="T22" fmla="*/ 25 w 29"/>
                <a:gd name="T23" fmla="*/ 9 h 11"/>
                <a:gd name="T24" fmla="*/ 25 w 29"/>
                <a:gd name="T25" fmla="*/ 8 h 11"/>
                <a:gd name="T26" fmla="*/ 26 w 29"/>
                <a:gd name="T27" fmla="*/ 8 h 11"/>
                <a:gd name="T28" fmla="*/ 27 w 29"/>
                <a:gd name="T29" fmla="*/ 7 h 11"/>
                <a:gd name="T30" fmla="*/ 28 w 29"/>
                <a:gd name="T31" fmla="*/ 6 h 11"/>
                <a:gd name="T32" fmla="*/ 28 w 29"/>
                <a:gd name="T33" fmla="*/ 5 h 11"/>
                <a:gd name="T34" fmla="*/ 29 w 29"/>
                <a:gd name="T35" fmla="*/ 2 h 11"/>
                <a:gd name="T36" fmla="*/ 27 w 29"/>
                <a:gd name="T37" fmla="*/ 0 h 11"/>
                <a:gd name="T38" fmla="*/ 25 w 29"/>
                <a:gd name="T39" fmla="*/ 1 h 11"/>
                <a:gd name="T40" fmla="*/ 24 w 29"/>
                <a:gd name="T41" fmla="*/ 3 h 11"/>
                <a:gd name="T42" fmla="*/ 24 w 29"/>
                <a:gd name="T43" fmla="*/ 3 h 11"/>
                <a:gd name="T44" fmla="*/ 23 w 29"/>
                <a:gd name="T45" fmla="*/ 4 h 11"/>
                <a:gd name="T46" fmla="*/ 23 w 29"/>
                <a:gd name="T47" fmla="*/ 4 h 11"/>
                <a:gd name="T48" fmla="*/ 22 w 29"/>
                <a:gd name="T49" fmla="*/ 5 h 11"/>
                <a:gd name="T50" fmla="*/ 21 w 29"/>
                <a:gd name="T51" fmla="*/ 5 h 11"/>
                <a:gd name="T52" fmla="*/ 21 w 29"/>
                <a:gd name="T53" fmla="*/ 4 h 11"/>
                <a:gd name="T54" fmla="*/ 19 w 29"/>
                <a:gd name="T55" fmla="*/ 4 h 11"/>
                <a:gd name="T56" fmla="*/ 19 w 29"/>
                <a:gd name="T57" fmla="*/ 4 h 11"/>
                <a:gd name="T58" fmla="*/ 18 w 29"/>
                <a:gd name="T59" fmla="*/ 4 h 11"/>
                <a:gd name="T60" fmla="*/ 17 w 29"/>
                <a:gd name="T61" fmla="*/ 4 h 11"/>
                <a:gd name="T62" fmla="*/ 16 w 29"/>
                <a:gd name="T63" fmla="*/ 5 h 11"/>
                <a:gd name="T64" fmla="*/ 15 w 29"/>
                <a:gd name="T65" fmla="*/ 4 h 11"/>
                <a:gd name="T66" fmla="*/ 14 w 29"/>
                <a:gd name="T67" fmla="*/ 3 h 11"/>
                <a:gd name="T68" fmla="*/ 13 w 29"/>
                <a:gd name="T69" fmla="*/ 3 h 11"/>
                <a:gd name="T70" fmla="*/ 12 w 29"/>
                <a:gd name="T71" fmla="*/ 2 h 11"/>
                <a:gd name="T72" fmla="*/ 11 w 29"/>
                <a:gd name="T73" fmla="*/ 1 h 11"/>
                <a:gd name="T74" fmla="*/ 10 w 29"/>
                <a:gd name="T75" fmla="*/ 1 h 11"/>
                <a:gd name="T76" fmla="*/ 9 w 29"/>
                <a:gd name="T77" fmla="*/ 1 h 11"/>
                <a:gd name="T78" fmla="*/ 8 w 29"/>
                <a:gd name="T79" fmla="*/ 1 h 11"/>
                <a:gd name="T80" fmla="*/ 7 w 29"/>
                <a:gd name="T81" fmla="*/ 1 h 11"/>
                <a:gd name="T82" fmla="*/ 5 w 29"/>
                <a:gd name="T83" fmla="*/ 2 h 11"/>
                <a:gd name="T84" fmla="*/ 4 w 29"/>
                <a:gd name="T85" fmla="*/ 2 h 11"/>
                <a:gd name="T86" fmla="*/ 2 w 29"/>
                <a:gd name="T87" fmla="*/ 3 h 11"/>
                <a:gd name="T88" fmla="*/ 0 w 29"/>
                <a:gd name="T89" fmla="*/ 5 h 11"/>
                <a:gd name="T90" fmla="*/ 1 w 29"/>
                <a:gd name="T91" fmla="*/ 9 h 11"/>
                <a:gd name="T92" fmla="*/ 3 w 29"/>
                <a:gd name="T93" fmla="*/ 10 h 11"/>
                <a:gd name="T94" fmla="*/ 4 w 29"/>
                <a:gd name="T95" fmla="*/ 10 h 11"/>
                <a:gd name="T96" fmla="*/ 5 w 29"/>
                <a:gd name="T97" fmla="*/ 10 h 11"/>
                <a:gd name="T98" fmla="*/ 6 w 29"/>
                <a:gd name="T99" fmla="*/ 10 h 11"/>
                <a:gd name="T100" fmla="*/ 6 w 29"/>
                <a:gd name="T101" fmla="*/ 10 h 11"/>
                <a:gd name="T102" fmla="*/ 8 w 29"/>
                <a:gd name="T103" fmla="*/ 10 h 11"/>
                <a:gd name="T104" fmla="*/ 8 w 29"/>
                <a:gd name="T105" fmla="*/ 10 h 11"/>
                <a:gd name="T106" fmla="*/ 9 w 29"/>
                <a:gd name="T107" fmla="*/ 10 h 11"/>
                <a:gd name="T108" fmla="*/ 11 w 29"/>
                <a:gd name="T109" fmla="*/ 11 h 11"/>
                <a:gd name="T110" fmla="*/ 12 w 29"/>
                <a:gd name="T111" fmla="*/ 11 h 11"/>
                <a:gd name="T112" fmla="*/ 25 w 29"/>
                <a:gd name="T113" fmla="*/ 3 h 11"/>
                <a:gd name="T114" fmla="*/ 25 w 29"/>
                <a:gd name="T115" fmla="*/ 4 h 11"/>
                <a:gd name="T116" fmla="*/ 25 w 29"/>
                <a:gd name="T117" fmla="*/ 4 h 11"/>
                <a:gd name="T118" fmla="*/ 25 w 29"/>
                <a:gd name="T119" fmla="*/ 3 h 11"/>
                <a:gd name="T120" fmla="*/ 25 w 29"/>
                <a:gd name="T1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" h="11"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3" y="11"/>
                    <a:pt x="15" y="11"/>
                    <a:pt x="16" y="10"/>
                  </a:cubicBezTo>
                  <a:cubicBezTo>
                    <a:pt x="16" y="10"/>
                    <a:pt x="16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10"/>
                    <a:pt x="24" y="9"/>
                    <a:pt x="25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6" y="8"/>
                  </a:cubicBezTo>
                  <a:cubicBezTo>
                    <a:pt x="26" y="8"/>
                    <a:pt x="26" y="8"/>
                    <a:pt x="27" y="7"/>
                  </a:cubicBezTo>
                  <a:cubicBezTo>
                    <a:pt x="27" y="7"/>
                    <a:pt x="28" y="6"/>
                    <a:pt x="28" y="6"/>
                  </a:cubicBezTo>
                  <a:cubicBezTo>
                    <a:pt x="28" y="6"/>
                    <a:pt x="28" y="6"/>
                    <a:pt x="28" y="5"/>
                  </a:cubicBezTo>
                  <a:cubicBezTo>
                    <a:pt x="29" y="5"/>
                    <a:pt x="29" y="3"/>
                    <a:pt x="29" y="2"/>
                  </a:cubicBezTo>
                  <a:cubicBezTo>
                    <a:pt x="29" y="1"/>
                    <a:pt x="28" y="0"/>
                    <a:pt x="27" y="0"/>
                  </a:cubicBezTo>
                  <a:cubicBezTo>
                    <a:pt x="26" y="0"/>
                    <a:pt x="26" y="0"/>
                    <a:pt x="25" y="1"/>
                  </a:cubicBezTo>
                  <a:cubicBezTo>
                    <a:pt x="25" y="1"/>
                    <a:pt x="24" y="2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2" y="5"/>
                    <a:pt x="22" y="5"/>
                  </a:cubicBezTo>
                  <a:cubicBezTo>
                    <a:pt x="22" y="5"/>
                    <a:pt x="22" y="5"/>
                    <a:pt x="21" y="5"/>
                  </a:cubicBezTo>
                  <a:cubicBezTo>
                    <a:pt x="21" y="5"/>
                    <a:pt x="21" y="4"/>
                    <a:pt x="21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7" y="4"/>
                    <a:pt x="17" y="4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5"/>
                    <a:pt x="15" y="5"/>
                    <a:pt x="15" y="4"/>
                  </a:cubicBezTo>
                  <a:cubicBezTo>
                    <a:pt x="15" y="4"/>
                    <a:pt x="15" y="4"/>
                    <a:pt x="14" y="3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2" y="3"/>
                  </a:cubicBezTo>
                  <a:cubicBezTo>
                    <a:pt x="2" y="3"/>
                    <a:pt x="1" y="4"/>
                    <a:pt x="0" y="5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1" y="9"/>
                    <a:pt x="2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11"/>
                    <a:pt x="10" y="11"/>
                    <a:pt x="11" y="11"/>
                  </a:cubicBezTo>
                  <a:cubicBezTo>
                    <a:pt x="11" y="11"/>
                    <a:pt x="11" y="11"/>
                    <a:pt x="12" y="11"/>
                  </a:cubicBezTo>
                  <a:close/>
                  <a:moveTo>
                    <a:pt x="25" y="3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5845" y="2524"/>
              <a:ext cx="28" cy="19"/>
            </a:xfrm>
            <a:custGeom>
              <a:avLst/>
              <a:gdLst>
                <a:gd name="T0" fmla="*/ 11 w 12"/>
                <a:gd name="T1" fmla="*/ 5 h 8"/>
                <a:gd name="T2" fmla="*/ 11 w 12"/>
                <a:gd name="T3" fmla="*/ 3 h 8"/>
                <a:gd name="T4" fmla="*/ 10 w 12"/>
                <a:gd name="T5" fmla="*/ 2 h 8"/>
                <a:gd name="T6" fmla="*/ 10 w 12"/>
                <a:gd name="T7" fmla="*/ 1 h 8"/>
                <a:gd name="T8" fmla="*/ 8 w 12"/>
                <a:gd name="T9" fmla="*/ 0 h 8"/>
                <a:gd name="T10" fmla="*/ 7 w 12"/>
                <a:gd name="T11" fmla="*/ 0 h 8"/>
                <a:gd name="T12" fmla="*/ 5 w 12"/>
                <a:gd name="T13" fmla="*/ 1 h 8"/>
                <a:gd name="T14" fmla="*/ 4 w 12"/>
                <a:gd name="T15" fmla="*/ 1 h 8"/>
                <a:gd name="T16" fmla="*/ 1 w 12"/>
                <a:gd name="T17" fmla="*/ 3 h 8"/>
                <a:gd name="T18" fmla="*/ 1 w 12"/>
                <a:gd name="T19" fmla="*/ 5 h 8"/>
                <a:gd name="T20" fmla="*/ 3 w 12"/>
                <a:gd name="T21" fmla="*/ 7 h 8"/>
                <a:gd name="T22" fmla="*/ 4 w 12"/>
                <a:gd name="T23" fmla="*/ 7 h 8"/>
                <a:gd name="T24" fmla="*/ 4 w 12"/>
                <a:gd name="T25" fmla="*/ 7 h 8"/>
                <a:gd name="T26" fmla="*/ 6 w 12"/>
                <a:gd name="T27" fmla="*/ 8 h 8"/>
                <a:gd name="T28" fmla="*/ 7 w 12"/>
                <a:gd name="T29" fmla="*/ 7 h 8"/>
                <a:gd name="T30" fmla="*/ 8 w 12"/>
                <a:gd name="T31" fmla="*/ 6 h 8"/>
                <a:gd name="T32" fmla="*/ 9 w 12"/>
                <a:gd name="T33" fmla="*/ 6 h 8"/>
                <a:gd name="T34" fmla="*/ 9 w 12"/>
                <a:gd name="T35" fmla="*/ 5 h 8"/>
                <a:gd name="T36" fmla="*/ 9 w 12"/>
                <a:gd name="T37" fmla="*/ 6 h 8"/>
                <a:gd name="T38" fmla="*/ 11 w 12"/>
                <a:gd name="T3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8">
                  <a:moveTo>
                    <a:pt x="11" y="5"/>
                  </a:moveTo>
                  <a:cubicBezTo>
                    <a:pt x="12" y="5"/>
                    <a:pt x="12" y="4"/>
                    <a:pt x="11" y="3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10" y="1"/>
                    <a:pt x="10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6" y="0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1" y="1"/>
                    <a:pt x="1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6" y="8"/>
                    <a:pt x="7" y="8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6"/>
                    <a:pt x="1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5783" y="2465"/>
              <a:ext cx="41" cy="88"/>
            </a:xfrm>
            <a:custGeom>
              <a:avLst/>
              <a:gdLst>
                <a:gd name="T0" fmla="*/ 10 w 17"/>
                <a:gd name="T1" fmla="*/ 24 h 37"/>
                <a:gd name="T2" fmla="*/ 11 w 17"/>
                <a:gd name="T3" fmla="*/ 23 h 37"/>
                <a:gd name="T4" fmla="*/ 12 w 17"/>
                <a:gd name="T5" fmla="*/ 24 h 37"/>
                <a:gd name="T6" fmla="*/ 16 w 17"/>
                <a:gd name="T7" fmla="*/ 25 h 37"/>
                <a:gd name="T8" fmla="*/ 15 w 17"/>
                <a:gd name="T9" fmla="*/ 21 h 37"/>
                <a:gd name="T10" fmla="*/ 14 w 17"/>
                <a:gd name="T11" fmla="*/ 18 h 37"/>
                <a:gd name="T12" fmla="*/ 14 w 17"/>
                <a:gd name="T13" fmla="*/ 17 h 37"/>
                <a:gd name="T14" fmla="*/ 13 w 17"/>
                <a:gd name="T15" fmla="*/ 9 h 37"/>
                <a:gd name="T16" fmla="*/ 9 w 17"/>
                <a:gd name="T17" fmla="*/ 10 h 37"/>
                <a:gd name="T18" fmla="*/ 8 w 17"/>
                <a:gd name="T19" fmla="*/ 8 h 37"/>
                <a:gd name="T20" fmla="*/ 9 w 17"/>
                <a:gd name="T21" fmla="*/ 7 h 37"/>
                <a:gd name="T22" fmla="*/ 13 w 17"/>
                <a:gd name="T23" fmla="*/ 7 h 37"/>
                <a:gd name="T24" fmla="*/ 12 w 17"/>
                <a:gd name="T25" fmla="*/ 0 h 37"/>
                <a:gd name="T26" fmla="*/ 9 w 17"/>
                <a:gd name="T27" fmla="*/ 2 h 37"/>
                <a:gd name="T28" fmla="*/ 8 w 17"/>
                <a:gd name="T29" fmla="*/ 3 h 37"/>
                <a:gd name="T30" fmla="*/ 8 w 17"/>
                <a:gd name="T31" fmla="*/ 4 h 37"/>
                <a:gd name="T32" fmla="*/ 4 w 17"/>
                <a:gd name="T33" fmla="*/ 7 h 37"/>
                <a:gd name="T34" fmla="*/ 4 w 17"/>
                <a:gd name="T35" fmla="*/ 7 h 37"/>
                <a:gd name="T36" fmla="*/ 4 w 17"/>
                <a:gd name="T37" fmla="*/ 8 h 37"/>
                <a:gd name="T38" fmla="*/ 3 w 17"/>
                <a:gd name="T39" fmla="*/ 10 h 37"/>
                <a:gd name="T40" fmla="*/ 2 w 17"/>
                <a:gd name="T41" fmla="*/ 12 h 37"/>
                <a:gd name="T42" fmla="*/ 2 w 17"/>
                <a:gd name="T43" fmla="*/ 18 h 37"/>
                <a:gd name="T44" fmla="*/ 4 w 17"/>
                <a:gd name="T45" fmla="*/ 22 h 37"/>
                <a:gd name="T46" fmla="*/ 4 w 17"/>
                <a:gd name="T47" fmla="*/ 26 h 37"/>
                <a:gd name="T48" fmla="*/ 4 w 17"/>
                <a:gd name="T49" fmla="*/ 29 h 37"/>
                <a:gd name="T50" fmla="*/ 1 w 17"/>
                <a:gd name="T51" fmla="*/ 29 h 37"/>
                <a:gd name="T52" fmla="*/ 1 w 17"/>
                <a:gd name="T53" fmla="*/ 33 h 37"/>
                <a:gd name="T54" fmla="*/ 4 w 17"/>
                <a:gd name="T55" fmla="*/ 36 h 37"/>
                <a:gd name="T56" fmla="*/ 8 w 17"/>
                <a:gd name="T57" fmla="*/ 35 h 37"/>
                <a:gd name="T58" fmla="*/ 11 w 17"/>
                <a:gd name="T59" fmla="*/ 37 h 37"/>
                <a:gd name="T60" fmla="*/ 12 w 17"/>
                <a:gd name="T61" fmla="*/ 36 h 37"/>
                <a:gd name="T62" fmla="*/ 10 w 17"/>
                <a:gd name="T63" fmla="*/ 28 h 37"/>
                <a:gd name="T64" fmla="*/ 9 w 17"/>
                <a:gd name="T65" fmla="*/ 24 h 37"/>
                <a:gd name="T66" fmla="*/ 9 w 17"/>
                <a:gd name="T67" fmla="*/ 23 h 37"/>
                <a:gd name="T68" fmla="*/ 10 w 17"/>
                <a:gd name="T6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" h="37">
                  <a:moveTo>
                    <a:pt x="9" y="23"/>
                  </a:moveTo>
                  <a:cubicBezTo>
                    <a:pt x="9" y="23"/>
                    <a:pt x="10" y="24"/>
                    <a:pt x="10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2" y="23"/>
                    <a:pt x="12" y="23"/>
                  </a:cubicBezTo>
                  <a:cubicBezTo>
                    <a:pt x="12" y="23"/>
                    <a:pt x="12" y="24"/>
                    <a:pt x="12" y="24"/>
                  </a:cubicBezTo>
                  <a:cubicBezTo>
                    <a:pt x="13" y="24"/>
                    <a:pt x="13" y="25"/>
                    <a:pt x="14" y="25"/>
                  </a:cubicBezTo>
                  <a:cubicBezTo>
                    <a:pt x="15" y="26"/>
                    <a:pt x="16" y="25"/>
                    <a:pt x="16" y="25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8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4" y="17"/>
                    <a:pt x="14" y="17"/>
                  </a:cubicBezTo>
                  <a:cubicBezTo>
                    <a:pt x="16" y="16"/>
                    <a:pt x="15" y="14"/>
                    <a:pt x="15" y="12"/>
                  </a:cubicBezTo>
                  <a:cubicBezTo>
                    <a:pt x="15" y="10"/>
                    <a:pt x="14" y="9"/>
                    <a:pt x="13" y="9"/>
                  </a:cubicBezTo>
                  <a:cubicBezTo>
                    <a:pt x="12" y="9"/>
                    <a:pt x="11" y="10"/>
                    <a:pt x="10" y="10"/>
                  </a:cubicBez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9" y="9"/>
                    <a:pt x="9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1" y="8"/>
                    <a:pt x="12" y="7"/>
                    <a:pt x="13" y="7"/>
                  </a:cubicBezTo>
                  <a:cubicBezTo>
                    <a:pt x="14" y="5"/>
                    <a:pt x="14" y="4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5" y="5"/>
                    <a:pt x="5" y="6"/>
                  </a:cubicBezTo>
                  <a:cubicBezTo>
                    <a:pt x="5" y="6"/>
                    <a:pt x="4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3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3" y="10"/>
                    <a:pt x="3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1" y="13"/>
                    <a:pt x="1" y="15"/>
                    <a:pt x="2" y="16"/>
                  </a:cubicBezTo>
                  <a:cubicBezTo>
                    <a:pt x="3" y="17"/>
                    <a:pt x="3" y="17"/>
                    <a:pt x="2" y="18"/>
                  </a:cubicBezTo>
                  <a:cubicBezTo>
                    <a:pt x="2" y="19"/>
                    <a:pt x="2" y="20"/>
                    <a:pt x="2" y="21"/>
                  </a:cubicBezTo>
                  <a:cubicBezTo>
                    <a:pt x="2" y="22"/>
                    <a:pt x="3" y="22"/>
                    <a:pt x="4" y="22"/>
                  </a:cubicBezTo>
                  <a:cubicBezTo>
                    <a:pt x="4" y="23"/>
                    <a:pt x="3" y="23"/>
                    <a:pt x="3" y="23"/>
                  </a:cubicBezTo>
                  <a:cubicBezTo>
                    <a:pt x="3" y="24"/>
                    <a:pt x="3" y="26"/>
                    <a:pt x="4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8"/>
                    <a:pt x="4" y="28"/>
                    <a:pt x="4" y="29"/>
                  </a:cubicBezTo>
                  <a:cubicBezTo>
                    <a:pt x="4" y="29"/>
                    <a:pt x="3" y="29"/>
                    <a:pt x="3" y="29"/>
                  </a:cubicBezTo>
                  <a:cubicBezTo>
                    <a:pt x="3" y="29"/>
                    <a:pt x="2" y="29"/>
                    <a:pt x="1" y="29"/>
                  </a:cubicBezTo>
                  <a:cubicBezTo>
                    <a:pt x="0" y="30"/>
                    <a:pt x="1" y="32"/>
                    <a:pt x="1" y="32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5"/>
                    <a:pt x="1" y="35"/>
                  </a:cubicBezTo>
                  <a:cubicBezTo>
                    <a:pt x="2" y="36"/>
                    <a:pt x="3" y="36"/>
                    <a:pt x="4" y="36"/>
                  </a:cubicBezTo>
                  <a:cubicBezTo>
                    <a:pt x="5" y="36"/>
                    <a:pt x="5" y="36"/>
                    <a:pt x="6" y="36"/>
                  </a:cubicBezTo>
                  <a:cubicBezTo>
                    <a:pt x="6" y="36"/>
                    <a:pt x="7" y="36"/>
                    <a:pt x="8" y="35"/>
                  </a:cubicBezTo>
                  <a:cubicBezTo>
                    <a:pt x="8" y="35"/>
                    <a:pt x="8" y="35"/>
                    <a:pt x="8" y="34"/>
                  </a:cubicBezTo>
                  <a:cubicBezTo>
                    <a:pt x="9" y="36"/>
                    <a:pt x="10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2" y="37"/>
                    <a:pt x="12" y="36"/>
                  </a:cubicBezTo>
                  <a:cubicBezTo>
                    <a:pt x="13" y="35"/>
                    <a:pt x="12" y="33"/>
                    <a:pt x="11" y="31"/>
                  </a:cubicBezTo>
                  <a:cubicBezTo>
                    <a:pt x="10" y="30"/>
                    <a:pt x="10" y="29"/>
                    <a:pt x="10" y="28"/>
                  </a:cubicBezTo>
                  <a:cubicBezTo>
                    <a:pt x="10" y="27"/>
                    <a:pt x="10" y="26"/>
                    <a:pt x="9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3"/>
                    <a:pt x="9" y="23"/>
                  </a:cubicBezTo>
                  <a:close/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8" name="Freeform 27"/>
            <p:cNvSpPr>
              <a:spLocks noEditPoints="1"/>
            </p:cNvSpPr>
            <p:nvPr/>
          </p:nvSpPr>
          <p:spPr bwMode="auto">
            <a:xfrm>
              <a:off x="5426" y="2351"/>
              <a:ext cx="206" cy="282"/>
            </a:xfrm>
            <a:custGeom>
              <a:avLst/>
              <a:gdLst>
                <a:gd name="T0" fmla="*/ 53 w 87"/>
                <a:gd name="T1" fmla="*/ 117 h 119"/>
                <a:gd name="T2" fmla="*/ 58 w 87"/>
                <a:gd name="T3" fmla="*/ 115 h 119"/>
                <a:gd name="T4" fmla="*/ 64 w 87"/>
                <a:gd name="T5" fmla="*/ 112 h 119"/>
                <a:gd name="T6" fmla="*/ 63 w 87"/>
                <a:gd name="T7" fmla="*/ 107 h 119"/>
                <a:gd name="T8" fmla="*/ 65 w 87"/>
                <a:gd name="T9" fmla="*/ 103 h 119"/>
                <a:gd name="T10" fmla="*/ 65 w 87"/>
                <a:gd name="T11" fmla="*/ 92 h 119"/>
                <a:gd name="T12" fmla="*/ 68 w 87"/>
                <a:gd name="T13" fmla="*/ 87 h 119"/>
                <a:gd name="T14" fmla="*/ 75 w 87"/>
                <a:gd name="T15" fmla="*/ 83 h 119"/>
                <a:gd name="T16" fmla="*/ 75 w 87"/>
                <a:gd name="T17" fmla="*/ 79 h 119"/>
                <a:gd name="T18" fmla="*/ 74 w 87"/>
                <a:gd name="T19" fmla="*/ 74 h 119"/>
                <a:gd name="T20" fmla="*/ 76 w 87"/>
                <a:gd name="T21" fmla="*/ 69 h 119"/>
                <a:gd name="T22" fmla="*/ 81 w 87"/>
                <a:gd name="T23" fmla="*/ 67 h 119"/>
                <a:gd name="T24" fmla="*/ 83 w 87"/>
                <a:gd name="T25" fmla="*/ 60 h 119"/>
                <a:gd name="T26" fmla="*/ 79 w 87"/>
                <a:gd name="T27" fmla="*/ 55 h 119"/>
                <a:gd name="T28" fmla="*/ 77 w 87"/>
                <a:gd name="T29" fmla="*/ 52 h 119"/>
                <a:gd name="T30" fmla="*/ 75 w 87"/>
                <a:gd name="T31" fmla="*/ 45 h 119"/>
                <a:gd name="T32" fmla="*/ 75 w 87"/>
                <a:gd name="T33" fmla="*/ 45 h 119"/>
                <a:gd name="T34" fmla="*/ 73 w 87"/>
                <a:gd name="T35" fmla="*/ 39 h 119"/>
                <a:gd name="T36" fmla="*/ 74 w 87"/>
                <a:gd name="T37" fmla="*/ 36 h 119"/>
                <a:gd name="T38" fmla="*/ 74 w 87"/>
                <a:gd name="T39" fmla="*/ 31 h 119"/>
                <a:gd name="T40" fmla="*/ 80 w 87"/>
                <a:gd name="T41" fmla="*/ 31 h 119"/>
                <a:gd name="T42" fmla="*/ 80 w 87"/>
                <a:gd name="T43" fmla="*/ 25 h 119"/>
                <a:gd name="T44" fmla="*/ 84 w 87"/>
                <a:gd name="T45" fmla="*/ 23 h 119"/>
                <a:gd name="T46" fmla="*/ 84 w 87"/>
                <a:gd name="T47" fmla="*/ 17 h 119"/>
                <a:gd name="T48" fmla="*/ 81 w 87"/>
                <a:gd name="T49" fmla="*/ 14 h 119"/>
                <a:gd name="T50" fmla="*/ 76 w 87"/>
                <a:gd name="T51" fmla="*/ 14 h 119"/>
                <a:gd name="T52" fmla="*/ 74 w 87"/>
                <a:gd name="T53" fmla="*/ 9 h 119"/>
                <a:gd name="T54" fmla="*/ 71 w 87"/>
                <a:gd name="T55" fmla="*/ 4 h 119"/>
                <a:gd name="T56" fmla="*/ 64 w 87"/>
                <a:gd name="T57" fmla="*/ 0 h 119"/>
                <a:gd name="T58" fmla="*/ 60 w 87"/>
                <a:gd name="T59" fmla="*/ 8 h 119"/>
                <a:gd name="T60" fmla="*/ 57 w 87"/>
                <a:gd name="T61" fmla="*/ 15 h 119"/>
                <a:gd name="T62" fmla="*/ 52 w 87"/>
                <a:gd name="T63" fmla="*/ 19 h 119"/>
                <a:gd name="T64" fmla="*/ 46 w 87"/>
                <a:gd name="T65" fmla="*/ 23 h 119"/>
                <a:gd name="T66" fmla="*/ 42 w 87"/>
                <a:gd name="T67" fmla="*/ 26 h 119"/>
                <a:gd name="T68" fmla="*/ 41 w 87"/>
                <a:gd name="T69" fmla="*/ 27 h 119"/>
                <a:gd name="T70" fmla="*/ 39 w 87"/>
                <a:gd name="T71" fmla="*/ 34 h 119"/>
                <a:gd name="T72" fmla="*/ 35 w 87"/>
                <a:gd name="T73" fmla="*/ 39 h 119"/>
                <a:gd name="T74" fmla="*/ 30 w 87"/>
                <a:gd name="T75" fmla="*/ 42 h 119"/>
                <a:gd name="T76" fmla="*/ 21 w 87"/>
                <a:gd name="T77" fmla="*/ 46 h 119"/>
                <a:gd name="T78" fmla="*/ 21 w 87"/>
                <a:gd name="T79" fmla="*/ 54 h 119"/>
                <a:gd name="T80" fmla="*/ 18 w 87"/>
                <a:gd name="T81" fmla="*/ 58 h 119"/>
                <a:gd name="T82" fmla="*/ 12 w 87"/>
                <a:gd name="T83" fmla="*/ 55 h 119"/>
                <a:gd name="T84" fmla="*/ 9 w 87"/>
                <a:gd name="T85" fmla="*/ 52 h 119"/>
                <a:gd name="T86" fmla="*/ 7 w 87"/>
                <a:gd name="T87" fmla="*/ 52 h 119"/>
                <a:gd name="T88" fmla="*/ 2 w 87"/>
                <a:gd name="T89" fmla="*/ 62 h 119"/>
                <a:gd name="T90" fmla="*/ 3 w 87"/>
                <a:gd name="T91" fmla="*/ 69 h 119"/>
                <a:gd name="T92" fmla="*/ 2 w 87"/>
                <a:gd name="T93" fmla="*/ 74 h 119"/>
                <a:gd name="T94" fmla="*/ 4 w 87"/>
                <a:gd name="T95" fmla="*/ 81 h 119"/>
                <a:gd name="T96" fmla="*/ 6 w 87"/>
                <a:gd name="T97" fmla="*/ 85 h 119"/>
                <a:gd name="T98" fmla="*/ 10 w 87"/>
                <a:gd name="T99" fmla="*/ 87 h 119"/>
                <a:gd name="T100" fmla="*/ 11 w 87"/>
                <a:gd name="T101" fmla="*/ 95 h 119"/>
                <a:gd name="T102" fmla="*/ 13 w 87"/>
                <a:gd name="T103" fmla="*/ 102 h 119"/>
                <a:gd name="T104" fmla="*/ 18 w 87"/>
                <a:gd name="T105" fmla="*/ 107 h 119"/>
                <a:gd name="T106" fmla="*/ 25 w 87"/>
                <a:gd name="T107" fmla="*/ 106 h 119"/>
                <a:gd name="T108" fmla="*/ 29 w 87"/>
                <a:gd name="T109" fmla="*/ 109 h 119"/>
                <a:gd name="T110" fmla="*/ 33 w 87"/>
                <a:gd name="T111" fmla="*/ 109 h 119"/>
                <a:gd name="T112" fmla="*/ 39 w 87"/>
                <a:gd name="T113" fmla="*/ 109 h 119"/>
                <a:gd name="T114" fmla="*/ 44 w 87"/>
                <a:gd name="T115" fmla="*/ 111 h 119"/>
                <a:gd name="T116" fmla="*/ 47 w 87"/>
                <a:gd name="T117" fmla="*/ 112 h 119"/>
                <a:gd name="T118" fmla="*/ 26 w 87"/>
                <a:gd name="T119" fmla="*/ 106 h 119"/>
                <a:gd name="T120" fmla="*/ 78 w 87"/>
                <a:gd name="T121" fmla="*/ 66 h 119"/>
                <a:gd name="T122" fmla="*/ 55 w 87"/>
                <a:gd name="T123" fmla="*/ 1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" h="119">
                  <a:moveTo>
                    <a:pt x="47" y="115"/>
                  </a:moveTo>
                  <a:cubicBezTo>
                    <a:pt x="47" y="116"/>
                    <a:pt x="47" y="118"/>
                    <a:pt x="48" y="119"/>
                  </a:cubicBezTo>
                  <a:cubicBezTo>
                    <a:pt x="49" y="119"/>
                    <a:pt x="49" y="119"/>
                    <a:pt x="50" y="119"/>
                  </a:cubicBezTo>
                  <a:cubicBezTo>
                    <a:pt x="51" y="119"/>
                    <a:pt x="52" y="118"/>
                    <a:pt x="53" y="118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3" y="116"/>
                    <a:pt x="54" y="116"/>
                    <a:pt x="54" y="116"/>
                  </a:cubicBezTo>
                  <a:cubicBezTo>
                    <a:pt x="54" y="116"/>
                    <a:pt x="54" y="116"/>
                    <a:pt x="55" y="116"/>
                  </a:cubicBezTo>
                  <a:cubicBezTo>
                    <a:pt x="55" y="116"/>
                    <a:pt x="56" y="116"/>
                    <a:pt x="57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6"/>
                    <a:pt x="58" y="117"/>
                    <a:pt x="59" y="118"/>
                  </a:cubicBezTo>
                  <a:cubicBezTo>
                    <a:pt x="59" y="118"/>
                    <a:pt x="60" y="118"/>
                    <a:pt x="60" y="118"/>
                  </a:cubicBezTo>
                  <a:cubicBezTo>
                    <a:pt x="61" y="118"/>
                    <a:pt x="62" y="118"/>
                    <a:pt x="62" y="117"/>
                  </a:cubicBezTo>
                  <a:cubicBezTo>
                    <a:pt x="64" y="116"/>
                    <a:pt x="64" y="114"/>
                    <a:pt x="63" y="113"/>
                  </a:cubicBezTo>
                  <a:cubicBezTo>
                    <a:pt x="63" y="112"/>
                    <a:pt x="63" y="112"/>
                    <a:pt x="64" y="112"/>
                  </a:cubicBezTo>
                  <a:cubicBezTo>
                    <a:pt x="64" y="111"/>
                    <a:pt x="64" y="111"/>
                    <a:pt x="64" y="111"/>
                  </a:cubicBezTo>
                  <a:cubicBezTo>
                    <a:pt x="64" y="111"/>
                    <a:pt x="64" y="110"/>
                    <a:pt x="63" y="110"/>
                  </a:cubicBezTo>
                  <a:cubicBezTo>
                    <a:pt x="63" y="109"/>
                    <a:pt x="63" y="109"/>
                    <a:pt x="63" y="109"/>
                  </a:cubicBezTo>
                  <a:cubicBezTo>
                    <a:pt x="63" y="109"/>
                    <a:pt x="64" y="108"/>
                    <a:pt x="64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107"/>
                    <a:pt x="65" y="106"/>
                    <a:pt x="65" y="105"/>
                  </a:cubicBezTo>
                  <a:cubicBezTo>
                    <a:pt x="65" y="104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6" y="102"/>
                    <a:pt x="66" y="102"/>
                    <a:pt x="66" y="101"/>
                  </a:cubicBezTo>
                  <a:cubicBezTo>
                    <a:pt x="66" y="101"/>
                    <a:pt x="67" y="98"/>
                    <a:pt x="66" y="97"/>
                  </a:cubicBezTo>
                  <a:cubicBezTo>
                    <a:pt x="66" y="96"/>
                    <a:pt x="66" y="96"/>
                    <a:pt x="65" y="96"/>
                  </a:cubicBezTo>
                  <a:cubicBezTo>
                    <a:pt x="66" y="95"/>
                    <a:pt x="66" y="94"/>
                    <a:pt x="65" y="93"/>
                  </a:cubicBezTo>
                  <a:cubicBezTo>
                    <a:pt x="65" y="93"/>
                    <a:pt x="65" y="93"/>
                    <a:pt x="65" y="92"/>
                  </a:cubicBezTo>
                  <a:cubicBezTo>
                    <a:pt x="65" y="92"/>
                    <a:pt x="66" y="92"/>
                    <a:pt x="66" y="92"/>
                  </a:cubicBezTo>
                  <a:cubicBezTo>
                    <a:pt x="66" y="91"/>
                    <a:pt x="67" y="91"/>
                    <a:pt x="67" y="91"/>
                  </a:cubicBezTo>
                  <a:cubicBezTo>
                    <a:pt x="68" y="90"/>
                    <a:pt x="68" y="89"/>
                    <a:pt x="68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7"/>
                    <a:pt x="69" y="87"/>
                    <a:pt x="69" y="87"/>
                  </a:cubicBezTo>
                  <a:cubicBezTo>
                    <a:pt x="70" y="86"/>
                    <a:pt x="71" y="86"/>
                    <a:pt x="71" y="85"/>
                  </a:cubicBezTo>
                  <a:cubicBezTo>
                    <a:pt x="71" y="85"/>
                    <a:pt x="71" y="85"/>
                    <a:pt x="72" y="85"/>
                  </a:cubicBezTo>
                  <a:cubicBezTo>
                    <a:pt x="73" y="86"/>
                    <a:pt x="74" y="85"/>
                    <a:pt x="74" y="85"/>
                  </a:cubicBezTo>
                  <a:cubicBezTo>
                    <a:pt x="75" y="84"/>
                    <a:pt x="75" y="83"/>
                    <a:pt x="75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5" y="82"/>
                    <a:pt x="75" y="82"/>
                    <a:pt x="75" y="81"/>
                  </a:cubicBezTo>
                  <a:cubicBezTo>
                    <a:pt x="75" y="81"/>
                    <a:pt x="75" y="81"/>
                    <a:pt x="75" y="80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7"/>
                    <a:pt x="75" y="76"/>
                    <a:pt x="75" y="75"/>
                  </a:cubicBezTo>
                  <a:cubicBezTo>
                    <a:pt x="75" y="75"/>
                    <a:pt x="74" y="74"/>
                    <a:pt x="74" y="74"/>
                  </a:cubicBezTo>
                  <a:cubicBezTo>
                    <a:pt x="74" y="74"/>
                    <a:pt x="74" y="73"/>
                    <a:pt x="74" y="73"/>
                  </a:cubicBezTo>
                  <a:cubicBezTo>
                    <a:pt x="74" y="73"/>
                    <a:pt x="75" y="72"/>
                    <a:pt x="75" y="72"/>
                  </a:cubicBezTo>
                  <a:cubicBezTo>
                    <a:pt x="75" y="72"/>
                    <a:pt x="75" y="71"/>
                    <a:pt x="75" y="70"/>
                  </a:cubicBezTo>
                  <a:cubicBezTo>
                    <a:pt x="76" y="70"/>
                    <a:pt x="76" y="70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7" y="68"/>
                    <a:pt x="77" y="68"/>
                    <a:pt x="78" y="67"/>
                  </a:cubicBezTo>
                  <a:cubicBezTo>
                    <a:pt x="78" y="68"/>
                    <a:pt x="79" y="68"/>
                    <a:pt x="79" y="68"/>
                  </a:cubicBezTo>
                  <a:cubicBezTo>
                    <a:pt x="80" y="68"/>
                    <a:pt x="81" y="68"/>
                    <a:pt x="81" y="67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3" y="68"/>
                    <a:pt x="84" y="67"/>
                    <a:pt x="84" y="67"/>
                  </a:cubicBezTo>
                  <a:cubicBezTo>
                    <a:pt x="85" y="66"/>
                    <a:pt x="85" y="65"/>
                    <a:pt x="86" y="65"/>
                  </a:cubicBezTo>
                  <a:cubicBezTo>
                    <a:pt x="86" y="64"/>
                    <a:pt x="85" y="63"/>
                    <a:pt x="85" y="62"/>
                  </a:cubicBezTo>
                  <a:cubicBezTo>
                    <a:pt x="84" y="62"/>
                    <a:pt x="84" y="62"/>
                    <a:pt x="84" y="61"/>
                  </a:cubicBezTo>
                  <a:cubicBezTo>
                    <a:pt x="83" y="61"/>
                    <a:pt x="83" y="61"/>
                    <a:pt x="83" y="60"/>
                  </a:cubicBezTo>
                  <a:cubicBezTo>
                    <a:pt x="82" y="60"/>
                    <a:pt x="82" y="59"/>
                    <a:pt x="81" y="59"/>
                  </a:cubicBezTo>
                  <a:cubicBezTo>
                    <a:pt x="80" y="58"/>
                    <a:pt x="80" y="58"/>
                    <a:pt x="79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5"/>
                  </a:cubicBezTo>
                  <a:cubicBezTo>
                    <a:pt x="78" y="55"/>
                    <a:pt x="78" y="54"/>
                    <a:pt x="78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3"/>
                    <a:pt x="77" y="5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7" y="52"/>
                    <a:pt x="77" y="52"/>
                  </a:cubicBezTo>
                  <a:cubicBezTo>
                    <a:pt x="77" y="52"/>
                    <a:pt x="79" y="51"/>
                    <a:pt x="79" y="50"/>
                  </a:cubicBezTo>
                  <a:cubicBezTo>
                    <a:pt x="79" y="49"/>
                    <a:pt x="78" y="48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6"/>
                    <a:pt x="76" y="46"/>
                    <a:pt x="76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4" y="43"/>
                    <a:pt x="74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1"/>
                    <a:pt x="74" y="40"/>
                    <a:pt x="73" y="39"/>
                  </a:cubicBezTo>
                  <a:cubicBezTo>
                    <a:pt x="73" y="39"/>
                    <a:pt x="72" y="38"/>
                    <a:pt x="72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2" y="37"/>
                  </a:cubicBezTo>
                  <a:cubicBezTo>
                    <a:pt x="72" y="37"/>
                    <a:pt x="74" y="37"/>
                    <a:pt x="74" y="36"/>
                  </a:cubicBezTo>
                  <a:cubicBezTo>
                    <a:pt x="75" y="35"/>
                    <a:pt x="74" y="34"/>
                    <a:pt x="73" y="33"/>
                  </a:cubicBezTo>
                  <a:cubicBezTo>
                    <a:pt x="74" y="33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5" y="31"/>
                    <a:pt x="75" y="31"/>
                  </a:cubicBezTo>
                  <a:cubicBezTo>
                    <a:pt x="75" y="32"/>
                    <a:pt x="76" y="32"/>
                    <a:pt x="76" y="32"/>
                  </a:cubicBezTo>
                  <a:cubicBezTo>
                    <a:pt x="77" y="33"/>
                    <a:pt x="77" y="33"/>
                    <a:pt x="78" y="33"/>
                  </a:cubicBezTo>
                  <a:cubicBezTo>
                    <a:pt x="79" y="33"/>
                    <a:pt x="80" y="32"/>
                    <a:pt x="80" y="31"/>
                  </a:cubicBezTo>
                  <a:cubicBezTo>
                    <a:pt x="80" y="31"/>
                    <a:pt x="81" y="31"/>
                    <a:pt x="81" y="31"/>
                  </a:cubicBezTo>
                  <a:cubicBezTo>
                    <a:pt x="81" y="30"/>
                    <a:pt x="83" y="29"/>
                    <a:pt x="82" y="27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0" y="26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4"/>
                  </a:cubicBezTo>
                  <a:cubicBezTo>
                    <a:pt x="80" y="24"/>
                    <a:pt x="80" y="24"/>
                    <a:pt x="80" y="25"/>
                  </a:cubicBezTo>
                  <a:cubicBezTo>
                    <a:pt x="80" y="25"/>
                    <a:pt x="81" y="25"/>
                    <a:pt x="81" y="25"/>
                  </a:cubicBezTo>
                  <a:cubicBezTo>
                    <a:pt x="82" y="25"/>
                    <a:pt x="83" y="24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5" y="23"/>
                  </a:cubicBezTo>
                  <a:cubicBezTo>
                    <a:pt x="85" y="22"/>
                    <a:pt x="86" y="22"/>
                    <a:pt x="86" y="22"/>
                  </a:cubicBezTo>
                  <a:cubicBezTo>
                    <a:pt x="87" y="21"/>
                    <a:pt x="87" y="21"/>
                    <a:pt x="87" y="20"/>
                  </a:cubicBezTo>
                  <a:cubicBezTo>
                    <a:pt x="87" y="19"/>
                    <a:pt x="87" y="18"/>
                    <a:pt x="87" y="17"/>
                  </a:cubicBezTo>
                  <a:cubicBezTo>
                    <a:pt x="86" y="16"/>
                    <a:pt x="84" y="17"/>
                    <a:pt x="84" y="17"/>
                  </a:cubicBezTo>
                  <a:cubicBezTo>
                    <a:pt x="84" y="17"/>
                    <a:pt x="84" y="17"/>
                    <a:pt x="83" y="17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0" y="13"/>
                    <a:pt x="79" y="13"/>
                    <a:pt x="79" y="13"/>
                  </a:cubicBezTo>
                  <a:cubicBezTo>
                    <a:pt x="78" y="13"/>
                    <a:pt x="77" y="13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5" y="13"/>
                    <a:pt x="75" y="12"/>
                    <a:pt x="74" y="12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4" y="12"/>
                    <a:pt x="74" y="11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0"/>
                    <a:pt x="74" y="10"/>
                    <a:pt x="74" y="9"/>
                  </a:cubicBezTo>
                  <a:cubicBezTo>
                    <a:pt x="75" y="8"/>
                    <a:pt x="74" y="7"/>
                    <a:pt x="74" y="6"/>
                  </a:cubicBezTo>
                  <a:cubicBezTo>
                    <a:pt x="73" y="6"/>
                    <a:pt x="72" y="5"/>
                    <a:pt x="72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4"/>
                  </a:cubicBezTo>
                  <a:cubicBezTo>
                    <a:pt x="71" y="4"/>
                    <a:pt x="71" y="3"/>
                    <a:pt x="71" y="3"/>
                  </a:cubicBezTo>
                  <a:cubicBezTo>
                    <a:pt x="70" y="2"/>
                    <a:pt x="69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7" y="1"/>
                    <a:pt x="67" y="1"/>
                    <a:pt x="66" y="2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1" y="1"/>
                    <a:pt x="61" y="3"/>
                    <a:pt x="62" y="4"/>
                  </a:cubicBezTo>
                  <a:cubicBezTo>
                    <a:pt x="62" y="4"/>
                    <a:pt x="62" y="4"/>
                    <a:pt x="62" y="5"/>
                  </a:cubicBezTo>
                  <a:cubicBezTo>
                    <a:pt x="62" y="5"/>
                    <a:pt x="62" y="5"/>
                    <a:pt x="61" y="6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0" y="9"/>
                    <a:pt x="60" y="9"/>
                  </a:cubicBezTo>
                  <a:cubicBezTo>
                    <a:pt x="60" y="9"/>
                    <a:pt x="59" y="10"/>
                    <a:pt x="59" y="11"/>
                  </a:cubicBezTo>
                  <a:cubicBezTo>
                    <a:pt x="59" y="11"/>
                    <a:pt x="58" y="12"/>
                    <a:pt x="58" y="13"/>
                  </a:cubicBezTo>
                  <a:cubicBezTo>
                    <a:pt x="58" y="14"/>
                    <a:pt x="58" y="14"/>
                    <a:pt x="57" y="14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6" y="15"/>
                  </a:cubicBezTo>
                  <a:cubicBezTo>
                    <a:pt x="56" y="15"/>
                    <a:pt x="56" y="15"/>
                    <a:pt x="55" y="15"/>
                  </a:cubicBezTo>
                  <a:cubicBezTo>
                    <a:pt x="55" y="15"/>
                    <a:pt x="54" y="16"/>
                    <a:pt x="54" y="16"/>
                  </a:cubicBezTo>
                  <a:cubicBezTo>
                    <a:pt x="53" y="17"/>
                    <a:pt x="52" y="18"/>
                    <a:pt x="52" y="19"/>
                  </a:cubicBezTo>
                  <a:cubicBezTo>
                    <a:pt x="52" y="19"/>
                    <a:pt x="52" y="19"/>
                    <a:pt x="51" y="19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2"/>
                    <a:pt x="47" y="22"/>
                    <a:pt x="47" y="23"/>
                  </a:cubicBezTo>
                  <a:cubicBezTo>
                    <a:pt x="47" y="23"/>
                    <a:pt x="47" y="23"/>
                    <a:pt x="46" y="23"/>
                  </a:cubicBezTo>
                  <a:cubicBezTo>
                    <a:pt x="46" y="23"/>
                    <a:pt x="45" y="23"/>
                    <a:pt x="45" y="24"/>
                  </a:cubicBezTo>
                  <a:cubicBezTo>
                    <a:pt x="44" y="24"/>
                    <a:pt x="44" y="24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30"/>
                    <a:pt x="40" y="31"/>
                    <a:pt x="39" y="32"/>
                  </a:cubicBezTo>
                  <a:cubicBezTo>
                    <a:pt x="39" y="32"/>
                    <a:pt x="39" y="33"/>
                    <a:pt x="39" y="34"/>
                  </a:cubicBezTo>
                  <a:cubicBezTo>
                    <a:pt x="39" y="34"/>
                    <a:pt x="38" y="34"/>
                    <a:pt x="38" y="34"/>
                  </a:cubicBezTo>
                  <a:cubicBezTo>
                    <a:pt x="38" y="35"/>
                    <a:pt x="37" y="35"/>
                    <a:pt x="37" y="3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6"/>
                    <a:pt x="35" y="37"/>
                    <a:pt x="35" y="38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40"/>
                    <a:pt x="34" y="40"/>
                  </a:cubicBezTo>
                  <a:cubicBezTo>
                    <a:pt x="34" y="40"/>
                    <a:pt x="33" y="40"/>
                    <a:pt x="33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1" y="41"/>
                    <a:pt x="31" y="41"/>
                  </a:cubicBezTo>
                  <a:cubicBezTo>
                    <a:pt x="30" y="41"/>
                    <a:pt x="30" y="42"/>
                    <a:pt x="30" y="42"/>
                  </a:cubicBezTo>
                  <a:cubicBezTo>
                    <a:pt x="29" y="42"/>
                    <a:pt x="28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6" y="44"/>
                    <a:pt x="25" y="44"/>
                    <a:pt x="25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3" y="44"/>
                    <a:pt x="22" y="45"/>
                    <a:pt x="21" y="46"/>
                  </a:cubicBezTo>
                  <a:cubicBezTo>
                    <a:pt x="20" y="47"/>
                    <a:pt x="20" y="48"/>
                    <a:pt x="20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51"/>
                    <a:pt x="20" y="52"/>
                    <a:pt x="21" y="5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1" y="53"/>
                    <a:pt x="21" y="54"/>
                  </a:cubicBezTo>
                  <a:cubicBezTo>
                    <a:pt x="20" y="54"/>
                    <a:pt x="20" y="54"/>
                    <a:pt x="20" y="55"/>
                  </a:cubicBezTo>
                  <a:cubicBezTo>
                    <a:pt x="20" y="55"/>
                    <a:pt x="20" y="56"/>
                    <a:pt x="20" y="56"/>
                  </a:cubicBezTo>
                  <a:cubicBezTo>
                    <a:pt x="20" y="56"/>
                    <a:pt x="19" y="57"/>
                    <a:pt x="19" y="57"/>
                  </a:cubicBezTo>
                  <a:cubicBezTo>
                    <a:pt x="19" y="57"/>
                    <a:pt x="19" y="58"/>
                    <a:pt x="19" y="58"/>
                  </a:cubicBezTo>
                  <a:cubicBezTo>
                    <a:pt x="19" y="58"/>
                    <a:pt x="18" y="58"/>
                    <a:pt x="18" y="58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7" y="56"/>
                    <a:pt x="17" y="56"/>
                    <a:pt x="17" y="55"/>
                  </a:cubicBezTo>
                  <a:cubicBezTo>
                    <a:pt x="16" y="54"/>
                    <a:pt x="14" y="53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1" y="55"/>
                    <a:pt x="11" y="54"/>
                    <a:pt x="11" y="54"/>
                  </a:cubicBezTo>
                  <a:cubicBezTo>
                    <a:pt x="11" y="53"/>
                    <a:pt x="11" y="53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7" y="52"/>
                    <a:pt x="7" y="52"/>
                  </a:cubicBezTo>
                  <a:cubicBezTo>
                    <a:pt x="7" y="53"/>
                    <a:pt x="6" y="53"/>
                    <a:pt x="6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4" y="55"/>
                    <a:pt x="3" y="57"/>
                    <a:pt x="3" y="58"/>
                  </a:cubicBezTo>
                  <a:cubicBezTo>
                    <a:pt x="3" y="58"/>
                    <a:pt x="3" y="59"/>
                    <a:pt x="2" y="59"/>
                  </a:cubicBezTo>
                  <a:cubicBezTo>
                    <a:pt x="2" y="60"/>
                    <a:pt x="2" y="62"/>
                    <a:pt x="2" y="62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4"/>
                    <a:pt x="2" y="65"/>
                    <a:pt x="2" y="66"/>
                  </a:cubicBezTo>
                  <a:cubicBezTo>
                    <a:pt x="1" y="67"/>
                    <a:pt x="1" y="68"/>
                    <a:pt x="2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69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0" y="71"/>
                    <a:pt x="0" y="72"/>
                    <a:pt x="1" y="73"/>
                  </a:cubicBezTo>
                  <a:cubicBezTo>
                    <a:pt x="1" y="73"/>
                    <a:pt x="2" y="74"/>
                    <a:pt x="2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5"/>
                    <a:pt x="4" y="75"/>
                  </a:cubicBezTo>
                  <a:cubicBezTo>
                    <a:pt x="4" y="75"/>
                    <a:pt x="3" y="76"/>
                    <a:pt x="3" y="76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2" y="79"/>
                    <a:pt x="3" y="80"/>
                    <a:pt x="4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2"/>
                    <a:pt x="4" y="83"/>
                    <a:pt x="4" y="83"/>
                  </a:cubicBezTo>
                  <a:cubicBezTo>
                    <a:pt x="4" y="84"/>
                    <a:pt x="5" y="85"/>
                    <a:pt x="6" y="85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5" y="85"/>
                    <a:pt x="5" y="85"/>
                    <a:pt x="5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7"/>
                    <a:pt x="5" y="88"/>
                    <a:pt x="6" y="89"/>
                  </a:cubicBezTo>
                  <a:cubicBezTo>
                    <a:pt x="6" y="89"/>
                    <a:pt x="6" y="90"/>
                    <a:pt x="7" y="90"/>
                  </a:cubicBezTo>
                  <a:cubicBezTo>
                    <a:pt x="9" y="90"/>
                    <a:pt x="10" y="89"/>
                    <a:pt x="10" y="87"/>
                  </a:cubicBezTo>
                  <a:cubicBezTo>
                    <a:pt x="10" y="88"/>
                    <a:pt x="11" y="88"/>
                    <a:pt x="11" y="88"/>
                  </a:cubicBezTo>
                  <a:cubicBezTo>
                    <a:pt x="11" y="88"/>
                    <a:pt x="11" y="89"/>
                    <a:pt x="11" y="89"/>
                  </a:cubicBezTo>
                  <a:cubicBezTo>
                    <a:pt x="10" y="89"/>
                    <a:pt x="9" y="90"/>
                    <a:pt x="10" y="92"/>
                  </a:cubicBezTo>
                  <a:cubicBezTo>
                    <a:pt x="10" y="92"/>
                    <a:pt x="10" y="93"/>
                    <a:pt x="10" y="94"/>
                  </a:cubicBezTo>
                  <a:cubicBezTo>
                    <a:pt x="11" y="94"/>
                    <a:pt x="11" y="94"/>
                    <a:pt x="11" y="95"/>
                  </a:cubicBezTo>
                  <a:cubicBezTo>
                    <a:pt x="11" y="95"/>
                    <a:pt x="11" y="96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8"/>
                    <a:pt x="11" y="99"/>
                    <a:pt x="11" y="100"/>
                  </a:cubicBezTo>
                  <a:cubicBezTo>
                    <a:pt x="12" y="100"/>
                    <a:pt x="12" y="101"/>
                    <a:pt x="12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3"/>
                    <a:pt x="11" y="105"/>
                    <a:pt x="13" y="106"/>
                  </a:cubicBezTo>
                  <a:cubicBezTo>
                    <a:pt x="13" y="106"/>
                    <a:pt x="14" y="106"/>
                    <a:pt x="14" y="106"/>
                  </a:cubicBezTo>
                  <a:cubicBezTo>
                    <a:pt x="14" y="106"/>
                    <a:pt x="15" y="107"/>
                    <a:pt x="15" y="107"/>
                  </a:cubicBezTo>
                  <a:cubicBezTo>
                    <a:pt x="16" y="108"/>
                    <a:pt x="17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9" y="108"/>
                    <a:pt x="20" y="108"/>
                  </a:cubicBezTo>
                  <a:cubicBezTo>
                    <a:pt x="21" y="108"/>
                    <a:pt x="21" y="107"/>
                    <a:pt x="22" y="107"/>
                  </a:cubicBezTo>
                  <a:cubicBezTo>
                    <a:pt x="22" y="106"/>
                    <a:pt x="23" y="106"/>
                    <a:pt x="24" y="106"/>
                  </a:cubicBezTo>
                  <a:cubicBezTo>
                    <a:pt x="24" y="106"/>
                    <a:pt x="24" y="106"/>
                    <a:pt x="25" y="106"/>
                  </a:cubicBezTo>
                  <a:cubicBezTo>
                    <a:pt x="25" y="107"/>
                    <a:pt x="24" y="109"/>
                    <a:pt x="25" y="110"/>
                  </a:cubicBezTo>
                  <a:cubicBezTo>
                    <a:pt x="25" y="110"/>
                    <a:pt x="26" y="111"/>
                    <a:pt x="27" y="111"/>
                  </a:cubicBezTo>
                  <a:cubicBezTo>
                    <a:pt x="27" y="111"/>
                    <a:pt x="28" y="110"/>
                    <a:pt x="28" y="110"/>
                  </a:cubicBezTo>
                  <a:cubicBezTo>
                    <a:pt x="28" y="110"/>
                    <a:pt x="28" y="110"/>
                    <a:pt x="29" y="110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30" y="111"/>
                    <a:pt x="30" y="111"/>
                    <a:pt x="31" y="111"/>
                  </a:cubicBezTo>
                  <a:cubicBezTo>
                    <a:pt x="32" y="111"/>
                    <a:pt x="32" y="111"/>
                    <a:pt x="33" y="110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4" y="110"/>
                    <a:pt x="35" y="110"/>
                    <a:pt x="36" y="109"/>
                  </a:cubicBezTo>
                  <a:cubicBezTo>
                    <a:pt x="36" y="109"/>
                    <a:pt x="36" y="108"/>
                    <a:pt x="37" y="108"/>
                  </a:cubicBezTo>
                  <a:cubicBezTo>
                    <a:pt x="37" y="108"/>
                    <a:pt x="37" y="108"/>
                    <a:pt x="38" y="109"/>
                  </a:cubicBezTo>
                  <a:cubicBezTo>
                    <a:pt x="38" y="109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09"/>
                    <a:pt x="39" y="110"/>
                    <a:pt x="40" y="111"/>
                  </a:cubicBezTo>
                  <a:cubicBezTo>
                    <a:pt x="40" y="112"/>
                    <a:pt x="41" y="112"/>
                    <a:pt x="42" y="112"/>
                  </a:cubicBezTo>
                  <a:cubicBezTo>
                    <a:pt x="43" y="112"/>
                    <a:pt x="43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1"/>
                    <a:pt x="46" y="111"/>
                    <a:pt x="46" y="111"/>
                  </a:cubicBezTo>
                  <a:cubicBezTo>
                    <a:pt x="46" y="111"/>
                    <a:pt x="47" y="111"/>
                    <a:pt x="47" y="111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47" y="113"/>
                    <a:pt x="47" y="113"/>
                    <a:pt x="47" y="114"/>
                  </a:cubicBezTo>
                  <a:lnTo>
                    <a:pt x="47" y="115"/>
                  </a:lnTo>
                  <a:close/>
                  <a:moveTo>
                    <a:pt x="26" y="105"/>
                  </a:move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5"/>
                    <a:pt x="26" y="105"/>
                    <a:pt x="26" y="105"/>
                  </a:cubicBezTo>
                  <a:close/>
                  <a:moveTo>
                    <a:pt x="77" y="65"/>
                  </a:moveTo>
                  <a:cubicBezTo>
                    <a:pt x="78" y="65"/>
                    <a:pt x="78" y="65"/>
                    <a:pt x="78" y="65"/>
                  </a:cubicBezTo>
                  <a:cubicBezTo>
                    <a:pt x="78" y="65"/>
                    <a:pt x="78" y="65"/>
                    <a:pt x="78" y="66"/>
                  </a:cubicBezTo>
                  <a:cubicBezTo>
                    <a:pt x="78" y="66"/>
                    <a:pt x="78" y="66"/>
                    <a:pt x="78" y="66"/>
                  </a:cubicBezTo>
                  <a:cubicBezTo>
                    <a:pt x="78" y="66"/>
                    <a:pt x="78" y="66"/>
                    <a:pt x="78" y="66"/>
                  </a:cubicBezTo>
                  <a:lnTo>
                    <a:pt x="77" y="65"/>
                  </a:lnTo>
                  <a:close/>
                  <a:moveTo>
                    <a:pt x="55" y="17"/>
                  </a:moveTo>
                  <a:cubicBezTo>
                    <a:pt x="55" y="17"/>
                    <a:pt x="55" y="17"/>
                    <a:pt x="55" y="17"/>
                  </a:cubicBezTo>
                  <a:cubicBezTo>
                    <a:pt x="55" y="17"/>
                    <a:pt x="55" y="17"/>
                    <a:pt x="55" y="17"/>
                  </a:cubicBezTo>
                  <a:close/>
                  <a:moveTo>
                    <a:pt x="9" y="86"/>
                  </a:move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615" y="2484"/>
              <a:ext cx="138" cy="187"/>
            </a:xfrm>
            <a:custGeom>
              <a:avLst/>
              <a:gdLst>
                <a:gd name="T0" fmla="*/ 18 w 58"/>
                <a:gd name="T1" fmla="*/ 14 h 79"/>
                <a:gd name="T2" fmla="*/ 24 w 58"/>
                <a:gd name="T3" fmla="*/ 14 h 79"/>
                <a:gd name="T4" fmla="*/ 27 w 58"/>
                <a:gd name="T5" fmla="*/ 15 h 79"/>
                <a:gd name="T6" fmla="*/ 33 w 58"/>
                <a:gd name="T7" fmla="*/ 14 h 79"/>
                <a:gd name="T8" fmla="*/ 39 w 58"/>
                <a:gd name="T9" fmla="*/ 15 h 79"/>
                <a:gd name="T10" fmla="*/ 43 w 58"/>
                <a:gd name="T11" fmla="*/ 15 h 79"/>
                <a:gd name="T12" fmla="*/ 50 w 58"/>
                <a:gd name="T13" fmla="*/ 14 h 79"/>
                <a:gd name="T14" fmla="*/ 52 w 58"/>
                <a:gd name="T15" fmla="*/ 11 h 79"/>
                <a:gd name="T16" fmla="*/ 56 w 58"/>
                <a:gd name="T17" fmla="*/ 6 h 79"/>
                <a:gd name="T18" fmla="*/ 51 w 58"/>
                <a:gd name="T19" fmla="*/ 1 h 79"/>
                <a:gd name="T20" fmla="*/ 43 w 58"/>
                <a:gd name="T21" fmla="*/ 8 h 79"/>
                <a:gd name="T22" fmla="*/ 41 w 58"/>
                <a:gd name="T23" fmla="*/ 7 h 79"/>
                <a:gd name="T24" fmla="*/ 35 w 58"/>
                <a:gd name="T25" fmla="*/ 7 h 79"/>
                <a:gd name="T26" fmla="*/ 28 w 58"/>
                <a:gd name="T27" fmla="*/ 6 h 79"/>
                <a:gd name="T28" fmla="*/ 24 w 58"/>
                <a:gd name="T29" fmla="*/ 3 h 79"/>
                <a:gd name="T30" fmla="*/ 24 w 58"/>
                <a:gd name="T31" fmla="*/ 4 h 79"/>
                <a:gd name="T32" fmla="*/ 19 w 58"/>
                <a:gd name="T33" fmla="*/ 7 h 79"/>
                <a:gd name="T34" fmla="*/ 14 w 58"/>
                <a:gd name="T35" fmla="*/ 9 h 79"/>
                <a:gd name="T36" fmla="*/ 13 w 58"/>
                <a:gd name="T37" fmla="*/ 12 h 79"/>
                <a:gd name="T38" fmla="*/ 10 w 58"/>
                <a:gd name="T39" fmla="*/ 21 h 79"/>
                <a:gd name="T40" fmla="*/ 9 w 58"/>
                <a:gd name="T41" fmla="*/ 27 h 79"/>
                <a:gd name="T42" fmla="*/ 6 w 58"/>
                <a:gd name="T43" fmla="*/ 34 h 79"/>
                <a:gd name="T44" fmla="*/ 6 w 58"/>
                <a:gd name="T45" fmla="*/ 40 h 79"/>
                <a:gd name="T46" fmla="*/ 4 w 58"/>
                <a:gd name="T47" fmla="*/ 45 h 79"/>
                <a:gd name="T48" fmla="*/ 1 w 58"/>
                <a:gd name="T49" fmla="*/ 50 h 79"/>
                <a:gd name="T50" fmla="*/ 7 w 58"/>
                <a:gd name="T51" fmla="*/ 56 h 79"/>
                <a:gd name="T52" fmla="*/ 8 w 58"/>
                <a:gd name="T53" fmla="*/ 62 h 79"/>
                <a:gd name="T54" fmla="*/ 8 w 58"/>
                <a:gd name="T55" fmla="*/ 67 h 79"/>
                <a:gd name="T56" fmla="*/ 10 w 58"/>
                <a:gd name="T57" fmla="*/ 78 h 79"/>
                <a:gd name="T58" fmla="*/ 15 w 58"/>
                <a:gd name="T59" fmla="*/ 77 h 79"/>
                <a:gd name="T60" fmla="*/ 17 w 58"/>
                <a:gd name="T61" fmla="*/ 69 h 79"/>
                <a:gd name="T62" fmla="*/ 17 w 58"/>
                <a:gd name="T63" fmla="*/ 55 h 79"/>
                <a:gd name="T64" fmla="*/ 17 w 58"/>
                <a:gd name="T65" fmla="*/ 49 h 79"/>
                <a:gd name="T66" fmla="*/ 21 w 58"/>
                <a:gd name="T67" fmla="*/ 50 h 79"/>
                <a:gd name="T68" fmla="*/ 24 w 58"/>
                <a:gd name="T69" fmla="*/ 61 h 79"/>
                <a:gd name="T70" fmla="*/ 27 w 58"/>
                <a:gd name="T71" fmla="*/ 69 h 79"/>
                <a:gd name="T72" fmla="*/ 31 w 58"/>
                <a:gd name="T73" fmla="*/ 70 h 79"/>
                <a:gd name="T74" fmla="*/ 25 w 58"/>
                <a:gd name="T75" fmla="*/ 72 h 79"/>
                <a:gd name="T76" fmla="*/ 30 w 58"/>
                <a:gd name="T77" fmla="*/ 75 h 79"/>
                <a:gd name="T78" fmla="*/ 35 w 58"/>
                <a:gd name="T79" fmla="*/ 79 h 79"/>
                <a:gd name="T80" fmla="*/ 39 w 58"/>
                <a:gd name="T81" fmla="*/ 71 h 79"/>
                <a:gd name="T82" fmla="*/ 40 w 58"/>
                <a:gd name="T83" fmla="*/ 65 h 79"/>
                <a:gd name="T84" fmla="*/ 37 w 58"/>
                <a:gd name="T85" fmla="*/ 61 h 79"/>
                <a:gd name="T86" fmla="*/ 32 w 58"/>
                <a:gd name="T87" fmla="*/ 55 h 79"/>
                <a:gd name="T88" fmla="*/ 33 w 58"/>
                <a:gd name="T89" fmla="*/ 49 h 79"/>
                <a:gd name="T90" fmla="*/ 26 w 58"/>
                <a:gd name="T91" fmla="*/ 39 h 79"/>
                <a:gd name="T92" fmla="*/ 29 w 58"/>
                <a:gd name="T93" fmla="*/ 37 h 79"/>
                <a:gd name="T94" fmla="*/ 34 w 58"/>
                <a:gd name="T95" fmla="*/ 34 h 79"/>
                <a:gd name="T96" fmla="*/ 39 w 58"/>
                <a:gd name="T97" fmla="*/ 37 h 79"/>
                <a:gd name="T98" fmla="*/ 43 w 58"/>
                <a:gd name="T99" fmla="*/ 31 h 79"/>
                <a:gd name="T100" fmla="*/ 37 w 58"/>
                <a:gd name="T101" fmla="*/ 22 h 79"/>
                <a:gd name="T102" fmla="*/ 30 w 58"/>
                <a:gd name="T103" fmla="*/ 26 h 79"/>
                <a:gd name="T104" fmla="*/ 24 w 58"/>
                <a:gd name="T105" fmla="*/ 28 h 79"/>
                <a:gd name="T106" fmla="*/ 20 w 58"/>
                <a:gd name="T107" fmla="*/ 30 h 79"/>
                <a:gd name="T108" fmla="*/ 17 w 58"/>
                <a:gd name="T109" fmla="*/ 25 h 79"/>
                <a:gd name="T110" fmla="*/ 16 w 58"/>
                <a:gd name="T111" fmla="*/ 21 h 79"/>
                <a:gd name="T112" fmla="*/ 31 w 58"/>
                <a:gd name="T113" fmla="*/ 66 h 79"/>
                <a:gd name="T114" fmla="*/ 32 w 58"/>
                <a:gd name="T115" fmla="*/ 66 h 79"/>
                <a:gd name="T116" fmla="*/ 33 w 58"/>
                <a:gd name="T117" fmla="*/ 66 h 79"/>
                <a:gd name="T118" fmla="*/ 21 w 58"/>
                <a:gd name="T119" fmla="*/ 48 h 79"/>
                <a:gd name="T120" fmla="*/ 35 w 58"/>
                <a:gd name="T121" fmla="*/ 78 h 79"/>
                <a:gd name="T122" fmla="*/ 35 w 58"/>
                <a:gd name="T123" fmla="*/ 6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" h="79">
                  <a:moveTo>
                    <a:pt x="16" y="18"/>
                  </a:moveTo>
                  <a:cubicBezTo>
                    <a:pt x="16" y="17"/>
                    <a:pt x="17" y="16"/>
                    <a:pt x="18" y="15"/>
                  </a:cubicBezTo>
                  <a:cubicBezTo>
                    <a:pt x="18" y="15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14"/>
                    <a:pt x="19" y="15"/>
                    <a:pt x="20" y="15"/>
                  </a:cubicBezTo>
                  <a:cubicBezTo>
                    <a:pt x="20" y="15"/>
                    <a:pt x="21" y="15"/>
                    <a:pt x="22" y="15"/>
                  </a:cubicBezTo>
                  <a:cubicBezTo>
                    <a:pt x="22" y="15"/>
                    <a:pt x="23" y="15"/>
                    <a:pt x="23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9" y="15"/>
                    <a:pt x="29" y="15"/>
                  </a:cubicBezTo>
                  <a:cubicBezTo>
                    <a:pt x="29" y="15"/>
                    <a:pt x="29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4"/>
                    <a:pt x="32" y="14"/>
                    <a:pt x="33" y="14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5" y="14"/>
                    <a:pt x="36" y="14"/>
                  </a:cubicBezTo>
                  <a:cubicBezTo>
                    <a:pt x="36" y="14"/>
                    <a:pt x="36" y="14"/>
                    <a:pt x="37" y="14"/>
                  </a:cubicBezTo>
                  <a:cubicBezTo>
                    <a:pt x="37" y="15"/>
                    <a:pt x="38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4" y="15"/>
                    <a:pt x="45" y="15"/>
                  </a:cubicBezTo>
                  <a:cubicBezTo>
                    <a:pt x="45" y="15"/>
                    <a:pt x="46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9" y="14"/>
                    <a:pt x="50" y="14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2" y="12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10"/>
                    <a:pt x="54" y="9"/>
                    <a:pt x="55" y="9"/>
                  </a:cubicBezTo>
                  <a:cubicBezTo>
                    <a:pt x="55" y="9"/>
                    <a:pt x="55" y="8"/>
                    <a:pt x="56" y="8"/>
                  </a:cubicBezTo>
                  <a:cubicBezTo>
                    <a:pt x="56" y="7"/>
                    <a:pt x="56" y="6"/>
                    <a:pt x="56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6"/>
                    <a:pt x="57" y="5"/>
                    <a:pt x="57" y="5"/>
                  </a:cubicBezTo>
                  <a:cubicBezTo>
                    <a:pt x="57" y="5"/>
                    <a:pt x="58" y="3"/>
                    <a:pt x="57" y="2"/>
                  </a:cubicBezTo>
                  <a:cubicBezTo>
                    <a:pt x="57" y="1"/>
                    <a:pt x="55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3" y="0"/>
                    <a:pt x="52" y="1"/>
                    <a:pt x="51" y="1"/>
                  </a:cubicBezTo>
                  <a:cubicBezTo>
                    <a:pt x="51" y="1"/>
                    <a:pt x="51" y="2"/>
                    <a:pt x="51" y="2"/>
                  </a:cubicBezTo>
                  <a:cubicBezTo>
                    <a:pt x="50" y="2"/>
                    <a:pt x="49" y="3"/>
                    <a:pt x="48" y="4"/>
                  </a:cubicBezTo>
                  <a:cubicBezTo>
                    <a:pt x="47" y="5"/>
                    <a:pt x="46" y="6"/>
                    <a:pt x="45" y="7"/>
                  </a:cubicBezTo>
                  <a:cubicBezTo>
                    <a:pt x="44" y="7"/>
                    <a:pt x="44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0" y="7"/>
                    <a:pt x="40" y="7"/>
                  </a:cubicBezTo>
                  <a:cubicBezTo>
                    <a:pt x="39" y="6"/>
                    <a:pt x="38" y="7"/>
                    <a:pt x="37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6"/>
                    <a:pt x="32" y="6"/>
                    <a:pt x="30" y="6"/>
                  </a:cubicBezTo>
                  <a:cubicBezTo>
                    <a:pt x="29" y="6"/>
                    <a:pt x="28" y="6"/>
                    <a:pt x="28" y="6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6"/>
                    <a:pt x="27" y="6"/>
                    <a:pt x="27" y="6"/>
                  </a:cubicBezTo>
                  <a:cubicBezTo>
                    <a:pt x="27" y="6"/>
                    <a:pt x="28" y="4"/>
                    <a:pt x="27" y="3"/>
                  </a:cubicBezTo>
                  <a:cubicBezTo>
                    <a:pt x="26" y="3"/>
                    <a:pt x="25" y="3"/>
                    <a:pt x="24" y="3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19" y="3"/>
                    <a:pt x="19" y="5"/>
                  </a:cubicBezTo>
                  <a:cubicBezTo>
                    <a:pt x="19" y="6"/>
                    <a:pt x="19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5" y="7"/>
                    <a:pt x="15" y="8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0"/>
                    <a:pt x="13" y="10"/>
                    <a:pt x="13" y="11"/>
                  </a:cubicBezTo>
                  <a:cubicBezTo>
                    <a:pt x="13" y="11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4"/>
                    <a:pt x="11" y="15"/>
                    <a:pt x="11" y="16"/>
                  </a:cubicBezTo>
                  <a:cubicBezTo>
                    <a:pt x="11" y="16"/>
                    <a:pt x="10" y="16"/>
                    <a:pt x="10" y="17"/>
                  </a:cubicBezTo>
                  <a:cubicBezTo>
                    <a:pt x="9" y="17"/>
                    <a:pt x="9" y="18"/>
                    <a:pt x="10" y="19"/>
                  </a:cubicBezTo>
                  <a:cubicBezTo>
                    <a:pt x="10" y="20"/>
                    <a:pt x="10" y="20"/>
                    <a:pt x="10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2"/>
                  </a:cubicBezTo>
                  <a:cubicBezTo>
                    <a:pt x="10" y="22"/>
                    <a:pt x="10" y="23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9" y="26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8" y="28"/>
                    <a:pt x="8" y="28"/>
                  </a:cubicBezTo>
                  <a:cubicBezTo>
                    <a:pt x="8" y="28"/>
                    <a:pt x="7" y="29"/>
                    <a:pt x="7" y="29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3"/>
                    <a:pt x="6" y="34"/>
                    <a:pt x="6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8"/>
                    <a:pt x="5" y="39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1"/>
                    <a:pt x="6" y="42"/>
                    <a:pt x="6" y="42"/>
                  </a:cubicBezTo>
                  <a:cubicBezTo>
                    <a:pt x="6" y="43"/>
                    <a:pt x="6" y="43"/>
                    <a:pt x="6" y="44"/>
                  </a:cubicBezTo>
                  <a:cubicBezTo>
                    <a:pt x="5" y="44"/>
                    <a:pt x="5" y="44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2" y="45"/>
                    <a:pt x="2" y="47"/>
                  </a:cubicBezTo>
                  <a:cubicBezTo>
                    <a:pt x="1" y="47"/>
                    <a:pt x="2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" y="49"/>
                    <a:pt x="1" y="50"/>
                  </a:cubicBezTo>
                  <a:cubicBezTo>
                    <a:pt x="0" y="51"/>
                    <a:pt x="1" y="52"/>
                    <a:pt x="1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4"/>
                    <a:pt x="2" y="55"/>
                    <a:pt x="2" y="55"/>
                  </a:cubicBezTo>
                  <a:cubicBezTo>
                    <a:pt x="2" y="57"/>
                    <a:pt x="4" y="58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7"/>
                    <a:pt x="7" y="57"/>
                  </a:cubicBezTo>
                  <a:cubicBezTo>
                    <a:pt x="7" y="58"/>
                    <a:pt x="7" y="59"/>
                    <a:pt x="8" y="60"/>
                  </a:cubicBezTo>
                  <a:cubicBezTo>
                    <a:pt x="8" y="61"/>
                    <a:pt x="8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3"/>
                    <a:pt x="8" y="63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5"/>
                    <a:pt x="8" y="66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7" y="67"/>
                    <a:pt x="7" y="68"/>
                    <a:pt x="7" y="69"/>
                  </a:cubicBezTo>
                  <a:cubicBezTo>
                    <a:pt x="7" y="69"/>
                    <a:pt x="7" y="70"/>
                    <a:pt x="6" y="70"/>
                  </a:cubicBezTo>
                  <a:cubicBezTo>
                    <a:pt x="6" y="71"/>
                    <a:pt x="6" y="73"/>
                    <a:pt x="6" y="74"/>
                  </a:cubicBezTo>
                  <a:cubicBezTo>
                    <a:pt x="6" y="75"/>
                    <a:pt x="6" y="77"/>
                    <a:pt x="8" y="78"/>
                  </a:cubicBezTo>
                  <a:cubicBezTo>
                    <a:pt x="8" y="78"/>
                    <a:pt x="9" y="78"/>
                    <a:pt x="10" y="78"/>
                  </a:cubicBezTo>
                  <a:cubicBezTo>
                    <a:pt x="11" y="78"/>
                    <a:pt x="11" y="78"/>
                    <a:pt x="12" y="78"/>
                  </a:cubicBezTo>
                  <a:cubicBezTo>
                    <a:pt x="12" y="78"/>
                    <a:pt x="12" y="77"/>
                    <a:pt x="13" y="77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77"/>
                    <a:pt x="14" y="77"/>
                  </a:cubicBezTo>
                  <a:cubicBezTo>
                    <a:pt x="14" y="77"/>
                    <a:pt x="15" y="77"/>
                    <a:pt x="15" y="77"/>
                  </a:cubicBezTo>
                  <a:cubicBezTo>
                    <a:pt x="16" y="77"/>
                    <a:pt x="16" y="77"/>
                    <a:pt x="17" y="77"/>
                  </a:cubicBezTo>
                  <a:cubicBezTo>
                    <a:pt x="18" y="76"/>
                    <a:pt x="17" y="75"/>
                    <a:pt x="17" y="74"/>
                  </a:cubicBezTo>
                  <a:cubicBezTo>
                    <a:pt x="16" y="73"/>
                    <a:pt x="16" y="73"/>
                    <a:pt x="16" y="72"/>
                  </a:cubicBezTo>
                  <a:cubicBezTo>
                    <a:pt x="16" y="71"/>
                    <a:pt x="16" y="70"/>
                    <a:pt x="16" y="69"/>
                  </a:cubicBezTo>
                  <a:cubicBezTo>
                    <a:pt x="16" y="69"/>
                    <a:pt x="17" y="69"/>
                    <a:pt x="17" y="69"/>
                  </a:cubicBezTo>
                  <a:cubicBezTo>
                    <a:pt x="19" y="68"/>
                    <a:pt x="18" y="66"/>
                    <a:pt x="17" y="65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3"/>
                    <a:pt x="17" y="62"/>
                    <a:pt x="17" y="6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58"/>
                    <a:pt x="17" y="56"/>
                    <a:pt x="17" y="55"/>
                  </a:cubicBezTo>
                  <a:cubicBezTo>
                    <a:pt x="17" y="54"/>
                    <a:pt x="18" y="54"/>
                    <a:pt x="18" y="54"/>
                  </a:cubicBezTo>
                  <a:cubicBezTo>
                    <a:pt x="18" y="53"/>
                    <a:pt x="18" y="53"/>
                    <a:pt x="18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8" y="49"/>
                    <a:pt x="19" y="49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1" y="48"/>
                    <a:pt x="21" y="49"/>
                    <a:pt x="21" y="50"/>
                  </a:cubicBezTo>
                  <a:cubicBezTo>
                    <a:pt x="21" y="50"/>
                    <a:pt x="20" y="51"/>
                    <a:pt x="20" y="52"/>
                  </a:cubicBezTo>
                  <a:cubicBezTo>
                    <a:pt x="20" y="53"/>
                    <a:pt x="19" y="55"/>
                    <a:pt x="20" y="56"/>
                  </a:cubicBezTo>
                  <a:cubicBezTo>
                    <a:pt x="21" y="58"/>
                    <a:pt x="22" y="59"/>
                    <a:pt x="24" y="60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3" y="62"/>
                    <a:pt x="23" y="64"/>
                    <a:pt x="24" y="64"/>
                  </a:cubicBezTo>
                  <a:cubicBezTo>
                    <a:pt x="24" y="64"/>
                    <a:pt x="24" y="65"/>
                    <a:pt x="24" y="65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4" y="66"/>
                    <a:pt x="23" y="67"/>
                    <a:pt x="25" y="68"/>
                  </a:cubicBezTo>
                  <a:cubicBezTo>
                    <a:pt x="26" y="69"/>
                    <a:pt x="26" y="69"/>
                    <a:pt x="27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70"/>
                    <a:pt x="29" y="70"/>
                    <a:pt x="29" y="70"/>
                  </a:cubicBezTo>
                  <a:cubicBezTo>
                    <a:pt x="29" y="70"/>
                    <a:pt x="30" y="70"/>
                    <a:pt x="30" y="69"/>
                  </a:cubicBezTo>
                  <a:cubicBezTo>
                    <a:pt x="30" y="69"/>
                    <a:pt x="30" y="69"/>
                    <a:pt x="30" y="70"/>
                  </a:cubicBezTo>
                  <a:cubicBezTo>
                    <a:pt x="30" y="70"/>
                    <a:pt x="31" y="70"/>
                    <a:pt x="31" y="70"/>
                  </a:cubicBezTo>
                  <a:cubicBezTo>
                    <a:pt x="31" y="71"/>
                    <a:pt x="30" y="71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29" y="71"/>
                    <a:pt x="29" y="71"/>
                  </a:cubicBezTo>
                  <a:cubicBezTo>
                    <a:pt x="28" y="70"/>
                    <a:pt x="26" y="70"/>
                    <a:pt x="25" y="72"/>
                  </a:cubicBezTo>
                  <a:cubicBezTo>
                    <a:pt x="24" y="73"/>
                    <a:pt x="25" y="74"/>
                    <a:pt x="26" y="75"/>
                  </a:cubicBezTo>
                  <a:cubicBezTo>
                    <a:pt x="26" y="76"/>
                    <a:pt x="27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9" y="76"/>
                    <a:pt x="29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6"/>
                    <a:pt x="31" y="76"/>
                    <a:pt x="32" y="75"/>
                  </a:cubicBezTo>
                  <a:cubicBezTo>
                    <a:pt x="32" y="75"/>
                    <a:pt x="32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7"/>
                    <a:pt x="33" y="78"/>
                    <a:pt x="33" y="78"/>
                  </a:cubicBezTo>
                  <a:cubicBezTo>
                    <a:pt x="34" y="79"/>
                    <a:pt x="34" y="79"/>
                    <a:pt x="35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7"/>
                    <a:pt x="38" y="76"/>
                    <a:pt x="38" y="76"/>
                  </a:cubicBezTo>
                  <a:cubicBezTo>
                    <a:pt x="39" y="75"/>
                    <a:pt x="40" y="74"/>
                    <a:pt x="39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8" y="71"/>
                    <a:pt x="38" y="70"/>
                    <a:pt x="39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9" y="70"/>
                    <a:pt x="39" y="70"/>
                    <a:pt x="40" y="69"/>
                  </a:cubicBezTo>
                  <a:cubicBezTo>
                    <a:pt x="41" y="68"/>
                    <a:pt x="40" y="67"/>
                    <a:pt x="40" y="65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0" y="64"/>
                    <a:pt x="39" y="63"/>
                    <a:pt x="38" y="63"/>
                  </a:cubicBezTo>
                  <a:cubicBezTo>
                    <a:pt x="38" y="63"/>
                    <a:pt x="37" y="63"/>
                    <a:pt x="37" y="64"/>
                  </a:cubicBezTo>
                  <a:cubicBezTo>
                    <a:pt x="37" y="63"/>
                    <a:pt x="37" y="62"/>
                    <a:pt x="37" y="61"/>
                  </a:cubicBezTo>
                  <a:cubicBezTo>
                    <a:pt x="36" y="60"/>
                    <a:pt x="35" y="60"/>
                    <a:pt x="34" y="60"/>
                  </a:cubicBezTo>
                  <a:cubicBezTo>
                    <a:pt x="34" y="60"/>
                    <a:pt x="34" y="59"/>
                    <a:pt x="34" y="59"/>
                  </a:cubicBezTo>
                  <a:cubicBezTo>
                    <a:pt x="34" y="58"/>
                    <a:pt x="34" y="58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4"/>
                  </a:cubicBezTo>
                  <a:cubicBezTo>
                    <a:pt x="31" y="54"/>
                    <a:pt x="31" y="53"/>
                    <a:pt x="31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1"/>
                    <a:pt x="33" y="50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8"/>
                    <a:pt x="32" y="47"/>
                    <a:pt x="32" y="46"/>
                  </a:cubicBezTo>
                  <a:cubicBezTo>
                    <a:pt x="31" y="45"/>
                    <a:pt x="31" y="44"/>
                    <a:pt x="30" y="43"/>
                  </a:cubicBezTo>
                  <a:cubicBezTo>
                    <a:pt x="29" y="42"/>
                    <a:pt x="28" y="41"/>
                    <a:pt x="27" y="40"/>
                  </a:cubicBezTo>
                  <a:cubicBezTo>
                    <a:pt x="27" y="40"/>
                    <a:pt x="27" y="39"/>
                    <a:pt x="26" y="39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36"/>
                    <a:pt x="31" y="36"/>
                    <a:pt x="32" y="36"/>
                  </a:cubicBezTo>
                  <a:cubicBezTo>
                    <a:pt x="32" y="36"/>
                    <a:pt x="33" y="35"/>
                    <a:pt x="34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4"/>
                    <a:pt x="34" y="35"/>
                    <a:pt x="35" y="35"/>
                  </a:cubicBezTo>
                  <a:cubicBezTo>
                    <a:pt x="35" y="36"/>
                    <a:pt x="36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7"/>
                    <a:pt x="37" y="37"/>
                    <a:pt x="38" y="37"/>
                  </a:cubicBezTo>
                  <a:cubicBezTo>
                    <a:pt x="38" y="37"/>
                    <a:pt x="39" y="37"/>
                    <a:pt x="39" y="37"/>
                  </a:cubicBezTo>
                  <a:cubicBezTo>
                    <a:pt x="40" y="36"/>
                    <a:pt x="40" y="36"/>
                    <a:pt x="40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5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3" y="33"/>
                    <a:pt x="44" y="32"/>
                    <a:pt x="43" y="31"/>
                  </a:cubicBezTo>
                  <a:cubicBezTo>
                    <a:pt x="43" y="30"/>
                    <a:pt x="42" y="30"/>
                    <a:pt x="42" y="29"/>
                  </a:cubicBezTo>
                  <a:cubicBezTo>
                    <a:pt x="42" y="29"/>
                    <a:pt x="42" y="27"/>
                    <a:pt x="42" y="26"/>
                  </a:cubicBezTo>
                  <a:cubicBezTo>
                    <a:pt x="42" y="24"/>
                    <a:pt x="41" y="24"/>
                    <a:pt x="4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3"/>
                    <a:pt x="37" y="22"/>
                    <a:pt x="37" y="22"/>
                  </a:cubicBezTo>
                  <a:cubicBezTo>
                    <a:pt x="35" y="22"/>
                    <a:pt x="35" y="23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2" y="24"/>
                    <a:pt x="32" y="24"/>
                    <a:pt x="31" y="25"/>
                  </a:cubicBezTo>
                  <a:cubicBezTo>
                    <a:pt x="31" y="25"/>
                    <a:pt x="31" y="25"/>
                    <a:pt x="30" y="26"/>
                  </a:cubicBezTo>
                  <a:cubicBezTo>
                    <a:pt x="30" y="26"/>
                    <a:pt x="30" y="26"/>
                    <a:pt x="29" y="26"/>
                  </a:cubicBezTo>
                  <a:cubicBezTo>
                    <a:pt x="29" y="26"/>
                    <a:pt x="29" y="26"/>
                    <a:pt x="28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6"/>
                    <a:pt x="26" y="26"/>
                    <a:pt x="25" y="26"/>
                  </a:cubicBezTo>
                  <a:cubicBezTo>
                    <a:pt x="25" y="27"/>
                    <a:pt x="25" y="27"/>
                    <a:pt x="24" y="28"/>
                  </a:cubicBezTo>
                  <a:cubicBezTo>
                    <a:pt x="24" y="28"/>
                    <a:pt x="24" y="29"/>
                    <a:pt x="24" y="29"/>
                  </a:cubicBezTo>
                  <a:cubicBezTo>
                    <a:pt x="24" y="29"/>
                    <a:pt x="23" y="30"/>
                    <a:pt x="23" y="30"/>
                  </a:cubicBezTo>
                  <a:cubicBezTo>
                    <a:pt x="23" y="30"/>
                    <a:pt x="22" y="30"/>
                    <a:pt x="22" y="30"/>
                  </a:cubicBezTo>
                  <a:cubicBezTo>
                    <a:pt x="22" y="30"/>
                    <a:pt x="21" y="30"/>
                    <a:pt x="21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8"/>
                    <a:pt x="19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6"/>
                    <a:pt x="17" y="26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6" y="24"/>
                    <a:pt x="16" y="24"/>
                  </a:cubicBezTo>
                  <a:cubicBezTo>
                    <a:pt x="17" y="24"/>
                    <a:pt x="17" y="24"/>
                    <a:pt x="17" y="23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6" y="18"/>
                  </a:cubicBezTo>
                  <a:close/>
                  <a:moveTo>
                    <a:pt x="31" y="67"/>
                  </a:moveTo>
                  <a:cubicBezTo>
                    <a:pt x="31" y="67"/>
                    <a:pt x="31" y="66"/>
                    <a:pt x="31" y="66"/>
                  </a:cubicBezTo>
                  <a:cubicBezTo>
                    <a:pt x="31" y="66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lose/>
                  <a:moveTo>
                    <a:pt x="33" y="66"/>
                  </a:moveTo>
                  <a:cubicBezTo>
                    <a:pt x="33" y="66"/>
                    <a:pt x="33" y="66"/>
                    <a:pt x="33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6"/>
                  </a:cubicBezTo>
                  <a:close/>
                  <a:moveTo>
                    <a:pt x="38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lose/>
                  <a:moveTo>
                    <a:pt x="21" y="48"/>
                  </a:moveTo>
                  <a:cubicBezTo>
                    <a:pt x="21" y="47"/>
                    <a:pt x="21" y="47"/>
                    <a:pt x="21" y="47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lose/>
                  <a:moveTo>
                    <a:pt x="35" y="78"/>
                  </a:moveTo>
                  <a:cubicBezTo>
                    <a:pt x="35" y="78"/>
                    <a:pt x="35" y="78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lose/>
                  <a:moveTo>
                    <a:pt x="36" y="64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6" y="65"/>
                    <a:pt x="3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5727" y="2567"/>
              <a:ext cx="42" cy="12"/>
            </a:xfrm>
            <a:custGeom>
              <a:avLst/>
              <a:gdLst>
                <a:gd name="T0" fmla="*/ 14 w 18"/>
                <a:gd name="T1" fmla="*/ 5 h 5"/>
                <a:gd name="T2" fmla="*/ 15 w 18"/>
                <a:gd name="T3" fmla="*/ 4 h 5"/>
                <a:gd name="T4" fmla="*/ 18 w 18"/>
                <a:gd name="T5" fmla="*/ 3 h 5"/>
                <a:gd name="T6" fmla="*/ 18 w 18"/>
                <a:gd name="T7" fmla="*/ 1 h 5"/>
                <a:gd name="T8" fmla="*/ 18 w 18"/>
                <a:gd name="T9" fmla="*/ 0 h 5"/>
                <a:gd name="T10" fmla="*/ 17 w 18"/>
                <a:gd name="T11" fmla="*/ 0 h 5"/>
                <a:gd name="T12" fmla="*/ 16 w 18"/>
                <a:gd name="T13" fmla="*/ 0 h 5"/>
                <a:gd name="T14" fmla="*/ 15 w 18"/>
                <a:gd name="T15" fmla="*/ 0 h 5"/>
                <a:gd name="T16" fmla="*/ 15 w 18"/>
                <a:gd name="T17" fmla="*/ 0 h 5"/>
                <a:gd name="T18" fmla="*/ 14 w 18"/>
                <a:gd name="T19" fmla="*/ 0 h 5"/>
                <a:gd name="T20" fmla="*/ 13 w 18"/>
                <a:gd name="T21" fmla="*/ 1 h 5"/>
                <a:gd name="T22" fmla="*/ 12 w 18"/>
                <a:gd name="T23" fmla="*/ 0 h 5"/>
                <a:gd name="T24" fmla="*/ 10 w 18"/>
                <a:gd name="T25" fmla="*/ 0 h 5"/>
                <a:gd name="T26" fmla="*/ 9 w 18"/>
                <a:gd name="T27" fmla="*/ 1 h 5"/>
                <a:gd name="T28" fmla="*/ 9 w 18"/>
                <a:gd name="T29" fmla="*/ 1 h 5"/>
                <a:gd name="T30" fmla="*/ 8 w 18"/>
                <a:gd name="T31" fmla="*/ 0 h 5"/>
                <a:gd name="T32" fmla="*/ 8 w 18"/>
                <a:gd name="T33" fmla="*/ 0 h 5"/>
                <a:gd name="T34" fmla="*/ 6 w 18"/>
                <a:gd name="T35" fmla="*/ 0 h 5"/>
                <a:gd name="T36" fmla="*/ 5 w 18"/>
                <a:gd name="T37" fmla="*/ 0 h 5"/>
                <a:gd name="T38" fmla="*/ 5 w 18"/>
                <a:gd name="T39" fmla="*/ 0 h 5"/>
                <a:gd name="T40" fmla="*/ 2 w 18"/>
                <a:gd name="T41" fmla="*/ 0 h 5"/>
                <a:gd name="T42" fmla="*/ 0 w 18"/>
                <a:gd name="T43" fmla="*/ 3 h 5"/>
                <a:gd name="T44" fmla="*/ 2 w 18"/>
                <a:gd name="T45" fmla="*/ 5 h 5"/>
                <a:gd name="T46" fmla="*/ 2 w 18"/>
                <a:gd name="T47" fmla="*/ 5 h 5"/>
                <a:gd name="T48" fmla="*/ 4 w 18"/>
                <a:gd name="T49" fmla="*/ 5 h 5"/>
                <a:gd name="T50" fmla="*/ 4 w 18"/>
                <a:gd name="T51" fmla="*/ 4 h 5"/>
                <a:gd name="T52" fmla="*/ 5 w 18"/>
                <a:gd name="T53" fmla="*/ 4 h 5"/>
                <a:gd name="T54" fmla="*/ 5 w 18"/>
                <a:gd name="T55" fmla="*/ 3 h 5"/>
                <a:gd name="T56" fmla="*/ 6 w 18"/>
                <a:gd name="T57" fmla="*/ 4 h 5"/>
                <a:gd name="T58" fmla="*/ 6 w 18"/>
                <a:gd name="T59" fmla="*/ 4 h 5"/>
                <a:gd name="T60" fmla="*/ 9 w 18"/>
                <a:gd name="T61" fmla="*/ 3 h 5"/>
                <a:gd name="T62" fmla="*/ 11 w 18"/>
                <a:gd name="T63" fmla="*/ 5 h 5"/>
                <a:gd name="T64" fmla="*/ 13 w 18"/>
                <a:gd name="T65" fmla="*/ 5 h 5"/>
                <a:gd name="T66" fmla="*/ 14 w 18"/>
                <a:gd name="T6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5" y="4"/>
                    <a:pt x="15" y="4"/>
                  </a:cubicBezTo>
                  <a:cubicBezTo>
                    <a:pt x="16" y="4"/>
                    <a:pt x="17" y="4"/>
                    <a:pt x="18" y="3"/>
                  </a:cubicBezTo>
                  <a:cubicBezTo>
                    <a:pt x="18" y="3"/>
                    <a:pt x="18" y="2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4"/>
                    <a:pt x="10" y="5"/>
                    <a:pt x="11" y="5"/>
                  </a:cubicBezTo>
                  <a:cubicBezTo>
                    <a:pt x="12" y="5"/>
                    <a:pt x="12" y="5"/>
                    <a:pt x="13" y="5"/>
                  </a:cubicBezTo>
                  <a:cubicBezTo>
                    <a:pt x="13" y="5"/>
                    <a:pt x="13" y="5"/>
                    <a:pt x="1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5783" y="2557"/>
              <a:ext cx="24" cy="17"/>
            </a:xfrm>
            <a:custGeom>
              <a:avLst/>
              <a:gdLst>
                <a:gd name="T0" fmla="*/ 4 w 10"/>
                <a:gd name="T1" fmla="*/ 7 h 7"/>
                <a:gd name="T2" fmla="*/ 5 w 10"/>
                <a:gd name="T3" fmla="*/ 7 h 7"/>
                <a:gd name="T4" fmla="*/ 5 w 10"/>
                <a:gd name="T5" fmla="*/ 7 h 7"/>
                <a:gd name="T6" fmla="*/ 6 w 10"/>
                <a:gd name="T7" fmla="*/ 7 h 7"/>
                <a:gd name="T8" fmla="*/ 10 w 10"/>
                <a:gd name="T9" fmla="*/ 5 h 7"/>
                <a:gd name="T10" fmla="*/ 10 w 10"/>
                <a:gd name="T11" fmla="*/ 3 h 7"/>
                <a:gd name="T12" fmla="*/ 8 w 10"/>
                <a:gd name="T13" fmla="*/ 1 h 7"/>
                <a:gd name="T14" fmla="*/ 8 w 10"/>
                <a:gd name="T15" fmla="*/ 1 h 7"/>
                <a:gd name="T16" fmla="*/ 8 w 10"/>
                <a:gd name="T17" fmla="*/ 1 h 7"/>
                <a:gd name="T18" fmla="*/ 7 w 10"/>
                <a:gd name="T19" fmla="*/ 0 h 7"/>
                <a:gd name="T20" fmla="*/ 5 w 10"/>
                <a:gd name="T21" fmla="*/ 0 h 7"/>
                <a:gd name="T22" fmla="*/ 1 w 10"/>
                <a:gd name="T23" fmla="*/ 2 h 7"/>
                <a:gd name="T24" fmla="*/ 1 w 10"/>
                <a:gd name="T25" fmla="*/ 6 h 7"/>
                <a:gd name="T26" fmla="*/ 4 w 10"/>
                <a:gd name="T2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7">
                  <a:moveTo>
                    <a:pt x="4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9" y="6"/>
                    <a:pt x="10" y="5"/>
                  </a:cubicBezTo>
                  <a:cubicBezTo>
                    <a:pt x="10" y="5"/>
                    <a:pt x="10" y="4"/>
                    <a:pt x="10" y="3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1" y="1"/>
                    <a:pt x="1" y="2"/>
                  </a:cubicBezTo>
                  <a:cubicBezTo>
                    <a:pt x="0" y="3"/>
                    <a:pt x="1" y="5"/>
                    <a:pt x="1" y="6"/>
                  </a:cubicBezTo>
                  <a:cubicBezTo>
                    <a:pt x="2" y="7"/>
                    <a:pt x="3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793" y="2593"/>
              <a:ext cx="66" cy="33"/>
            </a:xfrm>
            <a:custGeom>
              <a:avLst/>
              <a:gdLst>
                <a:gd name="T0" fmla="*/ 2 w 28"/>
                <a:gd name="T1" fmla="*/ 11 h 14"/>
                <a:gd name="T2" fmla="*/ 5 w 28"/>
                <a:gd name="T3" fmla="*/ 9 h 14"/>
                <a:gd name="T4" fmla="*/ 5 w 28"/>
                <a:gd name="T5" fmla="*/ 8 h 14"/>
                <a:gd name="T6" fmla="*/ 5 w 28"/>
                <a:gd name="T7" fmla="*/ 9 h 14"/>
                <a:gd name="T8" fmla="*/ 7 w 28"/>
                <a:gd name="T9" fmla="*/ 10 h 14"/>
                <a:gd name="T10" fmla="*/ 10 w 28"/>
                <a:gd name="T11" fmla="*/ 9 h 14"/>
                <a:gd name="T12" fmla="*/ 10 w 28"/>
                <a:gd name="T13" fmla="*/ 8 h 14"/>
                <a:gd name="T14" fmla="*/ 11 w 28"/>
                <a:gd name="T15" fmla="*/ 9 h 14"/>
                <a:gd name="T16" fmla="*/ 12 w 28"/>
                <a:gd name="T17" fmla="*/ 9 h 14"/>
                <a:gd name="T18" fmla="*/ 13 w 28"/>
                <a:gd name="T19" fmla="*/ 10 h 14"/>
                <a:gd name="T20" fmla="*/ 14 w 28"/>
                <a:gd name="T21" fmla="*/ 10 h 14"/>
                <a:gd name="T22" fmla="*/ 16 w 28"/>
                <a:gd name="T23" fmla="*/ 8 h 14"/>
                <a:gd name="T24" fmla="*/ 16 w 28"/>
                <a:gd name="T25" fmla="*/ 8 h 14"/>
                <a:gd name="T26" fmla="*/ 17 w 28"/>
                <a:gd name="T27" fmla="*/ 9 h 14"/>
                <a:gd name="T28" fmla="*/ 18 w 28"/>
                <a:gd name="T29" fmla="*/ 9 h 14"/>
                <a:gd name="T30" fmla="*/ 20 w 28"/>
                <a:gd name="T31" fmla="*/ 10 h 14"/>
                <a:gd name="T32" fmla="*/ 22 w 28"/>
                <a:gd name="T33" fmla="*/ 11 h 14"/>
                <a:gd name="T34" fmla="*/ 23 w 28"/>
                <a:gd name="T35" fmla="*/ 12 h 14"/>
                <a:gd name="T36" fmla="*/ 24 w 28"/>
                <a:gd name="T37" fmla="*/ 13 h 14"/>
                <a:gd name="T38" fmla="*/ 25 w 28"/>
                <a:gd name="T39" fmla="*/ 14 h 14"/>
                <a:gd name="T40" fmla="*/ 27 w 28"/>
                <a:gd name="T41" fmla="*/ 13 h 14"/>
                <a:gd name="T42" fmla="*/ 27 w 28"/>
                <a:gd name="T43" fmla="*/ 10 h 14"/>
                <a:gd name="T44" fmla="*/ 26 w 28"/>
                <a:gd name="T45" fmla="*/ 7 h 14"/>
                <a:gd name="T46" fmla="*/ 25 w 28"/>
                <a:gd name="T47" fmla="*/ 7 h 14"/>
                <a:gd name="T48" fmla="*/ 25 w 28"/>
                <a:gd name="T49" fmla="*/ 6 h 14"/>
                <a:gd name="T50" fmla="*/ 24 w 28"/>
                <a:gd name="T51" fmla="*/ 4 h 14"/>
                <a:gd name="T52" fmla="*/ 22 w 28"/>
                <a:gd name="T53" fmla="*/ 3 h 14"/>
                <a:gd name="T54" fmla="*/ 21 w 28"/>
                <a:gd name="T55" fmla="*/ 3 h 14"/>
                <a:gd name="T56" fmla="*/ 20 w 28"/>
                <a:gd name="T57" fmla="*/ 2 h 14"/>
                <a:gd name="T58" fmla="*/ 19 w 28"/>
                <a:gd name="T59" fmla="*/ 2 h 14"/>
                <a:gd name="T60" fmla="*/ 17 w 28"/>
                <a:gd name="T61" fmla="*/ 1 h 14"/>
                <a:gd name="T62" fmla="*/ 13 w 28"/>
                <a:gd name="T63" fmla="*/ 1 h 14"/>
                <a:gd name="T64" fmla="*/ 13 w 28"/>
                <a:gd name="T65" fmla="*/ 1 h 14"/>
                <a:gd name="T66" fmla="*/ 11 w 28"/>
                <a:gd name="T67" fmla="*/ 0 h 14"/>
                <a:gd name="T68" fmla="*/ 8 w 28"/>
                <a:gd name="T69" fmla="*/ 1 h 14"/>
                <a:gd name="T70" fmla="*/ 8 w 28"/>
                <a:gd name="T71" fmla="*/ 1 h 14"/>
                <a:gd name="T72" fmla="*/ 6 w 28"/>
                <a:gd name="T73" fmla="*/ 1 h 14"/>
                <a:gd name="T74" fmla="*/ 3 w 28"/>
                <a:gd name="T75" fmla="*/ 2 h 14"/>
                <a:gd name="T76" fmla="*/ 2 w 28"/>
                <a:gd name="T77" fmla="*/ 3 h 14"/>
                <a:gd name="T78" fmla="*/ 2 w 28"/>
                <a:gd name="T79" fmla="*/ 4 h 14"/>
                <a:gd name="T80" fmla="*/ 2 w 28"/>
                <a:gd name="T81" fmla="*/ 4 h 14"/>
                <a:gd name="T82" fmla="*/ 1 w 28"/>
                <a:gd name="T83" fmla="*/ 5 h 14"/>
                <a:gd name="T84" fmla="*/ 1 w 28"/>
                <a:gd name="T85" fmla="*/ 7 h 14"/>
                <a:gd name="T86" fmla="*/ 2 w 28"/>
                <a:gd name="T87" fmla="*/ 7 h 14"/>
                <a:gd name="T88" fmla="*/ 1 w 28"/>
                <a:gd name="T89" fmla="*/ 7 h 14"/>
                <a:gd name="T90" fmla="*/ 1 w 28"/>
                <a:gd name="T91" fmla="*/ 7 h 14"/>
                <a:gd name="T92" fmla="*/ 0 w 28"/>
                <a:gd name="T93" fmla="*/ 8 h 14"/>
                <a:gd name="T94" fmla="*/ 1 w 28"/>
                <a:gd name="T95" fmla="*/ 10 h 14"/>
                <a:gd name="T96" fmla="*/ 2 w 28"/>
                <a:gd name="T9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" h="14">
                  <a:moveTo>
                    <a:pt x="2" y="11"/>
                  </a:moveTo>
                  <a:cubicBezTo>
                    <a:pt x="3" y="11"/>
                    <a:pt x="4" y="10"/>
                    <a:pt x="5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10"/>
                    <a:pt x="7" y="10"/>
                  </a:cubicBezTo>
                  <a:cubicBezTo>
                    <a:pt x="8" y="10"/>
                    <a:pt x="9" y="9"/>
                    <a:pt x="10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2" y="9"/>
                    <a:pt x="13" y="9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5" y="10"/>
                    <a:pt x="16" y="9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9" y="10"/>
                    <a:pt x="20" y="10"/>
                  </a:cubicBezTo>
                  <a:cubicBezTo>
                    <a:pt x="21" y="11"/>
                    <a:pt x="22" y="11"/>
                    <a:pt x="22" y="11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3"/>
                    <a:pt x="24" y="13"/>
                    <a:pt x="24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6" y="14"/>
                    <a:pt x="26" y="14"/>
                    <a:pt x="27" y="13"/>
                  </a:cubicBezTo>
                  <a:cubicBezTo>
                    <a:pt x="27" y="12"/>
                    <a:pt x="28" y="11"/>
                    <a:pt x="27" y="10"/>
                  </a:cubicBezTo>
                  <a:cubicBezTo>
                    <a:pt x="27" y="9"/>
                    <a:pt x="26" y="8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5"/>
                    <a:pt x="25" y="4"/>
                    <a:pt x="24" y="4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2" y="3"/>
                    <a:pt x="21" y="3"/>
                  </a:cubicBezTo>
                  <a:cubicBezTo>
                    <a:pt x="21" y="3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6" y="0"/>
                    <a:pt x="14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0"/>
                    <a:pt x="6" y="1"/>
                  </a:cubicBezTo>
                  <a:cubicBezTo>
                    <a:pt x="5" y="1"/>
                    <a:pt x="4" y="2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8"/>
                    <a:pt x="0" y="8"/>
                  </a:cubicBezTo>
                  <a:cubicBezTo>
                    <a:pt x="0" y="9"/>
                    <a:pt x="0" y="9"/>
                    <a:pt x="1" y="10"/>
                  </a:cubicBezTo>
                  <a:cubicBezTo>
                    <a:pt x="1" y="10"/>
                    <a:pt x="1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757" y="2588"/>
              <a:ext cx="31" cy="38"/>
            </a:xfrm>
            <a:custGeom>
              <a:avLst/>
              <a:gdLst>
                <a:gd name="T0" fmla="*/ 13 w 13"/>
                <a:gd name="T1" fmla="*/ 11 h 16"/>
                <a:gd name="T2" fmla="*/ 11 w 13"/>
                <a:gd name="T3" fmla="*/ 8 h 16"/>
                <a:gd name="T4" fmla="*/ 11 w 13"/>
                <a:gd name="T5" fmla="*/ 8 h 16"/>
                <a:gd name="T6" fmla="*/ 11 w 13"/>
                <a:gd name="T7" fmla="*/ 7 h 16"/>
                <a:gd name="T8" fmla="*/ 9 w 13"/>
                <a:gd name="T9" fmla="*/ 5 h 16"/>
                <a:gd name="T10" fmla="*/ 6 w 13"/>
                <a:gd name="T11" fmla="*/ 5 h 16"/>
                <a:gd name="T12" fmla="*/ 5 w 13"/>
                <a:gd name="T13" fmla="*/ 5 h 16"/>
                <a:gd name="T14" fmla="*/ 4 w 13"/>
                <a:gd name="T15" fmla="*/ 6 h 16"/>
                <a:gd name="T16" fmla="*/ 1 w 13"/>
                <a:gd name="T17" fmla="*/ 0 h 16"/>
                <a:gd name="T18" fmla="*/ 2 w 13"/>
                <a:gd name="T19" fmla="*/ 5 h 16"/>
                <a:gd name="T20" fmla="*/ 1 w 13"/>
                <a:gd name="T21" fmla="*/ 6 h 16"/>
                <a:gd name="T22" fmla="*/ 1 w 13"/>
                <a:gd name="T23" fmla="*/ 9 h 16"/>
                <a:gd name="T24" fmla="*/ 1 w 13"/>
                <a:gd name="T25" fmla="*/ 9 h 16"/>
                <a:gd name="T26" fmla="*/ 1 w 13"/>
                <a:gd name="T27" fmla="*/ 10 h 16"/>
                <a:gd name="T28" fmla="*/ 1 w 13"/>
                <a:gd name="T29" fmla="*/ 10 h 16"/>
                <a:gd name="T30" fmla="*/ 2 w 13"/>
                <a:gd name="T31" fmla="*/ 13 h 16"/>
                <a:gd name="T32" fmla="*/ 3 w 13"/>
                <a:gd name="T33" fmla="*/ 14 h 16"/>
                <a:gd name="T34" fmla="*/ 4 w 13"/>
                <a:gd name="T35" fmla="*/ 14 h 16"/>
                <a:gd name="T36" fmla="*/ 4 w 13"/>
                <a:gd name="T37" fmla="*/ 15 h 16"/>
                <a:gd name="T38" fmla="*/ 6 w 13"/>
                <a:gd name="T39" fmla="*/ 16 h 16"/>
                <a:gd name="T40" fmla="*/ 6 w 13"/>
                <a:gd name="T41" fmla="*/ 16 h 16"/>
                <a:gd name="T42" fmla="*/ 8 w 13"/>
                <a:gd name="T43" fmla="*/ 15 h 16"/>
                <a:gd name="T44" fmla="*/ 8 w 13"/>
                <a:gd name="T45" fmla="*/ 15 h 16"/>
                <a:gd name="T46" fmla="*/ 10 w 13"/>
                <a:gd name="T47" fmla="*/ 14 h 16"/>
                <a:gd name="T48" fmla="*/ 13 w 13"/>
                <a:gd name="T4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" h="16">
                  <a:moveTo>
                    <a:pt x="13" y="11"/>
                  </a:moveTo>
                  <a:cubicBezTo>
                    <a:pt x="13" y="9"/>
                    <a:pt x="12" y="9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7"/>
                  </a:cubicBezTo>
                  <a:cubicBezTo>
                    <a:pt x="10" y="7"/>
                    <a:pt x="10" y="6"/>
                    <a:pt x="9" y="5"/>
                  </a:cubicBezTo>
                  <a:cubicBezTo>
                    <a:pt x="9" y="5"/>
                    <a:pt x="7" y="5"/>
                    <a:pt x="6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2"/>
                    <a:pt x="2" y="13"/>
                  </a:cubicBezTo>
                  <a:cubicBezTo>
                    <a:pt x="3" y="13"/>
                    <a:pt x="3" y="13"/>
                    <a:pt x="3" y="14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4" y="14"/>
                    <a:pt x="4" y="15"/>
                    <a:pt x="4" y="15"/>
                  </a:cubicBezTo>
                  <a:cubicBezTo>
                    <a:pt x="5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11" y="14"/>
                    <a:pt x="13" y="13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649" y="2666"/>
              <a:ext cx="11" cy="21"/>
            </a:xfrm>
            <a:custGeom>
              <a:avLst/>
              <a:gdLst>
                <a:gd name="T0" fmla="*/ 4 w 5"/>
                <a:gd name="T1" fmla="*/ 1 h 9"/>
                <a:gd name="T2" fmla="*/ 3 w 5"/>
                <a:gd name="T3" fmla="*/ 1 h 9"/>
                <a:gd name="T4" fmla="*/ 3 w 5"/>
                <a:gd name="T5" fmla="*/ 1 h 9"/>
                <a:gd name="T6" fmla="*/ 2 w 5"/>
                <a:gd name="T7" fmla="*/ 0 h 9"/>
                <a:gd name="T8" fmla="*/ 1 w 5"/>
                <a:gd name="T9" fmla="*/ 1 h 9"/>
                <a:gd name="T10" fmla="*/ 1 w 5"/>
                <a:gd name="T11" fmla="*/ 1 h 9"/>
                <a:gd name="T12" fmla="*/ 0 w 5"/>
                <a:gd name="T13" fmla="*/ 2 h 9"/>
                <a:gd name="T14" fmla="*/ 0 w 5"/>
                <a:gd name="T15" fmla="*/ 3 h 9"/>
                <a:gd name="T16" fmla="*/ 0 w 5"/>
                <a:gd name="T17" fmla="*/ 4 h 9"/>
                <a:gd name="T18" fmla="*/ 0 w 5"/>
                <a:gd name="T19" fmla="*/ 4 h 9"/>
                <a:gd name="T20" fmla="*/ 0 w 5"/>
                <a:gd name="T21" fmla="*/ 5 h 9"/>
                <a:gd name="T22" fmla="*/ 0 w 5"/>
                <a:gd name="T23" fmla="*/ 6 h 9"/>
                <a:gd name="T24" fmla="*/ 0 w 5"/>
                <a:gd name="T25" fmla="*/ 9 h 9"/>
                <a:gd name="T26" fmla="*/ 2 w 5"/>
                <a:gd name="T27" fmla="*/ 9 h 9"/>
                <a:gd name="T28" fmla="*/ 2 w 5"/>
                <a:gd name="T29" fmla="*/ 9 h 9"/>
                <a:gd name="T30" fmla="*/ 4 w 5"/>
                <a:gd name="T31" fmla="*/ 6 h 9"/>
                <a:gd name="T32" fmla="*/ 3 w 5"/>
                <a:gd name="T33" fmla="*/ 6 h 9"/>
                <a:gd name="T34" fmla="*/ 4 w 5"/>
                <a:gd name="T35" fmla="*/ 6 h 9"/>
                <a:gd name="T36" fmla="*/ 4 w 5"/>
                <a:gd name="T3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9">
                  <a:moveTo>
                    <a:pt x="4" y="1"/>
                  </a:move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8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3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5" name="Freeform 34"/>
            <p:cNvSpPr>
              <a:spLocks noEditPoints="1"/>
            </p:cNvSpPr>
            <p:nvPr/>
          </p:nvSpPr>
          <p:spPr bwMode="auto">
            <a:xfrm>
              <a:off x="5400" y="2588"/>
              <a:ext cx="24" cy="21"/>
            </a:xfrm>
            <a:custGeom>
              <a:avLst/>
              <a:gdLst>
                <a:gd name="T0" fmla="*/ 1 w 10"/>
                <a:gd name="T1" fmla="*/ 9 h 9"/>
                <a:gd name="T2" fmla="*/ 2 w 10"/>
                <a:gd name="T3" fmla="*/ 9 h 9"/>
                <a:gd name="T4" fmla="*/ 4 w 10"/>
                <a:gd name="T5" fmla="*/ 9 h 9"/>
                <a:gd name="T6" fmla="*/ 5 w 10"/>
                <a:gd name="T7" fmla="*/ 8 h 9"/>
                <a:gd name="T8" fmla="*/ 5 w 10"/>
                <a:gd name="T9" fmla="*/ 9 h 9"/>
                <a:gd name="T10" fmla="*/ 6 w 10"/>
                <a:gd name="T11" fmla="*/ 9 h 9"/>
                <a:gd name="T12" fmla="*/ 8 w 10"/>
                <a:gd name="T13" fmla="*/ 8 h 9"/>
                <a:gd name="T14" fmla="*/ 9 w 10"/>
                <a:gd name="T15" fmla="*/ 6 h 9"/>
                <a:gd name="T16" fmla="*/ 9 w 10"/>
                <a:gd name="T17" fmla="*/ 6 h 9"/>
                <a:gd name="T18" fmla="*/ 9 w 10"/>
                <a:gd name="T19" fmla="*/ 3 h 9"/>
                <a:gd name="T20" fmla="*/ 6 w 10"/>
                <a:gd name="T21" fmla="*/ 1 h 9"/>
                <a:gd name="T22" fmla="*/ 6 w 10"/>
                <a:gd name="T23" fmla="*/ 0 h 9"/>
                <a:gd name="T24" fmla="*/ 5 w 10"/>
                <a:gd name="T25" fmla="*/ 0 h 9"/>
                <a:gd name="T26" fmla="*/ 4 w 10"/>
                <a:gd name="T27" fmla="*/ 0 h 9"/>
                <a:gd name="T28" fmla="*/ 2 w 10"/>
                <a:gd name="T29" fmla="*/ 1 h 9"/>
                <a:gd name="T30" fmla="*/ 2 w 10"/>
                <a:gd name="T31" fmla="*/ 1 h 9"/>
                <a:gd name="T32" fmla="*/ 2 w 10"/>
                <a:gd name="T33" fmla="*/ 2 h 9"/>
                <a:gd name="T34" fmla="*/ 0 w 10"/>
                <a:gd name="T35" fmla="*/ 3 h 9"/>
                <a:gd name="T36" fmla="*/ 0 w 10"/>
                <a:gd name="T37" fmla="*/ 5 h 9"/>
                <a:gd name="T38" fmla="*/ 0 w 10"/>
                <a:gd name="T39" fmla="*/ 6 h 9"/>
                <a:gd name="T40" fmla="*/ 1 w 10"/>
                <a:gd name="T41" fmla="*/ 9 h 9"/>
                <a:gd name="T42" fmla="*/ 4 w 10"/>
                <a:gd name="T43" fmla="*/ 6 h 9"/>
                <a:gd name="T44" fmla="*/ 4 w 10"/>
                <a:gd name="T45" fmla="*/ 6 h 9"/>
                <a:gd name="T46" fmla="*/ 4 w 10"/>
                <a:gd name="T47" fmla="*/ 6 h 9"/>
                <a:gd name="T48" fmla="*/ 4 w 10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9">
                  <a:moveTo>
                    <a:pt x="1" y="9"/>
                  </a:moveTo>
                  <a:cubicBezTo>
                    <a:pt x="1" y="9"/>
                    <a:pt x="2" y="9"/>
                    <a:pt x="2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9"/>
                    <a:pt x="4" y="9"/>
                    <a:pt x="5" y="8"/>
                  </a:cubicBezTo>
                  <a:cubicBezTo>
                    <a:pt x="5" y="8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1"/>
                    <a:pt x="7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0" y="3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0" y="8"/>
                    <a:pt x="1" y="9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228" y="2541"/>
              <a:ext cx="23" cy="38"/>
            </a:xfrm>
            <a:custGeom>
              <a:avLst/>
              <a:gdLst>
                <a:gd name="T0" fmla="*/ 8 w 10"/>
                <a:gd name="T1" fmla="*/ 9 h 16"/>
                <a:gd name="T2" fmla="*/ 7 w 10"/>
                <a:gd name="T3" fmla="*/ 7 h 16"/>
                <a:gd name="T4" fmla="*/ 7 w 10"/>
                <a:gd name="T5" fmla="*/ 6 h 16"/>
                <a:gd name="T6" fmla="*/ 6 w 10"/>
                <a:gd name="T7" fmla="*/ 4 h 16"/>
                <a:gd name="T8" fmla="*/ 6 w 10"/>
                <a:gd name="T9" fmla="*/ 3 h 16"/>
                <a:gd name="T10" fmla="*/ 3 w 10"/>
                <a:gd name="T11" fmla="*/ 0 h 16"/>
                <a:gd name="T12" fmla="*/ 3 w 10"/>
                <a:gd name="T13" fmla="*/ 2 h 16"/>
                <a:gd name="T14" fmla="*/ 0 w 10"/>
                <a:gd name="T15" fmla="*/ 6 h 16"/>
                <a:gd name="T16" fmla="*/ 1 w 10"/>
                <a:gd name="T17" fmla="*/ 9 h 16"/>
                <a:gd name="T18" fmla="*/ 1 w 10"/>
                <a:gd name="T19" fmla="*/ 9 h 16"/>
                <a:gd name="T20" fmla="*/ 2 w 10"/>
                <a:gd name="T21" fmla="*/ 12 h 16"/>
                <a:gd name="T22" fmla="*/ 3 w 10"/>
                <a:gd name="T23" fmla="*/ 12 h 16"/>
                <a:gd name="T24" fmla="*/ 4 w 10"/>
                <a:gd name="T25" fmla="*/ 14 h 16"/>
                <a:gd name="T26" fmla="*/ 7 w 10"/>
                <a:gd name="T27" fmla="*/ 16 h 16"/>
                <a:gd name="T28" fmla="*/ 8 w 10"/>
                <a:gd name="T29" fmla="*/ 16 h 16"/>
                <a:gd name="T30" fmla="*/ 9 w 10"/>
                <a:gd name="T31" fmla="*/ 13 h 16"/>
                <a:gd name="T32" fmla="*/ 10 w 10"/>
                <a:gd name="T33" fmla="*/ 12 h 16"/>
                <a:gd name="T34" fmla="*/ 8 w 10"/>
                <a:gd name="T35" fmla="*/ 9 h 16"/>
                <a:gd name="T36" fmla="*/ 8 w 10"/>
                <a:gd name="T3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16">
                  <a:moveTo>
                    <a:pt x="8" y="9"/>
                  </a:moveTo>
                  <a:cubicBezTo>
                    <a:pt x="8" y="8"/>
                    <a:pt x="7" y="7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7" y="5"/>
                    <a:pt x="7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0" y="5"/>
                    <a:pt x="0" y="6"/>
                  </a:cubicBezTo>
                  <a:cubicBezTo>
                    <a:pt x="0" y="8"/>
                    <a:pt x="1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2" y="11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4" y="14"/>
                    <a:pt x="4" y="14"/>
                  </a:cubicBezTo>
                  <a:cubicBezTo>
                    <a:pt x="6" y="15"/>
                    <a:pt x="7" y="16"/>
                    <a:pt x="7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5"/>
                    <a:pt x="10" y="14"/>
                    <a:pt x="9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0" y="11"/>
                    <a:pt x="9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5199" y="2486"/>
              <a:ext cx="24" cy="33"/>
            </a:xfrm>
            <a:custGeom>
              <a:avLst/>
              <a:gdLst>
                <a:gd name="T0" fmla="*/ 9 w 10"/>
                <a:gd name="T1" fmla="*/ 5 h 14"/>
                <a:gd name="T2" fmla="*/ 7 w 10"/>
                <a:gd name="T3" fmla="*/ 3 h 14"/>
                <a:gd name="T4" fmla="*/ 7 w 10"/>
                <a:gd name="T5" fmla="*/ 2 h 14"/>
                <a:gd name="T6" fmla="*/ 5 w 10"/>
                <a:gd name="T7" fmla="*/ 0 h 14"/>
                <a:gd name="T8" fmla="*/ 1 w 10"/>
                <a:gd name="T9" fmla="*/ 2 h 14"/>
                <a:gd name="T10" fmla="*/ 1 w 10"/>
                <a:gd name="T11" fmla="*/ 5 h 14"/>
                <a:gd name="T12" fmla="*/ 2 w 10"/>
                <a:gd name="T13" fmla="*/ 7 h 14"/>
                <a:gd name="T14" fmla="*/ 4 w 10"/>
                <a:gd name="T15" fmla="*/ 10 h 14"/>
                <a:gd name="T16" fmla="*/ 5 w 10"/>
                <a:gd name="T17" fmla="*/ 12 h 14"/>
                <a:gd name="T18" fmla="*/ 8 w 10"/>
                <a:gd name="T19" fmla="*/ 14 h 14"/>
                <a:gd name="T20" fmla="*/ 8 w 10"/>
                <a:gd name="T21" fmla="*/ 14 h 14"/>
                <a:gd name="T22" fmla="*/ 10 w 10"/>
                <a:gd name="T23" fmla="*/ 11 h 14"/>
                <a:gd name="T24" fmla="*/ 10 w 10"/>
                <a:gd name="T25" fmla="*/ 11 h 14"/>
                <a:gd name="T26" fmla="*/ 10 w 10"/>
                <a:gd name="T27" fmla="*/ 10 h 14"/>
                <a:gd name="T28" fmla="*/ 10 w 10"/>
                <a:gd name="T29" fmla="*/ 8 h 14"/>
                <a:gd name="T30" fmla="*/ 9 w 10"/>
                <a:gd name="T31" fmla="*/ 6 h 14"/>
                <a:gd name="T32" fmla="*/ 9 w 10"/>
                <a:gd name="T33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14">
                  <a:moveTo>
                    <a:pt x="9" y="5"/>
                  </a:moveTo>
                  <a:cubicBezTo>
                    <a:pt x="9" y="4"/>
                    <a:pt x="8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1"/>
                    <a:pt x="5" y="0"/>
                  </a:cubicBezTo>
                  <a:cubicBezTo>
                    <a:pt x="4" y="0"/>
                    <a:pt x="2" y="0"/>
                    <a:pt x="1" y="2"/>
                  </a:cubicBezTo>
                  <a:cubicBezTo>
                    <a:pt x="0" y="3"/>
                    <a:pt x="1" y="5"/>
                    <a:pt x="1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8"/>
                    <a:pt x="2" y="10"/>
                    <a:pt x="4" y="10"/>
                  </a:cubicBezTo>
                  <a:cubicBezTo>
                    <a:pt x="4" y="11"/>
                    <a:pt x="5" y="11"/>
                    <a:pt x="5" y="12"/>
                  </a:cubicBezTo>
                  <a:cubicBezTo>
                    <a:pt x="6" y="13"/>
                    <a:pt x="6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0" y="9"/>
                    <a:pt x="10" y="8"/>
                  </a:cubicBezTo>
                  <a:cubicBezTo>
                    <a:pt x="10" y="7"/>
                    <a:pt x="10" y="7"/>
                    <a:pt x="9" y="6"/>
                  </a:cubicBezTo>
                  <a:cubicBezTo>
                    <a:pt x="9" y="6"/>
                    <a:pt x="9" y="6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8" name="Freeform 37"/>
            <p:cNvSpPr>
              <a:spLocks noEditPoints="1"/>
            </p:cNvSpPr>
            <p:nvPr/>
          </p:nvSpPr>
          <p:spPr bwMode="auto">
            <a:xfrm>
              <a:off x="5159" y="2389"/>
              <a:ext cx="402" cy="360"/>
            </a:xfrm>
            <a:custGeom>
              <a:avLst/>
              <a:gdLst>
                <a:gd name="T0" fmla="*/ 122 w 170"/>
                <a:gd name="T1" fmla="*/ 141 h 152"/>
                <a:gd name="T2" fmla="*/ 132 w 170"/>
                <a:gd name="T3" fmla="*/ 145 h 152"/>
                <a:gd name="T4" fmla="*/ 139 w 170"/>
                <a:gd name="T5" fmla="*/ 146 h 152"/>
                <a:gd name="T6" fmla="*/ 151 w 170"/>
                <a:gd name="T7" fmla="*/ 147 h 152"/>
                <a:gd name="T8" fmla="*/ 161 w 170"/>
                <a:gd name="T9" fmla="*/ 150 h 152"/>
                <a:gd name="T10" fmla="*/ 162 w 170"/>
                <a:gd name="T11" fmla="*/ 151 h 152"/>
                <a:gd name="T12" fmla="*/ 170 w 170"/>
                <a:gd name="T13" fmla="*/ 146 h 152"/>
                <a:gd name="T14" fmla="*/ 160 w 170"/>
                <a:gd name="T15" fmla="*/ 142 h 152"/>
                <a:gd name="T16" fmla="*/ 149 w 170"/>
                <a:gd name="T17" fmla="*/ 137 h 152"/>
                <a:gd name="T18" fmla="*/ 152 w 170"/>
                <a:gd name="T19" fmla="*/ 134 h 152"/>
                <a:gd name="T20" fmla="*/ 155 w 170"/>
                <a:gd name="T21" fmla="*/ 129 h 152"/>
                <a:gd name="T22" fmla="*/ 139 w 170"/>
                <a:gd name="T23" fmla="*/ 127 h 152"/>
                <a:gd name="T24" fmla="*/ 132 w 170"/>
                <a:gd name="T25" fmla="*/ 125 h 152"/>
                <a:gd name="T26" fmla="*/ 125 w 170"/>
                <a:gd name="T27" fmla="*/ 127 h 152"/>
                <a:gd name="T28" fmla="*/ 115 w 170"/>
                <a:gd name="T29" fmla="*/ 127 h 152"/>
                <a:gd name="T30" fmla="*/ 111 w 170"/>
                <a:gd name="T31" fmla="*/ 122 h 152"/>
                <a:gd name="T32" fmla="*/ 104 w 170"/>
                <a:gd name="T33" fmla="*/ 121 h 152"/>
                <a:gd name="T34" fmla="*/ 95 w 170"/>
                <a:gd name="T35" fmla="*/ 119 h 152"/>
                <a:gd name="T36" fmla="*/ 92 w 170"/>
                <a:gd name="T37" fmla="*/ 105 h 152"/>
                <a:gd name="T38" fmla="*/ 92 w 170"/>
                <a:gd name="T39" fmla="*/ 89 h 152"/>
                <a:gd name="T40" fmla="*/ 98 w 170"/>
                <a:gd name="T41" fmla="*/ 89 h 152"/>
                <a:gd name="T42" fmla="*/ 94 w 170"/>
                <a:gd name="T43" fmla="*/ 77 h 152"/>
                <a:gd name="T44" fmla="*/ 84 w 170"/>
                <a:gd name="T45" fmla="*/ 77 h 152"/>
                <a:gd name="T46" fmla="*/ 85 w 170"/>
                <a:gd name="T47" fmla="*/ 83 h 152"/>
                <a:gd name="T48" fmla="*/ 80 w 170"/>
                <a:gd name="T49" fmla="*/ 73 h 152"/>
                <a:gd name="T50" fmla="*/ 73 w 170"/>
                <a:gd name="T51" fmla="*/ 68 h 152"/>
                <a:gd name="T52" fmla="*/ 71 w 170"/>
                <a:gd name="T53" fmla="*/ 62 h 152"/>
                <a:gd name="T54" fmla="*/ 69 w 170"/>
                <a:gd name="T55" fmla="*/ 53 h 152"/>
                <a:gd name="T56" fmla="*/ 68 w 170"/>
                <a:gd name="T57" fmla="*/ 48 h 152"/>
                <a:gd name="T58" fmla="*/ 61 w 170"/>
                <a:gd name="T59" fmla="*/ 45 h 152"/>
                <a:gd name="T60" fmla="*/ 53 w 170"/>
                <a:gd name="T61" fmla="*/ 36 h 152"/>
                <a:gd name="T62" fmla="*/ 45 w 170"/>
                <a:gd name="T63" fmla="*/ 31 h 152"/>
                <a:gd name="T64" fmla="*/ 36 w 170"/>
                <a:gd name="T65" fmla="*/ 19 h 152"/>
                <a:gd name="T66" fmla="*/ 30 w 170"/>
                <a:gd name="T67" fmla="*/ 13 h 152"/>
                <a:gd name="T68" fmla="*/ 22 w 170"/>
                <a:gd name="T69" fmla="*/ 4 h 152"/>
                <a:gd name="T70" fmla="*/ 9 w 170"/>
                <a:gd name="T71" fmla="*/ 2 h 152"/>
                <a:gd name="T72" fmla="*/ 2 w 170"/>
                <a:gd name="T73" fmla="*/ 5 h 152"/>
                <a:gd name="T74" fmla="*/ 6 w 170"/>
                <a:gd name="T75" fmla="*/ 15 h 152"/>
                <a:gd name="T76" fmla="*/ 18 w 170"/>
                <a:gd name="T77" fmla="*/ 28 h 152"/>
                <a:gd name="T78" fmla="*/ 26 w 170"/>
                <a:gd name="T79" fmla="*/ 39 h 152"/>
                <a:gd name="T80" fmla="*/ 34 w 170"/>
                <a:gd name="T81" fmla="*/ 53 h 152"/>
                <a:gd name="T82" fmla="*/ 43 w 170"/>
                <a:gd name="T83" fmla="*/ 65 h 152"/>
                <a:gd name="T84" fmla="*/ 48 w 170"/>
                <a:gd name="T85" fmla="*/ 80 h 152"/>
                <a:gd name="T86" fmla="*/ 54 w 170"/>
                <a:gd name="T87" fmla="*/ 94 h 152"/>
                <a:gd name="T88" fmla="*/ 64 w 170"/>
                <a:gd name="T89" fmla="*/ 106 h 152"/>
                <a:gd name="T90" fmla="*/ 75 w 170"/>
                <a:gd name="T91" fmla="*/ 116 h 152"/>
                <a:gd name="T92" fmla="*/ 83 w 170"/>
                <a:gd name="T93" fmla="*/ 119 h 152"/>
                <a:gd name="T94" fmla="*/ 88 w 170"/>
                <a:gd name="T95" fmla="*/ 123 h 152"/>
                <a:gd name="T96" fmla="*/ 86 w 170"/>
                <a:gd name="T97" fmla="*/ 130 h 152"/>
                <a:gd name="T98" fmla="*/ 91 w 170"/>
                <a:gd name="T99" fmla="*/ 133 h 152"/>
                <a:gd name="T100" fmla="*/ 98 w 170"/>
                <a:gd name="T101" fmla="*/ 136 h 152"/>
                <a:gd name="T102" fmla="*/ 107 w 170"/>
                <a:gd name="T103" fmla="*/ 141 h 152"/>
                <a:gd name="T104" fmla="*/ 141 w 170"/>
                <a:gd name="T105" fmla="*/ 146 h 152"/>
                <a:gd name="T106" fmla="*/ 122 w 170"/>
                <a:gd name="T107" fmla="*/ 129 h 152"/>
                <a:gd name="T108" fmla="*/ 67 w 170"/>
                <a:gd name="T109" fmla="*/ 55 h 152"/>
                <a:gd name="T110" fmla="*/ 79 w 170"/>
                <a:gd name="T111" fmla="*/ 7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0" h="152">
                  <a:moveTo>
                    <a:pt x="116" y="140"/>
                  </a:moveTo>
                  <a:cubicBezTo>
                    <a:pt x="116" y="140"/>
                    <a:pt x="117" y="140"/>
                    <a:pt x="117" y="140"/>
                  </a:cubicBezTo>
                  <a:cubicBezTo>
                    <a:pt x="117" y="140"/>
                    <a:pt x="117" y="140"/>
                    <a:pt x="118" y="140"/>
                  </a:cubicBezTo>
                  <a:cubicBezTo>
                    <a:pt x="118" y="141"/>
                    <a:pt x="118" y="141"/>
                    <a:pt x="119" y="141"/>
                  </a:cubicBezTo>
                  <a:cubicBezTo>
                    <a:pt x="120" y="141"/>
                    <a:pt x="120" y="141"/>
                    <a:pt x="121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1"/>
                    <a:pt x="121" y="141"/>
                    <a:pt x="122" y="141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3" y="141"/>
                    <a:pt x="123" y="141"/>
                    <a:pt x="124" y="142"/>
                  </a:cubicBezTo>
                  <a:cubicBezTo>
                    <a:pt x="124" y="142"/>
                    <a:pt x="125" y="142"/>
                    <a:pt x="125" y="142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7" y="143"/>
                    <a:pt x="127" y="143"/>
                    <a:pt x="127" y="143"/>
                  </a:cubicBezTo>
                  <a:cubicBezTo>
                    <a:pt x="127" y="143"/>
                    <a:pt x="128" y="143"/>
                    <a:pt x="128" y="144"/>
                  </a:cubicBezTo>
                  <a:cubicBezTo>
                    <a:pt x="129" y="144"/>
                    <a:pt x="129" y="144"/>
                    <a:pt x="130" y="144"/>
                  </a:cubicBezTo>
                  <a:cubicBezTo>
                    <a:pt x="130" y="145"/>
                    <a:pt x="130" y="145"/>
                    <a:pt x="130" y="145"/>
                  </a:cubicBezTo>
                  <a:cubicBezTo>
                    <a:pt x="131" y="145"/>
                    <a:pt x="132" y="145"/>
                    <a:pt x="132" y="145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4" y="146"/>
                    <a:pt x="134" y="146"/>
                    <a:pt x="134" y="146"/>
                  </a:cubicBezTo>
                  <a:cubicBezTo>
                    <a:pt x="135" y="146"/>
                    <a:pt x="136" y="146"/>
                    <a:pt x="136" y="146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38" y="146"/>
                    <a:pt x="138" y="146"/>
                    <a:pt x="139" y="146"/>
                  </a:cubicBezTo>
                  <a:cubicBezTo>
                    <a:pt x="139" y="146"/>
                    <a:pt x="139" y="146"/>
                    <a:pt x="140" y="146"/>
                  </a:cubicBezTo>
                  <a:cubicBezTo>
                    <a:pt x="140" y="147"/>
                    <a:pt x="140" y="147"/>
                    <a:pt x="140" y="147"/>
                  </a:cubicBezTo>
                  <a:cubicBezTo>
                    <a:pt x="141" y="147"/>
                    <a:pt x="141" y="148"/>
                    <a:pt x="143" y="148"/>
                  </a:cubicBezTo>
                  <a:cubicBezTo>
                    <a:pt x="143" y="148"/>
                    <a:pt x="143" y="148"/>
                    <a:pt x="143" y="148"/>
                  </a:cubicBezTo>
                  <a:cubicBezTo>
                    <a:pt x="144" y="148"/>
                    <a:pt x="145" y="147"/>
                    <a:pt x="145" y="147"/>
                  </a:cubicBezTo>
                  <a:cubicBezTo>
                    <a:pt x="145" y="147"/>
                    <a:pt x="146" y="147"/>
                    <a:pt x="146" y="147"/>
                  </a:cubicBezTo>
                  <a:cubicBezTo>
                    <a:pt x="147" y="146"/>
                    <a:pt x="148" y="146"/>
                    <a:pt x="149" y="146"/>
                  </a:cubicBezTo>
                  <a:cubicBezTo>
                    <a:pt x="150" y="146"/>
                    <a:pt x="150" y="147"/>
                    <a:pt x="151" y="147"/>
                  </a:cubicBezTo>
                  <a:cubicBezTo>
                    <a:pt x="152" y="148"/>
                    <a:pt x="152" y="149"/>
                    <a:pt x="153" y="149"/>
                  </a:cubicBezTo>
                  <a:cubicBezTo>
                    <a:pt x="154" y="149"/>
                    <a:pt x="155" y="149"/>
                    <a:pt x="155" y="149"/>
                  </a:cubicBezTo>
                  <a:cubicBezTo>
                    <a:pt x="155" y="149"/>
                    <a:pt x="156" y="148"/>
                    <a:pt x="156" y="148"/>
                  </a:cubicBezTo>
                  <a:cubicBezTo>
                    <a:pt x="156" y="148"/>
                    <a:pt x="156" y="148"/>
                    <a:pt x="156" y="148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6" y="149"/>
                    <a:pt x="157" y="150"/>
                    <a:pt x="158" y="151"/>
                  </a:cubicBezTo>
                  <a:cubicBezTo>
                    <a:pt x="158" y="151"/>
                    <a:pt x="159" y="151"/>
                    <a:pt x="159" y="151"/>
                  </a:cubicBezTo>
                  <a:cubicBezTo>
                    <a:pt x="160" y="151"/>
                    <a:pt x="160" y="151"/>
                    <a:pt x="161" y="150"/>
                  </a:cubicBezTo>
                  <a:cubicBezTo>
                    <a:pt x="161" y="150"/>
                    <a:pt x="161" y="149"/>
                    <a:pt x="160" y="148"/>
                  </a:cubicBezTo>
                  <a:cubicBezTo>
                    <a:pt x="160" y="148"/>
                    <a:pt x="160" y="147"/>
                    <a:pt x="160" y="147"/>
                  </a:cubicBezTo>
                  <a:cubicBezTo>
                    <a:pt x="160" y="147"/>
                    <a:pt x="160" y="147"/>
                    <a:pt x="160" y="147"/>
                  </a:cubicBezTo>
                  <a:cubicBezTo>
                    <a:pt x="160" y="147"/>
                    <a:pt x="160" y="147"/>
                    <a:pt x="160" y="147"/>
                  </a:cubicBezTo>
                  <a:cubicBezTo>
                    <a:pt x="161" y="147"/>
                    <a:pt x="161" y="147"/>
                    <a:pt x="161" y="148"/>
                  </a:cubicBezTo>
                  <a:cubicBezTo>
                    <a:pt x="161" y="148"/>
                    <a:pt x="161" y="148"/>
                    <a:pt x="161" y="149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61" y="150"/>
                    <a:pt x="161" y="151"/>
                    <a:pt x="162" y="151"/>
                  </a:cubicBezTo>
                  <a:cubicBezTo>
                    <a:pt x="162" y="152"/>
                    <a:pt x="163" y="152"/>
                    <a:pt x="164" y="152"/>
                  </a:cubicBezTo>
                  <a:cubicBezTo>
                    <a:pt x="165" y="152"/>
                    <a:pt x="165" y="152"/>
                    <a:pt x="166" y="151"/>
                  </a:cubicBezTo>
                  <a:cubicBezTo>
                    <a:pt x="166" y="151"/>
                    <a:pt x="166" y="150"/>
                    <a:pt x="166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49"/>
                    <a:pt x="166" y="148"/>
                    <a:pt x="166" y="148"/>
                  </a:cubicBezTo>
                  <a:cubicBezTo>
                    <a:pt x="166" y="148"/>
                    <a:pt x="166" y="148"/>
                    <a:pt x="167" y="148"/>
                  </a:cubicBezTo>
                  <a:cubicBezTo>
                    <a:pt x="167" y="148"/>
                    <a:pt x="168" y="148"/>
                    <a:pt x="168" y="148"/>
                  </a:cubicBezTo>
                  <a:cubicBezTo>
                    <a:pt x="169" y="147"/>
                    <a:pt x="170" y="146"/>
                    <a:pt x="170" y="146"/>
                  </a:cubicBezTo>
                  <a:cubicBezTo>
                    <a:pt x="170" y="145"/>
                    <a:pt x="170" y="144"/>
                    <a:pt x="169" y="143"/>
                  </a:cubicBezTo>
                  <a:cubicBezTo>
                    <a:pt x="168" y="143"/>
                    <a:pt x="168" y="143"/>
                    <a:pt x="168" y="143"/>
                  </a:cubicBezTo>
                  <a:cubicBezTo>
                    <a:pt x="168" y="142"/>
                    <a:pt x="167" y="141"/>
                    <a:pt x="165" y="141"/>
                  </a:cubicBezTo>
                  <a:cubicBezTo>
                    <a:pt x="164" y="141"/>
                    <a:pt x="164" y="142"/>
                    <a:pt x="163" y="142"/>
                  </a:cubicBezTo>
                  <a:cubicBezTo>
                    <a:pt x="163" y="142"/>
                    <a:pt x="163" y="142"/>
                    <a:pt x="162" y="142"/>
                  </a:cubicBezTo>
                  <a:cubicBezTo>
                    <a:pt x="162" y="142"/>
                    <a:pt x="162" y="142"/>
                    <a:pt x="162" y="142"/>
                  </a:cubicBezTo>
                  <a:cubicBezTo>
                    <a:pt x="161" y="142"/>
                    <a:pt x="160" y="142"/>
                    <a:pt x="160" y="142"/>
                  </a:cubicBezTo>
                  <a:cubicBezTo>
                    <a:pt x="160" y="142"/>
                    <a:pt x="160" y="142"/>
                    <a:pt x="160" y="142"/>
                  </a:cubicBezTo>
                  <a:cubicBezTo>
                    <a:pt x="160" y="141"/>
                    <a:pt x="159" y="139"/>
                    <a:pt x="158" y="139"/>
                  </a:cubicBezTo>
                  <a:cubicBezTo>
                    <a:pt x="158" y="138"/>
                    <a:pt x="157" y="138"/>
                    <a:pt x="157" y="138"/>
                  </a:cubicBezTo>
                  <a:cubicBezTo>
                    <a:pt x="156" y="138"/>
                    <a:pt x="156" y="138"/>
                    <a:pt x="156" y="138"/>
                  </a:cubicBezTo>
                  <a:cubicBezTo>
                    <a:pt x="155" y="137"/>
                    <a:pt x="154" y="137"/>
                    <a:pt x="153" y="137"/>
                  </a:cubicBezTo>
                  <a:cubicBezTo>
                    <a:pt x="153" y="137"/>
                    <a:pt x="152" y="137"/>
                    <a:pt x="152" y="137"/>
                  </a:cubicBezTo>
                  <a:cubicBezTo>
                    <a:pt x="152" y="137"/>
                    <a:pt x="151" y="138"/>
                    <a:pt x="151" y="138"/>
                  </a:cubicBezTo>
                  <a:cubicBezTo>
                    <a:pt x="151" y="138"/>
                    <a:pt x="150" y="138"/>
                    <a:pt x="150" y="138"/>
                  </a:cubicBezTo>
                  <a:cubicBezTo>
                    <a:pt x="150" y="137"/>
                    <a:pt x="149" y="137"/>
                    <a:pt x="149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6"/>
                    <a:pt x="148" y="136"/>
                  </a:cubicBezTo>
                  <a:cubicBezTo>
                    <a:pt x="148" y="136"/>
                    <a:pt x="148" y="135"/>
                    <a:pt x="148" y="135"/>
                  </a:cubicBezTo>
                  <a:cubicBezTo>
                    <a:pt x="148" y="135"/>
                    <a:pt x="148" y="134"/>
                    <a:pt x="147" y="134"/>
                  </a:cubicBezTo>
                  <a:cubicBezTo>
                    <a:pt x="148" y="134"/>
                    <a:pt x="148" y="134"/>
                    <a:pt x="148" y="134"/>
                  </a:cubicBezTo>
                  <a:cubicBezTo>
                    <a:pt x="148" y="134"/>
                    <a:pt x="149" y="134"/>
                    <a:pt x="149" y="134"/>
                  </a:cubicBezTo>
                  <a:cubicBezTo>
                    <a:pt x="150" y="134"/>
                    <a:pt x="150" y="134"/>
                    <a:pt x="150" y="134"/>
                  </a:cubicBezTo>
                  <a:cubicBezTo>
                    <a:pt x="151" y="134"/>
                    <a:pt x="151" y="134"/>
                    <a:pt x="152" y="134"/>
                  </a:cubicBezTo>
                  <a:cubicBezTo>
                    <a:pt x="152" y="134"/>
                    <a:pt x="153" y="134"/>
                    <a:pt x="154" y="134"/>
                  </a:cubicBezTo>
                  <a:cubicBezTo>
                    <a:pt x="154" y="134"/>
                    <a:pt x="155" y="133"/>
                    <a:pt x="155" y="133"/>
                  </a:cubicBezTo>
                  <a:cubicBezTo>
                    <a:pt x="155" y="133"/>
                    <a:pt x="156" y="133"/>
                    <a:pt x="156" y="133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7" y="132"/>
                    <a:pt x="157" y="132"/>
                    <a:pt x="157" y="132"/>
                  </a:cubicBezTo>
                  <a:cubicBezTo>
                    <a:pt x="158" y="132"/>
                    <a:pt x="158" y="131"/>
                    <a:pt x="158" y="131"/>
                  </a:cubicBezTo>
                  <a:cubicBezTo>
                    <a:pt x="158" y="130"/>
                    <a:pt x="157" y="129"/>
                    <a:pt x="157" y="129"/>
                  </a:cubicBezTo>
                  <a:cubicBezTo>
                    <a:pt x="156" y="129"/>
                    <a:pt x="155" y="129"/>
                    <a:pt x="155" y="129"/>
                  </a:cubicBezTo>
                  <a:cubicBezTo>
                    <a:pt x="154" y="129"/>
                    <a:pt x="153" y="129"/>
                    <a:pt x="152" y="128"/>
                  </a:cubicBezTo>
                  <a:cubicBezTo>
                    <a:pt x="151" y="128"/>
                    <a:pt x="149" y="128"/>
                    <a:pt x="148" y="129"/>
                  </a:cubicBezTo>
                  <a:cubicBezTo>
                    <a:pt x="147" y="129"/>
                    <a:pt x="146" y="129"/>
                    <a:pt x="145" y="130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4" y="128"/>
                    <a:pt x="143" y="128"/>
                    <a:pt x="142" y="128"/>
                  </a:cubicBezTo>
                  <a:cubicBezTo>
                    <a:pt x="141" y="128"/>
                    <a:pt x="141" y="128"/>
                    <a:pt x="141" y="128"/>
                  </a:cubicBezTo>
                  <a:cubicBezTo>
                    <a:pt x="141" y="128"/>
                    <a:pt x="140" y="128"/>
                    <a:pt x="140" y="128"/>
                  </a:cubicBezTo>
                  <a:cubicBezTo>
                    <a:pt x="140" y="128"/>
                    <a:pt x="140" y="128"/>
                    <a:pt x="139" y="127"/>
                  </a:cubicBezTo>
                  <a:cubicBezTo>
                    <a:pt x="139" y="127"/>
                    <a:pt x="139" y="127"/>
                    <a:pt x="139" y="127"/>
                  </a:cubicBezTo>
                  <a:cubicBezTo>
                    <a:pt x="138" y="126"/>
                    <a:pt x="137" y="126"/>
                    <a:pt x="136" y="126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5" y="126"/>
                    <a:pt x="134" y="126"/>
                  </a:cubicBezTo>
                  <a:cubicBezTo>
                    <a:pt x="134" y="125"/>
                    <a:pt x="133" y="125"/>
                    <a:pt x="132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1" y="125"/>
                    <a:pt x="130" y="124"/>
                    <a:pt x="130" y="125"/>
                  </a:cubicBezTo>
                  <a:cubicBezTo>
                    <a:pt x="129" y="125"/>
                    <a:pt x="128" y="126"/>
                    <a:pt x="128" y="126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27"/>
                    <a:pt x="127" y="127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6" y="127"/>
                    <a:pt x="125" y="127"/>
                    <a:pt x="125" y="127"/>
                  </a:cubicBezTo>
                  <a:cubicBezTo>
                    <a:pt x="124" y="127"/>
                    <a:pt x="123" y="128"/>
                    <a:pt x="122" y="128"/>
                  </a:cubicBezTo>
                  <a:cubicBezTo>
                    <a:pt x="122" y="129"/>
                    <a:pt x="122" y="129"/>
                    <a:pt x="121" y="129"/>
                  </a:cubicBezTo>
                  <a:cubicBezTo>
                    <a:pt x="121" y="129"/>
                    <a:pt x="121" y="129"/>
                    <a:pt x="121" y="129"/>
                  </a:cubicBezTo>
                  <a:cubicBezTo>
                    <a:pt x="121" y="129"/>
                    <a:pt x="121" y="128"/>
                    <a:pt x="120" y="128"/>
                  </a:cubicBezTo>
                  <a:cubicBezTo>
                    <a:pt x="120" y="128"/>
                    <a:pt x="119" y="127"/>
                    <a:pt x="118" y="127"/>
                  </a:cubicBezTo>
                  <a:cubicBezTo>
                    <a:pt x="118" y="127"/>
                    <a:pt x="117" y="127"/>
                    <a:pt x="117" y="128"/>
                  </a:cubicBezTo>
                  <a:cubicBezTo>
                    <a:pt x="117" y="127"/>
                    <a:pt x="117" y="127"/>
                    <a:pt x="116" y="127"/>
                  </a:cubicBezTo>
                  <a:cubicBezTo>
                    <a:pt x="116" y="127"/>
                    <a:pt x="115" y="127"/>
                    <a:pt x="115" y="127"/>
                  </a:cubicBezTo>
                  <a:cubicBezTo>
                    <a:pt x="114" y="127"/>
                    <a:pt x="114" y="127"/>
                    <a:pt x="114" y="127"/>
                  </a:cubicBezTo>
                  <a:cubicBezTo>
                    <a:pt x="114" y="127"/>
                    <a:pt x="114" y="127"/>
                    <a:pt x="114" y="127"/>
                  </a:cubicBezTo>
                  <a:cubicBezTo>
                    <a:pt x="113" y="127"/>
                    <a:pt x="113" y="127"/>
                    <a:pt x="113" y="127"/>
                  </a:cubicBezTo>
                  <a:cubicBezTo>
                    <a:pt x="113" y="126"/>
                    <a:pt x="113" y="126"/>
                    <a:pt x="113" y="126"/>
                  </a:cubicBezTo>
                  <a:cubicBezTo>
                    <a:pt x="113" y="125"/>
                    <a:pt x="113" y="125"/>
                    <a:pt x="112" y="125"/>
                  </a:cubicBezTo>
                  <a:cubicBezTo>
                    <a:pt x="112" y="125"/>
                    <a:pt x="112" y="125"/>
                    <a:pt x="112" y="125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12" y="123"/>
                    <a:pt x="112" y="123"/>
                    <a:pt x="111" y="122"/>
                  </a:cubicBezTo>
                  <a:cubicBezTo>
                    <a:pt x="111" y="122"/>
                    <a:pt x="110" y="122"/>
                    <a:pt x="109" y="122"/>
                  </a:cubicBezTo>
                  <a:cubicBezTo>
                    <a:pt x="109" y="122"/>
                    <a:pt x="108" y="122"/>
                    <a:pt x="108" y="12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2"/>
                    <a:pt x="106" y="122"/>
                    <a:pt x="106" y="122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104" y="122"/>
                    <a:pt x="104" y="121"/>
                    <a:pt x="104" y="121"/>
                  </a:cubicBezTo>
                  <a:cubicBezTo>
                    <a:pt x="103" y="120"/>
                    <a:pt x="103" y="119"/>
                    <a:pt x="102" y="118"/>
                  </a:cubicBezTo>
                  <a:cubicBezTo>
                    <a:pt x="101" y="118"/>
                    <a:pt x="101" y="118"/>
                    <a:pt x="100" y="118"/>
                  </a:cubicBezTo>
                  <a:cubicBezTo>
                    <a:pt x="100" y="118"/>
                    <a:pt x="100" y="118"/>
                    <a:pt x="100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98" y="118"/>
                    <a:pt x="98" y="118"/>
                    <a:pt x="97" y="118"/>
                  </a:cubicBezTo>
                  <a:cubicBezTo>
                    <a:pt x="97" y="119"/>
                    <a:pt x="97" y="119"/>
                    <a:pt x="97" y="120"/>
                  </a:cubicBezTo>
                  <a:cubicBezTo>
                    <a:pt x="97" y="120"/>
                    <a:pt x="96" y="120"/>
                    <a:pt x="96" y="120"/>
                  </a:cubicBezTo>
                  <a:cubicBezTo>
                    <a:pt x="96" y="119"/>
                    <a:pt x="95" y="119"/>
                    <a:pt x="95" y="119"/>
                  </a:cubicBezTo>
                  <a:cubicBezTo>
                    <a:pt x="95" y="119"/>
                    <a:pt x="94" y="119"/>
                    <a:pt x="94" y="119"/>
                  </a:cubicBezTo>
                  <a:cubicBezTo>
                    <a:pt x="93" y="118"/>
                    <a:pt x="92" y="118"/>
                    <a:pt x="90" y="118"/>
                  </a:cubicBezTo>
                  <a:cubicBezTo>
                    <a:pt x="90" y="118"/>
                    <a:pt x="90" y="118"/>
                    <a:pt x="89" y="118"/>
                  </a:cubicBezTo>
                  <a:cubicBezTo>
                    <a:pt x="90" y="117"/>
                    <a:pt x="90" y="117"/>
                    <a:pt x="90" y="116"/>
                  </a:cubicBezTo>
                  <a:cubicBezTo>
                    <a:pt x="90" y="115"/>
                    <a:pt x="90" y="113"/>
                    <a:pt x="90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1"/>
                    <a:pt x="91" y="111"/>
                    <a:pt x="91" y="110"/>
                  </a:cubicBezTo>
                  <a:cubicBezTo>
                    <a:pt x="91" y="109"/>
                    <a:pt x="92" y="107"/>
                    <a:pt x="92" y="105"/>
                  </a:cubicBezTo>
                  <a:cubicBezTo>
                    <a:pt x="92" y="105"/>
                    <a:pt x="92" y="104"/>
                    <a:pt x="91" y="104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1" y="103"/>
                    <a:pt x="91" y="102"/>
                    <a:pt x="91" y="102"/>
                  </a:cubicBezTo>
                  <a:cubicBezTo>
                    <a:pt x="92" y="102"/>
                    <a:pt x="92" y="101"/>
                    <a:pt x="92" y="101"/>
                  </a:cubicBezTo>
                  <a:cubicBezTo>
                    <a:pt x="92" y="100"/>
                    <a:pt x="92" y="99"/>
                    <a:pt x="92" y="99"/>
                  </a:cubicBezTo>
                  <a:cubicBezTo>
                    <a:pt x="92" y="97"/>
                    <a:pt x="91" y="97"/>
                    <a:pt x="91" y="97"/>
                  </a:cubicBezTo>
                  <a:cubicBezTo>
                    <a:pt x="91" y="97"/>
                    <a:pt x="91" y="96"/>
                    <a:pt x="91" y="96"/>
                  </a:cubicBezTo>
                  <a:cubicBezTo>
                    <a:pt x="92" y="95"/>
                    <a:pt x="94" y="92"/>
                    <a:pt x="92" y="89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3" y="91"/>
                    <a:pt x="94" y="92"/>
                    <a:pt x="96" y="92"/>
                  </a:cubicBezTo>
                  <a:cubicBezTo>
                    <a:pt x="96" y="92"/>
                    <a:pt x="96" y="92"/>
                    <a:pt x="96" y="92"/>
                  </a:cubicBezTo>
                  <a:cubicBezTo>
                    <a:pt x="96" y="92"/>
                    <a:pt x="97" y="92"/>
                    <a:pt x="97" y="92"/>
                  </a:cubicBezTo>
                  <a:cubicBezTo>
                    <a:pt x="98" y="91"/>
                    <a:pt x="98" y="90"/>
                    <a:pt x="98" y="89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98" y="88"/>
                    <a:pt x="98" y="88"/>
                    <a:pt x="98" y="87"/>
                  </a:cubicBezTo>
                  <a:cubicBezTo>
                    <a:pt x="99" y="87"/>
                    <a:pt x="99" y="86"/>
                    <a:pt x="99" y="85"/>
                  </a:cubicBezTo>
                  <a:cubicBezTo>
                    <a:pt x="99" y="84"/>
                    <a:pt x="97" y="83"/>
                    <a:pt x="97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2"/>
                    <a:pt x="95" y="81"/>
                    <a:pt x="95" y="8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79"/>
                    <a:pt x="94" y="78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6"/>
                    <a:pt x="94" y="74"/>
                    <a:pt x="92" y="74"/>
                  </a:cubicBezTo>
                  <a:cubicBezTo>
                    <a:pt x="92" y="74"/>
                    <a:pt x="91" y="73"/>
                    <a:pt x="91" y="73"/>
                  </a:cubicBezTo>
                  <a:cubicBezTo>
                    <a:pt x="91" y="73"/>
                    <a:pt x="90" y="73"/>
                    <a:pt x="90" y="73"/>
                  </a:cubicBezTo>
                  <a:cubicBezTo>
                    <a:pt x="89" y="73"/>
                    <a:pt x="88" y="73"/>
                    <a:pt x="88" y="74"/>
                  </a:cubicBezTo>
                  <a:cubicBezTo>
                    <a:pt x="88" y="74"/>
                    <a:pt x="87" y="74"/>
                    <a:pt x="87" y="74"/>
                  </a:cubicBezTo>
                  <a:cubicBezTo>
                    <a:pt x="86" y="74"/>
                    <a:pt x="85" y="75"/>
                    <a:pt x="84" y="76"/>
                  </a:cubicBezTo>
                  <a:cubicBezTo>
                    <a:pt x="84" y="76"/>
                    <a:pt x="84" y="77"/>
                    <a:pt x="84" y="77"/>
                  </a:cubicBezTo>
                  <a:cubicBezTo>
                    <a:pt x="84" y="78"/>
                    <a:pt x="84" y="78"/>
                    <a:pt x="83" y="78"/>
                  </a:cubicBezTo>
                  <a:cubicBezTo>
                    <a:pt x="83" y="79"/>
                    <a:pt x="83" y="80"/>
                    <a:pt x="83" y="81"/>
                  </a:cubicBezTo>
                  <a:cubicBezTo>
                    <a:pt x="83" y="81"/>
                    <a:pt x="84" y="82"/>
                    <a:pt x="85" y="82"/>
                  </a:cubicBezTo>
                  <a:cubicBezTo>
                    <a:pt x="85" y="83"/>
                    <a:pt x="86" y="83"/>
                    <a:pt x="87" y="82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7" y="82"/>
                    <a:pt x="87" y="83"/>
                    <a:pt x="87" y="83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5" y="83"/>
                  </a:cubicBezTo>
                  <a:cubicBezTo>
                    <a:pt x="85" y="83"/>
                    <a:pt x="85" y="83"/>
                    <a:pt x="85" y="83"/>
                  </a:cubicBezTo>
                  <a:cubicBezTo>
                    <a:pt x="84" y="83"/>
                    <a:pt x="83" y="83"/>
                    <a:pt x="83" y="83"/>
                  </a:cubicBezTo>
                  <a:cubicBezTo>
                    <a:pt x="83" y="82"/>
                    <a:pt x="83" y="81"/>
                    <a:pt x="83" y="80"/>
                  </a:cubicBezTo>
                  <a:cubicBezTo>
                    <a:pt x="83" y="80"/>
                    <a:pt x="82" y="79"/>
                    <a:pt x="82" y="79"/>
                  </a:cubicBezTo>
                  <a:cubicBezTo>
                    <a:pt x="82" y="79"/>
                    <a:pt x="82" y="78"/>
                    <a:pt x="81" y="78"/>
                  </a:cubicBezTo>
                  <a:cubicBezTo>
                    <a:pt x="81" y="77"/>
                    <a:pt x="81" y="77"/>
                    <a:pt x="80" y="77"/>
                  </a:cubicBezTo>
                  <a:cubicBezTo>
                    <a:pt x="80" y="76"/>
                    <a:pt x="80" y="75"/>
                    <a:pt x="80" y="74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2"/>
                  </a:cubicBezTo>
                  <a:cubicBezTo>
                    <a:pt x="79" y="72"/>
                    <a:pt x="79" y="72"/>
                    <a:pt x="79" y="71"/>
                  </a:cubicBezTo>
                  <a:cubicBezTo>
                    <a:pt x="79" y="71"/>
                    <a:pt x="79" y="69"/>
                    <a:pt x="78" y="68"/>
                  </a:cubicBezTo>
                  <a:cubicBezTo>
                    <a:pt x="77" y="67"/>
                    <a:pt x="76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3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73" y="67"/>
                    <a:pt x="73" y="67"/>
                  </a:cubicBezTo>
                  <a:cubicBezTo>
                    <a:pt x="72" y="67"/>
                    <a:pt x="72" y="67"/>
                    <a:pt x="72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0" y="62"/>
                    <a:pt x="70" y="62"/>
                    <a:pt x="71" y="62"/>
                  </a:cubicBezTo>
                  <a:cubicBezTo>
                    <a:pt x="71" y="61"/>
                    <a:pt x="72" y="61"/>
                    <a:pt x="72" y="60"/>
                  </a:cubicBezTo>
                  <a:cubicBezTo>
                    <a:pt x="72" y="60"/>
                    <a:pt x="72" y="60"/>
                    <a:pt x="73" y="60"/>
                  </a:cubicBezTo>
                  <a:cubicBezTo>
                    <a:pt x="73" y="60"/>
                    <a:pt x="74" y="60"/>
                    <a:pt x="75" y="59"/>
                  </a:cubicBezTo>
                  <a:cubicBezTo>
                    <a:pt x="75" y="59"/>
                    <a:pt x="75" y="58"/>
                    <a:pt x="75" y="57"/>
                  </a:cubicBezTo>
                  <a:cubicBezTo>
                    <a:pt x="74" y="56"/>
                    <a:pt x="73" y="55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0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70" y="50"/>
                    <a:pt x="70" y="49"/>
                    <a:pt x="68" y="48"/>
                  </a:cubicBezTo>
                  <a:cubicBezTo>
                    <a:pt x="68" y="48"/>
                    <a:pt x="68" y="48"/>
                    <a:pt x="68" y="47"/>
                  </a:cubicBezTo>
                  <a:cubicBezTo>
                    <a:pt x="68" y="47"/>
                    <a:pt x="67" y="46"/>
                    <a:pt x="66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6"/>
                    <a:pt x="63" y="47"/>
                    <a:pt x="62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1" y="48"/>
                    <a:pt x="61" y="47"/>
                    <a:pt x="61" y="46"/>
                  </a:cubicBezTo>
                  <a:cubicBezTo>
                    <a:pt x="61" y="46"/>
                    <a:pt x="61" y="46"/>
                    <a:pt x="61" y="45"/>
                  </a:cubicBezTo>
                  <a:cubicBezTo>
                    <a:pt x="60" y="45"/>
                    <a:pt x="60" y="44"/>
                    <a:pt x="60" y="43"/>
                  </a:cubicBezTo>
                  <a:cubicBezTo>
                    <a:pt x="59" y="42"/>
                    <a:pt x="58" y="42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9" y="40"/>
                    <a:pt x="59" y="39"/>
                  </a:cubicBezTo>
                  <a:cubicBezTo>
                    <a:pt x="59" y="38"/>
                    <a:pt x="58" y="37"/>
                    <a:pt x="57" y="37"/>
                  </a:cubicBezTo>
                  <a:cubicBezTo>
                    <a:pt x="57" y="37"/>
                    <a:pt x="56" y="36"/>
                    <a:pt x="56" y="36"/>
                  </a:cubicBezTo>
                  <a:cubicBezTo>
                    <a:pt x="56" y="36"/>
                    <a:pt x="55" y="36"/>
                    <a:pt x="55" y="36"/>
                  </a:cubicBezTo>
                  <a:cubicBezTo>
                    <a:pt x="54" y="36"/>
                    <a:pt x="54" y="36"/>
                    <a:pt x="53" y="36"/>
                  </a:cubicBezTo>
                  <a:cubicBezTo>
                    <a:pt x="53" y="35"/>
                    <a:pt x="52" y="35"/>
                    <a:pt x="51" y="34"/>
                  </a:cubicBezTo>
                  <a:cubicBezTo>
                    <a:pt x="50" y="34"/>
                    <a:pt x="49" y="34"/>
                    <a:pt x="48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7" y="33"/>
                    <a:pt x="47" y="32"/>
                    <a:pt x="46" y="32"/>
                  </a:cubicBezTo>
                  <a:cubicBezTo>
                    <a:pt x="46" y="32"/>
                    <a:pt x="45" y="32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1"/>
                    <a:pt x="44" y="30"/>
                    <a:pt x="44" y="30"/>
                  </a:cubicBezTo>
                  <a:cubicBezTo>
                    <a:pt x="44" y="28"/>
                    <a:pt x="42" y="26"/>
                    <a:pt x="40" y="24"/>
                  </a:cubicBezTo>
                  <a:cubicBezTo>
                    <a:pt x="40" y="23"/>
                    <a:pt x="40" y="23"/>
                    <a:pt x="39" y="23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7" y="21"/>
                    <a:pt x="37" y="20"/>
                  </a:cubicBezTo>
                  <a:cubicBezTo>
                    <a:pt x="37" y="20"/>
                    <a:pt x="37" y="20"/>
                    <a:pt x="36" y="2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4" y="18"/>
                    <a:pt x="33" y="17"/>
                    <a:pt x="3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6"/>
                    <a:pt x="31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30" y="12"/>
                    <a:pt x="29" y="11"/>
                    <a:pt x="28" y="11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6" y="8"/>
                    <a:pt x="26" y="8"/>
                    <a:pt x="26" y="7"/>
                  </a:cubicBezTo>
                  <a:cubicBezTo>
                    <a:pt x="25" y="7"/>
                    <a:pt x="25" y="6"/>
                    <a:pt x="24" y="5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4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7" y="4"/>
                    <a:pt x="16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1"/>
                    <a:pt x="6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2"/>
                    <a:pt x="0" y="3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2"/>
                    <a:pt x="4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4"/>
                    <a:pt x="5" y="14"/>
                  </a:cubicBezTo>
                  <a:cubicBezTo>
                    <a:pt x="5" y="14"/>
                    <a:pt x="5" y="15"/>
                    <a:pt x="6" y="15"/>
                  </a:cubicBezTo>
                  <a:cubicBezTo>
                    <a:pt x="7" y="16"/>
                    <a:pt x="8" y="17"/>
                    <a:pt x="8" y="17"/>
                  </a:cubicBezTo>
                  <a:cubicBezTo>
                    <a:pt x="9" y="18"/>
                    <a:pt x="10" y="18"/>
                    <a:pt x="10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1"/>
                    <a:pt x="13" y="22"/>
                    <a:pt x="14" y="23"/>
                  </a:cubicBezTo>
                  <a:cubicBezTo>
                    <a:pt x="15" y="24"/>
                    <a:pt x="16" y="25"/>
                    <a:pt x="17" y="26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7"/>
                    <a:pt x="18" y="27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9"/>
                    <a:pt x="19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2"/>
                    <a:pt x="21" y="32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4"/>
                    <a:pt x="21" y="34"/>
                    <a:pt x="21" y="35"/>
                  </a:cubicBezTo>
                  <a:cubicBezTo>
                    <a:pt x="22" y="37"/>
                    <a:pt x="23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8"/>
                    <a:pt x="25" y="39"/>
                    <a:pt x="26" y="39"/>
                  </a:cubicBezTo>
                  <a:cubicBezTo>
                    <a:pt x="27" y="39"/>
                    <a:pt x="28" y="40"/>
                    <a:pt x="28" y="40"/>
                  </a:cubicBezTo>
                  <a:cubicBezTo>
                    <a:pt x="28" y="40"/>
                    <a:pt x="29" y="41"/>
                    <a:pt x="29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2"/>
                    <a:pt x="31" y="43"/>
                    <a:pt x="31" y="43"/>
                  </a:cubicBezTo>
                  <a:cubicBezTo>
                    <a:pt x="30" y="44"/>
                    <a:pt x="31" y="46"/>
                    <a:pt x="32" y="48"/>
                  </a:cubicBezTo>
                  <a:cubicBezTo>
                    <a:pt x="32" y="48"/>
                    <a:pt x="33" y="49"/>
                    <a:pt x="33" y="50"/>
                  </a:cubicBezTo>
                  <a:cubicBezTo>
                    <a:pt x="33" y="51"/>
                    <a:pt x="34" y="52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4"/>
                    <a:pt x="34" y="55"/>
                  </a:cubicBezTo>
                  <a:cubicBezTo>
                    <a:pt x="34" y="56"/>
                    <a:pt x="35" y="57"/>
                    <a:pt x="36" y="57"/>
                  </a:cubicBezTo>
                  <a:cubicBezTo>
                    <a:pt x="36" y="57"/>
                    <a:pt x="36" y="58"/>
                    <a:pt x="36" y="58"/>
                  </a:cubicBezTo>
                  <a:cubicBezTo>
                    <a:pt x="37" y="58"/>
                    <a:pt x="38" y="59"/>
                    <a:pt x="39" y="60"/>
                  </a:cubicBezTo>
                  <a:cubicBezTo>
                    <a:pt x="40" y="60"/>
                    <a:pt x="40" y="61"/>
                    <a:pt x="41" y="62"/>
                  </a:cubicBezTo>
                  <a:cubicBezTo>
                    <a:pt x="41" y="63"/>
                    <a:pt x="41" y="64"/>
                    <a:pt x="42" y="64"/>
                  </a:cubicBezTo>
                  <a:cubicBezTo>
                    <a:pt x="42" y="64"/>
                    <a:pt x="42" y="65"/>
                    <a:pt x="43" y="65"/>
                  </a:cubicBezTo>
                  <a:cubicBezTo>
                    <a:pt x="43" y="65"/>
                    <a:pt x="43" y="66"/>
                    <a:pt x="44" y="66"/>
                  </a:cubicBezTo>
                  <a:cubicBezTo>
                    <a:pt x="44" y="67"/>
                    <a:pt x="44" y="68"/>
                    <a:pt x="44" y="69"/>
                  </a:cubicBezTo>
                  <a:cubicBezTo>
                    <a:pt x="44" y="70"/>
                    <a:pt x="44" y="71"/>
                    <a:pt x="45" y="72"/>
                  </a:cubicBezTo>
                  <a:cubicBezTo>
                    <a:pt x="45" y="73"/>
                    <a:pt x="45" y="73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5"/>
                  </a:cubicBezTo>
                  <a:cubicBezTo>
                    <a:pt x="47" y="76"/>
                    <a:pt x="47" y="77"/>
                    <a:pt x="48" y="78"/>
                  </a:cubicBezTo>
                  <a:cubicBezTo>
                    <a:pt x="48" y="78"/>
                    <a:pt x="48" y="79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1"/>
                    <a:pt x="48" y="82"/>
                    <a:pt x="48" y="83"/>
                  </a:cubicBezTo>
                  <a:cubicBezTo>
                    <a:pt x="49" y="84"/>
                    <a:pt x="49" y="85"/>
                    <a:pt x="50" y="85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1" y="87"/>
                    <a:pt x="51" y="87"/>
                    <a:pt x="51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9"/>
                    <a:pt x="52" y="89"/>
                    <a:pt x="52" y="90"/>
                  </a:cubicBezTo>
                  <a:cubicBezTo>
                    <a:pt x="53" y="91"/>
                    <a:pt x="53" y="93"/>
                    <a:pt x="54" y="94"/>
                  </a:cubicBezTo>
                  <a:cubicBezTo>
                    <a:pt x="56" y="95"/>
                    <a:pt x="58" y="96"/>
                    <a:pt x="59" y="97"/>
                  </a:cubicBezTo>
                  <a:cubicBezTo>
                    <a:pt x="59" y="97"/>
                    <a:pt x="60" y="98"/>
                    <a:pt x="60" y="98"/>
                  </a:cubicBezTo>
                  <a:cubicBezTo>
                    <a:pt x="60" y="98"/>
                    <a:pt x="59" y="98"/>
                    <a:pt x="59" y="98"/>
                  </a:cubicBezTo>
                  <a:cubicBezTo>
                    <a:pt x="59" y="99"/>
                    <a:pt x="59" y="101"/>
                    <a:pt x="60" y="102"/>
                  </a:cubicBezTo>
                  <a:cubicBezTo>
                    <a:pt x="60" y="102"/>
                    <a:pt x="61" y="103"/>
                    <a:pt x="61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3" y="104"/>
                    <a:pt x="63" y="105"/>
                    <a:pt x="64" y="106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6"/>
                    <a:pt x="66" y="106"/>
                    <a:pt x="66" y="107"/>
                  </a:cubicBezTo>
                  <a:cubicBezTo>
                    <a:pt x="66" y="107"/>
                    <a:pt x="67" y="108"/>
                    <a:pt x="68" y="109"/>
                  </a:cubicBezTo>
                  <a:cubicBezTo>
                    <a:pt x="69" y="109"/>
                    <a:pt x="70" y="110"/>
                    <a:pt x="70" y="110"/>
                  </a:cubicBezTo>
                  <a:cubicBezTo>
                    <a:pt x="71" y="111"/>
                    <a:pt x="71" y="111"/>
                    <a:pt x="71" y="112"/>
                  </a:cubicBezTo>
                  <a:cubicBezTo>
                    <a:pt x="72" y="113"/>
                    <a:pt x="72" y="114"/>
                    <a:pt x="74" y="114"/>
                  </a:cubicBezTo>
                  <a:cubicBezTo>
                    <a:pt x="74" y="115"/>
                    <a:pt x="74" y="115"/>
                    <a:pt x="74" y="115"/>
                  </a:cubicBezTo>
                  <a:cubicBezTo>
                    <a:pt x="75" y="115"/>
                    <a:pt x="75" y="115"/>
                    <a:pt x="75" y="116"/>
                  </a:cubicBezTo>
                  <a:cubicBezTo>
                    <a:pt x="75" y="116"/>
                    <a:pt x="75" y="116"/>
                    <a:pt x="75" y="117"/>
                  </a:cubicBezTo>
                  <a:cubicBezTo>
                    <a:pt x="76" y="117"/>
                    <a:pt x="76" y="118"/>
                    <a:pt x="77" y="119"/>
                  </a:cubicBezTo>
                  <a:cubicBezTo>
                    <a:pt x="77" y="120"/>
                    <a:pt x="78" y="121"/>
                    <a:pt x="79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80" y="121"/>
                    <a:pt x="80" y="120"/>
                    <a:pt x="81" y="120"/>
                  </a:cubicBezTo>
                  <a:cubicBezTo>
                    <a:pt x="81" y="119"/>
                    <a:pt x="81" y="119"/>
                    <a:pt x="81" y="118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2" y="119"/>
                    <a:pt x="82" y="119"/>
                    <a:pt x="83" y="119"/>
                  </a:cubicBezTo>
                  <a:cubicBezTo>
                    <a:pt x="84" y="119"/>
                    <a:pt x="85" y="118"/>
                    <a:pt x="85" y="117"/>
                  </a:cubicBezTo>
                  <a:cubicBezTo>
                    <a:pt x="85" y="117"/>
                    <a:pt x="86" y="117"/>
                    <a:pt x="86" y="118"/>
                  </a:cubicBezTo>
                  <a:cubicBezTo>
                    <a:pt x="86" y="119"/>
                    <a:pt x="87" y="119"/>
                    <a:pt x="88" y="119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8" y="120"/>
                    <a:pt x="88" y="121"/>
                    <a:pt x="88" y="121"/>
                  </a:cubicBezTo>
                  <a:cubicBezTo>
                    <a:pt x="88" y="121"/>
                    <a:pt x="88" y="122"/>
                    <a:pt x="88" y="122"/>
                  </a:cubicBezTo>
                  <a:cubicBezTo>
                    <a:pt x="88" y="122"/>
                    <a:pt x="88" y="123"/>
                    <a:pt x="88" y="123"/>
                  </a:cubicBezTo>
                  <a:cubicBezTo>
                    <a:pt x="88" y="123"/>
                    <a:pt x="88" y="123"/>
                    <a:pt x="88" y="123"/>
                  </a:cubicBezTo>
                  <a:cubicBezTo>
                    <a:pt x="88" y="123"/>
                    <a:pt x="88" y="123"/>
                    <a:pt x="87" y="123"/>
                  </a:cubicBezTo>
                  <a:cubicBezTo>
                    <a:pt x="87" y="124"/>
                    <a:pt x="86" y="125"/>
                    <a:pt x="85" y="125"/>
                  </a:cubicBezTo>
                  <a:cubicBezTo>
                    <a:pt x="85" y="126"/>
                    <a:pt x="85" y="126"/>
                    <a:pt x="85" y="126"/>
                  </a:cubicBezTo>
                  <a:cubicBezTo>
                    <a:pt x="85" y="125"/>
                    <a:pt x="84" y="125"/>
                    <a:pt x="83" y="126"/>
                  </a:cubicBezTo>
                  <a:cubicBezTo>
                    <a:pt x="83" y="126"/>
                    <a:pt x="82" y="126"/>
                    <a:pt x="82" y="127"/>
                  </a:cubicBezTo>
                  <a:cubicBezTo>
                    <a:pt x="82" y="128"/>
                    <a:pt x="83" y="129"/>
                    <a:pt x="84" y="129"/>
                  </a:cubicBezTo>
                  <a:cubicBezTo>
                    <a:pt x="84" y="129"/>
                    <a:pt x="84" y="129"/>
                    <a:pt x="84" y="129"/>
                  </a:cubicBezTo>
                  <a:cubicBezTo>
                    <a:pt x="85" y="130"/>
                    <a:pt x="85" y="130"/>
                    <a:pt x="86" y="130"/>
                  </a:cubicBezTo>
                  <a:cubicBezTo>
                    <a:pt x="86" y="130"/>
                    <a:pt x="87" y="130"/>
                    <a:pt x="88" y="130"/>
                  </a:cubicBezTo>
                  <a:cubicBezTo>
                    <a:pt x="88" y="130"/>
                    <a:pt x="89" y="130"/>
                    <a:pt x="90" y="130"/>
                  </a:cubicBezTo>
                  <a:cubicBezTo>
                    <a:pt x="90" y="130"/>
                    <a:pt x="91" y="130"/>
                    <a:pt x="91" y="130"/>
                  </a:cubicBezTo>
                  <a:cubicBezTo>
                    <a:pt x="92" y="130"/>
                    <a:pt x="92" y="130"/>
                    <a:pt x="92" y="130"/>
                  </a:cubicBezTo>
                  <a:cubicBezTo>
                    <a:pt x="92" y="130"/>
                    <a:pt x="92" y="131"/>
                    <a:pt x="92" y="131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92" y="131"/>
                    <a:pt x="92" y="131"/>
                    <a:pt x="91" y="132"/>
                  </a:cubicBezTo>
                  <a:cubicBezTo>
                    <a:pt x="91" y="132"/>
                    <a:pt x="91" y="133"/>
                    <a:pt x="91" y="133"/>
                  </a:cubicBezTo>
                  <a:cubicBezTo>
                    <a:pt x="91" y="134"/>
                    <a:pt x="91" y="134"/>
                    <a:pt x="91" y="135"/>
                  </a:cubicBezTo>
                  <a:cubicBezTo>
                    <a:pt x="91" y="135"/>
                    <a:pt x="91" y="135"/>
                    <a:pt x="91" y="136"/>
                  </a:cubicBezTo>
                  <a:cubicBezTo>
                    <a:pt x="92" y="137"/>
                    <a:pt x="92" y="137"/>
                    <a:pt x="93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4" y="137"/>
                    <a:pt x="95" y="137"/>
                    <a:pt x="95" y="136"/>
                  </a:cubicBezTo>
                  <a:cubicBezTo>
                    <a:pt x="95" y="136"/>
                    <a:pt x="95" y="136"/>
                    <a:pt x="95" y="136"/>
                  </a:cubicBezTo>
                  <a:cubicBezTo>
                    <a:pt x="96" y="136"/>
                    <a:pt x="96" y="136"/>
                    <a:pt x="97" y="136"/>
                  </a:cubicBezTo>
                  <a:cubicBezTo>
                    <a:pt x="97" y="136"/>
                    <a:pt x="97" y="136"/>
                    <a:pt x="98" y="136"/>
                  </a:cubicBezTo>
                  <a:cubicBezTo>
                    <a:pt x="98" y="137"/>
                    <a:pt x="98" y="137"/>
                    <a:pt x="99" y="137"/>
                  </a:cubicBezTo>
                  <a:cubicBezTo>
                    <a:pt x="99" y="137"/>
                    <a:pt x="100" y="137"/>
                    <a:pt x="100" y="138"/>
                  </a:cubicBezTo>
                  <a:cubicBezTo>
                    <a:pt x="100" y="138"/>
                    <a:pt x="100" y="138"/>
                    <a:pt x="100" y="138"/>
                  </a:cubicBezTo>
                  <a:cubicBezTo>
                    <a:pt x="101" y="138"/>
                    <a:pt x="101" y="138"/>
                    <a:pt x="101" y="138"/>
                  </a:cubicBezTo>
                  <a:cubicBezTo>
                    <a:pt x="101" y="139"/>
                    <a:pt x="102" y="139"/>
                    <a:pt x="102" y="139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3" y="140"/>
                    <a:pt x="104" y="140"/>
                    <a:pt x="105" y="140"/>
                  </a:cubicBezTo>
                  <a:cubicBezTo>
                    <a:pt x="106" y="141"/>
                    <a:pt x="106" y="141"/>
                    <a:pt x="107" y="141"/>
                  </a:cubicBezTo>
                  <a:cubicBezTo>
                    <a:pt x="107" y="141"/>
                    <a:pt x="107" y="141"/>
                    <a:pt x="108" y="141"/>
                  </a:cubicBezTo>
                  <a:cubicBezTo>
                    <a:pt x="108" y="141"/>
                    <a:pt x="109" y="141"/>
                    <a:pt x="110" y="141"/>
                  </a:cubicBezTo>
                  <a:cubicBezTo>
                    <a:pt x="110" y="141"/>
                    <a:pt x="111" y="140"/>
                    <a:pt x="111" y="140"/>
                  </a:cubicBezTo>
                  <a:cubicBezTo>
                    <a:pt x="112" y="140"/>
                    <a:pt x="112" y="140"/>
                    <a:pt x="112" y="139"/>
                  </a:cubicBezTo>
                  <a:cubicBezTo>
                    <a:pt x="113" y="140"/>
                    <a:pt x="113" y="140"/>
                    <a:pt x="113" y="140"/>
                  </a:cubicBezTo>
                  <a:cubicBezTo>
                    <a:pt x="114" y="140"/>
                    <a:pt x="115" y="140"/>
                    <a:pt x="116" y="140"/>
                  </a:cubicBezTo>
                  <a:close/>
                  <a:moveTo>
                    <a:pt x="141" y="146"/>
                  </a:moveTo>
                  <a:cubicBezTo>
                    <a:pt x="141" y="146"/>
                    <a:pt x="141" y="146"/>
                    <a:pt x="141" y="146"/>
                  </a:cubicBezTo>
                  <a:cubicBezTo>
                    <a:pt x="141" y="146"/>
                    <a:pt x="141" y="146"/>
                    <a:pt x="141" y="146"/>
                  </a:cubicBezTo>
                  <a:close/>
                  <a:moveTo>
                    <a:pt x="148" y="133"/>
                  </a:moveTo>
                  <a:cubicBezTo>
                    <a:pt x="148" y="133"/>
                    <a:pt x="148" y="133"/>
                    <a:pt x="148" y="133"/>
                  </a:cubicBezTo>
                  <a:cubicBezTo>
                    <a:pt x="148" y="133"/>
                    <a:pt x="148" y="133"/>
                    <a:pt x="148" y="133"/>
                  </a:cubicBezTo>
                  <a:close/>
                  <a:moveTo>
                    <a:pt x="135" y="128"/>
                  </a:moveTo>
                  <a:cubicBezTo>
                    <a:pt x="135" y="128"/>
                    <a:pt x="135" y="128"/>
                    <a:pt x="135" y="128"/>
                  </a:cubicBezTo>
                  <a:cubicBezTo>
                    <a:pt x="135" y="128"/>
                    <a:pt x="135" y="128"/>
                    <a:pt x="135" y="128"/>
                  </a:cubicBezTo>
                  <a:close/>
                  <a:moveTo>
                    <a:pt x="122" y="129"/>
                  </a:moveTo>
                  <a:cubicBezTo>
                    <a:pt x="122" y="130"/>
                    <a:pt x="122" y="130"/>
                    <a:pt x="122" y="130"/>
                  </a:cubicBezTo>
                  <a:cubicBezTo>
                    <a:pt x="121" y="129"/>
                    <a:pt x="121" y="129"/>
                    <a:pt x="121" y="129"/>
                  </a:cubicBezTo>
                  <a:cubicBezTo>
                    <a:pt x="121" y="129"/>
                    <a:pt x="121" y="129"/>
                    <a:pt x="122" y="129"/>
                  </a:cubicBezTo>
                  <a:close/>
                  <a:moveTo>
                    <a:pt x="67" y="55"/>
                  </a:move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lose/>
                  <a:moveTo>
                    <a:pt x="89" y="85"/>
                  </a:moveTo>
                  <a:cubicBezTo>
                    <a:pt x="89" y="85"/>
                    <a:pt x="89" y="85"/>
                    <a:pt x="89" y="85"/>
                  </a:cubicBezTo>
                  <a:cubicBezTo>
                    <a:pt x="89" y="85"/>
                    <a:pt x="89" y="85"/>
                    <a:pt x="89" y="84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9" y="84"/>
                    <a:pt x="89" y="85"/>
                    <a:pt x="89" y="85"/>
                  </a:cubicBezTo>
                  <a:close/>
                  <a:moveTo>
                    <a:pt x="79" y="74"/>
                  </a:moveTo>
                  <a:cubicBezTo>
                    <a:pt x="79" y="74"/>
                    <a:pt x="79" y="74"/>
                    <a:pt x="79" y="74"/>
                  </a:cubicBezTo>
                  <a:cubicBezTo>
                    <a:pt x="79" y="74"/>
                    <a:pt x="79" y="74"/>
                    <a:pt x="79" y="74"/>
                  </a:cubicBezTo>
                  <a:close/>
                  <a:moveTo>
                    <a:pt x="57" y="42"/>
                  </a:move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lose/>
                  <a:moveTo>
                    <a:pt x="84" y="116"/>
                  </a:moveTo>
                  <a:cubicBezTo>
                    <a:pt x="84" y="116"/>
                    <a:pt x="84" y="116"/>
                    <a:pt x="84" y="116"/>
                  </a:cubicBezTo>
                  <a:cubicBezTo>
                    <a:pt x="84" y="116"/>
                    <a:pt x="84" y="116"/>
                    <a:pt x="84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9" name="Freeform 38"/>
            <p:cNvSpPr>
              <a:spLocks noEditPoints="1"/>
            </p:cNvSpPr>
            <p:nvPr/>
          </p:nvSpPr>
          <p:spPr bwMode="auto">
            <a:xfrm>
              <a:off x="5556" y="2728"/>
              <a:ext cx="71" cy="28"/>
            </a:xfrm>
            <a:custGeom>
              <a:avLst/>
              <a:gdLst>
                <a:gd name="T0" fmla="*/ 17 w 30"/>
                <a:gd name="T1" fmla="*/ 10 h 12"/>
                <a:gd name="T2" fmla="*/ 18 w 30"/>
                <a:gd name="T3" fmla="*/ 10 h 12"/>
                <a:gd name="T4" fmla="*/ 19 w 30"/>
                <a:gd name="T5" fmla="*/ 9 h 12"/>
                <a:gd name="T6" fmla="*/ 23 w 30"/>
                <a:gd name="T7" fmla="*/ 9 h 12"/>
                <a:gd name="T8" fmla="*/ 25 w 30"/>
                <a:gd name="T9" fmla="*/ 9 h 12"/>
                <a:gd name="T10" fmla="*/ 28 w 30"/>
                <a:gd name="T11" fmla="*/ 8 h 12"/>
                <a:gd name="T12" fmla="*/ 27 w 30"/>
                <a:gd name="T13" fmla="*/ 7 h 12"/>
                <a:gd name="T14" fmla="*/ 28 w 30"/>
                <a:gd name="T15" fmla="*/ 8 h 12"/>
                <a:gd name="T16" fmla="*/ 30 w 30"/>
                <a:gd name="T17" fmla="*/ 5 h 12"/>
                <a:gd name="T18" fmla="*/ 27 w 30"/>
                <a:gd name="T19" fmla="*/ 3 h 12"/>
                <a:gd name="T20" fmla="*/ 26 w 30"/>
                <a:gd name="T21" fmla="*/ 2 h 12"/>
                <a:gd name="T22" fmla="*/ 23 w 30"/>
                <a:gd name="T23" fmla="*/ 2 h 12"/>
                <a:gd name="T24" fmla="*/ 21 w 30"/>
                <a:gd name="T25" fmla="*/ 0 h 12"/>
                <a:gd name="T26" fmla="*/ 17 w 30"/>
                <a:gd name="T27" fmla="*/ 1 h 12"/>
                <a:gd name="T28" fmla="*/ 18 w 30"/>
                <a:gd name="T29" fmla="*/ 4 h 12"/>
                <a:gd name="T30" fmla="*/ 19 w 30"/>
                <a:gd name="T31" fmla="*/ 5 h 12"/>
                <a:gd name="T32" fmla="*/ 18 w 30"/>
                <a:gd name="T33" fmla="*/ 5 h 12"/>
                <a:gd name="T34" fmla="*/ 16 w 30"/>
                <a:gd name="T35" fmla="*/ 3 h 12"/>
                <a:gd name="T36" fmla="*/ 15 w 30"/>
                <a:gd name="T37" fmla="*/ 3 h 12"/>
                <a:gd name="T38" fmla="*/ 14 w 30"/>
                <a:gd name="T39" fmla="*/ 5 h 12"/>
                <a:gd name="T40" fmla="*/ 13 w 30"/>
                <a:gd name="T41" fmla="*/ 3 h 12"/>
                <a:gd name="T42" fmla="*/ 10 w 30"/>
                <a:gd name="T43" fmla="*/ 4 h 12"/>
                <a:gd name="T44" fmla="*/ 10 w 30"/>
                <a:gd name="T45" fmla="*/ 4 h 12"/>
                <a:gd name="T46" fmla="*/ 7 w 30"/>
                <a:gd name="T47" fmla="*/ 1 h 12"/>
                <a:gd name="T48" fmla="*/ 6 w 30"/>
                <a:gd name="T49" fmla="*/ 1 h 12"/>
                <a:gd name="T50" fmla="*/ 4 w 30"/>
                <a:gd name="T51" fmla="*/ 2 h 12"/>
                <a:gd name="T52" fmla="*/ 2 w 30"/>
                <a:gd name="T53" fmla="*/ 5 h 12"/>
                <a:gd name="T54" fmla="*/ 2 w 30"/>
                <a:gd name="T55" fmla="*/ 10 h 12"/>
                <a:gd name="T56" fmla="*/ 4 w 30"/>
                <a:gd name="T57" fmla="*/ 9 h 12"/>
                <a:gd name="T58" fmla="*/ 6 w 30"/>
                <a:gd name="T59" fmla="*/ 10 h 12"/>
                <a:gd name="T60" fmla="*/ 8 w 30"/>
                <a:gd name="T61" fmla="*/ 10 h 12"/>
                <a:gd name="T62" fmla="*/ 9 w 30"/>
                <a:gd name="T63" fmla="*/ 11 h 12"/>
                <a:gd name="T64" fmla="*/ 11 w 30"/>
                <a:gd name="T65" fmla="*/ 12 h 12"/>
                <a:gd name="T66" fmla="*/ 13 w 30"/>
                <a:gd name="T67" fmla="*/ 11 h 12"/>
                <a:gd name="T68" fmla="*/ 13 w 30"/>
                <a:gd name="T69" fmla="*/ 10 h 12"/>
                <a:gd name="T70" fmla="*/ 8 w 30"/>
                <a:gd name="T71" fmla="*/ 6 h 12"/>
                <a:gd name="T72" fmla="*/ 9 w 30"/>
                <a:gd name="T73" fmla="*/ 6 h 12"/>
                <a:gd name="T74" fmla="*/ 8 w 30"/>
                <a:gd name="T7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" h="12">
                  <a:moveTo>
                    <a:pt x="14" y="10"/>
                  </a:moveTo>
                  <a:cubicBezTo>
                    <a:pt x="15" y="10"/>
                    <a:pt x="16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1" y="9"/>
                    <a:pt x="22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4" y="9"/>
                    <a:pt x="24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6" y="9"/>
                    <a:pt x="27" y="9"/>
                  </a:cubicBezTo>
                  <a:cubicBezTo>
                    <a:pt x="27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9" y="8"/>
                    <a:pt x="30" y="7"/>
                  </a:cubicBezTo>
                  <a:cubicBezTo>
                    <a:pt x="30" y="7"/>
                    <a:pt x="30" y="5"/>
                    <a:pt x="30" y="5"/>
                  </a:cubicBezTo>
                  <a:cubicBezTo>
                    <a:pt x="29" y="4"/>
                    <a:pt x="29" y="4"/>
                    <a:pt x="28" y="4"/>
                  </a:cubicBezTo>
                  <a:cubicBezTo>
                    <a:pt x="28" y="4"/>
                    <a:pt x="28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1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2"/>
                    <a:pt x="22" y="2"/>
                  </a:cubicBezTo>
                  <a:cubicBezTo>
                    <a:pt x="22" y="1"/>
                    <a:pt x="22" y="1"/>
                    <a:pt x="21" y="0"/>
                  </a:cubicBezTo>
                  <a:cubicBezTo>
                    <a:pt x="21" y="0"/>
                    <a:pt x="20" y="0"/>
                    <a:pt x="20" y="0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7" y="2"/>
                    <a:pt x="17" y="2"/>
                    <a:pt x="17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2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2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6"/>
                    <a:pt x="0" y="7"/>
                    <a:pt x="1" y="8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4" y="10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2"/>
                    <a:pt x="11" y="12"/>
                    <a:pt x="11" y="12"/>
                  </a:cubicBezTo>
                  <a:cubicBezTo>
                    <a:pt x="12" y="12"/>
                    <a:pt x="12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8" y="6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7"/>
                  </a:cubicBez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0" name="Freeform 39"/>
            <p:cNvSpPr>
              <a:spLocks/>
            </p:cNvSpPr>
            <p:nvPr/>
          </p:nvSpPr>
          <p:spPr bwMode="auto">
            <a:xfrm>
              <a:off x="5615" y="2754"/>
              <a:ext cx="43" cy="30"/>
            </a:xfrm>
            <a:custGeom>
              <a:avLst/>
              <a:gdLst>
                <a:gd name="T0" fmla="*/ 2 w 18"/>
                <a:gd name="T1" fmla="*/ 7 h 13"/>
                <a:gd name="T2" fmla="*/ 3 w 18"/>
                <a:gd name="T3" fmla="*/ 8 h 13"/>
                <a:gd name="T4" fmla="*/ 4 w 18"/>
                <a:gd name="T5" fmla="*/ 8 h 13"/>
                <a:gd name="T6" fmla="*/ 7 w 18"/>
                <a:gd name="T7" fmla="*/ 8 h 13"/>
                <a:gd name="T8" fmla="*/ 7 w 18"/>
                <a:gd name="T9" fmla="*/ 9 h 13"/>
                <a:gd name="T10" fmla="*/ 9 w 18"/>
                <a:gd name="T11" fmla="*/ 10 h 13"/>
                <a:gd name="T12" fmla="*/ 9 w 18"/>
                <a:gd name="T13" fmla="*/ 10 h 13"/>
                <a:gd name="T14" fmla="*/ 10 w 18"/>
                <a:gd name="T15" fmla="*/ 11 h 13"/>
                <a:gd name="T16" fmla="*/ 11 w 18"/>
                <a:gd name="T17" fmla="*/ 12 h 13"/>
                <a:gd name="T18" fmla="*/ 11 w 18"/>
                <a:gd name="T19" fmla="*/ 12 h 13"/>
                <a:gd name="T20" fmla="*/ 13 w 18"/>
                <a:gd name="T21" fmla="*/ 13 h 13"/>
                <a:gd name="T22" fmla="*/ 17 w 18"/>
                <a:gd name="T23" fmla="*/ 11 h 13"/>
                <a:gd name="T24" fmla="*/ 17 w 18"/>
                <a:gd name="T25" fmla="*/ 8 h 13"/>
                <a:gd name="T26" fmla="*/ 16 w 18"/>
                <a:gd name="T27" fmla="*/ 6 h 13"/>
                <a:gd name="T28" fmla="*/ 16 w 18"/>
                <a:gd name="T29" fmla="*/ 6 h 13"/>
                <a:gd name="T30" fmla="*/ 15 w 18"/>
                <a:gd name="T31" fmla="*/ 5 h 13"/>
                <a:gd name="T32" fmla="*/ 12 w 18"/>
                <a:gd name="T33" fmla="*/ 3 h 13"/>
                <a:gd name="T34" fmla="*/ 12 w 18"/>
                <a:gd name="T35" fmla="*/ 5 h 13"/>
                <a:gd name="T36" fmla="*/ 12 w 18"/>
                <a:gd name="T37" fmla="*/ 3 h 13"/>
                <a:gd name="T38" fmla="*/ 12 w 18"/>
                <a:gd name="T39" fmla="*/ 3 h 13"/>
                <a:gd name="T40" fmla="*/ 12 w 18"/>
                <a:gd name="T41" fmla="*/ 3 h 13"/>
                <a:gd name="T42" fmla="*/ 10 w 18"/>
                <a:gd name="T43" fmla="*/ 1 h 13"/>
                <a:gd name="T44" fmla="*/ 8 w 18"/>
                <a:gd name="T45" fmla="*/ 1 h 13"/>
                <a:gd name="T46" fmla="*/ 7 w 18"/>
                <a:gd name="T47" fmla="*/ 1 h 13"/>
                <a:gd name="T48" fmla="*/ 7 w 18"/>
                <a:gd name="T49" fmla="*/ 1 h 13"/>
                <a:gd name="T50" fmla="*/ 5 w 18"/>
                <a:gd name="T51" fmla="*/ 1 h 13"/>
                <a:gd name="T52" fmla="*/ 3 w 18"/>
                <a:gd name="T53" fmla="*/ 2 h 13"/>
                <a:gd name="T54" fmla="*/ 2 w 18"/>
                <a:gd name="T55" fmla="*/ 3 h 13"/>
                <a:gd name="T56" fmla="*/ 1 w 18"/>
                <a:gd name="T57" fmla="*/ 3 h 13"/>
                <a:gd name="T58" fmla="*/ 0 w 18"/>
                <a:gd name="T59" fmla="*/ 5 h 13"/>
                <a:gd name="T60" fmla="*/ 1 w 18"/>
                <a:gd name="T61" fmla="*/ 7 h 13"/>
                <a:gd name="T62" fmla="*/ 2 w 18"/>
                <a:gd name="T6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13">
                  <a:moveTo>
                    <a:pt x="2" y="7"/>
                  </a:moveTo>
                  <a:cubicBezTo>
                    <a:pt x="2" y="7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8"/>
                    <a:pt x="6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9"/>
                    <a:pt x="8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3"/>
                    <a:pt x="12" y="13"/>
                    <a:pt x="13" y="13"/>
                  </a:cubicBezTo>
                  <a:cubicBezTo>
                    <a:pt x="15" y="13"/>
                    <a:pt x="16" y="11"/>
                    <a:pt x="17" y="11"/>
                  </a:cubicBezTo>
                  <a:cubicBezTo>
                    <a:pt x="17" y="10"/>
                    <a:pt x="18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5"/>
                    <a:pt x="15" y="5"/>
                  </a:cubicBezTo>
                  <a:cubicBezTo>
                    <a:pt x="15" y="4"/>
                    <a:pt x="13" y="4"/>
                    <a:pt x="12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3" y="2"/>
                    <a:pt x="3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5705" y="2732"/>
              <a:ext cx="78" cy="52"/>
            </a:xfrm>
            <a:custGeom>
              <a:avLst/>
              <a:gdLst>
                <a:gd name="T0" fmla="*/ 28 w 33"/>
                <a:gd name="T1" fmla="*/ 7 h 22"/>
                <a:gd name="T2" fmla="*/ 29 w 33"/>
                <a:gd name="T3" fmla="*/ 6 h 22"/>
                <a:gd name="T4" fmla="*/ 31 w 33"/>
                <a:gd name="T5" fmla="*/ 5 h 22"/>
                <a:gd name="T6" fmla="*/ 31 w 33"/>
                <a:gd name="T7" fmla="*/ 1 h 22"/>
                <a:gd name="T8" fmla="*/ 29 w 33"/>
                <a:gd name="T9" fmla="*/ 0 h 22"/>
                <a:gd name="T10" fmla="*/ 26 w 33"/>
                <a:gd name="T11" fmla="*/ 1 h 22"/>
                <a:gd name="T12" fmla="*/ 23 w 33"/>
                <a:gd name="T13" fmla="*/ 1 h 22"/>
                <a:gd name="T14" fmla="*/ 22 w 33"/>
                <a:gd name="T15" fmla="*/ 1 h 22"/>
                <a:gd name="T16" fmla="*/ 16 w 33"/>
                <a:gd name="T17" fmla="*/ 2 h 22"/>
                <a:gd name="T18" fmla="*/ 15 w 33"/>
                <a:gd name="T19" fmla="*/ 3 h 22"/>
                <a:gd name="T20" fmla="*/ 13 w 33"/>
                <a:gd name="T21" fmla="*/ 5 h 22"/>
                <a:gd name="T22" fmla="*/ 11 w 33"/>
                <a:gd name="T23" fmla="*/ 6 h 22"/>
                <a:gd name="T24" fmla="*/ 10 w 33"/>
                <a:gd name="T25" fmla="*/ 7 h 22"/>
                <a:gd name="T26" fmla="*/ 9 w 33"/>
                <a:gd name="T27" fmla="*/ 7 h 22"/>
                <a:gd name="T28" fmla="*/ 8 w 33"/>
                <a:gd name="T29" fmla="*/ 8 h 22"/>
                <a:gd name="T30" fmla="*/ 7 w 33"/>
                <a:gd name="T31" fmla="*/ 8 h 22"/>
                <a:gd name="T32" fmla="*/ 7 w 33"/>
                <a:gd name="T33" fmla="*/ 8 h 22"/>
                <a:gd name="T34" fmla="*/ 4 w 33"/>
                <a:gd name="T35" fmla="*/ 11 h 22"/>
                <a:gd name="T36" fmla="*/ 4 w 33"/>
                <a:gd name="T37" fmla="*/ 12 h 22"/>
                <a:gd name="T38" fmla="*/ 2 w 33"/>
                <a:gd name="T39" fmla="*/ 13 h 22"/>
                <a:gd name="T40" fmla="*/ 1 w 33"/>
                <a:gd name="T41" fmla="*/ 14 h 22"/>
                <a:gd name="T42" fmla="*/ 1 w 33"/>
                <a:gd name="T43" fmla="*/ 19 h 22"/>
                <a:gd name="T44" fmla="*/ 2 w 33"/>
                <a:gd name="T45" fmla="*/ 20 h 22"/>
                <a:gd name="T46" fmla="*/ 3 w 33"/>
                <a:gd name="T47" fmla="*/ 20 h 22"/>
                <a:gd name="T48" fmla="*/ 6 w 33"/>
                <a:gd name="T49" fmla="*/ 22 h 22"/>
                <a:gd name="T50" fmla="*/ 9 w 33"/>
                <a:gd name="T51" fmla="*/ 20 h 22"/>
                <a:gd name="T52" fmla="*/ 11 w 33"/>
                <a:gd name="T53" fmla="*/ 18 h 22"/>
                <a:gd name="T54" fmla="*/ 14 w 33"/>
                <a:gd name="T55" fmla="*/ 15 h 22"/>
                <a:gd name="T56" fmla="*/ 17 w 33"/>
                <a:gd name="T57" fmla="*/ 13 h 22"/>
                <a:gd name="T58" fmla="*/ 19 w 33"/>
                <a:gd name="T59" fmla="*/ 12 h 22"/>
                <a:gd name="T60" fmla="*/ 21 w 33"/>
                <a:gd name="T61" fmla="*/ 11 h 22"/>
                <a:gd name="T62" fmla="*/ 24 w 33"/>
                <a:gd name="T63" fmla="*/ 10 h 22"/>
                <a:gd name="T64" fmla="*/ 24 w 33"/>
                <a:gd name="T65" fmla="*/ 8 h 22"/>
                <a:gd name="T66" fmla="*/ 28 w 33"/>
                <a:gd name="T67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22">
                  <a:moveTo>
                    <a:pt x="28" y="8"/>
                  </a:moveTo>
                  <a:cubicBezTo>
                    <a:pt x="28" y="8"/>
                    <a:pt x="28" y="7"/>
                    <a:pt x="28" y="7"/>
                  </a:cubicBezTo>
                  <a:cubicBezTo>
                    <a:pt x="29" y="7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4"/>
                    <a:pt x="33" y="3"/>
                    <a:pt x="32" y="2"/>
                  </a:cubicBezTo>
                  <a:cubicBezTo>
                    <a:pt x="32" y="2"/>
                    <a:pt x="32" y="1"/>
                    <a:pt x="31" y="1"/>
                  </a:cubicBezTo>
                  <a:cubicBezTo>
                    <a:pt x="31" y="0"/>
                    <a:pt x="30" y="0"/>
                    <a:pt x="29" y="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0"/>
                    <a:pt x="27" y="0"/>
                    <a:pt x="26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4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0"/>
                    <a:pt x="20" y="0"/>
                    <a:pt x="19" y="1"/>
                  </a:cubicBezTo>
                  <a:cubicBezTo>
                    <a:pt x="18" y="1"/>
                    <a:pt x="17" y="2"/>
                    <a:pt x="16" y="2"/>
                  </a:cubicBezTo>
                  <a:cubicBezTo>
                    <a:pt x="16" y="2"/>
                    <a:pt x="16" y="3"/>
                    <a:pt x="16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2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0" y="7"/>
                  </a:cubicBezTo>
                  <a:cubicBezTo>
                    <a:pt x="10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5" y="10"/>
                    <a:pt x="4" y="11"/>
                  </a:cubicBezTo>
                  <a:cubicBezTo>
                    <a:pt x="4" y="11"/>
                    <a:pt x="4" y="11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3"/>
                    <a:pt x="2" y="13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1" y="15"/>
                    <a:pt x="0" y="15"/>
                    <a:pt x="0" y="16"/>
                  </a:cubicBezTo>
                  <a:cubicBezTo>
                    <a:pt x="0" y="18"/>
                    <a:pt x="1" y="19"/>
                    <a:pt x="1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20"/>
                    <a:pt x="2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4" y="21"/>
                    <a:pt x="4" y="21"/>
                  </a:cubicBezTo>
                  <a:cubicBezTo>
                    <a:pt x="4" y="21"/>
                    <a:pt x="5" y="22"/>
                    <a:pt x="6" y="22"/>
                  </a:cubicBezTo>
                  <a:cubicBezTo>
                    <a:pt x="6" y="22"/>
                    <a:pt x="6" y="22"/>
                    <a:pt x="7" y="21"/>
                  </a:cubicBezTo>
                  <a:cubicBezTo>
                    <a:pt x="7" y="21"/>
                    <a:pt x="8" y="21"/>
                    <a:pt x="9" y="20"/>
                  </a:cubicBezTo>
                  <a:cubicBezTo>
                    <a:pt x="9" y="20"/>
                    <a:pt x="9" y="19"/>
                    <a:pt x="10" y="19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6" y="14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9" y="13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2"/>
                    <a:pt x="20" y="11"/>
                    <a:pt x="21" y="11"/>
                  </a:cubicBezTo>
                  <a:cubicBezTo>
                    <a:pt x="21" y="11"/>
                    <a:pt x="22" y="11"/>
                    <a:pt x="23" y="10"/>
                  </a:cubicBezTo>
                  <a:cubicBezTo>
                    <a:pt x="23" y="10"/>
                    <a:pt x="23" y="10"/>
                    <a:pt x="24" y="1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7" y="9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2" name="Freeform 41"/>
            <p:cNvSpPr>
              <a:spLocks noEditPoints="1"/>
            </p:cNvSpPr>
            <p:nvPr/>
          </p:nvSpPr>
          <p:spPr bwMode="auto">
            <a:xfrm>
              <a:off x="5608" y="2065"/>
              <a:ext cx="140" cy="241"/>
            </a:xfrm>
            <a:custGeom>
              <a:avLst/>
              <a:gdLst>
                <a:gd name="T0" fmla="*/ 9 w 59"/>
                <a:gd name="T1" fmla="*/ 0 h 102"/>
                <a:gd name="T2" fmla="*/ 3 w 59"/>
                <a:gd name="T3" fmla="*/ 7 h 102"/>
                <a:gd name="T4" fmla="*/ 4 w 59"/>
                <a:gd name="T5" fmla="*/ 15 h 102"/>
                <a:gd name="T6" fmla="*/ 5 w 59"/>
                <a:gd name="T7" fmla="*/ 26 h 102"/>
                <a:gd name="T8" fmla="*/ 0 w 59"/>
                <a:gd name="T9" fmla="*/ 28 h 102"/>
                <a:gd name="T10" fmla="*/ 3 w 59"/>
                <a:gd name="T11" fmla="*/ 35 h 102"/>
                <a:gd name="T12" fmla="*/ 5 w 59"/>
                <a:gd name="T13" fmla="*/ 41 h 102"/>
                <a:gd name="T14" fmla="*/ 10 w 59"/>
                <a:gd name="T15" fmla="*/ 46 h 102"/>
                <a:gd name="T16" fmla="*/ 13 w 59"/>
                <a:gd name="T17" fmla="*/ 53 h 102"/>
                <a:gd name="T18" fmla="*/ 10 w 59"/>
                <a:gd name="T19" fmla="*/ 58 h 102"/>
                <a:gd name="T20" fmla="*/ 17 w 59"/>
                <a:gd name="T21" fmla="*/ 67 h 102"/>
                <a:gd name="T22" fmla="*/ 21 w 59"/>
                <a:gd name="T23" fmla="*/ 68 h 102"/>
                <a:gd name="T24" fmla="*/ 22 w 59"/>
                <a:gd name="T25" fmla="*/ 61 h 102"/>
                <a:gd name="T26" fmla="*/ 21 w 59"/>
                <a:gd name="T27" fmla="*/ 53 h 102"/>
                <a:gd name="T28" fmla="*/ 26 w 59"/>
                <a:gd name="T29" fmla="*/ 55 h 102"/>
                <a:gd name="T30" fmla="*/ 31 w 59"/>
                <a:gd name="T31" fmla="*/ 58 h 102"/>
                <a:gd name="T32" fmla="*/ 34 w 59"/>
                <a:gd name="T33" fmla="*/ 58 h 102"/>
                <a:gd name="T34" fmla="*/ 42 w 59"/>
                <a:gd name="T35" fmla="*/ 65 h 102"/>
                <a:gd name="T36" fmla="*/ 44 w 59"/>
                <a:gd name="T37" fmla="*/ 70 h 102"/>
                <a:gd name="T38" fmla="*/ 35 w 59"/>
                <a:gd name="T39" fmla="*/ 63 h 102"/>
                <a:gd name="T40" fmla="*/ 38 w 59"/>
                <a:gd name="T41" fmla="*/ 70 h 102"/>
                <a:gd name="T42" fmla="*/ 43 w 59"/>
                <a:gd name="T43" fmla="*/ 73 h 102"/>
                <a:gd name="T44" fmla="*/ 38 w 59"/>
                <a:gd name="T45" fmla="*/ 80 h 102"/>
                <a:gd name="T46" fmla="*/ 32 w 59"/>
                <a:gd name="T47" fmla="*/ 73 h 102"/>
                <a:gd name="T48" fmla="*/ 26 w 59"/>
                <a:gd name="T49" fmla="*/ 71 h 102"/>
                <a:gd name="T50" fmla="*/ 26 w 59"/>
                <a:gd name="T51" fmla="*/ 81 h 102"/>
                <a:gd name="T52" fmla="*/ 29 w 59"/>
                <a:gd name="T53" fmla="*/ 86 h 102"/>
                <a:gd name="T54" fmla="*/ 32 w 59"/>
                <a:gd name="T55" fmla="*/ 90 h 102"/>
                <a:gd name="T56" fmla="*/ 37 w 59"/>
                <a:gd name="T57" fmla="*/ 102 h 102"/>
                <a:gd name="T58" fmla="*/ 42 w 59"/>
                <a:gd name="T59" fmla="*/ 94 h 102"/>
                <a:gd name="T60" fmla="*/ 50 w 59"/>
                <a:gd name="T61" fmla="*/ 91 h 102"/>
                <a:gd name="T62" fmla="*/ 44 w 59"/>
                <a:gd name="T63" fmla="*/ 89 h 102"/>
                <a:gd name="T64" fmla="*/ 43 w 59"/>
                <a:gd name="T65" fmla="*/ 79 h 102"/>
                <a:gd name="T66" fmla="*/ 46 w 59"/>
                <a:gd name="T67" fmla="*/ 70 h 102"/>
                <a:gd name="T68" fmla="*/ 46 w 59"/>
                <a:gd name="T69" fmla="*/ 75 h 102"/>
                <a:gd name="T70" fmla="*/ 45 w 59"/>
                <a:gd name="T71" fmla="*/ 79 h 102"/>
                <a:gd name="T72" fmla="*/ 49 w 59"/>
                <a:gd name="T73" fmla="*/ 85 h 102"/>
                <a:gd name="T74" fmla="*/ 52 w 59"/>
                <a:gd name="T75" fmla="*/ 91 h 102"/>
                <a:gd name="T76" fmla="*/ 52 w 59"/>
                <a:gd name="T77" fmla="*/ 81 h 102"/>
                <a:gd name="T78" fmla="*/ 58 w 59"/>
                <a:gd name="T79" fmla="*/ 77 h 102"/>
                <a:gd name="T80" fmla="*/ 55 w 59"/>
                <a:gd name="T81" fmla="*/ 71 h 102"/>
                <a:gd name="T82" fmla="*/ 49 w 59"/>
                <a:gd name="T83" fmla="*/ 62 h 102"/>
                <a:gd name="T84" fmla="*/ 44 w 59"/>
                <a:gd name="T85" fmla="*/ 61 h 102"/>
                <a:gd name="T86" fmla="*/ 39 w 59"/>
                <a:gd name="T87" fmla="*/ 55 h 102"/>
                <a:gd name="T88" fmla="*/ 41 w 59"/>
                <a:gd name="T89" fmla="*/ 46 h 102"/>
                <a:gd name="T90" fmla="*/ 31 w 59"/>
                <a:gd name="T91" fmla="*/ 46 h 102"/>
                <a:gd name="T92" fmla="*/ 24 w 59"/>
                <a:gd name="T93" fmla="*/ 47 h 102"/>
                <a:gd name="T94" fmla="*/ 20 w 59"/>
                <a:gd name="T95" fmla="*/ 41 h 102"/>
                <a:gd name="T96" fmla="*/ 18 w 59"/>
                <a:gd name="T97" fmla="*/ 33 h 102"/>
                <a:gd name="T98" fmla="*/ 20 w 59"/>
                <a:gd name="T99" fmla="*/ 28 h 102"/>
                <a:gd name="T100" fmla="*/ 23 w 59"/>
                <a:gd name="T101" fmla="*/ 23 h 102"/>
                <a:gd name="T102" fmla="*/ 22 w 59"/>
                <a:gd name="T103" fmla="*/ 13 h 102"/>
                <a:gd name="T104" fmla="*/ 21 w 59"/>
                <a:gd name="T105" fmla="*/ 6 h 102"/>
                <a:gd name="T106" fmla="*/ 41 w 59"/>
                <a:gd name="T107" fmla="*/ 84 h 102"/>
                <a:gd name="T108" fmla="*/ 40 w 59"/>
                <a:gd name="T109" fmla="*/ 88 h 102"/>
                <a:gd name="T110" fmla="*/ 33 w 59"/>
                <a:gd name="T111" fmla="*/ 82 h 102"/>
                <a:gd name="T112" fmla="*/ 16 w 59"/>
                <a:gd name="T113" fmla="*/ 54 h 102"/>
                <a:gd name="T114" fmla="*/ 12 w 59"/>
                <a:gd name="T115" fmla="*/ 5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" h="102">
                  <a:moveTo>
                    <a:pt x="18" y="2"/>
                  </a:moveTo>
                  <a:cubicBezTo>
                    <a:pt x="18" y="2"/>
                    <a:pt x="17" y="2"/>
                    <a:pt x="17" y="2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3"/>
                    <a:pt x="13" y="1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1"/>
                    <a:pt x="3" y="12"/>
                    <a:pt x="3" y="13"/>
                  </a:cubicBezTo>
                  <a:cubicBezTo>
                    <a:pt x="3" y="13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5"/>
                    <a:pt x="4" y="15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4" y="18"/>
                    <a:pt x="4" y="18"/>
                    <a:pt x="4" y="19"/>
                  </a:cubicBezTo>
                  <a:cubicBezTo>
                    <a:pt x="4" y="19"/>
                    <a:pt x="3" y="20"/>
                    <a:pt x="3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3"/>
                    <a:pt x="4" y="23"/>
                  </a:cubicBezTo>
                  <a:cubicBezTo>
                    <a:pt x="4" y="23"/>
                    <a:pt x="4" y="23"/>
                    <a:pt x="4" y="24"/>
                  </a:cubicBezTo>
                  <a:cubicBezTo>
                    <a:pt x="4" y="25"/>
                    <a:pt x="4" y="25"/>
                    <a:pt x="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2" y="24"/>
                    <a:pt x="2" y="24"/>
                  </a:cubicBezTo>
                  <a:cubicBezTo>
                    <a:pt x="1" y="24"/>
                    <a:pt x="0" y="25"/>
                    <a:pt x="0" y="26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30"/>
                    <a:pt x="1" y="31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3"/>
                    <a:pt x="2" y="34"/>
                    <a:pt x="3" y="35"/>
                  </a:cubicBezTo>
                  <a:cubicBezTo>
                    <a:pt x="3" y="35"/>
                    <a:pt x="3" y="36"/>
                    <a:pt x="3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8"/>
                    <a:pt x="4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40"/>
                    <a:pt x="5" y="40"/>
                  </a:cubicBezTo>
                  <a:cubicBezTo>
                    <a:pt x="5" y="40"/>
                    <a:pt x="5" y="40"/>
                    <a:pt x="5" y="41"/>
                  </a:cubicBezTo>
                  <a:cubicBezTo>
                    <a:pt x="5" y="42"/>
                    <a:pt x="6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8" y="43"/>
                    <a:pt x="8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9" y="46"/>
                    <a:pt x="9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7"/>
                    <a:pt x="10" y="48"/>
                    <a:pt x="10" y="49"/>
                  </a:cubicBezTo>
                  <a:cubicBezTo>
                    <a:pt x="10" y="49"/>
                    <a:pt x="10" y="49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1" y="52"/>
                    <a:pt x="12" y="53"/>
                    <a:pt x="13" y="53"/>
                  </a:cubicBezTo>
                  <a:cubicBezTo>
                    <a:pt x="13" y="53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2" y="55"/>
                    <a:pt x="12" y="55"/>
                  </a:cubicBezTo>
                  <a:cubicBezTo>
                    <a:pt x="12" y="54"/>
                    <a:pt x="11" y="54"/>
                    <a:pt x="10" y="55"/>
                  </a:cubicBezTo>
                  <a:cubicBezTo>
                    <a:pt x="10" y="55"/>
                    <a:pt x="9" y="56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59"/>
                    <a:pt x="11" y="60"/>
                    <a:pt x="12" y="60"/>
                  </a:cubicBezTo>
                  <a:cubicBezTo>
                    <a:pt x="12" y="60"/>
                    <a:pt x="12" y="60"/>
                    <a:pt x="13" y="60"/>
                  </a:cubicBezTo>
                  <a:cubicBezTo>
                    <a:pt x="13" y="61"/>
                    <a:pt x="13" y="62"/>
                    <a:pt x="14" y="63"/>
                  </a:cubicBezTo>
                  <a:cubicBezTo>
                    <a:pt x="14" y="63"/>
                    <a:pt x="15" y="64"/>
                    <a:pt x="15" y="64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6" y="67"/>
                    <a:pt x="16" y="67"/>
                    <a:pt x="17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9"/>
                    <a:pt x="18" y="70"/>
                    <a:pt x="19" y="70"/>
                  </a:cubicBezTo>
                  <a:cubicBezTo>
                    <a:pt x="19" y="70"/>
                    <a:pt x="19" y="70"/>
                    <a:pt x="20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3" y="67"/>
                    <a:pt x="22" y="66"/>
                    <a:pt x="22" y="65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2" y="65"/>
                    <a:pt x="22" y="64"/>
                    <a:pt x="22" y="64"/>
                  </a:cubicBezTo>
                  <a:cubicBezTo>
                    <a:pt x="22" y="64"/>
                    <a:pt x="22" y="63"/>
                    <a:pt x="22" y="62"/>
                  </a:cubicBezTo>
                  <a:cubicBezTo>
                    <a:pt x="22" y="62"/>
                    <a:pt x="22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2" y="61"/>
                    <a:pt x="22" y="59"/>
                    <a:pt x="21" y="58"/>
                  </a:cubicBezTo>
                  <a:cubicBezTo>
                    <a:pt x="21" y="57"/>
                    <a:pt x="20" y="57"/>
                    <a:pt x="20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20" y="54"/>
                    <a:pt x="21" y="54"/>
                    <a:pt x="21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2" y="53"/>
                    <a:pt x="22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4" y="53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5" y="54"/>
                    <a:pt x="25" y="55"/>
                  </a:cubicBezTo>
                  <a:cubicBezTo>
                    <a:pt x="25" y="55"/>
                    <a:pt x="26" y="55"/>
                    <a:pt x="26" y="55"/>
                  </a:cubicBezTo>
                  <a:cubicBezTo>
                    <a:pt x="27" y="56"/>
                    <a:pt x="27" y="56"/>
                    <a:pt x="27" y="57"/>
                  </a:cubicBezTo>
                  <a:cubicBezTo>
                    <a:pt x="27" y="57"/>
                    <a:pt x="28" y="57"/>
                    <a:pt x="28" y="58"/>
                  </a:cubicBezTo>
                  <a:cubicBezTo>
                    <a:pt x="28" y="58"/>
                    <a:pt x="29" y="58"/>
                    <a:pt x="29" y="5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1" y="59"/>
                    <a:pt x="31" y="59"/>
                    <a:pt x="31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7"/>
                    <a:pt x="33" y="57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9"/>
                    <a:pt x="34" y="59"/>
                    <a:pt x="34" y="60"/>
                  </a:cubicBezTo>
                  <a:cubicBezTo>
                    <a:pt x="35" y="60"/>
                    <a:pt x="35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8" y="62"/>
                  </a:cubicBezTo>
                  <a:cubicBezTo>
                    <a:pt x="38" y="62"/>
                    <a:pt x="38" y="63"/>
                    <a:pt x="39" y="63"/>
                  </a:cubicBezTo>
                  <a:cubicBezTo>
                    <a:pt x="39" y="64"/>
                    <a:pt x="40" y="65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5"/>
                    <a:pt x="43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5"/>
                    <a:pt x="43" y="65"/>
                    <a:pt x="43" y="66"/>
                  </a:cubicBezTo>
                  <a:cubicBezTo>
                    <a:pt x="43" y="66"/>
                    <a:pt x="43" y="66"/>
                    <a:pt x="43" y="67"/>
                  </a:cubicBezTo>
                  <a:cubicBezTo>
                    <a:pt x="43" y="68"/>
                    <a:pt x="44" y="69"/>
                    <a:pt x="44" y="69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69"/>
                    <a:pt x="43" y="69"/>
                    <a:pt x="43" y="68"/>
                  </a:cubicBezTo>
                  <a:cubicBezTo>
                    <a:pt x="42" y="67"/>
                    <a:pt x="42" y="66"/>
                    <a:pt x="41" y="66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4"/>
                    <a:pt x="38" y="64"/>
                  </a:cubicBezTo>
                  <a:cubicBezTo>
                    <a:pt x="38" y="63"/>
                    <a:pt x="37" y="62"/>
                    <a:pt x="35" y="62"/>
                  </a:cubicBezTo>
                  <a:cubicBezTo>
                    <a:pt x="35" y="62"/>
                    <a:pt x="35" y="62"/>
                    <a:pt x="35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6"/>
                  </a:cubicBezTo>
                  <a:cubicBezTo>
                    <a:pt x="34" y="66"/>
                    <a:pt x="34" y="67"/>
                    <a:pt x="35" y="67"/>
                  </a:cubicBezTo>
                  <a:cubicBezTo>
                    <a:pt x="33" y="69"/>
                    <a:pt x="34" y="70"/>
                    <a:pt x="34" y="71"/>
                  </a:cubicBezTo>
                  <a:cubicBezTo>
                    <a:pt x="35" y="71"/>
                    <a:pt x="35" y="72"/>
                    <a:pt x="36" y="72"/>
                  </a:cubicBezTo>
                  <a:cubicBezTo>
                    <a:pt x="37" y="72"/>
                    <a:pt x="38" y="71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70"/>
                    <a:pt x="39" y="71"/>
                    <a:pt x="39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1" y="72"/>
                    <a:pt x="42" y="73"/>
                    <a:pt x="42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0" y="79"/>
                    <a:pt x="40" y="79"/>
                  </a:cubicBezTo>
                  <a:cubicBezTo>
                    <a:pt x="40" y="80"/>
                    <a:pt x="40" y="81"/>
                    <a:pt x="40" y="82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0" y="81"/>
                    <a:pt x="39" y="81"/>
                    <a:pt x="39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7" y="80"/>
                    <a:pt x="36" y="79"/>
                    <a:pt x="35" y="80"/>
                  </a:cubicBezTo>
                  <a:cubicBezTo>
                    <a:pt x="36" y="78"/>
                    <a:pt x="36" y="77"/>
                    <a:pt x="36" y="75"/>
                  </a:cubicBezTo>
                  <a:cubicBezTo>
                    <a:pt x="36" y="74"/>
                    <a:pt x="36" y="72"/>
                    <a:pt x="35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3" y="72"/>
                    <a:pt x="32" y="73"/>
                    <a:pt x="32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1" y="73"/>
                    <a:pt x="31" y="72"/>
                  </a:cubicBezTo>
                  <a:cubicBezTo>
                    <a:pt x="31" y="72"/>
                    <a:pt x="31" y="72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29" y="71"/>
                    <a:pt x="28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4" y="70"/>
                    <a:pt x="23" y="71"/>
                  </a:cubicBezTo>
                  <a:cubicBezTo>
                    <a:pt x="23" y="72"/>
                    <a:pt x="23" y="72"/>
                    <a:pt x="23" y="73"/>
                  </a:cubicBezTo>
                  <a:cubicBezTo>
                    <a:pt x="23" y="74"/>
                    <a:pt x="24" y="74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6"/>
                    <a:pt x="25" y="76"/>
                  </a:cubicBezTo>
                  <a:cubicBezTo>
                    <a:pt x="25" y="77"/>
                    <a:pt x="25" y="79"/>
                    <a:pt x="26" y="80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2"/>
                  </a:cubicBezTo>
                  <a:cubicBezTo>
                    <a:pt x="25" y="82"/>
                    <a:pt x="25" y="83"/>
                    <a:pt x="25" y="83"/>
                  </a:cubicBezTo>
                  <a:cubicBezTo>
                    <a:pt x="25" y="84"/>
                    <a:pt x="25" y="85"/>
                    <a:pt x="25" y="86"/>
                  </a:cubicBezTo>
                  <a:cubicBezTo>
                    <a:pt x="25" y="88"/>
                    <a:pt x="26" y="88"/>
                    <a:pt x="27" y="88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28" y="88"/>
                    <a:pt x="29" y="88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29" y="86"/>
                    <a:pt x="29" y="86"/>
                    <a:pt x="29" y="87"/>
                  </a:cubicBezTo>
                  <a:cubicBezTo>
                    <a:pt x="29" y="88"/>
                    <a:pt x="30" y="88"/>
                    <a:pt x="31" y="88"/>
                  </a:cubicBezTo>
                  <a:cubicBezTo>
                    <a:pt x="32" y="88"/>
                    <a:pt x="32" y="88"/>
                    <a:pt x="32" y="88"/>
                  </a:cubicBezTo>
                  <a:cubicBezTo>
                    <a:pt x="33" y="88"/>
                    <a:pt x="33" y="87"/>
                    <a:pt x="34" y="86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4" y="87"/>
                    <a:pt x="34" y="87"/>
                    <a:pt x="34" y="88"/>
                  </a:cubicBezTo>
                  <a:cubicBezTo>
                    <a:pt x="34" y="89"/>
                    <a:pt x="33" y="89"/>
                    <a:pt x="32" y="90"/>
                  </a:cubicBezTo>
                  <a:cubicBezTo>
                    <a:pt x="31" y="91"/>
                    <a:pt x="31" y="91"/>
                    <a:pt x="31" y="91"/>
                  </a:cubicBezTo>
                  <a:cubicBezTo>
                    <a:pt x="31" y="91"/>
                    <a:pt x="30" y="92"/>
                    <a:pt x="29" y="94"/>
                  </a:cubicBezTo>
                  <a:cubicBezTo>
                    <a:pt x="29" y="95"/>
                    <a:pt x="29" y="96"/>
                    <a:pt x="30" y="97"/>
                  </a:cubicBezTo>
                  <a:cubicBezTo>
                    <a:pt x="31" y="98"/>
                    <a:pt x="32" y="98"/>
                    <a:pt x="33" y="98"/>
                  </a:cubicBezTo>
                  <a:cubicBezTo>
                    <a:pt x="34" y="99"/>
                    <a:pt x="34" y="99"/>
                    <a:pt x="34" y="99"/>
                  </a:cubicBezTo>
                  <a:cubicBezTo>
                    <a:pt x="34" y="100"/>
                    <a:pt x="35" y="102"/>
                    <a:pt x="36" y="102"/>
                  </a:cubicBezTo>
                  <a:cubicBezTo>
                    <a:pt x="37" y="102"/>
                    <a:pt x="37" y="102"/>
                    <a:pt x="37" y="102"/>
                  </a:cubicBezTo>
                  <a:cubicBezTo>
                    <a:pt x="38" y="102"/>
                    <a:pt x="39" y="101"/>
                    <a:pt x="40" y="100"/>
                  </a:cubicBezTo>
                  <a:cubicBezTo>
                    <a:pt x="40" y="99"/>
                    <a:pt x="40" y="98"/>
                    <a:pt x="40" y="98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2" y="97"/>
                    <a:pt x="42" y="96"/>
                    <a:pt x="42" y="95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2" y="94"/>
                    <a:pt x="42" y="94"/>
                    <a:pt x="42" y="94"/>
                  </a:cubicBezTo>
                  <a:cubicBezTo>
                    <a:pt x="42" y="94"/>
                    <a:pt x="42" y="94"/>
                    <a:pt x="42" y="94"/>
                  </a:cubicBezTo>
                  <a:cubicBezTo>
                    <a:pt x="42" y="95"/>
                    <a:pt x="43" y="95"/>
                    <a:pt x="43" y="96"/>
                  </a:cubicBezTo>
                  <a:cubicBezTo>
                    <a:pt x="44" y="96"/>
                    <a:pt x="44" y="96"/>
                    <a:pt x="45" y="96"/>
                  </a:cubicBezTo>
                  <a:cubicBezTo>
                    <a:pt x="46" y="96"/>
                    <a:pt x="47" y="96"/>
                    <a:pt x="48" y="95"/>
                  </a:cubicBezTo>
                  <a:cubicBezTo>
                    <a:pt x="49" y="95"/>
                    <a:pt x="49" y="95"/>
                    <a:pt x="49" y="94"/>
                  </a:cubicBezTo>
                  <a:cubicBezTo>
                    <a:pt x="50" y="94"/>
                    <a:pt x="51" y="94"/>
                    <a:pt x="51" y="93"/>
                  </a:cubicBezTo>
                  <a:cubicBezTo>
                    <a:pt x="51" y="93"/>
                    <a:pt x="51" y="92"/>
                    <a:pt x="50" y="91"/>
                  </a:cubicBezTo>
                  <a:cubicBezTo>
                    <a:pt x="50" y="90"/>
                    <a:pt x="49" y="90"/>
                    <a:pt x="49" y="90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48" y="89"/>
                    <a:pt x="47" y="88"/>
                    <a:pt x="47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5" y="89"/>
                    <a:pt x="44" y="90"/>
                    <a:pt x="44" y="90"/>
                  </a:cubicBezTo>
                  <a:cubicBezTo>
                    <a:pt x="44" y="90"/>
                    <a:pt x="44" y="90"/>
                    <a:pt x="44" y="89"/>
                  </a:cubicBezTo>
                  <a:cubicBezTo>
                    <a:pt x="45" y="88"/>
                    <a:pt x="45" y="87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4"/>
                    <a:pt x="45" y="83"/>
                    <a:pt x="44" y="83"/>
                  </a:cubicBezTo>
                  <a:cubicBezTo>
                    <a:pt x="44" y="82"/>
                    <a:pt x="44" y="82"/>
                    <a:pt x="44" y="81"/>
                  </a:cubicBezTo>
                  <a:cubicBezTo>
                    <a:pt x="44" y="80"/>
                    <a:pt x="44" y="80"/>
                    <a:pt x="44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1"/>
                    <a:pt x="44" y="70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71"/>
                    <a:pt x="47" y="71"/>
                  </a:cubicBezTo>
                  <a:cubicBezTo>
                    <a:pt x="47" y="71"/>
                    <a:pt x="48" y="71"/>
                    <a:pt x="48" y="72"/>
                  </a:cubicBezTo>
                  <a:cubicBezTo>
                    <a:pt x="48" y="72"/>
                    <a:pt x="48" y="72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4"/>
                    <a:pt x="47" y="74"/>
                  </a:cubicBezTo>
                  <a:cubicBezTo>
                    <a:pt x="47" y="74"/>
                    <a:pt x="47" y="74"/>
                    <a:pt x="46" y="74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4" y="74"/>
                    <a:pt x="44" y="74"/>
                    <a:pt x="44" y="75"/>
                  </a:cubicBezTo>
                  <a:cubicBezTo>
                    <a:pt x="44" y="76"/>
                    <a:pt x="44" y="77"/>
                    <a:pt x="45" y="77"/>
                  </a:cubicBezTo>
                  <a:cubicBezTo>
                    <a:pt x="45" y="78"/>
                    <a:pt x="45" y="78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6" y="81"/>
                    <a:pt x="46" y="82"/>
                    <a:pt x="47" y="82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4"/>
                    <a:pt x="48" y="84"/>
                  </a:cubicBezTo>
                  <a:cubicBezTo>
                    <a:pt x="48" y="84"/>
                    <a:pt x="48" y="85"/>
                    <a:pt x="48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6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7"/>
                    <a:pt x="49" y="88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90"/>
                    <a:pt x="51" y="90"/>
                  </a:cubicBezTo>
                  <a:cubicBezTo>
                    <a:pt x="51" y="91"/>
                    <a:pt x="52" y="91"/>
                    <a:pt x="52" y="91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4" y="90"/>
                    <a:pt x="54" y="88"/>
                    <a:pt x="54" y="88"/>
                  </a:cubicBezTo>
                  <a:cubicBezTo>
                    <a:pt x="54" y="88"/>
                    <a:pt x="54" y="88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5" y="86"/>
                    <a:pt x="54" y="85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5" y="82"/>
                    <a:pt x="53" y="81"/>
                    <a:pt x="52" y="81"/>
                  </a:cubicBezTo>
                  <a:cubicBezTo>
                    <a:pt x="52" y="80"/>
                    <a:pt x="52" y="80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9"/>
                    <a:pt x="54" y="79"/>
                    <a:pt x="55" y="79"/>
                  </a:cubicBezTo>
                  <a:cubicBezTo>
                    <a:pt x="55" y="79"/>
                    <a:pt x="55" y="80"/>
                    <a:pt x="55" y="80"/>
                  </a:cubicBezTo>
                  <a:cubicBezTo>
                    <a:pt x="55" y="81"/>
                    <a:pt x="56" y="82"/>
                    <a:pt x="57" y="82"/>
                  </a:cubicBezTo>
                  <a:cubicBezTo>
                    <a:pt x="58" y="82"/>
                    <a:pt x="58" y="82"/>
                    <a:pt x="59" y="81"/>
                  </a:cubicBezTo>
                  <a:cubicBezTo>
                    <a:pt x="59" y="80"/>
                    <a:pt x="58" y="78"/>
                    <a:pt x="58" y="77"/>
                  </a:cubicBezTo>
                  <a:cubicBezTo>
                    <a:pt x="58" y="77"/>
                    <a:pt x="57" y="77"/>
                    <a:pt x="57" y="77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5"/>
                    <a:pt x="57" y="74"/>
                    <a:pt x="56" y="74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5" y="72"/>
                    <a:pt x="55" y="72"/>
                  </a:cubicBezTo>
                  <a:cubicBezTo>
                    <a:pt x="55" y="72"/>
                    <a:pt x="55" y="72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69"/>
                    <a:pt x="56" y="67"/>
                    <a:pt x="55" y="66"/>
                  </a:cubicBezTo>
                  <a:cubicBezTo>
                    <a:pt x="55" y="65"/>
                    <a:pt x="54" y="65"/>
                    <a:pt x="53" y="64"/>
                  </a:cubicBezTo>
                  <a:cubicBezTo>
                    <a:pt x="53" y="64"/>
                    <a:pt x="53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2"/>
                    <a:pt x="50" y="62"/>
                  </a:cubicBezTo>
                  <a:cubicBezTo>
                    <a:pt x="50" y="62"/>
                    <a:pt x="49" y="62"/>
                    <a:pt x="49" y="62"/>
                  </a:cubicBezTo>
                  <a:cubicBezTo>
                    <a:pt x="49" y="62"/>
                    <a:pt x="49" y="62"/>
                    <a:pt x="48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6" y="62"/>
                    <a:pt x="46" y="61"/>
                    <a:pt x="45" y="61"/>
                  </a:cubicBezTo>
                  <a:cubicBezTo>
                    <a:pt x="45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0"/>
                    <a:pt x="44" y="60"/>
                    <a:pt x="44" y="59"/>
                  </a:cubicBezTo>
                  <a:cubicBezTo>
                    <a:pt x="44" y="58"/>
                    <a:pt x="43" y="57"/>
                    <a:pt x="41" y="57"/>
                  </a:cubicBezTo>
                  <a:cubicBezTo>
                    <a:pt x="41" y="57"/>
                    <a:pt x="41" y="57"/>
                    <a:pt x="40" y="57"/>
                  </a:cubicBezTo>
                  <a:cubicBezTo>
                    <a:pt x="40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4"/>
                    <a:pt x="38" y="54"/>
                    <a:pt x="38" y="53"/>
                  </a:cubicBezTo>
                  <a:cubicBezTo>
                    <a:pt x="38" y="53"/>
                    <a:pt x="39" y="53"/>
                    <a:pt x="39" y="52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3" y="53"/>
                    <a:pt x="44" y="52"/>
                  </a:cubicBezTo>
                  <a:cubicBezTo>
                    <a:pt x="45" y="51"/>
                    <a:pt x="45" y="50"/>
                    <a:pt x="44" y="48"/>
                  </a:cubicBezTo>
                  <a:cubicBezTo>
                    <a:pt x="44" y="48"/>
                    <a:pt x="43" y="46"/>
                    <a:pt x="41" y="46"/>
                  </a:cubicBezTo>
                  <a:cubicBezTo>
                    <a:pt x="41" y="46"/>
                    <a:pt x="40" y="46"/>
                    <a:pt x="40" y="46"/>
                  </a:cubicBezTo>
                  <a:cubicBezTo>
                    <a:pt x="39" y="47"/>
                    <a:pt x="39" y="48"/>
                    <a:pt x="39" y="49"/>
                  </a:cubicBezTo>
                  <a:cubicBezTo>
                    <a:pt x="39" y="49"/>
                    <a:pt x="38" y="48"/>
                    <a:pt x="37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5" y="47"/>
                    <a:pt x="33" y="47"/>
                    <a:pt x="32" y="47"/>
                  </a:cubicBezTo>
                  <a:cubicBezTo>
                    <a:pt x="32" y="47"/>
                    <a:pt x="31" y="46"/>
                    <a:pt x="31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5"/>
                    <a:pt x="29" y="45"/>
                  </a:cubicBezTo>
                  <a:cubicBezTo>
                    <a:pt x="29" y="45"/>
                    <a:pt x="28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6" y="45"/>
                    <a:pt x="25" y="45"/>
                    <a:pt x="24" y="45"/>
                  </a:cubicBezTo>
                  <a:cubicBezTo>
                    <a:pt x="24" y="46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3" y="47"/>
                    <a:pt x="23" y="48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6"/>
                    <a:pt x="22" y="45"/>
                    <a:pt x="22" y="44"/>
                  </a:cubicBezTo>
                  <a:cubicBezTo>
                    <a:pt x="22" y="44"/>
                    <a:pt x="22" y="44"/>
                    <a:pt x="21" y="44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2"/>
                    <a:pt x="21" y="41"/>
                    <a:pt x="20" y="4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7"/>
                    <a:pt x="19" y="36"/>
                  </a:cubicBezTo>
                  <a:cubicBezTo>
                    <a:pt x="19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9" y="35"/>
                    <a:pt x="18" y="34"/>
                  </a:cubicBezTo>
                  <a:cubicBezTo>
                    <a:pt x="18" y="34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32"/>
                    <a:pt x="19" y="31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20" y="28"/>
                  </a:cubicBezTo>
                  <a:cubicBezTo>
                    <a:pt x="20" y="29"/>
                    <a:pt x="21" y="29"/>
                    <a:pt x="21" y="29"/>
                  </a:cubicBezTo>
                  <a:cubicBezTo>
                    <a:pt x="21" y="29"/>
                    <a:pt x="22" y="29"/>
                    <a:pt x="22" y="28"/>
                  </a:cubicBezTo>
                  <a:cubicBezTo>
                    <a:pt x="23" y="28"/>
                    <a:pt x="23" y="27"/>
                    <a:pt x="23" y="2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4"/>
                    <a:pt x="23" y="23"/>
                    <a:pt x="23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1"/>
                    <a:pt x="24" y="21"/>
                  </a:cubicBezTo>
                  <a:cubicBezTo>
                    <a:pt x="24" y="20"/>
                    <a:pt x="25" y="18"/>
                    <a:pt x="24" y="17"/>
                  </a:cubicBezTo>
                  <a:cubicBezTo>
                    <a:pt x="24" y="17"/>
                    <a:pt x="23" y="17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5"/>
                    <a:pt x="23" y="14"/>
                    <a:pt x="22" y="1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1"/>
                    <a:pt x="21" y="11"/>
                    <a:pt x="21" y="10"/>
                  </a:cubicBezTo>
                  <a:cubicBezTo>
                    <a:pt x="21" y="10"/>
                    <a:pt x="21" y="10"/>
                    <a:pt x="21" y="9"/>
                  </a:cubicBezTo>
                  <a:cubicBezTo>
                    <a:pt x="22" y="8"/>
                    <a:pt x="21" y="7"/>
                    <a:pt x="21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5"/>
                    <a:pt x="20" y="2"/>
                    <a:pt x="18" y="2"/>
                  </a:cubicBezTo>
                  <a:close/>
                  <a:moveTo>
                    <a:pt x="40" y="87"/>
                  </a:moveTo>
                  <a:cubicBezTo>
                    <a:pt x="40" y="87"/>
                    <a:pt x="40" y="87"/>
                    <a:pt x="40" y="87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86"/>
                    <a:pt x="40" y="86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0" y="85"/>
                    <a:pt x="40" y="87"/>
                    <a:pt x="40" y="89"/>
                  </a:cubicBezTo>
                  <a:cubicBezTo>
                    <a:pt x="40" y="89"/>
                    <a:pt x="40" y="90"/>
                    <a:pt x="40" y="90"/>
                  </a:cubicBezTo>
                  <a:cubicBezTo>
                    <a:pt x="40" y="90"/>
                    <a:pt x="40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89"/>
                    <a:pt x="39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lose/>
                  <a:moveTo>
                    <a:pt x="31" y="87"/>
                  </a:move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lose/>
                  <a:moveTo>
                    <a:pt x="32" y="83"/>
                  </a:moveTo>
                  <a:cubicBezTo>
                    <a:pt x="32" y="82"/>
                    <a:pt x="32" y="82"/>
                    <a:pt x="32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4" y="81"/>
                  </a:cubicBezTo>
                  <a:cubicBezTo>
                    <a:pt x="34" y="82"/>
                    <a:pt x="34" y="82"/>
                    <a:pt x="34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2"/>
                    <a:pt x="32" y="83"/>
                  </a:cubicBezTo>
                  <a:close/>
                  <a:moveTo>
                    <a:pt x="16" y="55"/>
                  </a:move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5"/>
                    <a:pt x="17" y="55"/>
                    <a:pt x="17" y="55"/>
                  </a:cubicBezTo>
                  <a:cubicBezTo>
                    <a:pt x="17" y="55"/>
                    <a:pt x="17" y="55"/>
                    <a:pt x="16" y="55"/>
                  </a:cubicBezTo>
                  <a:close/>
                  <a:moveTo>
                    <a:pt x="12" y="56"/>
                  </a:moveTo>
                  <a:cubicBezTo>
                    <a:pt x="12" y="56"/>
                    <a:pt x="12" y="56"/>
                    <a:pt x="12" y="56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2" y="56"/>
                    <a:pt x="12" y="56"/>
                    <a:pt x="12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3" name="Freeform 42"/>
            <p:cNvSpPr>
              <a:spLocks noEditPoints="1"/>
            </p:cNvSpPr>
            <p:nvPr/>
          </p:nvSpPr>
          <p:spPr bwMode="auto">
            <a:xfrm>
              <a:off x="5677" y="2283"/>
              <a:ext cx="95" cy="106"/>
            </a:xfrm>
            <a:custGeom>
              <a:avLst/>
              <a:gdLst>
                <a:gd name="T0" fmla="*/ 37 w 40"/>
                <a:gd name="T1" fmla="*/ 20 h 45"/>
                <a:gd name="T2" fmla="*/ 36 w 40"/>
                <a:gd name="T3" fmla="*/ 17 h 45"/>
                <a:gd name="T4" fmla="*/ 35 w 40"/>
                <a:gd name="T5" fmla="*/ 12 h 45"/>
                <a:gd name="T6" fmla="*/ 34 w 40"/>
                <a:gd name="T7" fmla="*/ 9 h 45"/>
                <a:gd name="T8" fmla="*/ 35 w 40"/>
                <a:gd name="T9" fmla="*/ 5 h 45"/>
                <a:gd name="T10" fmla="*/ 32 w 40"/>
                <a:gd name="T11" fmla="*/ 4 h 45"/>
                <a:gd name="T12" fmla="*/ 27 w 40"/>
                <a:gd name="T13" fmla="*/ 0 h 45"/>
                <a:gd name="T14" fmla="*/ 27 w 40"/>
                <a:gd name="T15" fmla="*/ 4 h 45"/>
                <a:gd name="T16" fmla="*/ 26 w 40"/>
                <a:gd name="T17" fmla="*/ 7 h 45"/>
                <a:gd name="T18" fmla="*/ 24 w 40"/>
                <a:gd name="T19" fmla="*/ 7 h 45"/>
                <a:gd name="T20" fmla="*/ 22 w 40"/>
                <a:gd name="T21" fmla="*/ 11 h 45"/>
                <a:gd name="T22" fmla="*/ 20 w 40"/>
                <a:gd name="T23" fmla="*/ 12 h 45"/>
                <a:gd name="T24" fmla="*/ 17 w 40"/>
                <a:gd name="T25" fmla="*/ 17 h 45"/>
                <a:gd name="T26" fmla="*/ 16 w 40"/>
                <a:gd name="T27" fmla="*/ 16 h 45"/>
                <a:gd name="T28" fmla="*/ 12 w 40"/>
                <a:gd name="T29" fmla="*/ 11 h 45"/>
                <a:gd name="T30" fmla="*/ 9 w 40"/>
                <a:gd name="T31" fmla="*/ 14 h 45"/>
                <a:gd name="T32" fmla="*/ 6 w 40"/>
                <a:gd name="T33" fmla="*/ 17 h 45"/>
                <a:gd name="T34" fmla="*/ 1 w 40"/>
                <a:gd name="T35" fmla="*/ 20 h 45"/>
                <a:gd name="T36" fmla="*/ 0 w 40"/>
                <a:gd name="T37" fmla="*/ 26 h 45"/>
                <a:gd name="T38" fmla="*/ 0 w 40"/>
                <a:gd name="T39" fmla="*/ 29 h 45"/>
                <a:gd name="T40" fmla="*/ 3 w 40"/>
                <a:gd name="T41" fmla="*/ 33 h 45"/>
                <a:gd name="T42" fmla="*/ 5 w 40"/>
                <a:gd name="T43" fmla="*/ 28 h 45"/>
                <a:gd name="T44" fmla="*/ 6 w 40"/>
                <a:gd name="T45" fmla="*/ 26 h 45"/>
                <a:gd name="T46" fmla="*/ 9 w 40"/>
                <a:gd name="T47" fmla="*/ 26 h 45"/>
                <a:gd name="T48" fmla="*/ 12 w 40"/>
                <a:gd name="T49" fmla="*/ 27 h 45"/>
                <a:gd name="T50" fmla="*/ 14 w 40"/>
                <a:gd name="T51" fmla="*/ 28 h 45"/>
                <a:gd name="T52" fmla="*/ 16 w 40"/>
                <a:gd name="T53" fmla="*/ 25 h 45"/>
                <a:gd name="T54" fmla="*/ 18 w 40"/>
                <a:gd name="T55" fmla="*/ 27 h 45"/>
                <a:gd name="T56" fmla="*/ 16 w 40"/>
                <a:gd name="T57" fmla="*/ 29 h 45"/>
                <a:gd name="T58" fmla="*/ 18 w 40"/>
                <a:gd name="T59" fmla="*/ 35 h 45"/>
                <a:gd name="T60" fmla="*/ 19 w 40"/>
                <a:gd name="T61" fmla="*/ 39 h 45"/>
                <a:gd name="T62" fmla="*/ 24 w 40"/>
                <a:gd name="T63" fmla="*/ 42 h 45"/>
                <a:gd name="T64" fmla="*/ 27 w 40"/>
                <a:gd name="T65" fmla="*/ 43 h 45"/>
                <a:gd name="T66" fmla="*/ 30 w 40"/>
                <a:gd name="T67" fmla="*/ 45 h 45"/>
                <a:gd name="T68" fmla="*/ 33 w 40"/>
                <a:gd name="T69" fmla="*/ 41 h 45"/>
                <a:gd name="T70" fmla="*/ 32 w 40"/>
                <a:gd name="T71" fmla="*/ 34 h 45"/>
                <a:gd name="T72" fmla="*/ 31 w 40"/>
                <a:gd name="T73" fmla="*/ 33 h 45"/>
                <a:gd name="T74" fmla="*/ 33 w 40"/>
                <a:gd name="T75" fmla="*/ 32 h 45"/>
                <a:gd name="T76" fmla="*/ 34 w 40"/>
                <a:gd name="T77" fmla="*/ 33 h 45"/>
                <a:gd name="T78" fmla="*/ 38 w 40"/>
                <a:gd name="T79" fmla="*/ 40 h 45"/>
                <a:gd name="T80" fmla="*/ 38 w 40"/>
                <a:gd name="T81" fmla="*/ 35 h 45"/>
                <a:gd name="T82" fmla="*/ 38 w 40"/>
                <a:gd name="T83" fmla="*/ 31 h 45"/>
                <a:gd name="T84" fmla="*/ 38 w 40"/>
                <a:gd name="T85" fmla="*/ 29 h 45"/>
                <a:gd name="T86" fmla="*/ 39 w 40"/>
                <a:gd name="T87" fmla="*/ 27 h 45"/>
                <a:gd name="T88" fmla="*/ 1 w 40"/>
                <a:gd name="T89" fmla="*/ 24 h 45"/>
                <a:gd name="T90" fmla="*/ 1 w 40"/>
                <a:gd name="T91" fmla="*/ 24 h 45"/>
                <a:gd name="T92" fmla="*/ 14 w 40"/>
                <a:gd name="T93" fmla="*/ 23 h 45"/>
                <a:gd name="T94" fmla="*/ 14 w 40"/>
                <a:gd name="T95" fmla="*/ 25 h 45"/>
                <a:gd name="T96" fmla="*/ 18 w 40"/>
                <a:gd name="T97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45">
                  <a:moveTo>
                    <a:pt x="38" y="21"/>
                  </a:moveTo>
                  <a:cubicBezTo>
                    <a:pt x="38" y="21"/>
                    <a:pt x="38" y="21"/>
                    <a:pt x="38" y="20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6"/>
                  </a:cubicBezTo>
                  <a:cubicBezTo>
                    <a:pt x="37" y="14"/>
                    <a:pt x="36" y="13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0"/>
                    <a:pt x="35" y="9"/>
                    <a:pt x="35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7"/>
                    <a:pt x="35" y="6"/>
                    <a:pt x="35" y="5"/>
                  </a:cubicBezTo>
                  <a:cubicBezTo>
                    <a:pt x="34" y="5"/>
                    <a:pt x="34" y="4"/>
                    <a:pt x="33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3"/>
                    <a:pt x="32" y="2"/>
                    <a:pt x="31" y="2"/>
                  </a:cubicBezTo>
                  <a:cubicBezTo>
                    <a:pt x="31" y="1"/>
                    <a:pt x="29" y="0"/>
                    <a:pt x="28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2"/>
                    <a:pt x="27" y="3"/>
                    <a:pt x="27" y="3"/>
                  </a:cubicBezTo>
                  <a:cubicBezTo>
                    <a:pt x="27" y="3"/>
                    <a:pt x="27" y="4"/>
                    <a:pt x="27" y="4"/>
                  </a:cubicBezTo>
                  <a:cubicBezTo>
                    <a:pt x="27" y="5"/>
                    <a:pt x="27" y="5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8"/>
                    <a:pt x="25" y="8"/>
                  </a:cubicBezTo>
                  <a:cubicBezTo>
                    <a:pt x="25" y="8"/>
                    <a:pt x="24" y="7"/>
                    <a:pt x="24" y="7"/>
                  </a:cubicBezTo>
                  <a:cubicBezTo>
                    <a:pt x="23" y="7"/>
                    <a:pt x="23" y="7"/>
                    <a:pt x="22" y="8"/>
                  </a:cubicBezTo>
                  <a:cubicBezTo>
                    <a:pt x="22" y="9"/>
                    <a:pt x="22" y="10"/>
                    <a:pt x="22" y="10"/>
                  </a:cubicBezTo>
                  <a:cubicBezTo>
                    <a:pt x="22" y="10"/>
                    <a:pt x="22" y="11"/>
                    <a:pt x="22" y="11"/>
                  </a:cubicBezTo>
                  <a:cubicBezTo>
                    <a:pt x="22" y="11"/>
                    <a:pt x="21" y="11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0" y="12"/>
                    <a:pt x="20" y="12"/>
                  </a:cubicBezTo>
                  <a:cubicBezTo>
                    <a:pt x="18" y="13"/>
                    <a:pt x="18" y="15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5"/>
                    <a:pt x="15" y="13"/>
                    <a:pt x="14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2" y="11"/>
                    <a:pt x="12" y="11"/>
                  </a:cubicBezTo>
                  <a:cubicBezTo>
                    <a:pt x="11" y="11"/>
                    <a:pt x="10" y="11"/>
                    <a:pt x="9" y="13"/>
                  </a:cubicBezTo>
                  <a:cubicBezTo>
                    <a:pt x="9" y="13"/>
                    <a:pt x="9" y="13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4"/>
                    <a:pt x="7" y="14"/>
                    <a:pt x="7" y="16"/>
                  </a:cubicBezTo>
                  <a:cubicBezTo>
                    <a:pt x="6" y="16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5" y="17"/>
                    <a:pt x="5" y="17"/>
                  </a:cubicBezTo>
                  <a:cubicBezTo>
                    <a:pt x="3" y="18"/>
                    <a:pt x="2" y="19"/>
                    <a:pt x="1" y="20"/>
                  </a:cubicBezTo>
                  <a:cubicBezTo>
                    <a:pt x="1" y="21"/>
                    <a:pt x="0" y="22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0" y="28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2"/>
                    <a:pt x="3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5" y="30"/>
                    <a:pt x="5" y="29"/>
                    <a:pt x="5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6"/>
                    <a:pt x="6" y="26"/>
                    <a:pt x="6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9" y="27"/>
                    <a:pt x="9" y="26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7"/>
                    <a:pt x="11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8"/>
                    <a:pt x="13" y="28"/>
                    <a:pt x="13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8"/>
                    <a:pt x="15" y="27"/>
                    <a:pt x="15" y="27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7" y="26"/>
                    <a:pt x="18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7" y="28"/>
                    <a:pt x="17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32"/>
                    <a:pt x="16" y="32"/>
                    <a:pt x="17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5"/>
                  </a:cubicBezTo>
                  <a:cubicBezTo>
                    <a:pt x="17" y="35"/>
                    <a:pt x="17" y="36"/>
                    <a:pt x="18" y="38"/>
                  </a:cubicBezTo>
                  <a:cubicBezTo>
                    <a:pt x="18" y="38"/>
                    <a:pt x="19" y="38"/>
                    <a:pt x="19" y="38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20" y="40"/>
                    <a:pt x="20" y="40"/>
                    <a:pt x="21" y="41"/>
                  </a:cubicBezTo>
                  <a:cubicBezTo>
                    <a:pt x="21" y="41"/>
                    <a:pt x="22" y="42"/>
                    <a:pt x="23" y="42"/>
                  </a:cubicBezTo>
                  <a:cubicBezTo>
                    <a:pt x="23" y="42"/>
                    <a:pt x="24" y="42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8" y="43"/>
                    <a:pt x="28" y="44"/>
                  </a:cubicBezTo>
                  <a:cubicBezTo>
                    <a:pt x="28" y="45"/>
                    <a:pt x="29" y="45"/>
                    <a:pt x="30" y="45"/>
                  </a:cubicBezTo>
                  <a:cubicBezTo>
                    <a:pt x="31" y="45"/>
                    <a:pt x="32" y="43"/>
                    <a:pt x="33" y="42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0"/>
                    <a:pt x="34" y="40"/>
                    <a:pt x="34" y="39"/>
                  </a:cubicBezTo>
                  <a:cubicBezTo>
                    <a:pt x="33" y="37"/>
                    <a:pt x="33" y="36"/>
                    <a:pt x="32" y="35"/>
                  </a:cubicBezTo>
                  <a:cubicBezTo>
                    <a:pt x="32" y="35"/>
                    <a:pt x="32" y="34"/>
                    <a:pt x="32" y="34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4"/>
                    <a:pt x="34" y="34"/>
                    <a:pt x="34" y="35"/>
                  </a:cubicBezTo>
                  <a:cubicBezTo>
                    <a:pt x="34" y="36"/>
                    <a:pt x="35" y="38"/>
                    <a:pt x="36" y="3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7"/>
                    <a:pt x="38" y="36"/>
                    <a:pt x="38" y="36"/>
                  </a:cubicBezTo>
                  <a:cubicBezTo>
                    <a:pt x="38" y="36"/>
                    <a:pt x="38" y="35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9" y="34"/>
                    <a:pt x="39" y="34"/>
                    <a:pt x="39" y="33"/>
                  </a:cubicBezTo>
                  <a:cubicBezTo>
                    <a:pt x="39" y="32"/>
                    <a:pt x="38" y="32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8"/>
                    <a:pt x="39" y="28"/>
                  </a:cubicBezTo>
                  <a:cubicBezTo>
                    <a:pt x="39" y="28"/>
                    <a:pt x="39" y="27"/>
                    <a:pt x="39" y="27"/>
                  </a:cubicBezTo>
                  <a:cubicBezTo>
                    <a:pt x="39" y="27"/>
                    <a:pt x="39" y="26"/>
                    <a:pt x="39" y="26"/>
                  </a:cubicBezTo>
                  <a:cubicBezTo>
                    <a:pt x="40" y="25"/>
                    <a:pt x="40" y="23"/>
                    <a:pt x="38" y="21"/>
                  </a:cubicBezTo>
                  <a:close/>
                  <a:moveTo>
                    <a:pt x="1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lose/>
                  <a:moveTo>
                    <a:pt x="14" y="24"/>
                  </a:move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4"/>
                    <a:pt x="14" y="24"/>
                  </a:cubicBezTo>
                  <a:close/>
                  <a:moveTo>
                    <a:pt x="18" y="30"/>
                  </a:move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5580" y="2245"/>
              <a:ext cx="50" cy="80"/>
            </a:xfrm>
            <a:custGeom>
              <a:avLst/>
              <a:gdLst>
                <a:gd name="T0" fmla="*/ 1 w 21"/>
                <a:gd name="T1" fmla="*/ 31 h 34"/>
                <a:gd name="T2" fmla="*/ 0 w 21"/>
                <a:gd name="T3" fmla="*/ 32 h 34"/>
                <a:gd name="T4" fmla="*/ 2 w 21"/>
                <a:gd name="T5" fmla="*/ 34 h 34"/>
                <a:gd name="T6" fmla="*/ 4 w 21"/>
                <a:gd name="T7" fmla="*/ 33 h 34"/>
                <a:gd name="T8" fmla="*/ 7 w 21"/>
                <a:gd name="T9" fmla="*/ 32 h 34"/>
                <a:gd name="T10" fmla="*/ 7 w 21"/>
                <a:gd name="T11" fmla="*/ 30 h 34"/>
                <a:gd name="T12" fmla="*/ 9 w 21"/>
                <a:gd name="T13" fmla="*/ 28 h 34"/>
                <a:gd name="T14" fmla="*/ 10 w 21"/>
                <a:gd name="T15" fmla="*/ 27 h 34"/>
                <a:gd name="T16" fmla="*/ 11 w 21"/>
                <a:gd name="T17" fmla="*/ 25 h 34"/>
                <a:gd name="T18" fmla="*/ 12 w 21"/>
                <a:gd name="T19" fmla="*/ 24 h 34"/>
                <a:gd name="T20" fmla="*/ 14 w 21"/>
                <a:gd name="T21" fmla="*/ 22 h 34"/>
                <a:gd name="T22" fmla="*/ 15 w 21"/>
                <a:gd name="T23" fmla="*/ 18 h 34"/>
                <a:gd name="T24" fmla="*/ 15 w 21"/>
                <a:gd name="T25" fmla="*/ 17 h 34"/>
                <a:gd name="T26" fmla="*/ 16 w 21"/>
                <a:gd name="T27" fmla="*/ 16 h 34"/>
                <a:gd name="T28" fmla="*/ 17 w 21"/>
                <a:gd name="T29" fmla="*/ 15 h 34"/>
                <a:gd name="T30" fmla="*/ 19 w 21"/>
                <a:gd name="T31" fmla="*/ 14 h 34"/>
                <a:gd name="T32" fmla="*/ 20 w 21"/>
                <a:gd name="T33" fmla="*/ 11 h 34"/>
                <a:gd name="T34" fmla="*/ 20 w 21"/>
                <a:gd name="T35" fmla="*/ 8 h 34"/>
                <a:gd name="T36" fmla="*/ 19 w 21"/>
                <a:gd name="T37" fmla="*/ 6 h 34"/>
                <a:gd name="T38" fmla="*/ 19 w 21"/>
                <a:gd name="T39" fmla="*/ 4 h 34"/>
                <a:gd name="T40" fmla="*/ 17 w 21"/>
                <a:gd name="T41" fmla="*/ 0 h 34"/>
                <a:gd name="T42" fmla="*/ 16 w 21"/>
                <a:gd name="T43" fmla="*/ 4 h 34"/>
                <a:gd name="T44" fmla="*/ 17 w 21"/>
                <a:gd name="T45" fmla="*/ 4 h 34"/>
                <a:gd name="T46" fmla="*/ 16 w 21"/>
                <a:gd name="T47" fmla="*/ 5 h 34"/>
                <a:gd name="T48" fmla="*/ 15 w 21"/>
                <a:gd name="T49" fmla="*/ 8 h 34"/>
                <a:gd name="T50" fmla="*/ 15 w 21"/>
                <a:gd name="T51" fmla="*/ 10 h 34"/>
                <a:gd name="T52" fmla="*/ 13 w 21"/>
                <a:gd name="T53" fmla="*/ 12 h 34"/>
                <a:gd name="T54" fmla="*/ 12 w 21"/>
                <a:gd name="T55" fmla="*/ 14 h 34"/>
                <a:gd name="T56" fmla="*/ 10 w 21"/>
                <a:gd name="T57" fmla="*/ 18 h 34"/>
                <a:gd name="T58" fmla="*/ 8 w 21"/>
                <a:gd name="T59" fmla="*/ 21 h 34"/>
                <a:gd name="T60" fmla="*/ 7 w 21"/>
                <a:gd name="T61" fmla="*/ 22 h 34"/>
                <a:gd name="T62" fmla="*/ 5 w 21"/>
                <a:gd name="T63" fmla="*/ 24 h 34"/>
                <a:gd name="T64" fmla="*/ 4 w 21"/>
                <a:gd name="T65" fmla="*/ 26 h 34"/>
                <a:gd name="T66" fmla="*/ 3 w 21"/>
                <a:gd name="T67" fmla="*/ 27 h 34"/>
                <a:gd name="T68" fmla="*/ 2 w 21"/>
                <a:gd name="T69" fmla="*/ 30 h 34"/>
                <a:gd name="T70" fmla="*/ 20 w 21"/>
                <a:gd name="T71" fmla="*/ 10 h 34"/>
                <a:gd name="T72" fmla="*/ 20 w 21"/>
                <a:gd name="T73" fmla="*/ 10 h 34"/>
                <a:gd name="T74" fmla="*/ 16 w 21"/>
                <a:gd name="T75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" h="34">
                  <a:moveTo>
                    <a:pt x="1" y="30"/>
                  </a:move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0" y="32"/>
                    <a:pt x="0" y="3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6" y="33"/>
                    <a:pt x="6" y="32"/>
                    <a:pt x="7" y="32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0"/>
                    <a:pt x="7" y="30"/>
                  </a:cubicBezTo>
                  <a:cubicBezTo>
                    <a:pt x="7" y="30"/>
                    <a:pt x="7" y="30"/>
                    <a:pt x="8" y="30"/>
                  </a:cubicBezTo>
                  <a:cubicBezTo>
                    <a:pt x="8" y="29"/>
                    <a:pt x="9" y="29"/>
                    <a:pt x="9" y="28"/>
                  </a:cubicBezTo>
                  <a:cubicBezTo>
                    <a:pt x="9" y="28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6"/>
                    <a:pt x="11" y="26"/>
                    <a:pt x="11" y="25"/>
                  </a:cubicBezTo>
                  <a:cubicBezTo>
                    <a:pt x="12" y="25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4" y="22"/>
                    <a:pt x="15" y="21"/>
                    <a:pt x="15" y="20"/>
                  </a:cubicBezTo>
                  <a:cubicBezTo>
                    <a:pt x="15" y="20"/>
                    <a:pt x="15" y="19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7" y="15"/>
                    <a:pt x="17" y="15"/>
                  </a:cubicBezTo>
                  <a:cubicBezTo>
                    <a:pt x="17" y="15"/>
                    <a:pt x="17" y="15"/>
                    <a:pt x="18" y="14"/>
                  </a:cubicBezTo>
                  <a:cubicBezTo>
                    <a:pt x="18" y="14"/>
                    <a:pt x="18" y="14"/>
                    <a:pt x="19" y="14"/>
                  </a:cubicBezTo>
                  <a:cubicBezTo>
                    <a:pt x="20" y="13"/>
                    <a:pt x="20" y="12"/>
                    <a:pt x="20" y="12"/>
                  </a:cubicBezTo>
                  <a:cubicBezTo>
                    <a:pt x="20" y="12"/>
                    <a:pt x="20" y="12"/>
                    <a:pt x="20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1" y="9"/>
                    <a:pt x="21" y="9"/>
                    <a:pt x="20" y="8"/>
                  </a:cubicBezTo>
                  <a:cubicBezTo>
                    <a:pt x="20" y="7"/>
                    <a:pt x="20" y="7"/>
                    <a:pt x="2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1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3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5" y="4"/>
                    <a:pt x="14" y="5"/>
                    <a:pt x="14" y="5"/>
                  </a:cubicBezTo>
                  <a:cubicBezTo>
                    <a:pt x="14" y="6"/>
                    <a:pt x="13" y="7"/>
                    <a:pt x="15" y="8"/>
                  </a:cubicBezTo>
                  <a:cubicBezTo>
                    <a:pt x="15" y="8"/>
                    <a:pt x="15" y="9"/>
                    <a:pt x="15" y="9"/>
                  </a:cubicBezTo>
                  <a:cubicBezTo>
                    <a:pt x="15" y="9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3" y="10"/>
                    <a:pt x="13" y="12"/>
                    <a:pt x="13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4"/>
                    <a:pt x="11" y="14"/>
                    <a:pt x="11" y="15"/>
                  </a:cubicBezTo>
                  <a:cubicBezTo>
                    <a:pt x="10" y="16"/>
                    <a:pt x="10" y="17"/>
                    <a:pt x="10" y="18"/>
                  </a:cubicBezTo>
                  <a:cubicBezTo>
                    <a:pt x="9" y="19"/>
                    <a:pt x="9" y="19"/>
                    <a:pt x="9" y="20"/>
                  </a:cubicBezTo>
                  <a:cubicBezTo>
                    <a:pt x="9" y="20"/>
                    <a:pt x="9" y="21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6" y="23"/>
                  </a:cubicBezTo>
                  <a:cubicBezTo>
                    <a:pt x="6" y="23"/>
                    <a:pt x="5" y="23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29"/>
                    <a:pt x="2" y="29"/>
                    <a:pt x="2" y="30"/>
                  </a:cubicBezTo>
                  <a:cubicBezTo>
                    <a:pt x="2" y="30"/>
                    <a:pt x="2" y="30"/>
                    <a:pt x="1" y="30"/>
                  </a:cubicBezTo>
                  <a:close/>
                  <a:moveTo>
                    <a:pt x="20" y="10"/>
                  </a:move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lose/>
                  <a:moveTo>
                    <a:pt x="16" y="6"/>
                  </a:move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185" y="2633"/>
              <a:ext cx="88" cy="59"/>
            </a:xfrm>
            <a:custGeom>
              <a:avLst/>
              <a:gdLst>
                <a:gd name="T0" fmla="*/ 4 w 37"/>
                <a:gd name="T1" fmla="*/ 20 h 25"/>
                <a:gd name="T2" fmla="*/ 5 w 37"/>
                <a:gd name="T3" fmla="*/ 22 h 25"/>
                <a:gd name="T4" fmla="*/ 10 w 37"/>
                <a:gd name="T5" fmla="*/ 24 h 25"/>
                <a:gd name="T6" fmla="*/ 13 w 37"/>
                <a:gd name="T7" fmla="*/ 25 h 25"/>
                <a:gd name="T8" fmla="*/ 16 w 37"/>
                <a:gd name="T9" fmla="*/ 25 h 25"/>
                <a:gd name="T10" fmla="*/ 20 w 37"/>
                <a:gd name="T11" fmla="*/ 24 h 25"/>
                <a:gd name="T12" fmla="*/ 25 w 37"/>
                <a:gd name="T13" fmla="*/ 23 h 25"/>
                <a:gd name="T14" fmla="*/ 29 w 37"/>
                <a:gd name="T15" fmla="*/ 18 h 25"/>
                <a:gd name="T16" fmla="*/ 31 w 37"/>
                <a:gd name="T17" fmla="*/ 19 h 25"/>
                <a:gd name="T18" fmla="*/ 34 w 37"/>
                <a:gd name="T19" fmla="*/ 16 h 25"/>
                <a:gd name="T20" fmla="*/ 35 w 37"/>
                <a:gd name="T21" fmla="*/ 12 h 25"/>
                <a:gd name="T22" fmla="*/ 35 w 37"/>
                <a:gd name="T23" fmla="*/ 9 h 25"/>
                <a:gd name="T24" fmla="*/ 37 w 37"/>
                <a:gd name="T25" fmla="*/ 5 h 25"/>
                <a:gd name="T26" fmla="*/ 36 w 37"/>
                <a:gd name="T27" fmla="*/ 3 h 25"/>
                <a:gd name="T28" fmla="*/ 34 w 37"/>
                <a:gd name="T29" fmla="*/ 0 h 25"/>
                <a:gd name="T30" fmla="*/ 32 w 37"/>
                <a:gd name="T31" fmla="*/ 2 h 25"/>
                <a:gd name="T32" fmla="*/ 30 w 37"/>
                <a:gd name="T33" fmla="*/ 0 h 25"/>
                <a:gd name="T34" fmla="*/ 28 w 37"/>
                <a:gd name="T35" fmla="*/ 4 h 25"/>
                <a:gd name="T36" fmla="*/ 28 w 37"/>
                <a:gd name="T37" fmla="*/ 5 h 25"/>
                <a:gd name="T38" fmla="*/ 28 w 37"/>
                <a:gd name="T39" fmla="*/ 7 h 25"/>
                <a:gd name="T40" fmla="*/ 23 w 37"/>
                <a:gd name="T41" fmla="*/ 13 h 25"/>
                <a:gd name="T42" fmla="*/ 21 w 37"/>
                <a:gd name="T43" fmla="*/ 13 h 25"/>
                <a:gd name="T44" fmla="*/ 19 w 37"/>
                <a:gd name="T45" fmla="*/ 14 h 25"/>
                <a:gd name="T46" fmla="*/ 18 w 37"/>
                <a:gd name="T47" fmla="*/ 10 h 25"/>
                <a:gd name="T48" fmla="*/ 14 w 37"/>
                <a:gd name="T49" fmla="*/ 12 h 25"/>
                <a:gd name="T50" fmla="*/ 14 w 37"/>
                <a:gd name="T51" fmla="*/ 13 h 25"/>
                <a:gd name="T52" fmla="*/ 13 w 37"/>
                <a:gd name="T53" fmla="*/ 14 h 25"/>
                <a:gd name="T54" fmla="*/ 10 w 37"/>
                <a:gd name="T55" fmla="*/ 15 h 25"/>
                <a:gd name="T56" fmla="*/ 9 w 37"/>
                <a:gd name="T57" fmla="*/ 13 h 25"/>
                <a:gd name="T58" fmla="*/ 6 w 37"/>
                <a:gd name="T59" fmla="*/ 14 h 25"/>
                <a:gd name="T60" fmla="*/ 1 w 37"/>
                <a:gd name="T61" fmla="*/ 15 h 25"/>
                <a:gd name="T62" fmla="*/ 3 w 37"/>
                <a:gd name="T63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" h="25">
                  <a:moveTo>
                    <a:pt x="3" y="20"/>
                  </a:moveTo>
                  <a:cubicBezTo>
                    <a:pt x="3" y="20"/>
                    <a:pt x="3" y="20"/>
                    <a:pt x="4" y="20"/>
                  </a:cubicBezTo>
                  <a:cubicBezTo>
                    <a:pt x="4" y="20"/>
                    <a:pt x="4" y="20"/>
                    <a:pt x="5" y="21"/>
                  </a:cubicBezTo>
                  <a:cubicBezTo>
                    <a:pt x="5" y="21"/>
                    <a:pt x="5" y="22"/>
                    <a:pt x="5" y="22"/>
                  </a:cubicBezTo>
                  <a:cubicBezTo>
                    <a:pt x="6" y="23"/>
                    <a:pt x="8" y="24"/>
                    <a:pt x="9" y="24"/>
                  </a:cubicBezTo>
                  <a:cubicBezTo>
                    <a:pt x="9" y="24"/>
                    <a:pt x="10" y="24"/>
                    <a:pt x="10" y="24"/>
                  </a:cubicBezTo>
                  <a:cubicBezTo>
                    <a:pt x="10" y="24"/>
                    <a:pt x="11" y="24"/>
                    <a:pt x="11" y="24"/>
                  </a:cubicBezTo>
                  <a:cubicBezTo>
                    <a:pt x="12" y="25"/>
                    <a:pt x="12" y="25"/>
                    <a:pt x="13" y="25"/>
                  </a:cubicBezTo>
                  <a:cubicBezTo>
                    <a:pt x="14" y="25"/>
                    <a:pt x="14" y="25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5"/>
                    <a:pt x="18" y="25"/>
                    <a:pt x="19" y="24"/>
                  </a:cubicBezTo>
                  <a:cubicBezTo>
                    <a:pt x="19" y="24"/>
                    <a:pt x="20" y="24"/>
                    <a:pt x="20" y="24"/>
                  </a:cubicBezTo>
                  <a:cubicBezTo>
                    <a:pt x="20" y="24"/>
                    <a:pt x="21" y="25"/>
                    <a:pt x="23" y="24"/>
                  </a:cubicBezTo>
                  <a:cubicBezTo>
                    <a:pt x="24" y="24"/>
                    <a:pt x="24" y="23"/>
                    <a:pt x="25" y="23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8" y="21"/>
                    <a:pt x="28" y="20"/>
                    <a:pt x="29" y="18"/>
                  </a:cubicBezTo>
                  <a:cubicBezTo>
                    <a:pt x="29" y="18"/>
                    <a:pt x="29" y="18"/>
                    <a:pt x="29" y="19"/>
                  </a:cubicBezTo>
                  <a:cubicBezTo>
                    <a:pt x="30" y="19"/>
                    <a:pt x="30" y="19"/>
                    <a:pt x="31" y="19"/>
                  </a:cubicBezTo>
                  <a:cubicBezTo>
                    <a:pt x="33" y="19"/>
                    <a:pt x="33" y="17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4"/>
                    <a:pt x="35" y="14"/>
                    <a:pt x="35" y="12"/>
                  </a:cubicBezTo>
                  <a:cubicBezTo>
                    <a:pt x="35" y="12"/>
                    <a:pt x="35" y="11"/>
                    <a:pt x="34" y="11"/>
                  </a:cubicBezTo>
                  <a:cubicBezTo>
                    <a:pt x="35" y="10"/>
                    <a:pt x="35" y="9"/>
                    <a:pt x="35" y="9"/>
                  </a:cubicBezTo>
                  <a:cubicBezTo>
                    <a:pt x="35" y="9"/>
                    <a:pt x="35" y="9"/>
                    <a:pt x="36" y="8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5"/>
                    <a:pt x="36" y="4"/>
                    <a:pt x="36" y="4"/>
                  </a:cubicBezTo>
                  <a:cubicBezTo>
                    <a:pt x="36" y="4"/>
                    <a:pt x="36" y="4"/>
                    <a:pt x="36" y="3"/>
                  </a:cubicBezTo>
                  <a:cubicBezTo>
                    <a:pt x="36" y="2"/>
                    <a:pt x="36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1"/>
                    <a:pt x="32" y="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1" y="1"/>
                    <a:pt x="31" y="0"/>
                    <a:pt x="30" y="0"/>
                  </a:cubicBezTo>
                  <a:cubicBezTo>
                    <a:pt x="29" y="0"/>
                    <a:pt x="29" y="1"/>
                    <a:pt x="29" y="1"/>
                  </a:cubicBezTo>
                  <a:cubicBezTo>
                    <a:pt x="28" y="2"/>
                    <a:pt x="28" y="3"/>
                    <a:pt x="28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6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7"/>
                    <a:pt x="24" y="9"/>
                    <a:pt x="24" y="11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2" y="13"/>
                    <a:pt x="22" y="13"/>
                  </a:cubicBezTo>
                  <a:cubicBezTo>
                    <a:pt x="22" y="13"/>
                    <a:pt x="22" y="13"/>
                    <a:pt x="21" y="13"/>
                  </a:cubicBezTo>
                  <a:cubicBezTo>
                    <a:pt x="20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0"/>
                    <a:pt x="18" y="10"/>
                  </a:cubicBezTo>
                  <a:cubicBezTo>
                    <a:pt x="18" y="9"/>
                    <a:pt x="16" y="9"/>
                    <a:pt x="15" y="10"/>
                  </a:cubicBezTo>
                  <a:cubicBezTo>
                    <a:pt x="15" y="10"/>
                    <a:pt x="15" y="11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2" y="14"/>
                    <a:pt x="11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10" y="15"/>
                    <a:pt x="10" y="15"/>
                    <a:pt x="10" y="14"/>
                  </a:cubicBezTo>
                  <a:cubicBezTo>
                    <a:pt x="10" y="14"/>
                    <a:pt x="10" y="14"/>
                    <a:pt x="9" y="13"/>
                  </a:cubicBezTo>
                  <a:cubicBezTo>
                    <a:pt x="8" y="13"/>
                    <a:pt x="7" y="13"/>
                    <a:pt x="6" y="13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3" y="13"/>
                    <a:pt x="2" y="13"/>
                    <a:pt x="1" y="15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20"/>
                    <a:pt x="3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235" y="2590"/>
              <a:ext cx="52" cy="62"/>
            </a:xfrm>
            <a:custGeom>
              <a:avLst/>
              <a:gdLst>
                <a:gd name="T0" fmla="*/ 3 w 22"/>
                <a:gd name="T1" fmla="*/ 5 h 26"/>
                <a:gd name="T2" fmla="*/ 4 w 22"/>
                <a:gd name="T3" fmla="*/ 5 h 26"/>
                <a:gd name="T4" fmla="*/ 4 w 22"/>
                <a:gd name="T5" fmla="*/ 6 h 26"/>
                <a:gd name="T6" fmla="*/ 5 w 22"/>
                <a:gd name="T7" fmla="*/ 7 h 26"/>
                <a:gd name="T8" fmla="*/ 6 w 22"/>
                <a:gd name="T9" fmla="*/ 7 h 26"/>
                <a:gd name="T10" fmla="*/ 7 w 22"/>
                <a:gd name="T11" fmla="*/ 8 h 26"/>
                <a:gd name="T12" fmla="*/ 8 w 22"/>
                <a:gd name="T13" fmla="*/ 9 h 26"/>
                <a:gd name="T14" fmla="*/ 10 w 22"/>
                <a:gd name="T15" fmla="*/ 11 h 26"/>
                <a:gd name="T16" fmla="*/ 11 w 22"/>
                <a:gd name="T17" fmla="*/ 11 h 26"/>
                <a:gd name="T18" fmla="*/ 13 w 22"/>
                <a:gd name="T19" fmla="*/ 12 h 26"/>
                <a:gd name="T20" fmla="*/ 13 w 22"/>
                <a:gd name="T21" fmla="*/ 13 h 26"/>
                <a:gd name="T22" fmla="*/ 13 w 22"/>
                <a:gd name="T23" fmla="*/ 15 h 26"/>
                <a:gd name="T24" fmla="*/ 14 w 22"/>
                <a:gd name="T25" fmla="*/ 16 h 26"/>
                <a:gd name="T26" fmla="*/ 15 w 22"/>
                <a:gd name="T27" fmla="*/ 17 h 26"/>
                <a:gd name="T28" fmla="*/ 16 w 22"/>
                <a:gd name="T29" fmla="*/ 20 h 26"/>
                <a:gd name="T30" fmla="*/ 16 w 22"/>
                <a:gd name="T31" fmla="*/ 21 h 26"/>
                <a:gd name="T32" fmla="*/ 18 w 22"/>
                <a:gd name="T33" fmla="*/ 26 h 26"/>
                <a:gd name="T34" fmla="*/ 19 w 22"/>
                <a:gd name="T35" fmla="*/ 26 h 26"/>
                <a:gd name="T36" fmla="*/ 21 w 22"/>
                <a:gd name="T37" fmla="*/ 25 h 26"/>
                <a:gd name="T38" fmla="*/ 22 w 22"/>
                <a:gd name="T39" fmla="*/ 21 h 26"/>
                <a:gd name="T40" fmla="*/ 18 w 22"/>
                <a:gd name="T41" fmla="*/ 11 h 26"/>
                <a:gd name="T42" fmla="*/ 14 w 22"/>
                <a:gd name="T43" fmla="*/ 8 h 26"/>
                <a:gd name="T44" fmla="*/ 13 w 22"/>
                <a:gd name="T45" fmla="*/ 7 h 26"/>
                <a:gd name="T46" fmla="*/ 11 w 22"/>
                <a:gd name="T47" fmla="*/ 6 h 26"/>
                <a:gd name="T48" fmla="*/ 9 w 22"/>
                <a:gd name="T49" fmla="*/ 5 h 26"/>
                <a:gd name="T50" fmla="*/ 8 w 22"/>
                <a:gd name="T51" fmla="*/ 4 h 26"/>
                <a:gd name="T52" fmla="*/ 8 w 22"/>
                <a:gd name="T53" fmla="*/ 3 h 26"/>
                <a:gd name="T54" fmla="*/ 7 w 22"/>
                <a:gd name="T55" fmla="*/ 3 h 26"/>
                <a:gd name="T56" fmla="*/ 6 w 22"/>
                <a:gd name="T57" fmla="*/ 2 h 26"/>
                <a:gd name="T58" fmla="*/ 5 w 22"/>
                <a:gd name="T59" fmla="*/ 1 h 26"/>
                <a:gd name="T60" fmla="*/ 5 w 22"/>
                <a:gd name="T61" fmla="*/ 1 h 26"/>
                <a:gd name="T62" fmla="*/ 4 w 22"/>
                <a:gd name="T63" fmla="*/ 0 h 26"/>
                <a:gd name="T64" fmla="*/ 3 w 22"/>
                <a:gd name="T65" fmla="*/ 0 h 26"/>
                <a:gd name="T66" fmla="*/ 1 w 22"/>
                <a:gd name="T67" fmla="*/ 1 h 26"/>
                <a:gd name="T68" fmla="*/ 1 w 22"/>
                <a:gd name="T69" fmla="*/ 3 h 26"/>
                <a:gd name="T70" fmla="*/ 3 w 22"/>
                <a:gd name="T71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" h="26">
                  <a:moveTo>
                    <a:pt x="3" y="5"/>
                  </a:move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8"/>
                    <a:pt x="7" y="8"/>
                    <a:pt x="8" y="9"/>
                  </a:cubicBezTo>
                  <a:cubicBezTo>
                    <a:pt x="8" y="9"/>
                    <a:pt x="9" y="10"/>
                    <a:pt x="10" y="11"/>
                  </a:cubicBezTo>
                  <a:cubicBezTo>
                    <a:pt x="10" y="11"/>
                    <a:pt x="11" y="11"/>
                    <a:pt x="11" y="11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3"/>
                  </a:cubicBezTo>
                  <a:cubicBezTo>
                    <a:pt x="13" y="13"/>
                    <a:pt x="13" y="14"/>
                    <a:pt x="13" y="15"/>
                  </a:cubicBezTo>
                  <a:cubicBezTo>
                    <a:pt x="13" y="15"/>
                    <a:pt x="14" y="16"/>
                    <a:pt x="14" y="16"/>
                  </a:cubicBezTo>
                  <a:cubicBezTo>
                    <a:pt x="14" y="16"/>
                    <a:pt x="15" y="16"/>
                    <a:pt x="15" y="17"/>
                  </a:cubicBezTo>
                  <a:cubicBezTo>
                    <a:pt x="15" y="17"/>
                    <a:pt x="16" y="19"/>
                    <a:pt x="16" y="20"/>
                  </a:cubicBezTo>
                  <a:cubicBezTo>
                    <a:pt x="16" y="20"/>
                    <a:pt x="16" y="20"/>
                    <a:pt x="16" y="21"/>
                  </a:cubicBezTo>
                  <a:cubicBezTo>
                    <a:pt x="16" y="22"/>
                    <a:pt x="16" y="25"/>
                    <a:pt x="18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20" y="26"/>
                    <a:pt x="20" y="25"/>
                    <a:pt x="21" y="25"/>
                  </a:cubicBezTo>
                  <a:cubicBezTo>
                    <a:pt x="22" y="24"/>
                    <a:pt x="22" y="21"/>
                    <a:pt x="22" y="21"/>
                  </a:cubicBezTo>
                  <a:cubicBezTo>
                    <a:pt x="22" y="17"/>
                    <a:pt x="20" y="14"/>
                    <a:pt x="18" y="11"/>
                  </a:cubicBezTo>
                  <a:cubicBezTo>
                    <a:pt x="17" y="10"/>
                    <a:pt x="16" y="9"/>
                    <a:pt x="14" y="8"/>
                  </a:cubicBezTo>
                  <a:cubicBezTo>
                    <a:pt x="14" y="8"/>
                    <a:pt x="13" y="8"/>
                    <a:pt x="13" y="7"/>
                  </a:cubicBezTo>
                  <a:cubicBezTo>
                    <a:pt x="12" y="7"/>
                    <a:pt x="12" y="6"/>
                    <a:pt x="11" y="6"/>
                  </a:cubicBezTo>
                  <a:cubicBezTo>
                    <a:pt x="10" y="6"/>
                    <a:pt x="10" y="5"/>
                    <a:pt x="9" y="5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4"/>
                    <a:pt x="8" y="3"/>
                    <a:pt x="8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4"/>
                    <a:pt x="2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6342" y="2697"/>
              <a:ext cx="28" cy="31"/>
            </a:xfrm>
            <a:custGeom>
              <a:avLst/>
              <a:gdLst>
                <a:gd name="T0" fmla="*/ 3 w 12"/>
                <a:gd name="T1" fmla="*/ 7 h 13"/>
                <a:gd name="T2" fmla="*/ 3 w 12"/>
                <a:gd name="T3" fmla="*/ 7 h 13"/>
                <a:gd name="T4" fmla="*/ 3 w 12"/>
                <a:gd name="T5" fmla="*/ 7 h 13"/>
                <a:gd name="T6" fmla="*/ 5 w 12"/>
                <a:gd name="T7" fmla="*/ 8 h 13"/>
                <a:gd name="T8" fmla="*/ 5 w 12"/>
                <a:gd name="T9" fmla="*/ 9 h 13"/>
                <a:gd name="T10" fmla="*/ 7 w 12"/>
                <a:gd name="T11" fmla="*/ 12 h 13"/>
                <a:gd name="T12" fmla="*/ 7 w 12"/>
                <a:gd name="T13" fmla="*/ 11 h 13"/>
                <a:gd name="T14" fmla="*/ 7 w 12"/>
                <a:gd name="T15" fmla="*/ 11 h 13"/>
                <a:gd name="T16" fmla="*/ 7 w 12"/>
                <a:gd name="T17" fmla="*/ 12 h 13"/>
                <a:gd name="T18" fmla="*/ 8 w 12"/>
                <a:gd name="T19" fmla="*/ 12 h 13"/>
                <a:gd name="T20" fmla="*/ 9 w 12"/>
                <a:gd name="T21" fmla="*/ 13 h 13"/>
                <a:gd name="T22" fmla="*/ 10 w 12"/>
                <a:gd name="T23" fmla="*/ 13 h 13"/>
                <a:gd name="T24" fmla="*/ 11 w 12"/>
                <a:gd name="T25" fmla="*/ 12 h 13"/>
                <a:gd name="T26" fmla="*/ 11 w 12"/>
                <a:gd name="T27" fmla="*/ 10 h 13"/>
                <a:gd name="T28" fmla="*/ 10 w 12"/>
                <a:gd name="T29" fmla="*/ 8 h 13"/>
                <a:gd name="T30" fmla="*/ 9 w 12"/>
                <a:gd name="T31" fmla="*/ 6 h 13"/>
                <a:gd name="T32" fmla="*/ 8 w 12"/>
                <a:gd name="T33" fmla="*/ 5 h 13"/>
                <a:gd name="T34" fmla="*/ 8 w 12"/>
                <a:gd name="T35" fmla="*/ 4 h 13"/>
                <a:gd name="T36" fmla="*/ 6 w 12"/>
                <a:gd name="T37" fmla="*/ 3 h 13"/>
                <a:gd name="T38" fmla="*/ 6 w 12"/>
                <a:gd name="T39" fmla="*/ 3 h 13"/>
                <a:gd name="T40" fmla="*/ 5 w 12"/>
                <a:gd name="T41" fmla="*/ 2 h 13"/>
                <a:gd name="T42" fmla="*/ 3 w 12"/>
                <a:gd name="T43" fmla="*/ 0 h 13"/>
                <a:gd name="T44" fmla="*/ 2 w 12"/>
                <a:gd name="T45" fmla="*/ 0 h 13"/>
                <a:gd name="T46" fmla="*/ 0 w 12"/>
                <a:gd name="T47" fmla="*/ 0 h 13"/>
                <a:gd name="T48" fmla="*/ 0 w 12"/>
                <a:gd name="T49" fmla="*/ 1 h 13"/>
                <a:gd name="T50" fmla="*/ 3 w 12"/>
                <a:gd name="T51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13"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9" y="13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2" y="11"/>
                    <a:pt x="12" y="10"/>
                    <a:pt x="11" y="10"/>
                  </a:cubicBezTo>
                  <a:cubicBezTo>
                    <a:pt x="11" y="9"/>
                    <a:pt x="10" y="8"/>
                    <a:pt x="10" y="8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8" y="6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1" y="5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308" y="2666"/>
              <a:ext cx="31" cy="45"/>
            </a:xfrm>
            <a:custGeom>
              <a:avLst/>
              <a:gdLst>
                <a:gd name="T0" fmla="*/ 1 w 13"/>
                <a:gd name="T1" fmla="*/ 5 h 19"/>
                <a:gd name="T2" fmla="*/ 1 w 13"/>
                <a:gd name="T3" fmla="*/ 6 h 19"/>
                <a:gd name="T4" fmla="*/ 1 w 13"/>
                <a:gd name="T5" fmla="*/ 9 h 19"/>
                <a:gd name="T6" fmla="*/ 2 w 13"/>
                <a:gd name="T7" fmla="*/ 9 h 19"/>
                <a:gd name="T8" fmla="*/ 2 w 13"/>
                <a:gd name="T9" fmla="*/ 9 h 19"/>
                <a:gd name="T10" fmla="*/ 4 w 13"/>
                <a:gd name="T11" fmla="*/ 11 h 19"/>
                <a:gd name="T12" fmla="*/ 4 w 13"/>
                <a:gd name="T13" fmla="*/ 12 h 19"/>
                <a:gd name="T14" fmla="*/ 4 w 13"/>
                <a:gd name="T15" fmla="*/ 12 h 19"/>
                <a:gd name="T16" fmla="*/ 4 w 13"/>
                <a:gd name="T17" fmla="*/ 16 h 19"/>
                <a:gd name="T18" fmla="*/ 4 w 13"/>
                <a:gd name="T19" fmla="*/ 16 h 19"/>
                <a:gd name="T20" fmla="*/ 5 w 13"/>
                <a:gd name="T21" fmla="*/ 18 h 19"/>
                <a:gd name="T22" fmla="*/ 6 w 13"/>
                <a:gd name="T23" fmla="*/ 19 h 19"/>
                <a:gd name="T24" fmla="*/ 8 w 13"/>
                <a:gd name="T25" fmla="*/ 18 h 19"/>
                <a:gd name="T26" fmla="*/ 10 w 13"/>
                <a:gd name="T27" fmla="*/ 17 h 19"/>
                <a:gd name="T28" fmla="*/ 12 w 13"/>
                <a:gd name="T29" fmla="*/ 16 h 19"/>
                <a:gd name="T30" fmla="*/ 12 w 13"/>
                <a:gd name="T31" fmla="*/ 12 h 19"/>
                <a:gd name="T32" fmla="*/ 11 w 13"/>
                <a:gd name="T33" fmla="*/ 10 h 19"/>
                <a:gd name="T34" fmla="*/ 10 w 13"/>
                <a:gd name="T35" fmla="*/ 9 h 19"/>
                <a:gd name="T36" fmla="*/ 10 w 13"/>
                <a:gd name="T37" fmla="*/ 8 h 19"/>
                <a:gd name="T38" fmla="*/ 7 w 13"/>
                <a:gd name="T39" fmla="*/ 5 h 19"/>
                <a:gd name="T40" fmla="*/ 7 w 13"/>
                <a:gd name="T41" fmla="*/ 4 h 19"/>
                <a:gd name="T42" fmla="*/ 5 w 13"/>
                <a:gd name="T43" fmla="*/ 1 h 19"/>
                <a:gd name="T44" fmla="*/ 1 w 13"/>
                <a:gd name="T45" fmla="*/ 1 h 19"/>
                <a:gd name="T46" fmla="*/ 0 w 13"/>
                <a:gd name="T47" fmla="*/ 3 h 19"/>
                <a:gd name="T48" fmla="*/ 0 w 13"/>
                <a:gd name="T49" fmla="*/ 3 h 19"/>
                <a:gd name="T50" fmla="*/ 0 w 13"/>
                <a:gd name="T51" fmla="*/ 4 h 19"/>
                <a:gd name="T52" fmla="*/ 1 w 13"/>
                <a:gd name="T53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" h="19">
                  <a:moveTo>
                    <a:pt x="1" y="5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10"/>
                    <a:pt x="3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3"/>
                    <a:pt x="3" y="14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4" y="17"/>
                    <a:pt x="5" y="18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7" y="19"/>
                    <a:pt x="8" y="18"/>
                    <a:pt x="8" y="18"/>
                  </a:cubicBezTo>
                  <a:cubicBezTo>
                    <a:pt x="9" y="17"/>
                    <a:pt x="9" y="17"/>
                    <a:pt x="10" y="17"/>
                  </a:cubicBezTo>
                  <a:cubicBezTo>
                    <a:pt x="11" y="17"/>
                    <a:pt x="12" y="17"/>
                    <a:pt x="12" y="16"/>
                  </a:cubicBezTo>
                  <a:cubicBezTo>
                    <a:pt x="13" y="14"/>
                    <a:pt x="13" y="13"/>
                    <a:pt x="12" y="12"/>
                  </a:cubicBezTo>
                  <a:cubicBezTo>
                    <a:pt x="12" y="11"/>
                    <a:pt x="11" y="10"/>
                    <a:pt x="11" y="10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7"/>
                    <a:pt x="9" y="6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6" y="3"/>
                    <a:pt x="6" y="2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9" name="Freeform 48"/>
            <p:cNvSpPr>
              <a:spLocks noEditPoints="1"/>
            </p:cNvSpPr>
            <p:nvPr/>
          </p:nvSpPr>
          <p:spPr bwMode="auto">
            <a:xfrm>
              <a:off x="6377" y="2721"/>
              <a:ext cx="33" cy="35"/>
            </a:xfrm>
            <a:custGeom>
              <a:avLst/>
              <a:gdLst>
                <a:gd name="T0" fmla="*/ 1 w 14"/>
                <a:gd name="T1" fmla="*/ 3 h 15"/>
                <a:gd name="T2" fmla="*/ 1 w 14"/>
                <a:gd name="T3" fmla="*/ 4 h 15"/>
                <a:gd name="T4" fmla="*/ 1 w 14"/>
                <a:gd name="T5" fmla="*/ 4 h 15"/>
                <a:gd name="T6" fmla="*/ 2 w 14"/>
                <a:gd name="T7" fmla="*/ 6 h 15"/>
                <a:gd name="T8" fmla="*/ 3 w 14"/>
                <a:gd name="T9" fmla="*/ 7 h 15"/>
                <a:gd name="T10" fmla="*/ 3 w 14"/>
                <a:gd name="T11" fmla="*/ 8 h 15"/>
                <a:gd name="T12" fmla="*/ 4 w 14"/>
                <a:gd name="T13" fmla="*/ 8 h 15"/>
                <a:gd name="T14" fmla="*/ 5 w 14"/>
                <a:gd name="T15" fmla="*/ 9 h 15"/>
                <a:gd name="T16" fmla="*/ 5 w 14"/>
                <a:gd name="T17" fmla="*/ 9 h 15"/>
                <a:gd name="T18" fmla="*/ 5 w 14"/>
                <a:gd name="T19" fmla="*/ 10 h 15"/>
                <a:gd name="T20" fmla="*/ 6 w 14"/>
                <a:gd name="T21" fmla="*/ 11 h 15"/>
                <a:gd name="T22" fmla="*/ 7 w 14"/>
                <a:gd name="T23" fmla="*/ 11 h 15"/>
                <a:gd name="T24" fmla="*/ 7 w 14"/>
                <a:gd name="T25" fmla="*/ 12 h 15"/>
                <a:gd name="T26" fmla="*/ 8 w 14"/>
                <a:gd name="T27" fmla="*/ 12 h 15"/>
                <a:gd name="T28" fmla="*/ 8 w 14"/>
                <a:gd name="T29" fmla="*/ 13 h 15"/>
                <a:gd name="T30" fmla="*/ 10 w 14"/>
                <a:gd name="T31" fmla="*/ 14 h 15"/>
                <a:gd name="T32" fmla="*/ 12 w 14"/>
                <a:gd name="T33" fmla="*/ 15 h 15"/>
                <a:gd name="T34" fmla="*/ 12 w 14"/>
                <a:gd name="T35" fmla="*/ 15 h 15"/>
                <a:gd name="T36" fmla="*/ 14 w 14"/>
                <a:gd name="T37" fmla="*/ 13 h 15"/>
                <a:gd name="T38" fmla="*/ 14 w 14"/>
                <a:gd name="T39" fmla="*/ 12 h 15"/>
                <a:gd name="T40" fmla="*/ 13 w 14"/>
                <a:gd name="T41" fmla="*/ 11 h 15"/>
                <a:gd name="T42" fmla="*/ 12 w 14"/>
                <a:gd name="T43" fmla="*/ 10 h 15"/>
                <a:gd name="T44" fmla="*/ 12 w 14"/>
                <a:gd name="T45" fmla="*/ 10 h 15"/>
                <a:gd name="T46" fmla="*/ 12 w 14"/>
                <a:gd name="T47" fmla="*/ 9 h 15"/>
                <a:gd name="T48" fmla="*/ 11 w 14"/>
                <a:gd name="T49" fmla="*/ 7 h 15"/>
                <a:gd name="T50" fmla="*/ 9 w 14"/>
                <a:gd name="T51" fmla="*/ 6 h 15"/>
                <a:gd name="T52" fmla="*/ 9 w 14"/>
                <a:gd name="T53" fmla="*/ 6 h 15"/>
                <a:gd name="T54" fmla="*/ 8 w 14"/>
                <a:gd name="T55" fmla="*/ 6 h 15"/>
                <a:gd name="T56" fmla="*/ 8 w 14"/>
                <a:gd name="T57" fmla="*/ 5 h 15"/>
                <a:gd name="T58" fmla="*/ 7 w 14"/>
                <a:gd name="T59" fmla="*/ 5 h 15"/>
                <a:gd name="T60" fmla="*/ 7 w 14"/>
                <a:gd name="T61" fmla="*/ 4 h 15"/>
                <a:gd name="T62" fmla="*/ 5 w 14"/>
                <a:gd name="T63" fmla="*/ 2 h 15"/>
                <a:gd name="T64" fmla="*/ 4 w 14"/>
                <a:gd name="T65" fmla="*/ 2 h 15"/>
                <a:gd name="T66" fmla="*/ 4 w 14"/>
                <a:gd name="T67" fmla="*/ 2 h 15"/>
                <a:gd name="T68" fmla="*/ 4 w 14"/>
                <a:gd name="T69" fmla="*/ 1 h 15"/>
                <a:gd name="T70" fmla="*/ 2 w 14"/>
                <a:gd name="T71" fmla="*/ 0 h 15"/>
                <a:gd name="T72" fmla="*/ 1 w 14"/>
                <a:gd name="T73" fmla="*/ 1 h 15"/>
                <a:gd name="T74" fmla="*/ 1 w 14"/>
                <a:gd name="T75" fmla="*/ 2 h 15"/>
                <a:gd name="T76" fmla="*/ 1 w 14"/>
                <a:gd name="T77" fmla="*/ 3 h 15"/>
                <a:gd name="T78" fmla="*/ 6 w 14"/>
                <a:gd name="T79" fmla="*/ 5 h 15"/>
                <a:gd name="T80" fmla="*/ 6 w 14"/>
                <a:gd name="T81" fmla="*/ 5 h 15"/>
                <a:gd name="T82" fmla="*/ 6 w 14"/>
                <a:gd name="T8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" h="15">
                  <a:moveTo>
                    <a:pt x="1" y="3"/>
                  </a:move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3" y="7"/>
                    <a:pt x="3" y="7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10"/>
                    <a:pt x="5" y="10"/>
                  </a:cubicBezTo>
                  <a:cubicBezTo>
                    <a:pt x="6" y="10"/>
                    <a:pt x="6" y="10"/>
                    <a:pt x="6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7" y="11"/>
                    <a:pt x="7" y="11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3"/>
                  </a:cubicBezTo>
                  <a:cubicBezTo>
                    <a:pt x="9" y="13"/>
                    <a:pt x="9" y="13"/>
                    <a:pt x="10" y="14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8"/>
                    <a:pt x="11" y="7"/>
                  </a:cubicBezTo>
                  <a:cubicBezTo>
                    <a:pt x="11" y="7"/>
                    <a:pt x="10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6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0" name="Freeform 49"/>
            <p:cNvSpPr>
              <a:spLocks noEditPoints="1"/>
            </p:cNvSpPr>
            <p:nvPr/>
          </p:nvSpPr>
          <p:spPr bwMode="auto">
            <a:xfrm>
              <a:off x="5947" y="2536"/>
              <a:ext cx="30" cy="21"/>
            </a:xfrm>
            <a:custGeom>
              <a:avLst/>
              <a:gdLst>
                <a:gd name="T0" fmla="*/ 0 w 13"/>
                <a:gd name="T1" fmla="*/ 3 h 9"/>
                <a:gd name="T2" fmla="*/ 0 w 13"/>
                <a:gd name="T3" fmla="*/ 3 h 9"/>
                <a:gd name="T4" fmla="*/ 0 w 13"/>
                <a:gd name="T5" fmla="*/ 3 h 9"/>
                <a:gd name="T6" fmla="*/ 0 w 13"/>
                <a:gd name="T7" fmla="*/ 4 h 9"/>
                <a:gd name="T8" fmla="*/ 1 w 13"/>
                <a:gd name="T9" fmla="*/ 7 h 9"/>
                <a:gd name="T10" fmla="*/ 3 w 13"/>
                <a:gd name="T11" fmla="*/ 9 h 9"/>
                <a:gd name="T12" fmla="*/ 3 w 13"/>
                <a:gd name="T13" fmla="*/ 9 h 9"/>
                <a:gd name="T14" fmla="*/ 4 w 13"/>
                <a:gd name="T15" fmla="*/ 9 h 9"/>
                <a:gd name="T16" fmla="*/ 5 w 13"/>
                <a:gd name="T17" fmla="*/ 9 h 9"/>
                <a:gd name="T18" fmla="*/ 5 w 13"/>
                <a:gd name="T19" fmla="*/ 8 h 9"/>
                <a:gd name="T20" fmla="*/ 5 w 13"/>
                <a:gd name="T21" fmla="*/ 8 h 9"/>
                <a:gd name="T22" fmla="*/ 5 w 13"/>
                <a:gd name="T23" fmla="*/ 9 h 9"/>
                <a:gd name="T24" fmla="*/ 6 w 13"/>
                <a:gd name="T25" fmla="*/ 9 h 9"/>
                <a:gd name="T26" fmla="*/ 8 w 13"/>
                <a:gd name="T27" fmla="*/ 8 h 9"/>
                <a:gd name="T28" fmla="*/ 6 w 13"/>
                <a:gd name="T29" fmla="*/ 4 h 9"/>
                <a:gd name="T30" fmla="*/ 5 w 13"/>
                <a:gd name="T31" fmla="*/ 4 h 9"/>
                <a:gd name="T32" fmla="*/ 13 w 13"/>
                <a:gd name="T33" fmla="*/ 0 h 9"/>
                <a:gd name="T34" fmla="*/ 2 w 13"/>
                <a:gd name="T35" fmla="*/ 2 h 9"/>
                <a:gd name="T36" fmla="*/ 0 w 13"/>
                <a:gd name="T37" fmla="*/ 3 h 9"/>
                <a:gd name="T38" fmla="*/ 4 w 13"/>
                <a:gd name="T39" fmla="*/ 4 h 9"/>
                <a:gd name="T40" fmla="*/ 4 w 13"/>
                <a:gd name="T41" fmla="*/ 4 h 9"/>
                <a:gd name="T42" fmla="*/ 4 w 13"/>
                <a:gd name="T4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9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6"/>
                    <a:pt x="1" y="7"/>
                  </a:cubicBezTo>
                  <a:cubicBezTo>
                    <a:pt x="1" y="8"/>
                    <a:pt x="1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9" y="7"/>
                    <a:pt x="8" y="5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3"/>
                    <a:pt x="0" y="3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5857" y="2531"/>
              <a:ext cx="373" cy="277"/>
            </a:xfrm>
            <a:custGeom>
              <a:avLst/>
              <a:gdLst>
                <a:gd name="T0" fmla="*/ 67 w 158"/>
                <a:gd name="T1" fmla="*/ 18 h 117"/>
                <a:gd name="T2" fmla="*/ 57 w 158"/>
                <a:gd name="T3" fmla="*/ 11 h 117"/>
                <a:gd name="T4" fmla="*/ 50 w 158"/>
                <a:gd name="T5" fmla="*/ 17 h 117"/>
                <a:gd name="T6" fmla="*/ 42 w 158"/>
                <a:gd name="T7" fmla="*/ 14 h 117"/>
                <a:gd name="T8" fmla="*/ 40 w 158"/>
                <a:gd name="T9" fmla="*/ 18 h 117"/>
                <a:gd name="T10" fmla="*/ 48 w 158"/>
                <a:gd name="T11" fmla="*/ 20 h 117"/>
                <a:gd name="T12" fmla="*/ 39 w 158"/>
                <a:gd name="T13" fmla="*/ 28 h 117"/>
                <a:gd name="T14" fmla="*/ 33 w 158"/>
                <a:gd name="T15" fmla="*/ 30 h 117"/>
                <a:gd name="T16" fmla="*/ 30 w 158"/>
                <a:gd name="T17" fmla="*/ 21 h 117"/>
                <a:gd name="T18" fmla="*/ 27 w 158"/>
                <a:gd name="T19" fmla="*/ 7 h 117"/>
                <a:gd name="T20" fmla="*/ 20 w 158"/>
                <a:gd name="T21" fmla="*/ 4 h 117"/>
                <a:gd name="T22" fmla="*/ 9 w 158"/>
                <a:gd name="T23" fmla="*/ 4 h 117"/>
                <a:gd name="T24" fmla="*/ 1 w 158"/>
                <a:gd name="T25" fmla="*/ 11 h 117"/>
                <a:gd name="T26" fmla="*/ 5 w 158"/>
                <a:gd name="T27" fmla="*/ 15 h 117"/>
                <a:gd name="T28" fmla="*/ 11 w 158"/>
                <a:gd name="T29" fmla="*/ 23 h 117"/>
                <a:gd name="T30" fmla="*/ 13 w 158"/>
                <a:gd name="T31" fmla="*/ 25 h 117"/>
                <a:gd name="T32" fmla="*/ 13 w 158"/>
                <a:gd name="T33" fmla="*/ 33 h 117"/>
                <a:gd name="T34" fmla="*/ 16 w 158"/>
                <a:gd name="T35" fmla="*/ 42 h 117"/>
                <a:gd name="T36" fmla="*/ 25 w 158"/>
                <a:gd name="T37" fmla="*/ 39 h 117"/>
                <a:gd name="T38" fmla="*/ 32 w 158"/>
                <a:gd name="T39" fmla="*/ 45 h 117"/>
                <a:gd name="T40" fmla="*/ 42 w 158"/>
                <a:gd name="T41" fmla="*/ 49 h 117"/>
                <a:gd name="T42" fmla="*/ 52 w 158"/>
                <a:gd name="T43" fmla="*/ 54 h 117"/>
                <a:gd name="T44" fmla="*/ 58 w 158"/>
                <a:gd name="T45" fmla="*/ 66 h 117"/>
                <a:gd name="T46" fmla="*/ 59 w 158"/>
                <a:gd name="T47" fmla="*/ 71 h 117"/>
                <a:gd name="T48" fmla="*/ 56 w 158"/>
                <a:gd name="T49" fmla="*/ 78 h 117"/>
                <a:gd name="T50" fmla="*/ 50 w 158"/>
                <a:gd name="T51" fmla="*/ 87 h 117"/>
                <a:gd name="T52" fmla="*/ 64 w 158"/>
                <a:gd name="T53" fmla="*/ 88 h 117"/>
                <a:gd name="T54" fmla="*/ 72 w 158"/>
                <a:gd name="T55" fmla="*/ 91 h 117"/>
                <a:gd name="T56" fmla="*/ 77 w 158"/>
                <a:gd name="T57" fmla="*/ 98 h 117"/>
                <a:gd name="T58" fmla="*/ 85 w 158"/>
                <a:gd name="T59" fmla="*/ 100 h 117"/>
                <a:gd name="T60" fmla="*/ 94 w 158"/>
                <a:gd name="T61" fmla="*/ 98 h 117"/>
                <a:gd name="T62" fmla="*/ 99 w 158"/>
                <a:gd name="T63" fmla="*/ 89 h 117"/>
                <a:gd name="T64" fmla="*/ 105 w 158"/>
                <a:gd name="T65" fmla="*/ 83 h 117"/>
                <a:gd name="T66" fmla="*/ 116 w 158"/>
                <a:gd name="T67" fmla="*/ 86 h 117"/>
                <a:gd name="T68" fmla="*/ 123 w 158"/>
                <a:gd name="T69" fmla="*/ 95 h 117"/>
                <a:gd name="T70" fmla="*/ 130 w 158"/>
                <a:gd name="T71" fmla="*/ 105 h 117"/>
                <a:gd name="T72" fmla="*/ 136 w 158"/>
                <a:gd name="T73" fmla="*/ 110 h 117"/>
                <a:gd name="T74" fmla="*/ 143 w 158"/>
                <a:gd name="T75" fmla="*/ 112 h 117"/>
                <a:gd name="T76" fmla="*/ 150 w 158"/>
                <a:gd name="T77" fmla="*/ 117 h 117"/>
                <a:gd name="T78" fmla="*/ 154 w 158"/>
                <a:gd name="T79" fmla="*/ 116 h 117"/>
                <a:gd name="T80" fmla="*/ 158 w 158"/>
                <a:gd name="T81" fmla="*/ 110 h 117"/>
                <a:gd name="T82" fmla="*/ 150 w 158"/>
                <a:gd name="T83" fmla="*/ 102 h 117"/>
                <a:gd name="T84" fmla="*/ 143 w 158"/>
                <a:gd name="T85" fmla="*/ 96 h 117"/>
                <a:gd name="T86" fmla="*/ 140 w 158"/>
                <a:gd name="T87" fmla="*/ 91 h 117"/>
                <a:gd name="T88" fmla="*/ 136 w 158"/>
                <a:gd name="T89" fmla="*/ 81 h 117"/>
                <a:gd name="T90" fmla="*/ 132 w 158"/>
                <a:gd name="T91" fmla="*/ 74 h 117"/>
                <a:gd name="T92" fmla="*/ 137 w 158"/>
                <a:gd name="T93" fmla="*/ 67 h 117"/>
                <a:gd name="T94" fmla="*/ 124 w 158"/>
                <a:gd name="T95" fmla="*/ 57 h 117"/>
                <a:gd name="T96" fmla="*/ 121 w 158"/>
                <a:gd name="T97" fmla="*/ 48 h 117"/>
                <a:gd name="T98" fmla="*/ 113 w 158"/>
                <a:gd name="T99" fmla="*/ 39 h 117"/>
                <a:gd name="T100" fmla="*/ 106 w 158"/>
                <a:gd name="T101" fmla="*/ 36 h 117"/>
                <a:gd name="T102" fmla="*/ 98 w 158"/>
                <a:gd name="T103" fmla="*/ 33 h 117"/>
                <a:gd name="T104" fmla="*/ 92 w 158"/>
                <a:gd name="T105" fmla="*/ 29 h 117"/>
                <a:gd name="T106" fmla="*/ 84 w 158"/>
                <a:gd name="T107" fmla="*/ 25 h 117"/>
                <a:gd name="T108" fmla="*/ 10 w 158"/>
                <a:gd name="T109" fmla="*/ 16 h 117"/>
                <a:gd name="T110" fmla="*/ 47 w 158"/>
                <a:gd name="T111" fmla="*/ 16 h 117"/>
                <a:gd name="T112" fmla="*/ 136 w 158"/>
                <a:gd name="T113" fmla="*/ 6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7">
                  <a:moveTo>
                    <a:pt x="76" y="21"/>
                  </a:moveTo>
                  <a:cubicBezTo>
                    <a:pt x="75" y="21"/>
                    <a:pt x="75" y="21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3" y="22"/>
                    <a:pt x="73" y="22"/>
                    <a:pt x="73" y="21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0" y="20"/>
                    <a:pt x="69" y="19"/>
                    <a:pt x="69" y="19"/>
                  </a:cubicBezTo>
                  <a:cubicBezTo>
                    <a:pt x="68" y="19"/>
                    <a:pt x="68" y="18"/>
                    <a:pt x="67" y="18"/>
                  </a:cubicBezTo>
                  <a:cubicBezTo>
                    <a:pt x="66" y="17"/>
                    <a:pt x="65" y="16"/>
                    <a:pt x="64" y="16"/>
                  </a:cubicBezTo>
                  <a:cubicBezTo>
                    <a:pt x="64" y="16"/>
                    <a:pt x="63" y="16"/>
                    <a:pt x="63" y="15"/>
                  </a:cubicBezTo>
                  <a:cubicBezTo>
                    <a:pt x="63" y="15"/>
                    <a:pt x="62" y="15"/>
                    <a:pt x="62" y="15"/>
                  </a:cubicBezTo>
                  <a:cubicBezTo>
                    <a:pt x="62" y="15"/>
                    <a:pt x="62" y="14"/>
                    <a:pt x="61" y="14"/>
                  </a:cubicBezTo>
                  <a:cubicBezTo>
                    <a:pt x="61" y="14"/>
                    <a:pt x="60" y="14"/>
                    <a:pt x="60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3"/>
                    <a:pt x="59" y="12"/>
                    <a:pt x="58" y="12"/>
                  </a:cubicBezTo>
                  <a:cubicBezTo>
                    <a:pt x="58" y="12"/>
                    <a:pt x="57" y="11"/>
                    <a:pt x="57" y="11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3"/>
                    <a:pt x="55" y="13"/>
                    <a:pt x="54" y="1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3" y="14"/>
                    <a:pt x="53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1" y="16"/>
                    <a:pt x="50" y="17"/>
                  </a:cubicBezTo>
                  <a:cubicBezTo>
                    <a:pt x="50" y="17"/>
                    <a:pt x="50" y="17"/>
                    <a:pt x="50" y="16"/>
                  </a:cubicBezTo>
                  <a:cubicBezTo>
                    <a:pt x="50" y="15"/>
                    <a:pt x="48" y="15"/>
                    <a:pt x="47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4" y="14"/>
                    <a:pt x="42" y="14"/>
                    <a:pt x="42" y="14"/>
                  </a:cubicBezTo>
                  <a:cubicBezTo>
                    <a:pt x="41" y="14"/>
                    <a:pt x="41" y="15"/>
                    <a:pt x="40" y="14"/>
                  </a:cubicBezTo>
                  <a:cubicBezTo>
                    <a:pt x="40" y="14"/>
                    <a:pt x="40" y="14"/>
                    <a:pt x="39" y="14"/>
                  </a:cubicBezTo>
                  <a:cubicBezTo>
                    <a:pt x="39" y="14"/>
                    <a:pt x="39" y="14"/>
                    <a:pt x="38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6"/>
                    <a:pt x="37" y="16"/>
                    <a:pt x="37" y="17"/>
                  </a:cubicBezTo>
                  <a:cubicBezTo>
                    <a:pt x="38" y="18"/>
                    <a:pt x="39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1" y="19"/>
                    <a:pt x="41" y="19"/>
                    <a:pt x="42" y="19"/>
                  </a:cubicBezTo>
                  <a:cubicBezTo>
                    <a:pt x="42" y="19"/>
                    <a:pt x="43" y="19"/>
                    <a:pt x="44" y="19"/>
                  </a:cubicBezTo>
                  <a:cubicBezTo>
                    <a:pt x="44" y="19"/>
                    <a:pt x="45" y="19"/>
                    <a:pt x="46" y="19"/>
                  </a:cubicBezTo>
                  <a:cubicBezTo>
                    <a:pt x="46" y="19"/>
                    <a:pt x="47" y="19"/>
                    <a:pt x="47" y="19"/>
                  </a:cubicBezTo>
                  <a:cubicBezTo>
                    <a:pt x="48" y="19"/>
                    <a:pt x="49" y="18"/>
                    <a:pt x="49" y="18"/>
                  </a:cubicBezTo>
                  <a:cubicBezTo>
                    <a:pt x="49" y="18"/>
                    <a:pt x="49" y="18"/>
                    <a:pt x="49" y="19"/>
                  </a:cubicBezTo>
                  <a:cubicBezTo>
                    <a:pt x="49" y="19"/>
                    <a:pt x="48" y="19"/>
                    <a:pt x="48" y="1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5" y="20"/>
                    <a:pt x="44" y="21"/>
                    <a:pt x="43" y="22"/>
                  </a:cubicBezTo>
                  <a:cubicBezTo>
                    <a:pt x="43" y="22"/>
                    <a:pt x="43" y="23"/>
                    <a:pt x="43" y="2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2" y="24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0" y="26"/>
                    <a:pt x="39" y="26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6" y="30"/>
                    <a:pt x="35" y="31"/>
                    <a:pt x="35" y="31"/>
                  </a:cubicBezTo>
                  <a:cubicBezTo>
                    <a:pt x="35" y="31"/>
                    <a:pt x="35" y="32"/>
                    <a:pt x="35" y="32"/>
                  </a:cubicBezTo>
                  <a:cubicBezTo>
                    <a:pt x="35" y="32"/>
                    <a:pt x="35" y="31"/>
                    <a:pt x="35" y="31"/>
                  </a:cubicBezTo>
                  <a:cubicBezTo>
                    <a:pt x="34" y="31"/>
                    <a:pt x="34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29"/>
                    <a:pt x="33" y="29"/>
                  </a:cubicBezTo>
                  <a:cubicBezTo>
                    <a:pt x="33" y="28"/>
                    <a:pt x="33" y="28"/>
                    <a:pt x="32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5"/>
                    <a:pt x="31" y="24"/>
                    <a:pt x="30" y="24"/>
                  </a:cubicBezTo>
                  <a:cubicBezTo>
                    <a:pt x="30" y="23"/>
                    <a:pt x="30" y="23"/>
                    <a:pt x="30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9" y="20"/>
                    <a:pt x="29" y="19"/>
                    <a:pt x="29" y="17"/>
                  </a:cubicBezTo>
                  <a:cubicBezTo>
                    <a:pt x="29" y="16"/>
                    <a:pt x="29" y="16"/>
                    <a:pt x="29" y="15"/>
                  </a:cubicBezTo>
                  <a:cubicBezTo>
                    <a:pt x="29" y="15"/>
                    <a:pt x="29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30" y="13"/>
                    <a:pt x="30" y="12"/>
                  </a:cubicBezTo>
                  <a:cubicBezTo>
                    <a:pt x="30" y="11"/>
                    <a:pt x="30" y="9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7" y="7"/>
                    <a:pt x="27" y="7"/>
                  </a:cubicBezTo>
                  <a:cubicBezTo>
                    <a:pt x="27" y="7"/>
                    <a:pt x="27" y="7"/>
                    <a:pt x="27" y="6"/>
                  </a:cubicBezTo>
                  <a:cubicBezTo>
                    <a:pt x="27" y="6"/>
                    <a:pt x="27" y="6"/>
                    <a:pt x="26" y="5"/>
                  </a:cubicBezTo>
                  <a:cubicBezTo>
                    <a:pt x="26" y="5"/>
                    <a:pt x="26" y="4"/>
                    <a:pt x="2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3" y="4"/>
                    <a:pt x="22" y="5"/>
                  </a:cubicBezTo>
                  <a:cubicBezTo>
                    <a:pt x="22" y="5"/>
                    <a:pt x="22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8" y="2"/>
                    <a:pt x="17" y="2"/>
                  </a:cubicBezTo>
                  <a:cubicBezTo>
                    <a:pt x="17" y="2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0"/>
                    <a:pt x="13" y="0"/>
                    <a:pt x="12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4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6" y="4"/>
                    <a:pt x="5" y="4"/>
                    <a:pt x="5" y="5"/>
                  </a:cubicBezTo>
                  <a:cubicBezTo>
                    <a:pt x="4" y="6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0" y="12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6"/>
                    <a:pt x="3" y="15"/>
                    <a:pt x="4" y="15"/>
                  </a:cubicBezTo>
                  <a:cubicBezTo>
                    <a:pt x="4" y="15"/>
                    <a:pt x="4" y="15"/>
                    <a:pt x="5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6"/>
                    <a:pt x="7" y="17"/>
                    <a:pt x="8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8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10" y="23"/>
                    <a:pt x="11" y="23"/>
                  </a:cubicBezTo>
                  <a:cubicBezTo>
                    <a:pt x="11" y="24"/>
                    <a:pt x="12" y="24"/>
                    <a:pt x="13" y="24"/>
                  </a:cubicBezTo>
                  <a:cubicBezTo>
                    <a:pt x="14" y="24"/>
                    <a:pt x="14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5" y="24"/>
                  </a:cubicBezTo>
                  <a:cubicBezTo>
                    <a:pt x="15" y="24"/>
                    <a:pt x="16" y="25"/>
                    <a:pt x="16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4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9" y="25"/>
                    <a:pt x="8" y="27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10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0"/>
                    <a:pt x="13" y="31"/>
                    <a:pt x="13" y="31"/>
                  </a:cubicBezTo>
                  <a:cubicBezTo>
                    <a:pt x="13" y="31"/>
                    <a:pt x="13" y="31"/>
                    <a:pt x="14" y="31"/>
                  </a:cubicBezTo>
                  <a:cubicBezTo>
                    <a:pt x="13" y="32"/>
                    <a:pt x="13" y="32"/>
                    <a:pt x="13" y="33"/>
                  </a:cubicBezTo>
                  <a:cubicBezTo>
                    <a:pt x="13" y="34"/>
                    <a:pt x="14" y="34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4" y="36"/>
                    <a:pt x="14" y="37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9"/>
                    <a:pt x="14" y="39"/>
                  </a:cubicBezTo>
                  <a:cubicBezTo>
                    <a:pt x="14" y="41"/>
                    <a:pt x="15" y="42"/>
                    <a:pt x="16" y="42"/>
                  </a:cubicBezTo>
                  <a:cubicBezTo>
                    <a:pt x="17" y="43"/>
                    <a:pt x="19" y="43"/>
                    <a:pt x="20" y="42"/>
                  </a:cubicBezTo>
                  <a:cubicBezTo>
                    <a:pt x="21" y="42"/>
                    <a:pt x="21" y="41"/>
                    <a:pt x="21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38"/>
                    <a:pt x="22" y="38"/>
                  </a:cubicBezTo>
                  <a:cubicBezTo>
                    <a:pt x="22" y="38"/>
                    <a:pt x="22" y="38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3" y="38"/>
                    <a:pt x="24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6" y="39"/>
                    <a:pt x="26" y="39"/>
                  </a:cubicBezTo>
                  <a:cubicBezTo>
                    <a:pt x="26" y="39"/>
                    <a:pt x="26" y="40"/>
                    <a:pt x="26" y="40"/>
                  </a:cubicBezTo>
                  <a:cubicBezTo>
                    <a:pt x="26" y="40"/>
                    <a:pt x="27" y="42"/>
                    <a:pt x="27" y="42"/>
                  </a:cubicBezTo>
                  <a:cubicBezTo>
                    <a:pt x="28" y="42"/>
                    <a:pt x="28" y="42"/>
                    <a:pt x="29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2" y="45"/>
                  </a:cubicBezTo>
                  <a:cubicBezTo>
                    <a:pt x="32" y="45"/>
                    <a:pt x="32" y="45"/>
                    <a:pt x="33" y="45"/>
                  </a:cubicBezTo>
                  <a:cubicBezTo>
                    <a:pt x="33" y="45"/>
                    <a:pt x="33" y="45"/>
                    <a:pt x="34" y="46"/>
                  </a:cubicBezTo>
                  <a:cubicBezTo>
                    <a:pt x="34" y="46"/>
                    <a:pt x="34" y="47"/>
                    <a:pt x="35" y="47"/>
                  </a:cubicBezTo>
                  <a:cubicBezTo>
                    <a:pt x="35" y="47"/>
                    <a:pt x="35" y="47"/>
                    <a:pt x="36" y="47"/>
                  </a:cubicBezTo>
                  <a:cubicBezTo>
                    <a:pt x="36" y="47"/>
                    <a:pt x="36" y="47"/>
                    <a:pt x="37" y="47"/>
                  </a:cubicBezTo>
                  <a:cubicBezTo>
                    <a:pt x="37" y="47"/>
                    <a:pt x="38" y="47"/>
                    <a:pt x="38" y="47"/>
                  </a:cubicBezTo>
                  <a:cubicBezTo>
                    <a:pt x="39" y="47"/>
                    <a:pt x="39" y="48"/>
                    <a:pt x="39" y="48"/>
                  </a:cubicBezTo>
                  <a:cubicBezTo>
                    <a:pt x="40" y="48"/>
                    <a:pt x="41" y="49"/>
                    <a:pt x="42" y="49"/>
                  </a:cubicBezTo>
                  <a:cubicBezTo>
                    <a:pt x="42" y="49"/>
                    <a:pt x="43" y="49"/>
                    <a:pt x="43" y="50"/>
                  </a:cubicBezTo>
                  <a:cubicBezTo>
                    <a:pt x="43" y="50"/>
                    <a:pt x="44" y="50"/>
                    <a:pt x="44" y="50"/>
                  </a:cubicBezTo>
                  <a:cubicBezTo>
                    <a:pt x="44" y="50"/>
                    <a:pt x="45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7" y="52"/>
                    <a:pt x="48" y="53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0" y="53"/>
                    <a:pt x="50" y="54"/>
                    <a:pt x="52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2" y="54"/>
                    <a:pt x="52" y="54"/>
                    <a:pt x="52" y="55"/>
                  </a:cubicBezTo>
                  <a:cubicBezTo>
                    <a:pt x="52" y="55"/>
                    <a:pt x="52" y="56"/>
                    <a:pt x="53" y="56"/>
                  </a:cubicBezTo>
                  <a:cubicBezTo>
                    <a:pt x="54" y="57"/>
                    <a:pt x="54" y="57"/>
                    <a:pt x="55" y="58"/>
                  </a:cubicBezTo>
                  <a:cubicBezTo>
                    <a:pt x="55" y="58"/>
                    <a:pt x="57" y="58"/>
                    <a:pt x="58" y="58"/>
                  </a:cubicBezTo>
                  <a:cubicBezTo>
                    <a:pt x="57" y="58"/>
                    <a:pt x="57" y="60"/>
                    <a:pt x="57" y="61"/>
                  </a:cubicBezTo>
                  <a:cubicBezTo>
                    <a:pt x="57" y="61"/>
                    <a:pt x="57" y="62"/>
                    <a:pt x="58" y="62"/>
                  </a:cubicBezTo>
                  <a:cubicBezTo>
                    <a:pt x="58" y="62"/>
                    <a:pt x="58" y="63"/>
                    <a:pt x="58" y="63"/>
                  </a:cubicBezTo>
                  <a:cubicBezTo>
                    <a:pt x="58" y="64"/>
                    <a:pt x="58" y="65"/>
                    <a:pt x="58" y="66"/>
                  </a:cubicBezTo>
                  <a:cubicBezTo>
                    <a:pt x="58" y="66"/>
                    <a:pt x="58" y="68"/>
                    <a:pt x="59" y="69"/>
                  </a:cubicBezTo>
                  <a:cubicBezTo>
                    <a:pt x="59" y="69"/>
                    <a:pt x="60" y="69"/>
                    <a:pt x="60" y="70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1" y="70"/>
                    <a:pt x="61" y="70"/>
                  </a:cubicBezTo>
                  <a:cubicBezTo>
                    <a:pt x="60" y="70"/>
                    <a:pt x="60" y="70"/>
                    <a:pt x="60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3"/>
                    <a:pt x="60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0" y="75"/>
                    <a:pt x="61" y="76"/>
                  </a:cubicBezTo>
                  <a:cubicBezTo>
                    <a:pt x="60" y="76"/>
                    <a:pt x="60" y="75"/>
                    <a:pt x="59" y="75"/>
                  </a:cubicBezTo>
                  <a:cubicBezTo>
                    <a:pt x="59" y="75"/>
                    <a:pt x="58" y="76"/>
                    <a:pt x="57" y="76"/>
                  </a:cubicBezTo>
                  <a:cubicBezTo>
                    <a:pt x="57" y="77"/>
                    <a:pt x="56" y="77"/>
                    <a:pt x="56" y="78"/>
                  </a:cubicBezTo>
                  <a:cubicBezTo>
                    <a:pt x="55" y="78"/>
                    <a:pt x="55" y="79"/>
                    <a:pt x="55" y="79"/>
                  </a:cubicBezTo>
                  <a:cubicBezTo>
                    <a:pt x="55" y="79"/>
                    <a:pt x="55" y="79"/>
                    <a:pt x="54" y="79"/>
                  </a:cubicBezTo>
                  <a:cubicBezTo>
                    <a:pt x="54" y="79"/>
                    <a:pt x="53" y="80"/>
                    <a:pt x="53" y="81"/>
                  </a:cubicBezTo>
                  <a:cubicBezTo>
                    <a:pt x="52" y="81"/>
                    <a:pt x="52" y="82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4"/>
                    <a:pt x="52" y="84"/>
                    <a:pt x="52" y="85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0" y="86"/>
                    <a:pt x="50" y="87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1" y="89"/>
                    <a:pt x="52" y="90"/>
                    <a:pt x="53" y="90"/>
                  </a:cubicBezTo>
                  <a:cubicBezTo>
                    <a:pt x="54" y="90"/>
                    <a:pt x="55" y="89"/>
                    <a:pt x="56" y="89"/>
                  </a:cubicBezTo>
                  <a:cubicBezTo>
                    <a:pt x="56" y="89"/>
                    <a:pt x="57" y="89"/>
                    <a:pt x="57" y="88"/>
                  </a:cubicBezTo>
                  <a:cubicBezTo>
                    <a:pt x="58" y="88"/>
                    <a:pt x="59" y="88"/>
                    <a:pt x="60" y="87"/>
                  </a:cubicBezTo>
                  <a:cubicBezTo>
                    <a:pt x="61" y="87"/>
                    <a:pt x="61" y="86"/>
                    <a:pt x="61" y="86"/>
                  </a:cubicBezTo>
                  <a:cubicBezTo>
                    <a:pt x="61" y="86"/>
                    <a:pt x="61" y="86"/>
                    <a:pt x="61" y="87"/>
                  </a:cubicBezTo>
                  <a:cubicBezTo>
                    <a:pt x="62" y="87"/>
                    <a:pt x="63" y="88"/>
                    <a:pt x="64" y="88"/>
                  </a:cubicBezTo>
                  <a:cubicBezTo>
                    <a:pt x="65" y="88"/>
                    <a:pt x="65" y="88"/>
                    <a:pt x="66" y="87"/>
                  </a:cubicBezTo>
                  <a:cubicBezTo>
                    <a:pt x="66" y="87"/>
                    <a:pt x="66" y="87"/>
                    <a:pt x="67" y="87"/>
                  </a:cubicBezTo>
                  <a:cubicBezTo>
                    <a:pt x="67" y="87"/>
                    <a:pt x="67" y="87"/>
                    <a:pt x="68" y="87"/>
                  </a:cubicBezTo>
                  <a:cubicBezTo>
                    <a:pt x="68" y="87"/>
                    <a:pt x="68" y="87"/>
                    <a:pt x="69" y="87"/>
                  </a:cubicBezTo>
                  <a:cubicBezTo>
                    <a:pt x="69" y="87"/>
                    <a:pt x="69" y="87"/>
                    <a:pt x="70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70" y="88"/>
                    <a:pt x="71" y="89"/>
                    <a:pt x="71" y="89"/>
                  </a:cubicBezTo>
                  <a:cubicBezTo>
                    <a:pt x="71" y="90"/>
                    <a:pt x="72" y="91"/>
                    <a:pt x="72" y="91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73" y="92"/>
                    <a:pt x="74" y="92"/>
                    <a:pt x="74" y="92"/>
                  </a:cubicBezTo>
                  <a:cubicBezTo>
                    <a:pt x="74" y="92"/>
                    <a:pt x="74" y="93"/>
                    <a:pt x="74" y="93"/>
                  </a:cubicBezTo>
                  <a:cubicBezTo>
                    <a:pt x="73" y="93"/>
                    <a:pt x="73" y="94"/>
                    <a:pt x="74" y="94"/>
                  </a:cubicBezTo>
                  <a:cubicBezTo>
                    <a:pt x="74" y="95"/>
                    <a:pt x="75" y="96"/>
                    <a:pt x="75" y="96"/>
                  </a:cubicBezTo>
                  <a:cubicBezTo>
                    <a:pt x="75" y="96"/>
                    <a:pt x="75" y="96"/>
                    <a:pt x="76" y="97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6" y="97"/>
                    <a:pt x="77" y="98"/>
                    <a:pt x="77" y="98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1" y="99"/>
                    <a:pt x="81" y="99"/>
                    <a:pt x="82" y="99"/>
                  </a:cubicBezTo>
                  <a:cubicBezTo>
                    <a:pt x="83" y="100"/>
                    <a:pt x="84" y="100"/>
                    <a:pt x="85" y="100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86" y="99"/>
                    <a:pt x="87" y="99"/>
                    <a:pt x="88" y="98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92" y="100"/>
                    <a:pt x="93" y="100"/>
                    <a:pt x="93" y="99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6" y="98"/>
                    <a:pt x="96" y="98"/>
                    <a:pt x="96" y="98"/>
                  </a:cubicBezTo>
                  <a:cubicBezTo>
                    <a:pt x="96" y="98"/>
                    <a:pt x="97" y="98"/>
                    <a:pt x="97" y="98"/>
                  </a:cubicBezTo>
                  <a:cubicBezTo>
                    <a:pt x="99" y="98"/>
                    <a:pt x="99" y="96"/>
                    <a:pt x="99" y="95"/>
                  </a:cubicBezTo>
                  <a:cubicBezTo>
                    <a:pt x="99" y="94"/>
                    <a:pt x="98" y="94"/>
                    <a:pt x="98" y="93"/>
                  </a:cubicBezTo>
                  <a:cubicBezTo>
                    <a:pt x="98" y="93"/>
                    <a:pt x="98" y="93"/>
                    <a:pt x="98" y="92"/>
                  </a:cubicBezTo>
                  <a:cubicBezTo>
                    <a:pt x="98" y="92"/>
                    <a:pt x="97" y="91"/>
                    <a:pt x="97" y="90"/>
                  </a:cubicBezTo>
                  <a:cubicBezTo>
                    <a:pt x="98" y="90"/>
                    <a:pt x="98" y="90"/>
                    <a:pt x="99" y="89"/>
                  </a:cubicBezTo>
                  <a:cubicBezTo>
                    <a:pt x="99" y="89"/>
                    <a:pt x="99" y="89"/>
                    <a:pt x="99" y="89"/>
                  </a:cubicBezTo>
                  <a:cubicBezTo>
                    <a:pt x="100" y="89"/>
                    <a:pt x="102" y="88"/>
                    <a:pt x="101" y="86"/>
                  </a:cubicBezTo>
                  <a:cubicBezTo>
                    <a:pt x="101" y="86"/>
                    <a:pt x="101" y="86"/>
                    <a:pt x="101" y="86"/>
                  </a:cubicBezTo>
                  <a:cubicBezTo>
                    <a:pt x="101" y="86"/>
                    <a:pt x="102" y="86"/>
                    <a:pt x="102" y="86"/>
                  </a:cubicBezTo>
                  <a:cubicBezTo>
                    <a:pt x="103" y="86"/>
                    <a:pt x="103" y="85"/>
                    <a:pt x="104" y="85"/>
                  </a:cubicBezTo>
                  <a:cubicBezTo>
                    <a:pt x="104" y="84"/>
                    <a:pt x="104" y="83"/>
                    <a:pt x="104" y="83"/>
                  </a:cubicBezTo>
                  <a:cubicBezTo>
                    <a:pt x="104" y="83"/>
                    <a:pt x="105" y="83"/>
                    <a:pt x="105" y="83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6" y="83"/>
                    <a:pt x="107" y="83"/>
                    <a:pt x="108" y="82"/>
                  </a:cubicBezTo>
                  <a:cubicBezTo>
                    <a:pt x="108" y="82"/>
                    <a:pt x="109" y="82"/>
                    <a:pt x="110" y="82"/>
                  </a:cubicBezTo>
                  <a:cubicBezTo>
                    <a:pt x="110" y="82"/>
                    <a:pt x="110" y="83"/>
                    <a:pt x="110" y="84"/>
                  </a:cubicBezTo>
                  <a:cubicBezTo>
                    <a:pt x="111" y="85"/>
                    <a:pt x="113" y="85"/>
                    <a:pt x="113" y="85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15" y="85"/>
                    <a:pt x="115" y="85"/>
                    <a:pt x="116" y="86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17" y="87"/>
                    <a:pt x="117" y="87"/>
                    <a:pt x="118" y="88"/>
                  </a:cubicBezTo>
                  <a:cubicBezTo>
                    <a:pt x="119" y="88"/>
                    <a:pt x="119" y="89"/>
                    <a:pt x="119" y="89"/>
                  </a:cubicBezTo>
                  <a:cubicBezTo>
                    <a:pt x="119" y="90"/>
                    <a:pt x="120" y="90"/>
                    <a:pt x="120" y="91"/>
                  </a:cubicBezTo>
                  <a:cubicBezTo>
                    <a:pt x="120" y="91"/>
                    <a:pt x="120" y="91"/>
                    <a:pt x="120" y="91"/>
                  </a:cubicBezTo>
                  <a:cubicBezTo>
                    <a:pt x="121" y="92"/>
                    <a:pt x="121" y="92"/>
                    <a:pt x="122" y="93"/>
                  </a:cubicBezTo>
                  <a:cubicBezTo>
                    <a:pt x="122" y="93"/>
                    <a:pt x="123" y="94"/>
                    <a:pt x="123" y="94"/>
                  </a:cubicBezTo>
                  <a:cubicBezTo>
                    <a:pt x="123" y="94"/>
                    <a:pt x="123" y="95"/>
                    <a:pt x="123" y="95"/>
                  </a:cubicBezTo>
                  <a:cubicBezTo>
                    <a:pt x="123" y="96"/>
                    <a:pt x="123" y="98"/>
                    <a:pt x="125" y="99"/>
                  </a:cubicBezTo>
                  <a:cubicBezTo>
                    <a:pt x="125" y="99"/>
                    <a:pt x="125" y="99"/>
                    <a:pt x="125" y="99"/>
                  </a:cubicBezTo>
                  <a:cubicBezTo>
                    <a:pt x="125" y="99"/>
                    <a:pt x="125" y="99"/>
                    <a:pt x="125" y="99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5" y="102"/>
                    <a:pt x="127" y="103"/>
                    <a:pt x="128" y="104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129" y="104"/>
                    <a:pt x="129" y="105"/>
                    <a:pt x="130" y="105"/>
                  </a:cubicBezTo>
                  <a:cubicBezTo>
                    <a:pt x="130" y="105"/>
                    <a:pt x="130" y="106"/>
                    <a:pt x="130" y="106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30" y="108"/>
                    <a:pt x="129" y="110"/>
                    <a:pt x="131" y="110"/>
                  </a:cubicBezTo>
                  <a:cubicBezTo>
                    <a:pt x="131" y="111"/>
                    <a:pt x="132" y="110"/>
                    <a:pt x="133" y="110"/>
                  </a:cubicBezTo>
                  <a:cubicBezTo>
                    <a:pt x="133" y="110"/>
                    <a:pt x="133" y="111"/>
                    <a:pt x="134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35" y="110"/>
                    <a:pt x="136" y="110"/>
                    <a:pt x="136" y="110"/>
                  </a:cubicBezTo>
                  <a:cubicBezTo>
                    <a:pt x="136" y="110"/>
                    <a:pt x="136" y="111"/>
                    <a:pt x="137" y="111"/>
                  </a:cubicBezTo>
                  <a:cubicBezTo>
                    <a:pt x="137" y="112"/>
                    <a:pt x="138" y="112"/>
                    <a:pt x="138" y="112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39" y="112"/>
                    <a:pt x="140" y="112"/>
                  </a:cubicBezTo>
                  <a:cubicBezTo>
                    <a:pt x="140" y="112"/>
                    <a:pt x="140" y="112"/>
                    <a:pt x="140" y="112"/>
                  </a:cubicBezTo>
                  <a:cubicBezTo>
                    <a:pt x="141" y="112"/>
                    <a:pt x="142" y="113"/>
                    <a:pt x="142" y="112"/>
                  </a:cubicBezTo>
                  <a:cubicBezTo>
                    <a:pt x="143" y="112"/>
                    <a:pt x="143" y="112"/>
                    <a:pt x="143" y="112"/>
                  </a:cubicBezTo>
                  <a:cubicBezTo>
                    <a:pt x="143" y="112"/>
                    <a:pt x="143" y="112"/>
                    <a:pt x="143" y="112"/>
                  </a:cubicBezTo>
                  <a:cubicBezTo>
                    <a:pt x="144" y="112"/>
                    <a:pt x="144" y="113"/>
                    <a:pt x="145" y="113"/>
                  </a:cubicBezTo>
                  <a:cubicBezTo>
                    <a:pt x="145" y="113"/>
                    <a:pt x="145" y="113"/>
                    <a:pt x="145" y="113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3"/>
                    <a:pt x="147" y="113"/>
                    <a:pt x="147" y="113"/>
                  </a:cubicBezTo>
                  <a:cubicBezTo>
                    <a:pt x="147" y="113"/>
                    <a:pt x="147" y="114"/>
                    <a:pt x="148" y="11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8" y="115"/>
                    <a:pt x="148" y="116"/>
                    <a:pt x="148" y="116"/>
                  </a:cubicBezTo>
                  <a:cubicBezTo>
                    <a:pt x="148" y="116"/>
                    <a:pt x="149" y="117"/>
                    <a:pt x="150" y="117"/>
                  </a:cubicBezTo>
                  <a:cubicBezTo>
                    <a:pt x="150" y="117"/>
                    <a:pt x="150" y="117"/>
                    <a:pt x="150" y="117"/>
                  </a:cubicBezTo>
                  <a:cubicBezTo>
                    <a:pt x="150" y="117"/>
                    <a:pt x="150" y="117"/>
                    <a:pt x="150" y="117"/>
                  </a:cubicBezTo>
                  <a:cubicBezTo>
                    <a:pt x="151" y="117"/>
                    <a:pt x="151" y="116"/>
                    <a:pt x="152" y="116"/>
                  </a:cubicBezTo>
                  <a:cubicBezTo>
                    <a:pt x="152" y="116"/>
                    <a:pt x="153" y="116"/>
                    <a:pt x="153" y="116"/>
                  </a:cubicBezTo>
                  <a:cubicBezTo>
                    <a:pt x="153" y="115"/>
                    <a:pt x="153" y="115"/>
                    <a:pt x="153" y="115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16"/>
                    <a:pt x="154" y="116"/>
                    <a:pt x="154" y="116"/>
                  </a:cubicBezTo>
                  <a:cubicBezTo>
                    <a:pt x="155" y="115"/>
                    <a:pt x="156" y="114"/>
                    <a:pt x="155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56" y="113"/>
                    <a:pt x="156" y="113"/>
                    <a:pt x="156" y="113"/>
                  </a:cubicBezTo>
                  <a:cubicBezTo>
                    <a:pt x="156" y="113"/>
                    <a:pt x="156" y="113"/>
                    <a:pt x="157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58" y="111"/>
                    <a:pt x="158" y="110"/>
                    <a:pt x="158" y="110"/>
                  </a:cubicBezTo>
                  <a:cubicBezTo>
                    <a:pt x="157" y="109"/>
                    <a:pt x="156" y="108"/>
                    <a:pt x="155" y="109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53" y="108"/>
                    <a:pt x="153" y="108"/>
                    <a:pt x="152" y="107"/>
                  </a:cubicBezTo>
                  <a:cubicBezTo>
                    <a:pt x="152" y="107"/>
                    <a:pt x="151" y="107"/>
                    <a:pt x="151" y="107"/>
                  </a:cubicBezTo>
                  <a:cubicBezTo>
                    <a:pt x="151" y="106"/>
                    <a:pt x="150" y="106"/>
                    <a:pt x="150" y="106"/>
                  </a:cubicBezTo>
                  <a:cubicBezTo>
                    <a:pt x="150" y="106"/>
                    <a:pt x="151" y="106"/>
                    <a:pt x="151" y="106"/>
                  </a:cubicBezTo>
                  <a:cubicBezTo>
                    <a:pt x="151" y="105"/>
                    <a:pt x="152" y="105"/>
                    <a:pt x="152" y="104"/>
                  </a:cubicBezTo>
                  <a:cubicBezTo>
                    <a:pt x="152" y="103"/>
                    <a:pt x="150" y="102"/>
                    <a:pt x="150" y="102"/>
                  </a:cubicBezTo>
                  <a:cubicBezTo>
                    <a:pt x="149" y="101"/>
                    <a:pt x="148" y="102"/>
                    <a:pt x="147" y="102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102"/>
                    <a:pt x="146" y="102"/>
                    <a:pt x="146" y="101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8" y="100"/>
                    <a:pt x="148" y="99"/>
                    <a:pt x="148" y="99"/>
                  </a:cubicBezTo>
                  <a:cubicBezTo>
                    <a:pt x="147" y="98"/>
                    <a:pt x="147" y="96"/>
                    <a:pt x="146" y="96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4" y="95"/>
                    <a:pt x="144" y="96"/>
                    <a:pt x="143" y="96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5"/>
                    <a:pt x="141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4"/>
                    <a:pt x="141" y="92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0"/>
                  </a:cubicBezTo>
                  <a:cubicBezTo>
                    <a:pt x="139" y="90"/>
                    <a:pt x="139" y="90"/>
                    <a:pt x="139" y="90"/>
                  </a:cubicBezTo>
                  <a:cubicBezTo>
                    <a:pt x="139" y="90"/>
                    <a:pt x="139" y="89"/>
                    <a:pt x="139" y="89"/>
                  </a:cubicBezTo>
                  <a:cubicBezTo>
                    <a:pt x="139" y="88"/>
                    <a:pt x="139" y="88"/>
                    <a:pt x="139" y="88"/>
                  </a:cubicBezTo>
                  <a:cubicBezTo>
                    <a:pt x="139" y="87"/>
                    <a:pt x="139" y="86"/>
                    <a:pt x="138" y="85"/>
                  </a:cubicBezTo>
                  <a:cubicBezTo>
                    <a:pt x="137" y="85"/>
                    <a:pt x="136" y="84"/>
                    <a:pt x="136" y="83"/>
                  </a:cubicBezTo>
                  <a:cubicBezTo>
                    <a:pt x="136" y="83"/>
                    <a:pt x="136" y="82"/>
                    <a:pt x="136" y="81"/>
                  </a:cubicBezTo>
                  <a:cubicBezTo>
                    <a:pt x="136" y="81"/>
                    <a:pt x="136" y="81"/>
                    <a:pt x="136" y="81"/>
                  </a:cubicBezTo>
                  <a:cubicBezTo>
                    <a:pt x="135" y="81"/>
                    <a:pt x="135" y="81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8"/>
                    <a:pt x="133" y="78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3" y="77"/>
                    <a:pt x="133" y="77"/>
                    <a:pt x="132" y="77"/>
                  </a:cubicBezTo>
                  <a:cubicBezTo>
                    <a:pt x="132" y="76"/>
                    <a:pt x="132" y="76"/>
                    <a:pt x="132" y="76"/>
                  </a:cubicBezTo>
                  <a:cubicBezTo>
                    <a:pt x="132" y="75"/>
                    <a:pt x="132" y="75"/>
                    <a:pt x="132" y="74"/>
                  </a:cubicBezTo>
                  <a:cubicBezTo>
                    <a:pt x="132" y="74"/>
                    <a:pt x="132" y="74"/>
                    <a:pt x="132" y="74"/>
                  </a:cubicBezTo>
                  <a:cubicBezTo>
                    <a:pt x="133" y="74"/>
                    <a:pt x="134" y="74"/>
                    <a:pt x="135" y="73"/>
                  </a:cubicBezTo>
                  <a:cubicBezTo>
                    <a:pt x="136" y="72"/>
                    <a:pt x="136" y="72"/>
                    <a:pt x="136" y="72"/>
                  </a:cubicBezTo>
                  <a:cubicBezTo>
                    <a:pt x="137" y="72"/>
                    <a:pt x="138" y="72"/>
                    <a:pt x="138" y="71"/>
                  </a:cubicBezTo>
                  <a:cubicBezTo>
                    <a:pt x="139" y="70"/>
                    <a:pt x="138" y="69"/>
                    <a:pt x="138" y="69"/>
                  </a:cubicBezTo>
                  <a:cubicBezTo>
                    <a:pt x="138" y="69"/>
                    <a:pt x="138" y="68"/>
                    <a:pt x="138" y="68"/>
                  </a:cubicBezTo>
                  <a:cubicBezTo>
                    <a:pt x="138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7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7" y="66"/>
                    <a:pt x="137" y="63"/>
                    <a:pt x="135" y="62"/>
                  </a:cubicBezTo>
                  <a:cubicBezTo>
                    <a:pt x="134" y="61"/>
                    <a:pt x="133" y="61"/>
                    <a:pt x="132" y="62"/>
                  </a:cubicBezTo>
                  <a:cubicBezTo>
                    <a:pt x="131" y="62"/>
                    <a:pt x="131" y="61"/>
                    <a:pt x="131" y="61"/>
                  </a:cubicBezTo>
                  <a:cubicBezTo>
                    <a:pt x="131" y="61"/>
                    <a:pt x="131" y="61"/>
                    <a:pt x="130" y="60"/>
                  </a:cubicBezTo>
                  <a:cubicBezTo>
                    <a:pt x="130" y="60"/>
                    <a:pt x="129" y="59"/>
                    <a:pt x="128" y="58"/>
                  </a:cubicBezTo>
                  <a:cubicBezTo>
                    <a:pt x="128" y="58"/>
                    <a:pt x="127" y="57"/>
                    <a:pt x="126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3" y="57"/>
                  </a:cubicBezTo>
                  <a:cubicBezTo>
                    <a:pt x="123" y="56"/>
                    <a:pt x="122" y="56"/>
                    <a:pt x="122" y="56"/>
                  </a:cubicBezTo>
                  <a:cubicBezTo>
                    <a:pt x="122" y="56"/>
                    <a:pt x="122" y="56"/>
                    <a:pt x="122" y="55"/>
                  </a:cubicBezTo>
                  <a:cubicBezTo>
                    <a:pt x="122" y="55"/>
                    <a:pt x="123" y="55"/>
                    <a:pt x="123" y="55"/>
                  </a:cubicBezTo>
                  <a:cubicBezTo>
                    <a:pt x="123" y="54"/>
                    <a:pt x="123" y="53"/>
                    <a:pt x="123" y="52"/>
                  </a:cubicBezTo>
                  <a:cubicBezTo>
                    <a:pt x="123" y="52"/>
                    <a:pt x="123" y="50"/>
                    <a:pt x="121" y="49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0" y="48"/>
                    <a:pt x="120" y="47"/>
                    <a:pt x="120" y="47"/>
                  </a:cubicBezTo>
                  <a:cubicBezTo>
                    <a:pt x="119" y="47"/>
                    <a:pt x="119" y="46"/>
                    <a:pt x="119" y="46"/>
                  </a:cubicBezTo>
                  <a:cubicBezTo>
                    <a:pt x="118" y="46"/>
                    <a:pt x="118" y="46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7" y="45"/>
                    <a:pt x="117" y="44"/>
                    <a:pt x="117" y="44"/>
                  </a:cubicBezTo>
                  <a:cubicBezTo>
                    <a:pt x="116" y="44"/>
                    <a:pt x="116" y="44"/>
                    <a:pt x="116" y="43"/>
                  </a:cubicBezTo>
                  <a:cubicBezTo>
                    <a:pt x="116" y="43"/>
                    <a:pt x="115" y="42"/>
                    <a:pt x="115" y="41"/>
                  </a:cubicBezTo>
                  <a:cubicBezTo>
                    <a:pt x="115" y="41"/>
                    <a:pt x="114" y="40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2" y="39"/>
                    <a:pt x="112" y="38"/>
                    <a:pt x="111" y="38"/>
                  </a:cubicBezTo>
                  <a:cubicBezTo>
                    <a:pt x="110" y="38"/>
                    <a:pt x="110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8" y="38"/>
                    <a:pt x="108" y="37"/>
                    <a:pt x="108" y="37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7" y="37"/>
                    <a:pt x="106" y="37"/>
                    <a:pt x="106" y="36"/>
                  </a:cubicBezTo>
                  <a:cubicBezTo>
                    <a:pt x="106" y="36"/>
                    <a:pt x="105" y="36"/>
                    <a:pt x="105" y="36"/>
                  </a:cubicBezTo>
                  <a:cubicBezTo>
                    <a:pt x="105" y="35"/>
                    <a:pt x="104" y="35"/>
                    <a:pt x="104" y="35"/>
                  </a:cubicBezTo>
                  <a:cubicBezTo>
                    <a:pt x="104" y="34"/>
                    <a:pt x="103" y="34"/>
                    <a:pt x="103" y="34"/>
                  </a:cubicBezTo>
                  <a:cubicBezTo>
                    <a:pt x="102" y="33"/>
                    <a:pt x="101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99" y="33"/>
                    <a:pt x="99" y="33"/>
                    <a:pt x="98" y="33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6" y="32"/>
                    <a:pt x="96" y="32"/>
                  </a:cubicBezTo>
                  <a:cubicBezTo>
                    <a:pt x="96" y="32"/>
                    <a:pt x="96" y="32"/>
                    <a:pt x="95" y="32"/>
                  </a:cubicBezTo>
                  <a:cubicBezTo>
                    <a:pt x="95" y="31"/>
                    <a:pt x="95" y="31"/>
                    <a:pt x="94" y="31"/>
                  </a:cubicBezTo>
                  <a:cubicBezTo>
                    <a:pt x="94" y="31"/>
                    <a:pt x="93" y="30"/>
                    <a:pt x="93" y="30"/>
                  </a:cubicBezTo>
                  <a:cubicBezTo>
                    <a:pt x="93" y="30"/>
                    <a:pt x="92" y="30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1" y="29"/>
                  </a:cubicBezTo>
                  <a:cubicBezTo>
                    <a:pt x="91" y="29"/>
                    <a:pt x="91" y="29"/>
                    <a:pt x="91" y="28"/>
                  </a:cubicBezTo>
                  <a:cubicBezTo>
                    <a:pt x="90" y="28"/>
                    <a:pt x="89" y="27"/>
                    <a:pt x="88" y="27"/>
                  </a:cubicBezTo>
                  <a:cubicBezTo>
                    <a:pt x="88" y="27"/>
                    <a:pt x="88" y="27"/>
                    <a:pt x="87" y="26"/>
                  </a:cubicBezTo>
                  <a:cubicBezTo>
                    <a:pt x="87" y="26"/>
                    <a:pt x="86" y="26"/>
                    <a:pt x="85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3" y="25"/>
                    <a:pt x="83" y="25"/>
                  </a:cubicBezTo>
                  <a:cubicBezTo>
                    <a:pt x="82" y="24"/>
                    <a:pt x="81" y="24"/>
                    <a:pt x="80" y="23"/>
                  </a:cubicBezTo>
                  <a:cubicBezTo>
                    <a:pt x="79" y="23"/>
                    <a:pt x="79" y="23"/>
                    <a:pt x="78" y="22"/>
                  </a:cubicBezTo>
                  <a:cubicBezTo>
                    <a:pt x="77" y="22"/>
                    <a:pt x="77" y="21"/>
                    <a:pt x="76" y="21"/>
                  </a:cubicBezTo>
                  <a:close/>
                  <a:moveTo>
                    <a:pt x="10" y="16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lose/>
                  <a:moveTo>
                    <a:pt x="59" y="57"/>
                  </a:move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59" y="57"/>
                    <a:pt x="58" y="57"/>
                  </a:cubicBezTo>
                  <a:cubicBezTo>
                    <a:pt x="59" y="57"/>
                    <a:pt x="59" y="57"/>
                    <a:pt x="59" y="57"/>
                  </a:cubicBezTo>
                  <a:close/>
                  <a:moveTo>
                    <a:pt x="47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lose/>
                  <a:moveTo>
                    <a:pt x="19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136" y="67"/>
                  </a:moveTo>
                  <a:cubicBezTo>
                    <a:pt x="136" y="67"/>
                    <a:pt x="136" y="67"/>
                    <a:pt x="136" y="67"/>
                  </a:cubicBezTo>
                  <a:cubicBezTo>
                    <a:pt x="136" y="67"/>
                    <a:pt x="136" y="67"/>
                    <a:pt x="13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5833" y="2567"/>
              <a:ext cx="19" cy="16"/>
            </a:xfrm>
            <a:custGeom>
              <a:avLst/>
              <a:gdLst>
                <a:gd name="T0" fmla="*/ 7 w 8"/>
                <a:gd name="T1" fmla="*/ 1 h 7"/>
                <a:gd name="T2" fmla="*/ 5 w 8"/>
                <a:gd name="T3" fmla="*/ 0 h 7"/>
                <a:gd name="T4" fmla="*/ 4 w 8"/>
                <a:gd name="T5" fmla="*/ 0 h 7"/>
                <a:gd name="T6" fmla="*/ 3 w 8"/>
                <a:gd name="T7" fmla="*/ 0 h 7"/>
                <a:gd name="T8" fmla="*/ 0 w 8"/>
                <a:gd name="T9" fmla="*/ 1 h 7"/>
                <a:gd name="T10" fmla="*/ 0 w 8"/>
                <a:gd name="T11" fmla="*/ 4 h 7"/>
                <a:gd name="T12" fmla="*/ 3 w 8"/>
                <a:gd name="T13" fmla="*/ 6 h 7"/>
                <a:gd name="T14" fmla="*/ 5 w 8"/>
                <a:gd name="T15" fmla="*/ 7 h 7"/>
                <a:gd name="T16" fmla="*/ 7 w 8"/>
                <a:gd name="T17" fmla="*/ 6 h 7"/>
                <a:gd name="T18" fmla="*/ 8 w 8"/>
                <a:gd name="T19" fmla="*/ 4 h 7"/>
                <a:gd name="T20" fmla="*/ 7 w 8"/>
                <a:gd name="T21" fmla="*/ 2 h 7"/>
                <a:gd name="T22" fmla="*/ 7 w 8"/>
                <a:gd name="T23" fmla="*/ 2 h 7"/>
                <a:gd name="T24" fmla="*/ 7 w 8"/>
                <a:gd name="T2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7">
                  <a:moveTo>
                    <a:pt x="7" y="1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6" y="7"/>
                    <a:pt x="7" y="6"/>
                    <a:pt x="7" y="6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8" y="3"/>
                    <a:pt x="8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6353" y="2735"/>
              <a:ext cx="19" cy="23"/>
            </a:xfrm>
            <a:custGeom>
              <a:avLst/>
              <a:gdLst>
                <a:gd name="T0" fmla="*/ 6 w 8"/>
                <a:gd name="T1" fmla="*/ 4 h 10"/>
                <a:gd name="T2" fmla="*/ 6 w 8"/>
                <a:gd name="T3" fmla="*/ 3 h 10"/>
                <a:gd name="T4" fmla="*/ 3 w 8"/>
                <a:gd name="T5" fmla="*/ 0 h 10"/>
                <a:gd name="T6" fmla="*/ 2 w 8"/>
                <a:gd name="T7" fmla="*/ 1 h 10"/>
                <a:gd name="T8" fmla="*/ 1 w 8"/>
                <a:gd name="T9" fmla="*/ 2 h 10"/>
                <a:gd name="T10" fmla="*/ 1 w 8"/>
                <a:gd name="T11" fmla="*/ 2 h 10"/>
                <a:gd name="T12" fmla="*/ 1 w 8"/>
                <a:gd name="T13" fmla="*/ 3 h 10"/>
                <a:gd name="T14" fmla="*/ 0 w 8"/>
                <a:gd name="T15" fmla="*/ 6 h 10"/>
                <a:gd name="T16" fmla="*/ 0 w 8"/>
                <a:gd name="T17" fmla="*/ 7 h 10"/>
                <a:gd name="T18" fmla="*/ 1 w 8"/>
                <a:gd name="T19" fmla="*/ 7 h 10"/>
                <a:gd name="T20" fmla="*/ 3 w 8"/>
                <a:gd name="T21" fmla="*/ 6 h 10"/>
                <a:gd name="T22" fmla="*/ 3 w 8"/>
                <a:gd name="T23" fmla="*/ 6 h 10"/>
                <a:gd name="T24" fmla="*/ 3 w 8"/>
                <a:gd name="T25" fmla="*/ 7 h 10"/>
                <a:gd name="T26" fmla="*/ 5 w 8"/>
                <a:gd name="T27" fmla="*/ 10 h 10"/>
                <a:gd name="T28" fmla="*/ 6 w 8"/>
                <a:gd name="T29" fmla="*/ 9 h 10"/>
                <a:gd name="T30" fmla="*/ 8 w 8"/>
                <a:gd name="T31" fmla="*/ 6 h 10"/>
                <a:gd name="T32" fmla="*/ 6 w 8"/>
                <a:gd name="T33" fmla="*/ 4 h 10"/>
                <a:gd name="T34" fmla="*/ 6 w 8"/>
                <a:gd name="T3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10">
                  <a:moveTo>
                    <a:pt x="6" y="4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10"/>
                    <a:pt x="5" y="10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8" y="9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6415" y="2744"/>
              <a:ext cx="35" cy="76"/>
            </a:xfrm>
            <a:custGeom>
              <a:avLst/>
              <a:gdLst>
                <a:gd name="T0" fmla="*/ 2 w 15"/>
                <a:gd name="T1" fmla="*/ 8 h 32"/>
                <a:gd name="T2" fmla="*/ 2 w 15"/>
                <a:gd name="T3" fmla="*/ 8 h 32"/>
                <a:gd name="T4" fmla="*/ 2 w 15"/>
                <a:gd name="T5" fmla="*/ 9 h 32"/>
                <a:gd name="T6" fmla="*/ 2 w 15"/>
                <a:gd name="T7" fmla="*/ 10 h 32"/>
                <a:gd name="T8" fmla="*/ 3 w 15"/>
                <a:gd name="T9" fmla="*/ 13 h 32"/>
                <a:gd name="T10" fmla="*/ 4 w 15"/>
                <a:gd name="T11" fmla="*/ 13 h 32"/>
                <a:gd name="T12" fmla="*/ 4 w 15"/>
                <a:gd name="T13" fmla="*/ 14 h 32"/>
                <a:gd name="T14" fmla="*/ 4 w 15"/>
                <a:gd name="T15" fmla="*/ 14 h 32"/>
                <a:gd name="T16" fmla="*/ 4 w 15"/>
                <a:gd name="T17" fmla="*/ 15 h 32"/>
                <a:gd name="T18" fmla="*/ 5 w 15"/>
                <a:gd name="T19" fmla="*/ 16 h 32"/>
                <a:gd name="T20" fmla="*/ 6 w 15"/>
                <a:gd name="T21" fmla="*/ 17 h 32"/>
                <a:gd name="T22" fmla="*/ 6 w 15"/>
                <a:gd name="T23" fmla="*/ 17 h 32"/>
                <a:gd name="T24" fmla="*/ 5 w 15"/>
                <a:gd name="T25" fmla="*/ 25 h 32"/>
                <a:gd name="T26" fmla="*/ 5 w 15"/>
                <a:gd name="T27" fmla="*/ 27 h 32"/>
                <a:gd name="T28" fmla="*/ 6 w 15"/>
                <a:gd name="T29" fmla="*/ 28 h 32"/>
                <a:gd name="T30" fmla="*/ 7 w 15"/>
                <a:gd name="T31" fmla="*/ 30 h 32"/>
                <a:gd name="T32" fmla="*/ 8 w 15"/>
                <a:gd name="T33" fmla="*/ 31 h 32"/>
                <a:gd name="T34" fmla="*/ 9 w 15"/>
                <a:gd name="T35" fmla="*/ 31 h 32"/>
                <a:gd name="T36" fmla="*/ 11 w 15"/>
                <a:gd name="T37" fmla="*/ 32 h 32"/>
                <a:gd name="T38" fmla="*/ 13 w 15"/>
                <a:gd name="T39" fmla="*/ 32 h 32"/>
                <a:gd name="T40" fmla="*/ 13 w 15"/>
                <a:gd name="T41" fmla="*/ 32 h 32"/>
                <a:gd name="T42" fmla="*/ 15 w 15"/>
                <a:gd name="T43" fmla="*/ 31 h 32"/>
                <a:gd name="T44" fmla="*/ 14 w 15"/>
                <a:gd name="T45" fmla="*/ 29 h 32"/>
                <a:gd name="T46" fmla="*/ 13 w 15"/>
                <a:gd name="T47" fmla="*/ 28 h 32"/>
                <a:gd name="T48" fmla="*/ 13 w 15"/>
                <a:gd name="T49" fmla="*/ 28 h 32"/>
                <a:gd name="T50" fmla="*/ 12 w 15"/>
                <a:gd name="T51" fmla="*/ 26 h 32"/>
                <a:gd name="T52" fmla="*/ 10 w 15"/>
                <a:gd name="T53" fmla="*/ 26 h 32"/>
                <a:gd name="T54" fmla="*/ 9 w 15"/>
                <a:gd name="T55" fmla="*/ 24 h 32"/>
                <a:gd name="T56" fmla="*/ 8 w 15"/>
                <a:gd name="T57" fmla="*/ 24 h 32"/>
                <a:gd name="T58" fmla="*/ 8 w 15"/>
                <a:gd name="T59" fmla="*/ 24 h 32"/>
                <a:gd name="T60" fmla="*/ 7 w 15"/>
                <a:gd name="T61" fmla="*/ 17 h 32"/>
                <a:gd name="T62" fmla="*/ 8 w 15"/>
                <a:gd name="T63" fmla="*/ 16 h 32"/>
                <a:gd name="T64" fmla="*/ 7 w 15"/>
                <a:gd name="T65" fmla="*/ 13 h 32"/>
                <a:gd name="T66" fmla="*/ 7 w 15"/>
                <a:gd name="T67" fmla="*/ 11 h 32"/>
                <a:gd name="T68" fmla="*/ 7 w 15"/>
                <a:gd name="T69" fmla="*/ 10 h 32"/>
                <a:gd name="T70" fmla="*/ 7 w 15"/>
                <a:gd name="T71" fmla="*/ 8 h 32"/>
                <a:gd name="T72" fmla="*/ 6 w 15"/>
                <a:gd name="T73" fmla="*/ 7 h 32"/>
                <a:gd name="T74" fmla="*/ 6 w 15"/>
                <a:gd name="T75" fmla="*/ 7 h 32"/>
                <a:gd name="T76" fmla="*/ 6 w 15"/>
                <a:gd name="T77" fmla="*/ 6 h 32"/>
                <a:gd name="T78" fmla="*/ 6 w 15"/>
                <a:gd name="T79" fmla="*/ 4 h 32"/>
                <a:gd name="T80" fmla="*/ 5 w 15"/>
                <a:gd name="T81" fmla="*/ 3 h 32"/>
                <a:gd name="T82" fmla="*/ 5 w 15"/>
                <a:gd name="T83" fmla="*/ 3 h 32"/>
                <a:gd name="T84" fmla="*/ 4 w 15"/>
                <a:gd name="T85" fmla="*/ 1 h 32"/>
                <a:gd name="T86" fmla="*/ 1 w 15"/>
                <a:gd name="T87" fmla="*/ 1 h 32"/>
                <a:gd name="T88" fmla="*/ 1 w 15"/>
                <a:gd name="T89" fmla="*/ 3 h 32"/>
                <a:gd name="T90" fmla="*/ 1 w 15"/>
                <a:gd name="T91" fmla="*/ 3 h 32"/>
                <a:gd name="T92" fmla="*/ 1 w 15"/>
                <a:gd name="T93" fmla="*/ 3 h 32"/>
                <a:gd name="T94" fmla="*/ 1 w 15"/>
                <a:gd name="T95" fmla="*/ 3 h 32"/>
                <a:gd name="T96" fmla="*/ 0 w 15"/>
                <a:gd name="T97" fmla="*/ 4 h 32"/>
                <a:gd name="T98" fmla="*/ 1 w 15"/>
                <a:gd name="T99" fmla="*/ 7 h 32"/>
                <a:gd name="T100" fmla="*/ 2 w 15"/>
                <a:gd name="T10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" h="32">
                  <a:moveTo>
                    <a:pt x="2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2" y="12"/>
                    <a:pt x="3" y="12"/>
                    <a:pt x="3" y="13"/>
                  </a:cubicBezTo>
                  <a:cubicBezTo>
                    <a:pt x="3" y="13"/>
                    <a:pt x="4" y="13"/>
                    <a:pt x="4" y="13"/>
                  </a:cubicBezTo>
                  <a:cubicBezTo>
                    <a:pt x="4" y="13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5" y="16"/>
                    <a:pt x="5" y="16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6"/>
                    <a:pt x="5" y="27"/>
                  </a:cubicBezTo>
                  <a:cubicBezTo>
                    <a:pt x="6" y="27"/>
                    <a:pt x="6" y="27"/>
                    <a:pt x="6" y="28"/>
                  </a:cubicBezTo>
                  <a:cubicBezTo>
                    <a:pt x="6" y="28"/>
                    <a:pt x="6" y="29"/>
                    <a:pt x="7" y="30"/>
                  </a:cubicBezTo>
                  <a:cubicBezTo>
                    <a:pt x="7" y="30"/>
                    <a:pt x="8" y="30"/>
                    <a:pt x="8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1"/>
                    <a:pt x="10" y="31"/>
                    <a:pt x="11" y="32"/>
                  </a:cubicBezTo>
                  <a:cubicBezTo>
                    <a:pt x="12" y="32"/>
                    <a:pt x="12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5" y="31"/>
                  </a:cubicBezTo>
                  <a:cubicBezTo>
                    <a:pt x="15" y="30"/>
                    <a:pt x="14" y="29"/>
                    <a:pt x="14" y="29"/>
                  </a:cubicBezTo>
                  <a:cubicBezTo>
                    <a:pt x="13" y="29"/>
                    <a:pt x="13" y="29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6"/>
                    <a:pt x="12" y="26"/>
                  </a:cubicBezTo>
                  <a:cubicBezTo>
                    <a:pt x="12" y="25"/>
                    <a:pt x="11" y="26"/>
                    <a:pt x="10" y="26"/>
                  </a:cubicBezTo>
                  <a:cubicBezTo>
                    <a:pt x="10" y="25"/>
                    <a:pt x="10" y="25"/>
                    <a:pt x="9" y="24"/>
                  </a:cubicBezTo>
                  <a:cubicBezTo>
                    <a:pt x="9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8" y="16"/>
                  </a:cubicBezTo>
                  <a:cubicBezTo>
                    <a:pt x="8" y="15"/>
                    <a:pt x="8" y="14"/>
                    <a:pt x="7" y="13"/>
                  </a:cubicBezTo>
                  <a:cubicBezTo>
                    <a:pt x="7" y="12"/>
                    <a:pt x="7" y="12"/>
                    <a:pt x="7" y="11"/>
                  </a:cubicBezTo>
                  <a:cubicBezTo>
                    <a:pt x="7" y="11"/>
                    <a:pt x="7" y="10"/>
                    <a:pt x="7" y="10"/>
                  </a:cubicBezTo>
                  <a:cubicBezTo>
                    <a:pt x="7" y="9"/>
                    <a:pt x="7" y="8"/>
                    <a:pt x="7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6391" y="2770"/>
              <a:ext cx="33" cy="24"/>
            </a:xfrm>
            <a:custGeom>
              <a:avLst/>
              <a:gdLst>
                <a:gd name="T0" fmla="*/ 5 w 14"/>
                <a:gd name="T1" fmla="*/ 1 h 10"/>
                <a:gd name="T2" fmla="*/ 5 w 14"/>
                <a:gd name="T3" fmla="*/ 1 h 10"/>
                <a:gd name="T4" fmla="*/ 4 w 14"/>
                <a:gd name="T5" fmla="*/ 0 h 10"/>
                <a:gd name="T6" fmla="*/ 3 w 14"/>
                <a:gd name="T7" fmla="*/ 0 h 10"/>
                <a:gd name="T8" fmla="*/ 1 w 14"/>
                <a:gd name="T9" fmla="*/ 3 h 10"/>
                <a:gd name="T10" fmla="*/ 2 w 14"/>
                <a:gd name="T11" fmla="*/ 8 h 10"/>
                <a:gd name="T12" fmla="*/ 4 w 14"/>
                <a:gd name="T13" fmla="*/ 8 h 10"/>
                <a:gd name="T14" fmla="*/ 5 w 14"/>
                <a:gd name="T15" fmla="*/ 8 h 10"/>
                <a:gd name="T16" fmla="*/ 6 w 14"/>
                <a:gd name="T17" fmla="*/ 9 h 10"/>
                <a:gd name="T18" fmla="*/ 7 w 14"/>
                <a:gd name="T19" fmla="*/ 9 h 10"/>
                <a:gd name="T20" fmla="*/ 7 w 14"/>
                <a:gd name="T21" fmla="*/ 9 h 10"/>
                <a:gd name="T22" fmla="*/ 8 w 14"/>
                <a:gd name="T23" fmla="*/ 10 h 10"/>
                <a:gd name="T24" fmla="*/ 9 w 14"/>
                <a:gd name="T25" fmla="*/ 10 h 10"/>
                <a:gd name="T26" fmla="*/ 10 w 14"/>
                <a:gd name="T27" fmla="*/ 10 h 10"/>
                <a:gd name="T28" fmla="*/ 10 w 14"/>
                <a:gd name="T29" fmla="*/ 9 h 10"/>
                <a:gd name="T30" fmla="*/ 10 w 14"/>
                <a:gd name="T31" fmla="*/ 10 h 10"/>
                <a:gd name="T32" fmla="*/ 11 w 14"/>
                <a:gd name="T33" fmla="*/ 10 h 10"/>
                <a:gd name="T34" fmla="*/ 12 w 14"/>
                <a:gd name="T35" fmla="*/ 9 h 10"/>
                <a:gd name="T36" fmla="*/ 13 w 14"/>
                <a:gd name="T37" fmla="*/ 8 h 10"/>
                <a:gd name="T38" fmla="*/ 13 w 14"/>
                <a:gd name="T39" fmla="*/ 8 h 10"/>
                <a:gd name="T40" fmla="*/ 13 w 14"/>
                <a:gd name="T41" fmla="*/ 5 h 10"/>
                <a:gd name="T42" fmla="*/ 12 w 14"/>
                <a:gd name="T43" fmla="*/ 4 h 10"/>
                <a:gd name="T44" fmla="*/ 11 w 14"/>
                <a:gd name="T45" fmla="*/ 3 h 10"/>
                <a:gd name="T46" fmla="*/ 10 w 14"/>
                <a:gd name="T47" fmla="*/ 3 h 10"/>
                <a:gd name="T48" fmla="*/ 10 w 14"/>
                <a:gd name="T49" fmla="*/ 3 h 10"/>
                <a:gd name="T50" fmla="*/ 9 w 14"/>
                <a:gd name="T51" fmla="*/ 2 h 10"/>
                <a:gd name="T52" fmla="*/ 6 w 14"/>
                <a:gd name="T53" fmla="*/ 1 h 10"/>
                <a:gd name="T54" fmla="*/ 5 w 14"/>
                <a:gd name="T5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" h="10"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2"/>
                    <a:pt x="1" y="3"/>
                  </a:cubicBezTo>
                  <a:cubicBezTo>
                    <a:pt x="0" y="5"/>
                    <a:pt x="1" y="6"/>
                    <a:pt x="2" y="8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8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10"/>
                    <a:pt x="12" y="9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7"/>
                    <a:pt x="14" y="7"/>
                    <a:pt x="13" y="5"/>
                  </a:cubicBezTo>
                  <a:cubicBezTo>
                    <a:pt x="13" y="5"/>
                    <a:pt x="12" y="4"/>
                    <a:pt x="12" y="4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9" y="2"/>
                  </a:cubicBezTo>
                  <a:cubicBezTo>
                    <a:pt x="9" y="2"/>
                    <a:pt x="7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6" name="Freeform 55"/>
            <p:cNvSpPr>
              <a:spLocks noEditPoints="1"/>
            </p:cNvSpPr>
            <p:nvPr/>
          </p:nvSpPr>
          <p:spPr bwMode="auto">
            <a:xfrm>
              <a:off x="6505" y="2919"/>
              <a:ext cx="21" cy="57"/>
            </a:xfrm>
            <a:custGeom>
              <a:avLst/>
              <a:gdLst>
                <a:gd name="T0" fmla="*/ 9 w 9"/>
                <a:gd name="T1" fmla="*/ 21 h 24"/>
                <a:gd name="T2" fmla="*/ 9 w 9"/>
                <a:gd name="T3" fmla="*/ 20 h 24"/>
                <a:gd name="T4" fmla="*/ 9 w 9"/>
                <a:gd name="T5" fmla="*/ 20 h 24"/>
                <a:gd name="T6" fmla="*/ 9 w 9"/>
                <a:gd name="T7" fmla="*/ 19 h 24"/>
                <a:gd name="T8" fmla="*/ 8 w 9"/>
                <a:gd name="T9" fmla="*/ 20 h 24"/>
                <a:gd name="T10" fmla="*/ 9 w 9"/>
                <a:gd name="T11" fmla="*/ 19 h 24"/>
                <a:gd name="T12" fmla="*/ 9 w 9"/>
                <a:gd name="T13" fmla="*/ 18 h 24"/>
                <a:gd name="T14" fmla="*/ 8 w 9"/>
                <a:gd name="T15" fmla="*/ 18 h 24"/>
                <a:gd name="T16" fmla="*/ 7 w 9"/>
                <a:gd name="T17" fmla="*/ 16 h 24"/>
                <a:gd name="T18" fmla="*/ 7 w 9"/>
                <a:gd name="T19" fmla="*/ 15 h 24"/>
                <a:gd name="T20" fmla="*/ 6 w 9"/>
                <a:gd name="T21" fmla="*/ 15 h 24"/>
                <a:gd name="T22" fmla="*/ 5 w 9"/>
                <a:gd name="T23" fmla="*/ 14 h 24"/>
                <a:gd name="T24" fmla="*/ 7 w 9"/>
                <a:gd name="T25" fmla="*/ 12 h 24"/>
                <a:gd name="T26" fmla="*/ 7 w 9"/>
                <a:gd name="T27" fmla="*/ 8 h 24"/>
                <a:gd name="T28" fmla="*/ 7 w 9"/>
                <a:gd name="T29" fmla="*/ 6 h 24"/>
                <a:gd name="T30" fmla="*/ 5 w 9"/>
                <a:gd name="T31" fmla="*/ 5 h 24"/>
                <a:gd name="T32" fmla="*/ 5 w 9"/>
                <a:gd name="T33" fmla="*/ 5 h 24"/>
                <a:gd name="T34" fmla="*/ 5 w 9"/>
                <a:gd name="T35" fmla="*/ 5 h 24"/>
                <a:gd name="T36" fmla="*/ 5 w 9"/>
                <a:gd name="T37" fmla="*/ 4 h 24"/>
                <a:gd name="T38" fmla="*/ 4 w 9"/>
                <a:gd name="T39" fmla="*/ 4 h 24"/>
                <a:gd name="T40" fmla="*/ 5 w 9"/>
                <a:gd name="T41" fmla="*/ 4 h 24"/>
                <a:gd name="T42" fmla="*/ 2 w 9"/>
                <a:gd name="T43" fmla="*/ 1 h 24"/>
                <a:gd name="T44" fmla="*/ 1 w 9"/>
                <a:gd name="T45" fmla="*/ 0 h 24"/>
                <a:gd name="T46" fmla="*/ 1 w 9"/>
                <a:gd name="T47" fmla="*/ 1 h 24"/>
                <a:gd name="T48" fmla="*/ 0 w 9"/>
                <a:gd name="T49" fmla="*/ 5 h 24"/>
                <a:gd name="T50" fmla="*/ 0 w 9"/>
                <a:gd name="T51" fmla="*/ 6 h 24"/>
                <a:gd name="T52" fmla="*/ 0 w 9"/>
                <a:gd name="T53" fmla="*/ 7 h 24"/>
                <a:gd name="T54" fmla="*/ 1 w 9"/>
                <a:gd name="T55" fmla="*/ 12 h 24"/>
                <a:gd name="T56" fmla="*/ 3 w 9"/>
                <a:gd name="T57" fmla="*/ 14 h 24"/>
                <a:gd name="T58" fmla="*/ 3 w 9"/>
                <a:gd name="T59" fmla="*/ 15 h 24"/>
                <a:gd name="T60" fmla="*/ 4 w 9"/>
                <a:gd name="T61" fmla="*/ 19 h 24"/>
                <a:gd name="T62" fmla="*/ 4 w 9"/>
                <a:gd name="T63" fmla="*/ 20 h 24"/>
                <a:gd name="T64" fmla="*/ 4 w 9"/>
                <a:gd name="T65" fmla="*/ 20 h 24"/>
                <a:gd name="T66" fmla="*/ 5 w 9"/>
                <a:gd name="T67" fmla="*/ 23 h 24"/>
                <a:gd name="T68" fmla="*/ 7 w 9"/>
                <a:gd name="T69" fmla="*/ 24 h 24"/>
                <a:gd name="T70" fmla="*/ 9 w 9"/>
                <a:gd name="T71" fmla="*/ 21 h 24"/>
                <a:gd name="T72" fmla="*/ 5 w 9"/>
                <a:gd name="T73" fmla="*/ 19 h 24"/>
                <a:gd name="T74" fmla="*/ 5 w 9"/>
                <a:gd name="T75" fmla="*/ 19 h 24"/>
                <a:gd name="T76" fmla="*/ 5 w 9"/>
                <a:gd name="T77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" h="24">
                  <a:moveTo>
                    <a:pt x="9" y="21"/>
                  </a:moveTo>
                  <a:cubicBezTo>
                    <a:pt x="9" y="21"/>
                    <a:pt x="9" y="21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ubicBezTo>
                    <a:pt x="6" y="14"/>
                    <a:pt x="7" y="13"/>
                    <a:pt x="7" y="12"/>
                  </a:cubicBezTo>
                  <a:cubicBezTo>
                    <a:pt x="7" y="11"/>
                    <a:pt x="7" y="10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4" y="0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9"/>
                    <a:pt x="0" y="11"/>
                    <a:pt x="1" y="12"/>
                  </a:cubicBezTo>
                  <a:cubicBezTo>
                    <a:pt x="1" y="13"/>
                    <a:pt x="2" y="14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7"/>
                    <a:pt x="3" y="18"/>
                    <a:pt x="4" y="19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2"/>
                    <a:pt x="5" y="23"/>
                  </a:cubicBezTo>
                  <a:cubicBezTo>
                    <a:pt x="6" y="23"/>
                    <a:pt x="7" y="24"/>
                    <a:pt x="7" y="24"/>
                  </a:cubicBezTo>
                  <a:cubicBezTo>
                    <a:pt x="8" y="24"/>
                    <a:pt x="9" y="23"/>
                    <a:pt x="9" y="21"/>
                  </a:cubicBezTo>
                  <a:close/>
                  <a:moveTo>
                    <a:pt x="5" y="19"/>
                  </a:move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6531" y="2943"/>
              <a:ext cx="12" cy="21"/>
            </a:xfrm>
            <a:custGeom>
              <a:avLst/>
              <a:gdLst>
                <a:gd name="T0" fmla="*/ 4 w 5"/>
                <a:gd name="T1" fmla="*/ 1 h 9"/>
                <a:gd name="T2" fmla="*/ 2 w 5"/>
                <a:gd name="T3" fmla="*/ 0 h 9"/>
                <a:gd name="T4" fmla="*/ 1 w 5"/>
                <a:gd name="T5" fmla="*/ 0 h 9"/>
                <a:gd name="T6" fmla="*/ 0 w 5"/>
                <a:gd name="T7" fmla="*/ 3 h 9"/>
                <a:gd name="T8" fmla="*/ 1 w 5"/>
                <a:gd name="T9" fmla="*/ 8 h 9"/>
                <a:gd name="T10" fmla="*/ 3 w 5"/>
                <a:gd name="T11" fmla="*/ 9 h 9"/>
                <a:gd name="T12" fmla="*/ 4 w 5"/>
                <a:gd name="T13" fmla="*/ 7 h 9"/>
                <a:gd name="T14" fmla="*/ 4 w 5"/>
                <a:gd name="T15" fmla="*/ 5 h 9"/>
                <a:gd name="T16" fmla="*/ 4 w 5"/>
                <a:gd name="T1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9">
                  <a:moveTo>
                    <a:pt x="4" y="1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7"/>
                    <a:pt x="1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5" y="4"/>
                    <a:pt x="5" y="2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6519" y="2997"/>
              <a:ext cx="16" cy="15"/>
            </a:xfrm>
            <a:custGeom>
              <a:avLst/>
              <a:gdLst>
                <a:gd name="T0" fmla="*/ 4 w 7"/>
                <a:gd name="T1" fmla="*/ 1 h 6"/>
                <a:gd name="T2" fmla="*/ 3 w 7"/>
                <a:gd name="T3" fmla="*/ 0 h 6"/>
                <a:gd name="T4" fmla="*/ 3 w 7"/>
                <a:gd name="T5" fmla="*/ 1 h 6"/>
                <a:gd name="T6" fmla="*/ 2 w 7"/>
                <a:gd name="T7" fmla="*/ 1 h 6"/>
                <a:gd name="T8" fmla="*/ 1 w 7"/>
                <a:gd name="T9" fmla="*/ 3 h 6"/>
                <a:gd name="T10" fmla="*/ 2 w 7"/>
                <a:gd name="T11" fmla="*/ 4 h 6"/>
                <a:gd name="T12" fmla="*/ 3 w 7"/>
                <a:gd name="T13" fmla="*/ 5 h 6"/>
                <a:gd name="T14" fmla="*/ 3 w 7"/>
                <a:gd name="T15" fmla="*/ 5 h 6"/>
                <a:gd name="T16" fmla="*/ 5 w 7"/>
                <a:gd name="T17" fmla="*/ 6 h 6"/>
                <a:gd name="T18" fmla="*/ 6 w 7"/>
                <a:gd name="T19" fmla="*/ 5 h 6"/>
                <a:gd name="T20" fmla="*/ 6 w 7"/>
                <a:gd name="T21" fmla="*/ 5 h 6"/>
                <a:gd name="T22" fmla="*/ 7 w 7"/>
                <a:gd name="T23" fmla="*/ 4 h 6"/>
                <a:gd name="T24" fmla="*/ 6 w 7"/>
                <a:gd name="T25" fmla="*/ 1 h 6"/>
                <a:gd name="T26" fmla="*/ 4 w 7"/>
                <a:gd name="T2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6">
                  <a:moveTo>
                    <a:pt x="4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5" y="6"/>
                    <a:pt x="5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6" y="2"/>
                    <a:pt x="6" y="1"/>
                  </a:cubicBezTo>
                  <a:cubicBezTo>
                    <a:pt x="5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6422" y="3064"/>
              <a:ext cx="50" cy="71"/>
            </a:xfrm>
            <a:custGeom>
              <a:avLst/>
              <a:gdLst>
                <a:gd name="T0" fmla="*/ 10 w 21"/>
                <a:gd name="T1" fmla="*/ 8 h 30"/>
                <a:gd name="T2" fmla="*/ 9 w 21"/>
                <a:gd name="T3" fmla="*/ 8 h 30"/>
                <a:gd name="T4" fmla="*/ 9 w 21"/>
                <a:gd name="T5" fmla="*/ 7 h 30"/>
                <a:gd name="T6" fmla="*/ 9 w 21"/>
                <a:gd name="T7" fmla="*/ 6 h 30"/>
                <a:gd name="T8" fmla="*/ 5 w 21"/>
                <a:gd name="T9" fmla="*/ 2 h 30"/>
                <a:gd name="T10" fmla="*/ 0 w 21"/>
                <a:gd name="T11" fmla="*/ 2 h 30"/>
                <a:gd name="T12" fmla="*/ 0 w 21"/>
                <a:gd name="T13" fmla="*/ 2 h 30"/>
                <a:gd name="T14" fmla="*/ 0 w 21"/>
                <a:gd name="T15" fmla="*/ 3 h 30"/>
                <a:gd name="T16" fmla="*/ 2 w 21"/>
                <a:gd name="T17" fmla="*/ 5 h 30"/>
                <a:gd name="T18" fmla="*/ 2 w 21"/>
                <a:gd name="T19" fmla="*/ 6 h 30"/>
                <a:gd name="T20" fmla="*/ 2 w 21"/>
                <a:gd name="T21" fmla="*/ 7 h 30"/>
                <a:gd name="T22" fmla="*/ 2 w 21"/>
                <a:gd name="T23" fmla="*/ 10 h 30"/>
                <a:gd name="T24" fmla="*/ 3 w 21"/>
                <a:gd name="T25" fmla="*/ 12 h 30"/>
                <a:gd name="T26" fmla="*/ 3 w 21"/>
                <a:gd name="T27" fmla="*/ 13 h 30"/>
                <a:gd name="T28" fmla="*/ 4 w 21"/>
                <a:gd name="T29" fmla="*/ 14 h 30"/>
                <a:gd name="T30" fmla="*/ 5 w 21"/>
                <a:gd name="T31" fmla="*/ 17 h 30"/>
                <a:gd name="T32" fmla="*/ 6 w 21"/>
                <a:gd name="T33" fmla="*/ 19 h 30"/>
                <a:gd name="T34" fmla="*/ 8 w 21"/>
                <a:gd name="T35" fmla="*/ 21 h 30"/>
                <a:gd name="T36" fmla="*/ 9 w 21"/>
                <a:gd name="T37" fmla="*/ 22 h 30"/>
                <a:gd name="T38" fmla="*/ 10 w 21"/>
                <a:gd name="T39" fmla="*/ 23 h 30"/>
                <a:gd name="T40" fmla="*/ 11 w 21"/>
                <a:gd name="T41" fmla="*/ 25 h 30"/>
                <a:gd name="T42" fmla="*/ 12 w 21"/>
                <a:gd name="T43" fmla="*/ 25 h 30"/>
                <a:gd name="T44" fmla="*/ 13 w 21"/>
                <a:gd name="T45" fmla="*/ 27 h 30"/>
                <a:gd name="T46" fmla="*/ 14 w 21"/>
                <a:gd name="T47" fmla="*/ 28 h 30"/>
                <a:gd name="T48" fmla="*/ 15 w 21"/>
                <a:gd name="T49" fmla="*/ 28 h 30"/>
                <a:gd name="T50" fmla="*/ 15 w 21"/>
                <a:gd name="T51" fmla="*/ 29 h 30"/>
                <a:gd name="T52" fmla="*/ 18 w 21"/>
                <a:gd name="T53" fmla="*/ 30 h 30"/>
                <a:gd name="T54" fmla="*/ 18 w 21"/>
                <a:gd name="T55" fmla="*/ 30 h 30"/>
                <a:gd name="T56" fmla="*/ 21 w 21"/>
                <a:gd name="T57" fmla="*/ 27 h 30"/>
                <a:gd name="T58" fmla="*/ 19 w 21"/>
                <a:gd name="T59" fmla="*/ 23 h 30"/>
                <a:gd name="T60" fmla="*/ 19 w 21"/>
                <a:gd name="T61" fmla="*/ 22 h 30"/>
                <a:gd name="T62" fmla="*/ 18 w 21"/>
                <a:gd name="T63" fmla="*/ 21 h 30"/>
                <a:gd name="T64" fmla="*/ 18 w 21"/>
                <a:gd name="T65" fmla="*/ 21 h 30"/>
                <a:gd name="T66" fmla="*/ 15 w 21"/>
                <a:gd name="T67" fmla="*/ 17 h 30"/>
                <a:gd name="T68" fmla="*/ 15 w 21"/>
                <a:gd name="T69" fmla="*/ 16 h 30"/>
                <a:gd name="T70" fmla="*/ 14 w 21"/>
                <a:gd name="T71" fmla="*/ 16 h 30"/>
                <a:gd name="T72" fmla="*/ 13 w 21"/>
                <a:gd name="T73" fmla="*/ 13 h 30"/>
                <a:gd name="T74" fmla="*/ 11 w 21"/>
                <a:gd name="T75" fmla="*/ 9 h 30"/>
                <a:gd name="T76" fmla="*/ 10 w 21"/>
                <a:gd name="T77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" h="30">
                  <a:moveTo>
                    <a:pt x="10" y="8"/>
                  </a:moveTo>
                  <a:cubicBezTo>
                    <a:pt x="10" y="8"/>
                    <a:pt x="10" y="8"/>
                    <a:pt x="9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4"/>
                    <a:pt x="7" y="3"/>
                    <a:pt x="5" y="2"/>
                  </a:cubicBezTo>
                  <a:cubicBezTo>
                    <a:pt x="5" y="1"/>
                    <a:pt x="2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9"/>
                    <a:pt x="2" y="10"/>
                  </a:cubicBezTo>
                  <a:cubicBezTo>
                    <a:pt x="2" y="11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4"/>
                  </a:cubicBezTo>
                  <a:cubicBezTo>
                    <a:pt x="4" y="16"/>
                    <a:pt x="5" y="17"/>
                    <a:pt x="5" y="17"/>
                  </a:cubicBezTo>
                  <a:cubicBezTo>
                    <a:pt x="5" y="18"/>
                    <a:pt x="5" y="18"/>
                    <a:pt x="6" y="19"/>
                  </a:cubicBezTo>
                  <a:cubicBezTo>
                    <a:pt x="6" y="20"/>
                    <a:pt x="7" y="20"/>
                    <a:pt x="8" y="21"/>
                  </a:cubicBezTo>
                  <a:cubicBezTo>
                    <a:pt x="8" y="21"/>
                    <a:pt x="9" y="22"/>
                    <a:pt x="9" y="22"/>
                  </a:cubicBezTo>
                  <a:cubicBezTo>
                    <a:pt x="9" y="22"/>
                    <a:pt x="10" y="23"/>
                    <a:pt x="10" y="23"/>
                  </a:cubicBezTo>
                  <a:cubicBezTo>
                    <a:pt x="11" y="24"/>
                    <a:pt x="11" y="24"/>
                    <a:pt x="11" y="25"/>
                  </a:cubicBezTo>
                  <a:cubicBezTo>
                    <a:pt x="11" y="25"/>
                    <a:pt x="11" y="25"/>
                    <a:pt x="12" y="25"/>
                  </a:cubicBezTo>
                  <a:cubicBezTo>
                    <a:pt x="12" y="26"/>
                    <a:pt x="12" y="27"/>
                    <a:pt x="13" y="27"/>
                  </a:cubicBezTo>
                  <a:cubicBezTo>
                    <a:pt x="13" y="28"/>
                    <a:pt x="14" y="28"/>
                    <a:pt x="14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9"/>
                    <a:pt x="15" y="29"/>
                  </a:cubicBezTo>
                  <a:cubicBezTo>
                    <a:pt x="16" y="29"/>
                    <a:pt x="16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0"/>
                    <a:pt x="21" y="29"/>
                    <a:pt x="21" y="27"/>
                  </a:cubicBezTo>
                  <a:cubicBezTo>
                    <a:pt x="21" y="25"/>
                    <a:pt x="20" y="24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19"/>
                    <a:pt x="17" y="17"/>
                    <a:pt x="15" y="17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5"/>
                    <a:pt x="13" y="13"/>
                  </a:cubicBezTo>
                  <a:cubicBezTo>
                    <a:pt x="12" y="11"/>
                    <a:pt x="12" y="10"/>
                    <a:pt x="11" y="9"/>
                  </a:cubicBezTo>
                  <a:cubicBezTo>
                    <a:pt x="11" y="8"/>
                    <a:pt x="10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5109" y="557"/>
              <a:ext cx="17" cy="19"/>
            </a:xfrm>
            <a:custGeom>
              <a:avLst/>
              <a:gdLst>
                <a:gd name="T0" fmla="*/ 2 w 7"/>
                <a:gd name="T1" fmla="*/ 5 h 8"/>
                <a:gd name="T2" fmla="*/ 2 w 7"/>
                <a:gd name="T3" fmla="*/ 6 h 8"/>
                <a:gd name="T4" fmla="*/ 5 w 7"/>
                <a:gd name="T5" fmla="*/ 8 h 8"/>
                <a:gd name="T6" fmla="*/ 6 w 7"/>
                <a:gd name="T7" fmla="*/ 8 h 8"/>
                <a:gd name="T8" fmla="*/ 6 w 7"/>
                <a:gd name="T9" fmla="*/ 7 h 8"/>
                <a:gd name="T10" fmla="*/ 7 w 7"/>
                <a:gd name="T11" fmla="*/ 7 h 8"/>
                <a:gd name="T12" fmla="*/ 6 w 7"/>
                <a:gd name="T13" fmla="*/ 5 h 8"/>
                <a:gd name="T14" fmla="*/ 5 w 7"/>
                <a:gd name="T15" fmla="*/ 5 h 8"/>
                <a:gd name="T16" fmla="*/ 6 w 7"/>
                <a:gd name="T17" fmla="*/ 4 h 8"/>
                <a:gd name="T18" fmla="*/ 6 w 7"/>
                <a:gd name="T19" fmla="*/ 2 h 8"/>
                <a:gd name="T20" fmla="*/ 4 w 7"/>
                <a:gd name="T21" fmla="*/ 1 h 8"/>
                <a:gd name="T22" fmla="*/ 2 w 7"/>
                <a:gd name="T23" fmla="*/ 0 h 8"/>
                <a:gd name="T24" fmla="*/ 1 w 7"/>
                <a:gd name="T25" fmla="*/ 0 h 8"/>
                <a:gd name="T26" fmla="*/ 1 w 7"/>
                <a:gd name="T27" fmla="*/ 0 h 8"/>
                <a:gd name="T28" fmla="*/ 0 w 7"/>
                <a:gd name="T29" fmla="*/ 1 h 8"/>
                <a:gd name="T30" fmla="*/ 2 w 7"/>
                <a:gd name="T31" fmla="*/ 5 h 8"/>
                <a:gd name="T32" fmla="*/ 2 w 7"/>
                <a:gd name="T3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8">
                  <a:moveTo>
                    <a:pt x="2" y="5"/>
                  </a:moveTo>
                  <a:cubicBezTo>
                    <a:pt x="2" y="5"/>
                    <a:pt x="2" y="5"/>
                    <a:pt x="2" y="6"/>
                  </a:cubicBezTo>
                  <a:cubicBezTo>
                    <a:pt x="3" y="7"/>
                    <a:pt x="4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1" name="Freeform 60"/>
            <p:cNvSpPr>
              <a:spLocks noEditPoints="1"/>
            </p:cNvSpPr>
            <p:nvPr/>
          </p:nvSpPr>
          <p:spPr bwMode="auto">
            <a:xfrm>
              <a:off x="5121" y="536"/>
              <a:ext cx="177" cy="52"/>
            </a:xfrm>
            <a:custGeom>
              <a:avLst/>
              <a:gdLst>
                <a:gd name="T0" fmla="*/ 4 w 75"/>
                <a:gd name="T1" fmla="*/ 12 h 22"/>
                <a:gd name="T2" fmla="*/ 5 w 75"/>
                <a:gd name="T3" fmla="*/ 14 h 22"/>
                <a:gd name="T4" fmla="*/ 8 w 75"/>
                <a:gd name="T5" fmla="*/ 18 h 22"/>
                <a:gd name="T6" fmla="*/ 13 w 75"/>
                <a:gd name="T7" fmla="*/ 19 h 22"/>
                <a:gd name="T8" fmla="*/ 17 w 75"/>
                <a:gd name="T9" fmla="*/ 22 h 22"/>
                <a:gd name="T10" fmla="*/ 21 w 75"/>
                <a:gd name="T11" fmla="*/ 22 h 22"/>
                <a:gd name="T12" fmla="*/ 25 w 75"/>
                <a:gd name="T13" fmla="*/ 20 h 22"/>
                <a:gd name="T14" fmla="*/ 29 w 75"/>
                <a:gd name="T15" fmla="*/ 19 h 22"/>
                <a:gd name="T16" fmla="*/ 32 w 75"/>
                <a:gd name="T17" fmla="*/ 17 h 22"/>
                <a:gd name="T18" fmla="*/ 36 w 75"/>
                <a:gd name="T19" fmla="*/ 17 h 22"/>
                <a:gd name="T20" fmla="*/ 39 w 75"/>
                <a:gd name="T21" fmla="*/ 16 h 22"/>
                <a:gd name="T22" fmla="*/ 41 w 75"/>
                <a:gd name="T23" fmla="*/ 13 h 22"/>
                <a:gd name="T24" fmla="*/ 44 w 75"/>
                <a:gd name="T25" fmla="*/ 8 h 22"/>
                <a:gd name="T26" fmla="*/ 46 w 75"/>
                <a:gd name="T27" fmla="*/ 7 h 22"/>
                <a:gd name="T28" fmla="*/ 50 w 75"/>
                <a:gd name="T29" fmla="*/ 11 h 22"/>
                <a:gd name="T30" fmla="*/ 57 w 75"/>
                <a:gd name="T31" fmla="*/ 12 h 22"/>
                <a:gd name="T32" fmla="*/ 58 w 75"/>
                <a:gd name="T33" fmla="*/ 12 h 22"/>
                <a:gd name="T34" fmla="*/ 62 w 75"/>
                <a:gd name="T35" fmla="*/ 13 h 22"/>
                <a:gd name="T36" fmla="*/ 64 w 75"/>
                <a:gd name="T37" fmla="*/ 13 h 22"/>
                <a:gd name="T38" fmla="*/ 69 w 75"/>
                <a:gd name="T39" fmla="*/ 10 h 22"/>
                <a:gd name="T40" fmla="*/ 71 w 75"/>
                <a:gd name="T41" fmla="*/ 12 h 22"/>
                <a:gd name="T42" fmla="*/ 74 w 75"/>
                <a:gd name="T43" fmla="*/ 6 h 22"/>
                <a:gd name="T44" fmla="*/ 73 w 75"/>
                <a:gd name="T45" fmla="*/ 4 h 22"/>
                <a:gd name="T46" fmla="*/ 70 w 75"/>
                <a:gd name="T47" fmla="*/ 4 h 22"/>
                <a:gd name="T48" fmla="*/ 67 w 75"/>
                <a:gd name="T49" fmla="*/ 3 h 22"/>
                <a:gd name="T50" fmla="*/ 65 w 75"/>
                <a:gd name="T51" fmla="*/ 3 h 22"/>
                <a:gd name="T52" fmla="*/ 60 w 75"/>
                <a:gd name="T53" fmla="*/ 4 h 22"/>
                <a:gd name="T54" fmla="*/ 55 w 75"/>
                <a:gd name="T55" fmla="*/ 4 h 22"/>
                <a:gd name="T56" fmla="*/ 55 w 75"/>
                <a:gd name="T57" fmla="*/ 4 h 22"/>
                <a:gd name="T58" fmla="*/ 51 w 75"/>
                <a:gd name="T59" fmla="*/ 6 h 22"/>
                <a:gd name="T60" fmla="*/ 48 w 75"/>
                <a:gd name="T61" fmla="*/ 3 h 22"/>
                <a:gd name="T62" fmla="*/ 45 w 75"/>
                <a:gd name="T63" fmla="*/ 5 h 22"/>
                <a:gd name="T64" fmla="*/ 42 w 75"/>
                <a:gd name="T65" fmla="*/ 5 h 22"/>
                <a:gd name="T66" fmla="*/ 39 w 75"/>
                <a:gd name="T67" fmla="*/ 3 h 22"/>
                <a:gd name="T68" fmla="*/ 35 w 75"/>
                <a:gd name="T69" fmla="*/ 3 h 22"/>
                <a:gd name="T70" fmla="*/ 29 w 75"/>
                <a:gd name="T71" fmla="*/ 3 h 22"/>
                <a:gd name="T72" fmla="*/ 22 w 75"/>
                <a:gd name="T73" fmla="*/ 2 h 22"/>
                <a:gd name="T74" fmla="*/ 17 w 75"/>
                <a:gd name="T75" fmla="*/ 0 h 22"/>
                <a:gd name="T76" fmla="*/ 16 w 75"/>
                <a:gd name="T77" fmla="*/ 3 h 22"/>
                <a:gd name="T78" fmla="*/ 15 w 75"/>
                <a:gd name="T79" fmla="*/ 6 h 22"/>
                <a:gd name="T80" fmla="*/ 11 w 75"/>
                <a:gd name="T81" fmla="*/ 4 h 22"/>
                <a:gd name="T82" fmla="*/ 3 w 75"/>
                <a:gd name="T83" fmla="*/ 4 h 22"/>
                <a:gd name="T84" fmla="*/ 2 w 75"/>
                <a:gd name="T85" fmla="*/ 5 h 22"/>
                <a:gd name="T86" fmla="*/ 35 w 75"/>
                <a:gd name="T87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22">
                  <a:moveTo>
                    <a:pt x="3" y="9"/>
                  </a:moveTo>
                  <a:cubicBezTo>
                    <a:pt x="3" y="10"/>
                    <a:pt x="3" y="10"/>
                    <a:pt x="3" y="11"/>
                  </a:cubicBezTo>
                  <a:cubicBezTo>
                    <a:pt x="3" y="11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5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5"/>
                    <a:pt x="5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9"/>
                    <a:pt x="11" y="19"/>
                    <a:pt x="12" y="19"/>
                  </a:cubicBezTo>
                  <a:cubicBezTo>
                    <a:pt x="12" y="19"/>
                    <a:pt x="13" y="19"/>
                    <a:pt x="13" y="19"/>
                  </a:cubicBezTo>
                  <a:cubicBezTo>
                    <a:pt x="14" y="20"/>
                    <a:pt x="14" y="20"/>
                    <a:pt x="15" y="20"/>
                  </a:cubicBezTo>
                  <a:cubicBezTo>
                    <a:pt x="15" y="20"/>
                    <a:pt x="15" y="20"/>
                    <a:pt x="15" y="21"/>
                  </a:cubicBezTo>
                  <a:cubicBezTo>
                    <a:pt x="15" y="21"/>
                    <a:pt x="16" y="22"/>
                    <a:pt x="17" y="22"/>
                  </a:cubicBezTo>
                  <a:cubicBezTo>
                    <a:pt x="17" y="22"/>
                    <a:pt x="18" y="22"/>
                    <a:pt x="19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1" y="22"/>
                  </a:cubicBezTo>
                  <a:cubicBezTo>
                    <a:pt x="21" y="22"/>
                    <a:pt x="22" y="22"/>
                    <a:pt x="23" y="22"/>
                  </a:cubicBezTo>
                  <a:cubicBezTo>
                    <a:pt x="24" y="22"/>
                    <a:pt x="25" y="22"/>
                    <a:pt x="25" y="21"/>
                  </a:cubicBezTo>
                  <a:cubicBezTo>
                    <a:pt x="25" y="21"/>
                    <a:pt x="25" y="21"/>
                    <a:pt x="25" y="20"/>
                  </a:cubicBezTo>
                  <a:cubicBezTo>
                    <a:pt x="26" y="21"/>
                    <a:pt x="27" y="20"/>
                    <a:pt x="27" y="20"/>
                  </a:cubicBezTo>
                  <a:cubicBezTo>
                    <a:pt x="28" y="20"/>
                    <a:pt x="28" y="19"/>
                    <a:pt x="28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8"/>
                    <a:pt x="30" y="18"/>
                    <a:pt x="30" y="18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3" y="17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4" y="18"/>
                    <a:pt x="35" y="18"/>
                    <a:pt x="36" y="17"/>
                  </a:cubicBezTo>
                  <a:cubicBezTo>
                    <a:pt x="36" y="18"/>
                    <a:pt x="37" y="18"/>
                    <a:pt x="37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9" y="18"/>
                    <a:pt x="39" y="17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1" y="16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2" y="13"/>
                    <a:pt x="43" y="13"/>
                    <a:pt x="44" y="12"/>
                  </a:cubicBezTo>
                  <a:cubicBezTo>
                    <a:pt x="45" y="11"/>
                    <a:pt x="44" y="9"/>
                    <a:pt x="44" y="9"/>
                  </a:cubicBezTo>
                  <a:cubicBezTo>
                    <a:pt x="44" y="9"/>
                    <a:pt x="43" y="8"/>
                    <a:pt x="44" y="8"/>
                  </a:cubicBezTo>
                  <a:cubicBezTo>
                    <a:pt x="44" y="8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7"/>
                    <a:pt x="46" y="7"/>
                    <a:pt x="46" y="7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9"/>
                    <a:pt x="46" y="10"/>
                    <a:pt x="47" y="10"/>
                  </a:cubicBezTo>
                  <a:cubicBezTo>
                    <a:pt x="48" y="11"/>
                    <a:pt x="50" y="11"/>
                    <a:pt x="50" y="11"/>
                  </a:cubicBezTo>
                  <a:cubicBezTo>
                    <a:pt x="51" y="11"/>
                    <a:pt x="52" y="11"/>
                    <a:pt x="52" y="12"/>
                  </a:cubicBezTo>
                  <a:cubicBezTo>
                    <a:pt x="53" y="12"/>
                    <a:pt x="53" y="12"/>
                    <a:pt x="54" y="12"/>
                  </a:cubicBezTo>
                  <a:cubicBezTo>
                    <a:pt x="55" y="12"/>
                    <a:pt x="56" y="12"/>
                    <a:pt x="57" y="12"/>
                  </a:cubicBezTo>
                  <a:cubicBezTo>
                    <a:pt x="57" y="12"/>
                    <a:pt x="57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2"/>
                    <a:pt x="59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1" y="13"/>
                    <a:pt x="61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3" y="13"/>
                    <a:pt x="63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5" y="13"/>
                    <a:pt x="66" y="13"/>
                    <a:pt x="67" y="12"/>
                  </a:cubicBezTo>
                  <a:cubicBezTo>
                    <a:pt x="68" y="12"/>
                    <a:pt x="68" y="12"/>
                    <a:pt x="69" y="11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70" y="12"/>
                  </a:cubicBezTo>
                  <a:cubicBezTo>
                    <a:pt x="70" y="12"/>
                    <a:pt x="70" y="12"/>
                    <a:pt x="71" y="12"/>
                  </a:cubicBezTo>
                  <a:cubicBezTo>
                    <a:pt x="72" y="12"/>
                    <a:pt x="73" y="11"/>
                    <a:pt x="73" y="10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8"/>
                    <a:pt x="75" y="7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5"/>
                  </a:cubicBezTo>
                  <a:cubicBezTo>
                    <a:pt x="74" y="5"/>
                    <a:pt x="74" y="5"/>
                    <a:pt x="73" y="4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3"/>
                    <a:pt x="71" y="3"/>
                    <a:pt x="70" y="4"/>
                  </a:cubicBezTo>
                  <a:cubicBezTo>
                    <a:pt x="70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8" y="3"/>
                    <a:pt x="68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6" y="3"/>
                    <a:pt x="66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4" y="3"/>
                    <a:pt x="64" y="3"/>
                  </a:cubicBezTo>
                  <a:cubicBezTo>
                    <a:pt x="62" y="3"/>
                    <a:pt x="61" y="3"/>
                    <a:pt x="60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59" y="3"/>
                    <a:pt x="58" y="3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2" y="4"/>
                    <a:pt x="51" y="4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0" y="6"/>
                    <a:pt x="50" y="6"/>
                  </a:cubicBezTo>
                  <a:cubicBezTo>
                    <a:pt x="50" y="6"/>
                    <a:pt x="50" y="6"/>
                    <a:pt x="49" y="5"/>
                  </a:cubicBezTo>
                  <a:cubicBezTo>
                    <a:pt x="49" y="4"/>
                    <a:pt x="49" y="4"/>
                    <a:pt x="48" y="3"/>
                  </a:cubicBezTo>
                  <a:cubicBezTo>
                    <a:pt x="48" y="3"/>
                    <a:pt x="47" y="3"/>
                    <a:pt x="46" y="3"/>
                  </a:cubicBezTo>
                  <a:cubicBezTo>
                    <a:pt x="46" y="3"/>
                    <a:pt x="45" y="3"/>
                    <a:pt x="45" y="3"/>
                  </a:cubicBezTo>
                  <a:cubicBezTo>
                    <a:pt x="45" y="4"/>
                    <a:pt x="45" y="4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4" y="4"/>
                    <a:pt x="43" y="4"/>
                  </a:cubicBezTo>
                  <a:cubicBezTo>
                    <a:pt x="43" y="4"/>
                    <a:pt x="42" y="4"/>
                    <a:pt x="42" y="5"/>
                  </a:cubicBezTo>
                  <a:cubicBezTo>
                    <a:pt x="42" y="5"/>
                    <a:pt x="41" y="4"/>
                    <a:pt x="41" y="4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40" y="4"/>
                    <a:pt x="40" y="4"/>
                    <a:pt x="39" y="3"/>
                  </a:cubicBezTo>
                  <a:cubicBezTo>
                    <a:pt x="39" y="3"/>
                    <a:pt x="39" y="3"/>
                    <a:pt x="38" y="3"/>
                  </a:cubicBezTo>
                  <a:cubicBezTo>
                    <a:pt x="37" y="3"/>
                    <a:pt x="37" y="3"/>
                    <a:pt x="36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3" y="3"/>
                    <a:pt x="33" y="3"/>
                    <a:pt x="32" y="3"/>
                  </a:cubicBezTo>
                  <a:cubicBezTo>
                    <a:pt x="31" y="3"/>
                    <a:pt x="30" y="3"/>
                    <a:pt x="29" y="3"/>
                  </a:cubicBezTo>
                  <a:cubicBezTo>
                    <a:pt x="28" y="4"/>
                    <a:pt x="27" y="4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3"/>
                    <a:pt x="23" y="2"/>
                    <a:pt x="22" y="2"/>
                  </a:cubicBezTo>
                  <a:cubicBezTo>
                    <a:pt x="22" y="2"/>
                    <a:pt x="22" y="2"/>
                    <a:pt x="21" y="1"/>
                  </a:cubicBezTo>
                  <a:cubicBezTo>
                    <a:pt x="21" y="1"/>
                    <a:pt x="20" y="0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5"/>
                    <a:pt x="17" y="6"/>
                  </a:cubicBezTo>
                  <a:cubicBezTo>
                    <a:pt x="17" y="6"/>
                    <a:pt x="16" y="6"/>
                    <a:pt x="16" y="6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5" y="5"/>
                    <a:pt x="14" y="4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6" y="2"/>
                    <a:pt x="4" y="3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0" y="8"/>
                    <a:pt x="1" y="8"/>
                    <a:pt x="3" y="9"/>
                  </a:cubicBezTo>
                  <a:close/>
                  <a:moveTo>
                    <a:pt x="35" y="16"/>
                  </a:move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2" name="Freeform 61"/>
            <p:cNvSpPr>
              <a:spLocks noEditPoints="1"/>
            </p:cNvSpPr>
            <p:nvPr/>
          </p:nvSpPr>
          <p:spPr bwMode="auto">
            <a:xfrm>
              <a:off x="4144" y="491"/>
              <a:ext cx="67" cy="38"/>
            </a:xfrm>
            <a:custGeom>
              <a:avLst/>
              <a:gdLst>
                <a:gd name="T0" fmla="*/ 2 w 28"/>
                <a:gd name="T1" fmla="*/ 9 h 16"/>
                <a:gd name="T2" fmla="*/ 4 w 28"/>
                <a:gd name="T3" fmla="*/ 10 h 16"/>
                <a:gd name="T4" fmla="*/ 6 w 28"/>
                <a:gd name="T5" fmla="*/ 11 h 16"/>
                <a:gd name="T6" fmla="*/ 7 w 28"/>
                <a:gd name="T7" fmla="*/ 11 h 16"/>
                <a:gd name="T8" fmla="*/ 9 w 28"/>
                <a:gd name="T9" fmla="*/ 14 h 16"/>
                <a:gd name="T10" fmla="*/ 10 w 28"/>
                <a:gd name="T11" fmla="*/ 14 h 16"/>
                <a:gd name="T12" fmla="*/ 11 w 28"/>
                <a:gd name="T13" fmla="*/ 14 h 16"/>
                <a:gd name="T14" fmla="*/ 14 w 28"/>
                <a:gd name="T15" fmla="*/ 16 h 16"/>
                <a:gd name="T16" fmla="*/ 16 w 28"/>
                <a:gd name="T17" fmla="*/ 15 h 16"/>
                <a:gd name="T18" fmla="*/ 17 w 28"/>
                <a:gd name="T19" fmla="*/ 14 h 16"/>
                <a:gd name="T20" fmla="*/ 18 w 28"/>
                <a:gd name="T21" fmla="*/ 11 h 16"/>
                <a:gd name="T22" fmla="*/ 20 w 28"/>
                <a:gd name="T23" fmla="*/ 11 h 16"/>
                <a:gd name="T24" fmla="*/ 22 w 28"/>
                <a:gd name="T25" fmla="*/ 10 h 16"/>
                <a:gd name="T26" fmla="*/ 23 w 28"/>
                <a:gd name="T27" fmla="*/ 10 h 16"/>
                <a:gd name="T28" fmla="*/ 25 w 28"/>
                <a:gd name="T29" fmla="*/ 8 h 16"/>
                <a:gd name="T30" fmla="*/ 27 w 28"/>
                <a:gd name="T31" fmla="*/ 7 h 16"/>
                <a:gd name="T32" fmla="*/ 27 w 28"/>
                <a:gd name="T33" fmla="*/ 3 h 16"/>
                <a:gd name="T34" fmla="*/ 22 w 28"/>
                <a:gd name="T35" fmla="*/ 2 h 16"/>
                <a:gd name="T36" fmla="*/ 21 w 28"/>
                <a:gd name="T37" fmla="*/ 2 h 16"/>
                <a:gd name="T38" fmla="*/ 19 w 28"/>
                <a:gd name="T39" fmla="*/ 2 h 16"/>
                <a:gd name="T40" fmla="*/ 17 w 28"/>
                <a:gd name="T41" fmla="*/ 4 h 16"/>
                <a:gd name="T42" fmla="*/ 15 w 28"/>
                <a:gd name="T43" fmla="*/ 6 h 16"/>
                <a:gd name="T44" fmla="*/ 13 w 28"/>
                <a:gd name="T45" fmla="*/ 3 h 16"/>
                <a:gd name="T46" fmla="*/ 12 w 28"/>
                <a:gd name="T47" fmla="*/ 2 h 16"/>
                <a:gd name="T48" fmla="*/ 10 w 28"/>
                <a:gd name="T49" fmla="*/ 2 h 16"/>
                <a:gd name="T50" fmla="*/ 9 w 28"/>
                <a:gd name="T51" fmla="*/ 3 h 16"/>
                <a:gd name="T52" fmla="*/ 8 w 28"/>
                <a:gd name="T53" fmla="*/ 4 h 16"/>
                <a:gd name="T54" fmla="*/ 7 w 28"/>
                <a:gd name="T55" fmla="*/ 5 h 16"/>
                <a:gd name="T56" fmla="*/ 6 w 28"/>
                <a:gd name="T57" fmla="*/ 5 h 16"/>
                <a:gd name="T58" fmla="*/ 5 w 28"/>
                <a:gd name="T59" fmla="*/ 5 h 16"/>
                <a:gd name="T60" fmla="*/ 1 w 28"/>
                <a:gd name="T61" fmla="*/ 5 h 16"/>
                <a:gd name="T62" fmla="*/ 0 w 28"/>
                <a:gd name="T63" fmla="*/ 8 h 16"/>
                <a:gd name="T64" fmla="*/ 11 w 28"/>
                <a:gd name="T65" fmla="*/ 10 h 16"/>
                <a:gd name="T66" fmla="*/ 11 w 28"/>
                <a:gd name="T67" fmla="*/ 10 h 16"/>
                <a:gd name="T68" fmla="*/ 12 w 28"/>
                <a:gd name="T69" fmla="*/ 6 h 16"/>
                <a:gd name="T70" fmla="*/ 12 w 28"/>
                <a:gd name="T71" fmla="*/ 9 h 16"/>
                <a:gd name="T72" fmla="*/ 11 w 28"/>
                <a:gd name="T73" fmla="*/ 10 h 16"/>
                <a:gd name="T74" fmla="*/ 11 w 28"/>
                <a:gd name="T75" fmla="*/ 10 h 16"/>
                <a:gd name="T76" fmla="*/ 9 w 28"/>
                <a:gd name="T77" fmla="*/ 9 h 16"/>
                <a:gd name="T78" fmla="*/ 9 w 28"/>
                <a:gd name="T79" fmla="*/ 9 h 16"/>
                <a:gd name="T80" fmla="*/ 11 w 28"/>
                <a:gd name="T81" fmla="*/ 8 h 16"/>
                <a:gd name="T82" fmla="*/ 12 w 28"/>
                <a:gd name="T83" fmla="*/ 7 h 16"/>
                <a:gd name="T84" fmla="*/ 3 w 28"/>
                <a:gd name="T8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" h="16">
                  <a:moveTo>
                    <a:pt x="1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2"/>
                    <a:pt x="7" y="13"/>
                    <a:pt x="8" y="13"/>
                  </a:cubicBezTo>
                  <a:cubicBezTo>
                    <a:pt x="8" y="13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5"/>
                    <a:pt x="11" y="15"/>
                    <a:pt x="12" y="15"/>
                  </a:cubicBezTo>
                  <a:cubicBezTo>
                    <a:pt x="12" y="15"/>
                    <a:pt x="13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5" y="15"/>
                    <a:pt x="15" y="15"/>
                  </a:cubicBezTo>
                  <a:cubicBezTo>
                    <a:pt x="15" y="15"/>
                    <a:pt x="15" y="15"/>
                    <a:pt x="16" y="15"/>
                  </a:cubicBezTo>
                  <a:cubicBezTo>
                    <a:pt x="16" y="15"/>
                    <a:pt x="16" y="14"/>
                    <a:pt x="16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12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2"/>
                    <a:pt x="20" y="12"/>
                    <a:pt x="20" y="11"/>
                  </a:cubicBezTo>
                  <a:cubicBezTo>
                    <a:pt x="21" y="11"/>
                    <a:pt x="21" y="11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9"/>
                    <a:pt x="24" y="9"/>
                    <a:pt x="25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7" y="7"/>
                  </a:cubicBezTo>
                  <a:cubicBezTo>
                    <a:pt x="27" y="7"/>
                    <a:pt x="27" y="6"/>
                    <a:pt x="27" y="6"/>
                  </a:cubicBezTo>
                  <a:cubicBezTo>
                    <a:pt x="28" y="5"/>
                    <a:pt x="28" y="5"/>
                    <a:pt x="28" y="4"/>
                  </a:cubicBezTo>
                  <a:cubicBezTo>
                    <a:pt x="28" y="4"/>
                    <a:pt x="27" y="4"/>
                    <a:pt x="27" y="3"/>
                  </a:cubicBezTo>
                  <a:cubicBezTo>
                    <a:pt x="26" y="3"/>
                    <a:pt x="25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2"/>
                    <a:pt x="23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9" y="2"/>
                    <a:pt x="19" y="2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4"/>
                    <a:pt x="17" y="4"/>
                  </a:cubicBezTo>
                  <a:cubicBezTo>
                    <a:pt x="16" y="4"/>
                    <a:pt x="16" y="5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4" y="4"/>
                    <a:pt x="14" y="4"/>
                  </a:cubicBezTo>
                  <a:cubicBezTo>
                    <a:pt x="14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8"/>
                    <a:pt x="1" y="9"/>
                  </a:cubicBezTo>
                  <a:close/>
                  <a:moveTo>
                    <a:pt x="11" y="10"/>
                  </a:move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lose/>
                  <a:moveTo>
                    <a:pt x="11" y="10"/>
                  </a:move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lose/>
                  <a:moveTo>
                    <a:pt x="12" y="6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9"/>
                    <a:pt x="11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6"/>
                    <a:pt x="12" y="6"/>
                    <a:pt x="12" y="6"/>
                  </a:cubicBezTo>
                  <a:close/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3" name="Freeform 62"/>
            <p:cNvSpPr>
              <a:spLocks/>
            </p:cNvSpPr>
            <p:nvPr/>
          </p:nvSpPr>
          <p:spPr bwMode="auto">
            <a:xfrm>
              <a:off x="4192" y="517"/>
              <a:ext cx="21" cy="17"/>
            </a:xfrm>
            <a:custGeom>
              <a:avLst/>
              <a:gdLst>
                <a:gd name="T0" fmla="*/ 5 w 9"/>
                <a:gd name="T1" fmla="*/ 1 h 7"/>
                <a:gd name="T2" fmla="*/ 3 w 9"/>
                <a:gd name="T3" fmla="*/ 1 h 7"/>
                <a:gd name="T4" fmla="*/ 2 w 9"/>
                <a:gd name="T5" fmla="*/ 2 h 7"/>
                <a:gd name="T6" fmla="*/ 2 w 9"/>
                <a:gd name="T7" fmla="*/ 2 h 7"/>
                <a:gd name="T8" fmla="*/ 2 w 9"/>
                <a:gd name="T9" fmla="*/ 3 h 7"/>
                <a:gd name="T10" fmla="*/ 1 w 9"/>
                <a:gd name="T11" fmla="*/ 4 h 7"/>
                <a:gd name="T12" fmla="*/ 0 w 9"/>
                <a:gd name="T13" fmla="*/ 5 h 7"/>
                <a:gd name="T14" fmla="*/ 1 w 9"/>
                <a:gd name="T15" fmla="*/ 7 h 7"/>
                <a:gd name="T16" fmla="*/ 2 w 9"/>
                <a:gd name="T17" fmla="*/ 7 h 7"/>
                <a:gd name="T18" fmla="*/ 4 w 9"/>
                <a:gd name="T19" fmla="*/ 7 h 7"/>
                <a:gd name="T20" fmla="*/ 4 w 9"/>
                <a:gd name="T21" fmla="*/ 7 h 7"/>
                <a:gd name="T22" fmla="*/ 4 w 9"/>
                <a:gd name="T23" fmla="*/ 7 h 7"/>
                <a:gd name="T24" fmla="*/ 5 w 9"/>
                <a:gd name="T25" fmla="*/ 7 h 7"/>
                <a:gd name="T26" fmla="*/ 6 w 9"/>
                <a:gd name="T27" fmla="*/ 7 h 7"/>
                <a:gd name="T28" fmla="*/ 7 w 9"/>
                <a:gd name="T29" fmla="*/ 7 h 7"/>
                <a:gd name="T30" fmla="*/ 9 w 9"/>
                <a:gd name="T31" fmla="*/ 5 h 7"/>
                <a:gd name="T32" fmla="*/ 8 w 9"/>
                <a:gd name="T33" fmla="*/ 3 h 7"/>
                <a:gd name="T34" fmla="*/ 7 w 9"/>
                <a:gd name="T35" fmla="*/ 2 h 7"/>
                <a:gd name="T36" fmla="*/ 7 w 9"/>
                <a:gd name="T37" fmla="*/ 2 h 7"/>
                <a:gd name="T38" fmla="*/ 6 w 9"/>
                <a:gd name="T39" fmla="*/ 1 h 7"/>
                <a:gd name="T40" fmla="*/ 6 w 9"/>
                <a:gd name="T41" fmla="*/ 1 h 7"/>
                <a:gd name="T42" fmla="*/ 5 w 9"/>
                <a:gd name="T43" fmla="*/ 2 h 7"/>
                <a:gd name="T44" fmla="*/ 5 w 9"/>
                <a:gd name="T45" fmla="*/ 2 h 7"/>
                <a:gd name="T46" fmla="*/ 5 w 9"/>
                <a:gd name="T4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7">
                  <a:moveTo>
                    <a:pt x="5" y="1"/>
                  </a:moveTo>
                  <a:cubicBezTo>
                    <a:pt x="5" y="0"/>
                    <a:pt x="3" y="1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9" y="4"/>
                    <a:pt x="9" y="4"/>
                    <a:pt x="8" y="3"/>
                  </a:cubicBezTo>
                  <a:cubicBezTo>
                    <a:pt x="8" y="3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4211" y="510"/>
              <a:ext cx="21" cy="17"/>
            </a:xfrm>
            <a:custGeom>
              <a:avLst/>
              <a:gdLst>
                <a:gd name="T0" fmla="*/ 1 w 9"/>
                <a:gd name="T1" fmla="*/ 6 h 7"/>
                <a:gd name="T2" fmla="*/ 2 w 9"/>
                <a:gd name="T3" fmla="*/ 7 h 7"/>
                <a:gd name="T4" fmla="*/ 3 w 9"/>
                <a:gd name="T5" fmla="*/ 7 h 7"/>
                <a:gd name="T6" fmla="*/ 4 w 9"/>
                <a:gd name="T7" fmla="*/ 7 h 7"/>
                <a:gd name="T8" fmla="*/ 4 w 9"/>
                <a:gd name="T9" fmla="*/ 7 h 7"/>
                <a:gd name="T10" fmla="*/ 4 w 9"/>
                <a:gd name="T11" fmla="*/ 7 h 7"/>
                <a:gd name="T12" fmla="*/ 5 w 9"/>
                <a:gd name="T13" fmla="*/ 7 h 7"/>
                <a:gd name="T14" fmla="*/ 5 w 9"/>
                <a:gd name="T15" fmla="*/ 6 h 7"/>
                <a:gd name="T16" fmla="*/ 5 w 9"/>
                <a:gd name="T17" fmla="*/ 6 h 7"/>
                <a:gd name="T18" fmla="*/ 5 w 9"/>
                <a:gd name="T19" fmla="*/ 6 h 7"/>
                <a:gd name="T20" fmla="*/ 6 w 9"/>
                <a:gd name="T21" fmla="*/ 6 h 7"/>
                <a:gd name="T22" fmla="*/ 6 w 9"/>
                <a:gd name="T23" fmla="*/ 6 h 7"/>
                <a:gd name="T24" fmla="*/ 7 w 9"/>
                <a:gd name="T25" fmla="*/ 6 h 7"/>
                <a:gd name="T26" fmla="*/ 8 w 9"/>
                <a:gd name="T27" fmla="*/ 6 h 7"/>
                <a:gd name="T28" fmla="*/ 8 w 9"/>
                <a:gd name="T29" fmla="*/ 5 h 7"/>
                <a:gd name="T30" fmla="*/ 9 w 9"/>
                <a:gd name="T31" fmla="*/ 3 h 7"/>
                <a:gd name="T32" fmla="*/ 8 w 9"/>
                <a:gd name="T33" fmla="*/ 1 h 7"/>
                <a:gd name="T34" fmla="*/ 7 w 9"/>
                <a:gd name="T35" fmla="*/ 1 h 7"/>
                <a:gd name="T36" fmla="*/ 7 w 9"/>
                <a:gd name="T37" fmla="*/ 1 h 7"/>
                <a:gd name="T38" fmla="*/ 7 w 9"/>
                <a:gd name="T39" fmla="*/ 0 h 7"/>
                <a:gd name="T40" fmla="*/ 5 w 9"/>
                <a:gd name="T41" fmla="*/ 0 h 7"/>
                <a:gd name="T42" fmla="*/ 4 w 9"/>
                <a:gd name="T43" fmla="*/ 0 h 7"/>
                <a:gd name="T44" fmla="*/ 3 w 9"/>
                <a:gd name="T45" fmla="*/ 1 h 7"/>
                <a:gd name="T46" fmla="*/ 2 w 9"/>
                <a:gd name="T47" fmla="*/ 2 h 7"/>
                <a:gd name="T48" fmla="*/ 2 w 9"/>
                <a:gd name="T49" fmla="*/ 2 h 7"/>
                <a:gd name="T50" fmla="*/ 1 w 9"/>
                <a:gd name="T51" fmla="*/ 2 h 7"/>
                <a:gd name="T52" fmla="*/ 0 w 9"/>
                <a:gd name="T53" fmla="*/ 3 h 7"/>
                <a:gd name="T54" fmla="*/ 0 w 9"/>
                <a:gd name="T55" fmla="*/ 5 h 7"/>
                <a:gd name="T56" fmla="*/ 1 w 9"/>
                <a:gd name="T57" fmla="*/ 6 h 7"/>
                <a:gd name="T58" fmla="*/ 6 w 9"/>
                <a:gd name="T59" fmla="*/ 2 h 7"/>
                <a:gd name="T60" fmla="*/ 6 w 9"/>
                <a:gd name="T61" fmla="*/ 2 h 7"/>
                <a:gd name="T62" fmla="*/ 6 w 9"/>
                <a:gd name="T6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" h="7">
                  <a:moveTo>
                    <a:pt x="1" y="6"/>
                  </a:moveTo>
                  <a:cubicBezTo>
                    <a:pt x="1" y="6"/>
                    <a:pt x="2" y="7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4"/>
                    <a:pt x="9" y="4"/>
                    <a:pt x="9" y="3"/>
                  </a:cubicBezTo>
                  <a:cubicBezTo>
                    <a:pt x="9" y="3"/>
                    <a:pt x="9" y="2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lose/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5" name="Freeform 64"/>
            <p:cNvSpPr>
              <a:spLocks noEditPoints="1"/>
            </p:cNvSpPr>
            <p:nvPr/>
          </p:nvSpPr>
          <p:spPr bwMode="auto">
            <a:xfrm>
              <a:off x="4227" y="475"/>
              <a:ext cx="107" cy="54"/>
            </a:xfrm>
            <a:custGeom>
              <a:avLst/>
              <a:gdLst>
                <a:gd name="T0" fmla="*/ 4 w 45"/>
                <a:gd name="T1" fmla="*/ 14 h 23"/>
                <a:gd name="T2" fmla="*/ 6 w 45"/>
                <a:gd name="T3" fmla="*/ 14 h 23"/>
                <a:gd name="T4" fmla="*/ 8 w 45"/>
                <a:gd name="T5" fmla="*/ 13 h 23"/>
                <a:gd name="T6" fmla="*/ 10 w 45"/>
                <a:gd name="T7" fmla="*/ 12 h 23"/>
                <a:gd name="T8" fmla="*/ 11 w 45"/>
                <a:gd name="T9" fmla="*/ 13 h 23"/>
                <a:gd name="T10" fmla="*/ 13 w 45"/>
                <a:gd name="T11" fmla="*/ 13 h 23"/>
                <a:gd name="T12" fmla="*/ 15 w 45"/>
                <a:gd name="T13" fmla="*/ 13 h 23"/>
                <a:gd name="T14" fmla="*/ 15 w 45"/>
                <a:gd name="T15" fmla="*/ 14 h 23"/>
                <a:gd name="T16" fmla="*/ 12 w 45"/>
                <a:gd name="T17" fmla="*/ 16 h 23"/>
                <a:gd name="T18" fmla="*/ 10 w 45"/>
                <a:gd name="T19" fmla="*/ 20 h 23"/>
                <a:gd name="T20" fmla="*/ 10 w 45"/>
                <a:gd name="T21" fmla="*/ 22 h 23"/>
                <a:gd name="T22" fmla="*/ 13 w 45"/>
                <a:gd name="T23" fmla="*/ 22 h 23"/>
                <a:gd name="T24" fmla="*/ 16 w 45"/>
                <a:gd name="T25" fmla="*/ 21 h 23"/>
                <a:gd name="T26" fmla="*/ 16 w 45"/>
                <a:gd name="T27" fmla="*/ 20 h 23"/>
                <a:gd name="T28" fmla="*/ 20 w 45"/>
                <a:gd name="T29" fmla="*/ 18 h 23"/>
                <a:gd name="T30" fmla="*/ 21 w 45"/>
                <a:gd name="T31" fmla="*/ 18 h 23"/>
                <a:gd name="T32" fmla="*/ 25 w 45"/>
                <a:gd name="T33" fmla="*/ 17 h 23"/>
                <a:gd name="T34" fmla="*/ 28 w 45"/>
                <a:gd name="T35" fmla="*/ 17 h 23"/>
                <a:gd name="T36" fmla="*/ 28 w 45"/>
                <a:gd name="T37" fmla="*/ 19 h 23"/>
                <a:gd name="T38" fmla="*/ 33 w 45"/>
                <a:gd name="T39" fmla="*/ 15 h 23"/>
                <a:gd name="T40" fmla="*/ 41 w 45"/>
                <a:gd name="T41" fmla="*/ 13 h 23"/>
                <a:gd name="T42" fmla="*/ 44 w 45"/>
                <a:gd name="T43" fmla="*/ 7 h 23"/>
                <a:gd name="T44" fmla="*/ 41 w 45"/>
                <a:gd name="T45" fmla="*/ 4 h 23"/>
                <a:gd name="T46" fmla="*/ 37 w 45"/>
                <a:gd name="T47" fmla="*/ 7 h 23"/>
                <a:gd name="T48" fmla="*/ 35 w 45"/>
                <a:gd name="T49" fmla="*/ 9 h 23"/>
                <a:gd name="T50" fmla="*/ 32 w 45"/>
                <a:gd name="T51" fmla="*/ 11 h 23"/>
                <a:gd name="T52" fmla="*/ 30 w 45"/>
                <a:gd name="T53" fmla="*/ 7 h 23"/>
                <a:gd name="T54" fmla="*/ 24 w 45"/>
                <a:gd name="T55" fmla="*/ 8 h 23"/>
                <a:gd name="T56" fmla="*/ 21 w 45"/>
                <a:gd name="T57" fmla="*/ 11 h 23"/>
                <a:gd name="T58" fmla="*/ 21 w 45"/>
                <a:gd name="T59" fmla="*/ 14 h 23"/>
                <a:gd name="T60" fmla="*/ 17 w 45"/>
                <a:gd name="T61" fmla="*/ 14 h 23"/>
                <a:gd name="T62" fmla="*/ 16 w 45"/>
                <a:gd name="T63" fmla="*/ 12 h 23"/>
                <a:gd name="T64" fmla="*/ 14 w 45"/>
                <a:gd name="T65" fmla="*/ 9 h 23"/>
                <a:gd name="T66" fmla="*/ 11 w 45"/>
                <a:gd name="T67" fmla="*/ 9 h 23"/>
                <a:gd name="T68" fmla="*/ 11 w 45"/>
                <a:gd name="T69" fmla="*/ 8 h 23"/>
                <a:gd name="T70" fmla="*/ 13 w 45"/>
                <a:gd name="T71" fmla="*/ 7 h 23"/>
                <a:gd name="T72" fmla="*/ 15 w 45"/>
                <a:gd name="T73" fmla="*/ 6 h 23"/>
                <a:gd name="T74" fmla="*/ 17 w 45"/>
                <a:gd name="T75" fmla="*/ 5 h 23"/>
                <a:gd name="T76" fmla="*/ 16 w 45"/>
                <a:gd name="T77" fmla="*/ 2 h 23"/>
                <a:gd name="T78" fmla="*/ 15 w 45"/>
                <a:gd name="T79" fmla="*/ 1 h 23"/>
                <a:gd name="T80" fmla="*/ 12 w 45"/>
                <a:gd name="T81" fmla="*/ 0 h 23"/>
                <a:gd name="T82" fmla="*/ 9 w 45"/>
                <a:gd name="T83" fmla="*/ 3 h 23"/>
                <a:gd name="T84" fmla="*/ 9 w 45"/>
                <a:gd name="T85" fmla="*/ 3 h 23"/>
                <a:gd name="T86" fmla="*/ 7 w 45"/>
                <a:gd name="T87" fmla="*/ 4 h 23"/>
                <a:gd name="T88" fmla="*/ 6 w 45"/>
                <a:gd name="T89" fmla="*/ 4 h 23"/>
                <a:gd name="T90" fmla="*/ 5 w 45"/>
                <a:gd name="T91" fmla="*/ 6 h 23"/>
                <a:gd name="T92" fmla="*/ 3 w 45"/>
                <a:gd name="T93" fmla="*/ 5 h 23"/>
                <a:gd name="T94" fmla="*/ 2 w 45"/>
                <a:gd name="T95" fmla="*/ 9 h 23"/>
                <a:gd name="T96" fmla="*/ 0 w 45"/>
                <a:gd name="T97" fmla="*/ 11 h 23"/>
                <a:gd name="T98" fmla="*/ 3 w 45"/>
                <a:gd name="T99" fmla="*/ 9 h 23"/>
                <a:gd name="T100" fmla="*/ 3 w 45"/>
                <a:gd name="T10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5" h="23">
                  <a:moveTo>
                    <a:pt x="2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4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3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9" y="13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4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2"/>
                    <a:pt x="15" y="12"/>
                    <a:pt x="16" y="12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4"/>
                    <a:pt x="14" y="14"/>
                    <a:pt x="13" y="15"/>
                  </a:cubicBezTo>
                  <a:cubicBezTo>
                    <a:pt x="13" y="15"/>
                    <a:pt x="13" y="16"/>
                    <a:pt x="13" y="16"/>
                  </a:cubicBezTo>
                  <a:cubicBezTo>
                    <a:pt x="13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0" y="17"/>
                    <a:pt x="10" y="17"/>
                  </a:cubicBezTo>
                  <a:cubicBezTo>
                    <a:pt x="9" y="18"/>
                    <a:pt x="9" y="19"/>
                    <a:pt x="1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2" y="23"/>
                    <a:pt x="12" y="23"/>
                    <a:pt x="13" y="23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6" y="22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1"/>
                    <a:pt x="17" y="21"/>
                    <a:pt x="18" y="21"/>
                  </a:cubicBezTo>
                  <a:cubicBezTo>
                    <a:pt x="18" y="21"/>
                    <a:pt x="19" y="21"/>
                    <a:pt x="19" y="20"/>
                  </a:cubicBezTo>
                  <a:cubicBezTo>
                    <a:pt x="20" y="20"/>
                    <a:pt x="20" y="19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1" y="18"/>
                    <a:pt x="21" y="18"/>
                  </a:cubicBezTo>
                  <a:cubicBezTo>
                    <a:pt x="22" y="18"/>
                    <a:pt x="22" y="18"/>
                    <a:pt x="23" y="17"/>
                  </a:cubicBezTo>
                  <a:cubicBezTo>
                    <a:pt x="23" y="17"/>
                    <a:pt x="23" y="16"/>
                    <a:pt x="23" y="16"/>
                  </a:cubicBezTo>
                  <a:cubicBezTo>
                    <a:pt x="23" y="17"/>
                    <a:pt x="24" y="17"/>
                    <a:pt x="25" y="17"/>
                  </a:cubicBezTo>
                  <a:cubicBezTo>
                    <a:pt x="26" y="17"/>
                    <a:pt x="26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7"/>
                    <a:pt x="27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7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2" y="17"/>
                    <a:pt x="32" y="16"/>
                    <a:pt x="33" y="16"/>
                  </a:cubicBezTo>
                  <a:cubicBezTo>
                    <a:pt x="33" y="16"/>
                    <a:pt x="33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5"/>
                    <a:pt x="37" y="15"/>
                    <a:pt x="39" y="14"/>
                  </a:cubicBezTo>
                  <a:cubicBezTo>
                    <a:pt x="39" y="14"/>
                    <a:pt x="40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2" y="13"/>
                    <a:pt x="43" y="12"/>
                    <a:pt x="44" y="11"/>
                  </a:cubicBezTo>
                  <a:cubicBezTo>
                    <a:pt x="45" y="10"/>
                    <a:pt x="45" y="8"/>
                    <a:pt x="44" y="7"/>
                  </a:cubicBezTo>
                  <a:cubicBezTo>
                    <a:pt x="44" y="6"/>
                    <a:pt x="44" y="5"/>
                    <a:pt x="42" y="4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0" y="4"/>
                    <a:pt x="40" y="4"/>
                    <a:pt x="39" y="5"/>
                  </a:cubicBezTo>
                  <a:cubicBezTo>
                    <a:pt x="39" y="5"/>
                    <a:pt x="39" y="6"/>
                    <a:pt x="39" y="6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6" y="8"/>
                  </a:cubicBezTo>
                  <a:cubicBezTo>
                    <a:pt x="36" y="8"/>
                    <a:pt x="36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0"/>
                    <a:pt x="33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2" y="8"/>
                  </a:cubicBezTo>
                  <a:cubicBezTo>
                    <a:pt x="32" y="8"/>
                    <a:pt x="31" y="7"/>
                    <a:pt x="30" y="7"/>
                  </a:cubicBezTo>
                  <a:cubicBezTo>
                    <a:pt x="29" y="7"/>
                    <a:pt x="28" y="8"/>
                    <a:pt x="28" y="8"/>
                  </a:cubicBezTo>
                  <a:cubicBezTo>
                    <a:pt x="27" y="9"/>
                    <a:pt x="26" y="9"/>
                    <a:pt x="26" y="9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3" y="8"/>
                    <a:pt x="22" y="9"/>
                    <a:pt x="22" y="10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2"/>
                    <a:pt x="20" y="12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6" y="14"/>
                    <a:pt x="16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1"/>
                    <a:pt x="16" y="10"/>
                  </a:cubicBezTo>
                  <a:cubicBezTo>
                    <a:pt x="16" y="10"/>
                    <a:pt x="16" y="10"/>
                    <a:pt x="16" y="9"/>
                  </a:cubicBezTo>
                  <a:cubicBezTo>
                    <a:pt x="15" y="9"/>
                    <a:pt x="15" y="9"/>
                    <a:pt x="14" y="9"/>
                  </a:cubicBezTo>
                  <a:cubicBezTo>
                    <a:pt x="14" y="9"/>
                    <a:pt x="14" y="9"/>
                    <a:pt x="13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4" y="7"/>
                    <a:pt x="14" y="7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7" y="6"/>
                    <a:pt x="17" y="5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0" y="1"/>
                    <a:pt x="10" y="1"/>
                  </a:cubicBezTo>
                  <a:cubicBezTo>
                    <a:pt x="10" y="2"/>
                    <a:pt x="10" y="2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1" y="6"/>
                    <a:pt x="0" y="7"/>
                    <a:pt x="1" y="7"/>
                  </a:cubicBezTo>
                  <a:cubicBezTo>
                    <a:pt x="1" y="8"/>
                    <a:pt x="1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2" y="13"/>
                  </a:cubicBezTo>
                  <a:close/>
                  <a:moveTo>
                    <a:pt x="3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4274" y="517"/>
              <a:ext cx="17" cy="17"/>
            </a:xfrm>
            <a:custGeom>
              <a:avLst/>
              <a:gdLst>
                <a:gd name="T0" fmla="*/ 1 w 7"/>
                <a:gd name="T1" fmla="*/ 5 h 7"/>
                <a:gd name="T2" fmla="*/ 1 w 7"/>
                <a:gd name="T3" fmla="*/ 6 h 7"/>
                <a:gd name="T4" fmla="*/ 2 w 7"/>
                <a:gd name="T5" fmla="*/ 7 h 7"/>
                <a:gd name="T6" fmla="*/ 2 w 7"/>
                <a:gd name="T7" fmla="*/ 7 h 7"/>
                <a:gd name="T8" fmla="*/ 6 w 7"/>
                <a:gd name="T9" fmla="*/ 5 h 7"/>
                <a:gd name="T10" fmla="*/ 7 w 7"/>
                <a:gd name="T11" fmla="*/ 3 h 7"/>
                <a:gd name="T12" fmla="*/ 5 w 7"/>
                <a:gd name="T13" fmla="*/ 0 h 7"/>
                <a:gd name="T14" fmla="*/ 4 w 7"/>
                <a:gd name="T15" fmla="*/ 0 h 7"/>
                <a:gd name="T16" fmla="*/ 1 w 7"/>
                <a:gd name="T17" fmla="*/ 1 h 7"/>
                <a:gd name="T18" fmla="*/ 0 w 7"/>
                <a:gd name="T19" fmla="*/ 4 h 7"/>
                <a:gd name="T20" fmla="*/ 1 w 7"/>
                <a:gd name="T21" fmla="*/ 5 h 7"/>
                <a:gd name="T22" fmla="*/ 1 w 7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1" y="5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5" y="5"/>
                    <a:pt x="6" y="5"/>
                  </a:cubicBezTo>
                  <a:cubicBezTo>
                    <a:pt x="6" y="5"/>
                    <a:pt x="7" y="4"/>
                    <a:pt x="7" y="3"/>
                  </a:cubicBezTo>
                  <a:cubicBezTo>
                    <a:pt x="7" y="2"/>
                    <a:pt x="6" y="1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4220" y="605"/>
              <a:ext cx="182" cy="189"/>
            </a:xfrm>
            <a:custGeom>
              <a:avLst/>
              <a:gdLst>
                <a:gd name="T0" fmla="*/ 46 w 77"/>
                <a:gd name="T1" fmla="*/ 10 h 80"/>
                <a:gd name="T2" fmla="*/ 44 w 77"/>
                <a:gd name="T3" fmla="*/ 9 h 80"/>
                <a:gd name="T4" fmla="*/ 41 w 77"/>
                <a:gd name="T5" fmla="*/ 12 h 80"/>
                <a:gd name="T6" fmla="*/ 35 w 77"/>
                <a:gd name="T7" fmla="*/ 15 h 80"/>
                <a:gd name="T8" fmla="*/ 32 w 77"/>
                <a:gd name="T9" fmla="*/ 17 h 80"/>
                <a:gd name="T10" fmla="*/ 29 w 77"/>
                <a:gd name="T11" fmla="*/ 20 h 80"/>
                <a:gd name="T12" fmla="*/ 27 w 77"/>
                <a:gd name="T13" fmla="*/ 22 h 80"/>
                <a:gd name="T14" fmla="*/ 22 w 77"/>
                <a:gd name="T15" fmla="*/ 25 h 80"/>
                <a:gd name="T16" fmla="*/ 22 w 77"/>
                <a:gd name="T17" fmla="*/ 25 h 80"/>
                <a:gd name="T18" fmla="*/ 21 w 77"/>
                <a:gd name="T19" fmla="*/ 29 h 80"/>
                <a:gd name="T20" fmla="*/ 19 w 77"/>
                <a:gd name="T21" fmla="*/ 31 h 80"/>
                <a:gd name="T22" fmla="*/ 17 w 77"/>
                <a:gd name="T23" fmla="*/ 34 h 80"/>
                <a:gd name="T24" fmla="*/ 16 w 77"/>
                <a:gd name="T25" fmla="*/ 37 h 80"/>
                <a:gd name="T26" fmla="*/ 13 w 77"/>
                <a:gd name="T27" fmla="*/ 44 h 80"/>
                <a:gd name="T28" fmla="*/ 15 w 77"/>
                <a:gd name="T29" fmla="*/ 44 h 80"/>
                <a:gd name="T30" fmla="*/ 13 w 77"/>
                <a:gd name="T31" fmla="*/ 46 h 80"/>
                <a:gd name="T32" fmla="*/ 9 w 77"/>
                <a:gd name="T33" fmla="*/ 50 h 80"/>
                <a:gd name="T34" fmla="*/ 7 w 77"/>
                <a:gd name="T35" fmla="*/ 51 h 80"/>
                <a:gd name="T36" fmla="*/ 9 w 77"/>
                <a:gd name="T37" fmla="*/ 55 h 80"/>
                <a:gd name="T38" fmla="*/ 9 w 77"/>
                <a:gd name="T39" fmla="*/ 56 h 80"/>
                <a:gd name="T40" fmla="*/ 0 w 77"/>
                <a:gd name="T41" fmla="*/ 52 h 80"/>
                <a:gd name="T42" fmla="*/ 3 w 77"/>
                <a:gd name="T43" fmla="*/ 64 h 80"/>
                <a:gd name="T44" fmla="*/ 10 w 77"/>
                <a:gd name="T45" fmla="*/ 69 h 80"/>
                <a:gd name="T46" fmla="*/ 13 w 77"/>
                <a:gd name="T47" fmla="*/ 70 h 80"/>
                <a:gd name="T48" fmla="*/ 14 w 77"/>
                <a:gd name="T49" fmla="*/ 72 h 80"/>
                <a:gd name="T50" fmla="*/ 17 w 77"/>
                <a:gd name="T51" fmla="*/ 77 h 80"/>
                <a:gd name="T52" fmla="*/ 21 w 77"/>
                <a:gd name="T53" fmla="*/ 79 h 80"/>
                <a:gd name="T54" fmla="*/ 23 w 77"/>
                <a:gd name="T55" fmla="*/ 79 h 80"/>
                <a:gd name="T56" fmla="*/ 28 w 77"/>
                <a:gd name="T57" fmla="*/ 79 h 80"/>
                <a:gd name="T58" fmla="*/ 32 w 77"/>
                <a:gd name="T59" fmla="*/ 78 h 80"/>
                <a:gd name="T60" fmla="*/ 36 w 77"/>
                <a:gd name="T61" fmla="*/ 77 h 80"/>
                <a:gd name="T62" fmla="*/ 34 w 77"/>
                <a:gd name="T63" fmla="*/ 73 h 80"/>
                <a:gd name="T64" fmla="*/ 29 w 77"/>
                <a:gd name="T65" fmla="*/ 67 h 80"/>
                <a:gd name="T66" fmla="*/ 25 w 77"/>
                <a:gd name="T67" fmla="*/ 58 h 80"/>
                <a:gd name="T68" fmla="*/ 25 w 77"/>
                <a:gd name="T69" fmla="*/ 56 h 80"/>
                <a:gd name="T70" fmla="*/ 26 w 77"/>
                <a:gd name="T71" fmla="*/ 50 h 80"/>
                <a:gd name="T72" fmla="*/ 27 w 77"/>
                <a:gd name="T73" fmla="*/ 47 h 80"/>
                <a:gd name="T74" fmla="*/ 30 w 77"/>
                <a:gd name="T75" fmla="*/ 43 h 80"/>
                <a:gd name="T76" fmla="*/ 31 w 77"/>
                <a:gd name="T77" fmla="*/ 42 h 80"/>
                <a:gd name="T78" fmla="*/ 36 w 77"/>
                <a:gd name="T79" fmla="*/ 36 h 80"/>
                <a:gd name="T80" fmla="*/ 38 w 77"/>
                <a:gd name="T81" fmla="*/ 32 h 80"/>
                <a:gd name="T82" fmla="*/ 42 w 77"/>
                <a:gd name="T83" fmla="*/ 31 h 80"/>
                <a:gd name="T84" fmla="*/ 44 w 77"/>
                <a:gd name="T85" fmla="*/ 27 h 80"/>
                <a:gd name="T86" fmla="*/ 48 w 77"/>
                <a:gd name="T87" fmla="*/ 23 h 80"/>
                <a:gd name="T88" fmla="*/ 53 w 77"/>
                <a:gd name="T89" fmla="*/ 21 h 80"/>
                <a:gd name="T90" fmla="*/ 57 w 77"/>
                <a:gd name="T91" fmla="*/ 19 h 80"/>
                <a:gd name="T92" fmla="*/ 61 w 77"/>
                <a:gd name="T93" fmla="*/ 17 h 80"/>
                <a:gd name="T94" fmla="*/ 67 w 77"/>
                <a:gd name="T95" fmla="*/ 14 h 80"/>
                <a:gd name="T96" fmla="*/ 70 w 77"/>
                <a:gd name="T97" fmla="*/ 13 h 80"/>
                <a:gd name="T98" fmla="*/ 75 w 77"/>
                <a:gd name="T99" fmla="*/ 10 h 80"/>
                <a:gd name="T100" fmla="*/ 76 w 77"/>
                <a:gd name="T101" fmla="*/ 2 h 80"/>
                <a:gd name="T102" fmla="*/ 69 w 77"/>
                <a:gd name="T103" fmla="*/ 0 h 80"/>
                <a:gd name="T104" fmla="*/ 65 w 77"/>
                <a:gd name="T105" fmla="*/ 2 h 80"/>
                <a:gd name="T106" fmla="*/ 63 w 77"/>
                <a:gd name="T107" fmla="*/ 3 h 80"/>
                <a:gd name="T108" fmla="*/ 61 w 77"/>
                <a:gd name="T109" fmla="*/ 7 h 80"/>
                <a:gd name="T110" fmla="*/ 58 w 77"/>
                <a:gd name="T111" fmla="*/ 7 h 80"/>
                <a:gd name="T112" fmla="*/ 56 w 77"/>
                <a:gd name="T113" fmla="*/ 7 h 80"/>
                <a:gd name="T114" fmla="*/ 52 w 77"/>
                <a:gd name="T115" fmla="*/ 9 h 80"/>
                <a:gd name="T116" fmla="*/ 50 w 77"/>
                <a:gd name="T117" fmla="*/ 1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" h="80">
                  <a:moveTo>
                    <a:pt x="47" y="10"/>
                  </a:move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5" y="9"/>
                    <a:pt x="45" y="9"/>
                  </a:cubicBezTo>
                  <a:cubicBezTo>
                    <a:pt x="45" y="9"/>
                    <a:pt x="44" y="9"/>
                    <a:pt x="44" y="9"/>
                  </a:cubicBezTo>
                  <a:cubicBezTo>
                    <a:pt x="43" y="9"/>
                    <a:pt x="42" y="10"/>
                    <a:pt x="42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8" y="12"/>
                    <a:pt x="38" y="12"/>
                    <a:pt x="38" y="13"/>
                  </a:cubicBezTo>
                  <a:cubicBezTo>
                    <a:pt x="37" y="14"/>
                    <a:pt x="36" y="14"/>
                    <a:pt x="35" y="15"/>
                  </a:cubicBezTo>
                  <a:cubicBezTo>
                    <a:pt x="35" y="15"/>
                    <a:pt x="34" y="15"/>
                    <a:pt x="34" y="15"/>
                  </a:cubicBezTo>
                  <a:cubicBezTo>
                    <a:pt x="33" y="16"/>
                    <a:pt x="33" y="16"/>
                    <a:pt x="32" y="16"/>
                  </a:cubicBezTo>
                  <a:cubicBezTo>
                    <a:pt x="32" y="16"/>
                    <a:pt x="32" y="17"/>
                    <a:pt x="3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0" y="17"/>
                    <a:pt x="30" y="17"/>
                  </a:cubicBezTo>
                  <a:cubicBezTo>
                    <a:pt x="29" y="18"/>
                    <a:pt x="29" y="19"/>
                    <a:pt x="29" y="20"/>
                  </a:cubicBezTo>
                  <a:cubicBezTo>
                    <a:pt x="29" y="20"/>
                    <a:pt x="28" y="20"/>
                    <a:pt x="28" y="21"/>
                  </a:cubicBezTo>
                  <a:cubicBezTo>
                    <a:pt x="28" y="21"/>
                    <a:pt x="28" y="21"/>
                    <a:pt x="28" y="22"/>
                  </a:cubicBezTo>
                  <a:cubicBezTo>
                    <a:pt x="28" y="22"/>
                    <a:pt x="28" y="22"/>
                    <a:pt x="27" y="22"/>
                  </a:cubicBezTo>
                  <a:cubicBezTo>
                    <a:pt x="27" y="22"/>
                    <a:pt x="27" y="22"/>
                    <a:pt x="26" y="22"/>
                  </a:cubicBezTo>
                  <a:cubicBezTo>
                    <a:pt x="24" y="22"/>
                    <a:pt x="23" y="23"/>
                    <a:pt x="23" y="24"/>
                  </a:cubicBezTo>
                  <a:cubicBezTo>
                    <a:pt x="23" y="24"/>
                    <a:pt x="23" y="24"/>
                    <a:pt x="22" y="25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1" y="25"/>
                    <a:pt x="20" y="25"/>
                    <a:pt x="20" y="26"/>
                  </a:cubicBezTo>
                  <a:cubicBezTo>
                    <a:pt x="19" y="27"/>
                    <a:pt x="19" y="27"/>
                    <a:pt x="20" y="28"/>
                  </a:cubicBezTo>
                  <a:cubicBezTo>
                    <a:pt x="20" y="29"/>
                    <a:pt x="20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19" y="30"/>
                    <a:pt x="19" y="31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5"/>
                    <a:pt x="17" y="36"/>
                    <a:pt x="18" y="36"/>
                  </a:cubicBezTo>
                  <a:cubicBezTo>
                    <a:pt x="17" y="36"/>
                    <a:pt x="17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4" y="39"/>
                    <a:pt x="13" y="40"/>
                  </a:cubicBezTo>
                  <a:cubicBezTo>
                    <a:pt x="13" y="40"/>
                    <a:pt x="12" y="42"/>
                    <a:pt x="13" y="44"/>
                  </a:cubicBezTo>
                  <a:cubicBezTo>
                    <a:pt x="13" y="44"/>
                    <a:pt x="13" y="45"/>
                    <a:pt x="14" y="45"/>
                  </a:cubicBezTo>
                  <a:cubicBezTo>
                    <a:pt x="14" y="45"/>
                    <a:pt x="14" y="45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5"/>
                    <a:pt x="15" y="45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4" y="46"/>
                    <a:pt x="13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1" y="46"/>
                    <a:pt x="10" y="47"/>
                  </a:cubicBezTo>
                  <a:cubicBezTo>
                    <a:pt x="9" y="48"/>
                    <a:pt x="9" y="49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8" y="50"/>
                    <a:pt x="7" y="51"/>
                  </a:cubicBezTo>
                  <a:cubicBezTo>
                    <a:pt x="6" y="52"/>
                    <a:pt x="6" y="52"/>
                    <a:pt x="6" y="53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8" y="55"/>
                    <a:pt x="8" y="55"/>
                    <a:pt x="9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9" y="55"/>
                    <a:pt x="10" y="55"/>
                  </a:cubicBezTo>
                  <a:cubicBezTo>
                    <a:pt x="9" y="55"/>
                    <a:pt x="9" y="56"/>
                    <a:pt x="9" y="56"/>
                  </a:cubicBezTo>
                  <a:cubicBezTo>
                    <a:pt x="9" y="57"/>
                    <a:pt x="8" y="58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60"/>
                    <a:pt x="3" y="60"/>
                  </a:cubicBezTo>
                  <a:cubicBezTo>
                    <a:pt x="3" y="61"/>
                    <a:pt x="3" y="63"/>
                    <a:pt x="3" y="64"/>
                  </a:cubicBezTo>
                  <a:cubicBezTo>
                    <a:pt x="3" y="66"/>
                    <a:pt x="5" y="70"/>
                    <a:pt x="8" y="70"/>
                  </a:cubicBezTo>
                  <a:cubicBezTo>
                    <a:pt x="8" y="70"/>
                    <a:pt x="9" y="70"/>
                    <a:pt x="9" y="69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10" y="69"/>
                    <a:pt x="11" y="69"/>
                    <a:pt x="11" y="69"/>
                  </a:cubicBezTo>
                  <a:cubicBezTo>
                    <a:pt x="11" y="69"/>
                    <a:pt x="12" y="69"/>
                    <a:pt x="13" y="69"/>
                  </a:cubicBezTo>
                  <a:cubicBezTo>
                    <a:pt x="13" y="69"/>
                    <a:pt x="13" y="70"/>
                    <a:pt x="13" y="70"/>
                  </a:cubicBezTo>
                  <a:cubicBezTo>
                    <a:pt x="13" y="70"/>
                    <a:pt x="13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3"/>
                    <a:pt x="13" y="74"/>
                    <a:pt x="13" y="75"/>
                  </a:cubicBezTo>
                  <a:cubicBezTo>
                    <a:pt x="14" y="76"/>
                    <a:pt x="15" y="77"/>
                    <a:pt x="16" y="77"/>
                  </a:cubicBezTo>
                  <a:cubicBezTo>
                    <a:pt x="16" y="77"/>
                    <a:pt x="16" y="77"/>
                    <a:pt x="17" y="77"/>
                  </a:cubicBezTo>
                  <a:cubicBezTo>
                    <a:pt x="17" y="77"/>
                    <a:pt x="17" y="77"/>
                    <a:pt x="17" y="78"/>
                  </a:cubicBezTo>
                  <a:cubicBezTo>
                    <a:pt x="18" y="78"/>
                    <a:pt x="19" y="79"/>
                    <a:pt x="20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2" y="79"/>
                    <a:pt x="22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2" y="79"/>
                    <a:pt x="22" y="79"/>
                    <a:pt x="23" y="79"/>
                  </a:cubicBezTo>
                  <a:cubicBezTo>
                    <a:pt x="23" y="80"/>
                    <a:pt x="24" y="80"/>
                    <a:pt x="25" y="80"/>
                  </a:cubicBezTo>
                  <a:cubicBezTo>
                    <a:pt x="26" y="80"/>
                    <a:pt x="26" y="79"/>
                    <a:pt x="27" y="78"/>
                  </a:cubicBezTo>
                  <a:cubicBezTo>
                    <a:pt x="27" y="79"/>
                    <a:pt x="27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0" y="79"/>
                    <a:pt x="31" y="79"/>
                    <a:pt x="32" y="78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5" y="78"/>
                    <a:pt x="36" y="78"/>
                    <a:pt x="36" y="77"/>
                  </a:cubicBezTo>
                  <a:cubicBezTo>
                    <a:pt x="36" y="77"/>
                    <a:pt x="37" y="76"/>
                    <a:pt x="36" y="75"/>
                  </a:cubicBezTo>
                  <a:cubicBezTo>
                    <a:pt x="35" y="74"/>
                    <a:pt x="35" y="74"/>
                    <a:pt x="34" y="74"/>
                  </a:cubicBezTo>
                  <a:cubicBezTo>
                    <a:pt x="34" y="74"/>
                    <a:pt x="34" y="73"/>
                    <a:pt x="34" y="73"/>
                  </a:cubicBezTo>
                  <a:cubicBezTo>
                    <a:pt x="33" y="73"/>
                    <a:pt x="33" y="72"/>
                    <a:pt x="32" y="71"/>
                  </a:cubicBezTo>
                  <a:cubicBezTo>
                    <a:pt x="32" y="71"/>
                    <a:pt x="31" y="70"/>
                    <a:pt x="31" y="70"/>
                  </a:cubicBezTo>
                  <a:cubicBezTo>
                    <a:pt x="30" y="69"/>
                    <a:pt x="30" y="68"/>
                    <a:pt x="29" y="67"/>
                  </a:cubicBezTo>
                  <a:cubicBezTo>
                    <a:pt x="28" y="66"/>
                    <a:pt x="27" y="65"/>
                    <a:pt x="26" y="64"/>
                  </a:cubicBezTo>
                  <a:cubicBezTo>
                    <a:pt x="25" y="63"/>
                    <a:pt x="25" y="62"/>
                    <a:pt x="25" y="61"/>
                  </a:cubicBezTo>
                  <a:cubicBezTo>
                    <a:pt x="25" y="60"/>
                    <a:pt x="25" y="59"/>
                    <a:pt x="25" y="58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24" y="57"/>
                    <a:pt x="24" y="57"/>
                    <a:pt x="24" y="56"/>
                  </a:cubicBezTo>
                  <a:cubicBezTo>
                    <a:pt x="24" y="56"/>
                    <a:pt x="25" y="56"/>
                    <a:pt x="25" y="56"/>
                  </a:cubicBezTo>
                  <a:cubicBezTo>
                    <a:pt x="26" y="55"/>
                    <a:pt x="26" y="54"/>
                    <a:pt x="26" y="53"/>
                  </a:cubicBezTo>
                  <a:cubicBezTo>
                    <a:pt x="26" y="53"/>
                    <a:pt x="26" y="53"/>
                    <a:pt x="26" y="52"/>
                  </a:cubicBezTo>
                  <a:cubicBezTo>
                    <a:pt x="27" y="52"/>
                    <a:pt x="26" y="51"/>
                    <a:pt x="26" y="50"/>
                  </a:cubicBezTo>
                  <a:cubicBezTo>
                    <a:pt x="26" y="50"/>
                    <a:pt x="26" y="50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7" y="48"/>
                    <a:pt x="27" y="48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9" y="47"/>
                    <a:pt x="30" y="45"/>
                  </a:cubicBezTo>
                  <a:cubicBezTo>
                    <a:pt x="30" y="44"/>
                    <a:pt x="30" y="44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3"/>
                    <a:pt x="31" y="42"/>
                  </a:cubicBezTo>
                  <a:cubicBezTo>
                    <a:pt x="32" y="42"/>
                    <a:pt x="32" y="41"/>
                    <a:pt x="33" y="40"/>
                  </a:cubicBezTo>
                  <a:cubicBezTo>
                    <a:pt x="33" y="40"/>
                    <a:pt x="34" y="40"/>
                    <a:pt x="34" y="39"/>
                  </a:cubicBezTo>
                  <a:cubicBezTo>
                    <a:pt x="35" y="39"/>
                    <a:pt x="36" y="36"/>
                    <a:pt x="36" y="36"/>
                  </a:cubicBezTo>
                  <a:cubicBezTo>
                    <a:pt x="36" y="35"/>
                    <a:pt x="36" y="34"/>
                    <a:pt x="36" y="33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40" y="32"/>
                    <a:pt x="41" y="32"/>
                    <a:pt x="41" y="31"/>
                  </a:cubicBezTo>
                  <a:cubicBezTo>
                    <a:pt x="41" y="31"/>
                    <a:pt x="41" y="31"/>
                    <a:pt x="42" y="31"/>
                  </a:cubicBezTo>
                  <a:cubicBezTo>
                    <a:pt x="42" y="31"/>
                    <a:pt x="43" y="30"/>
                    <a:pt x="43" y="30"/>
                  </a:cubicBezTo>
                  <a:cubicBezTo>
                    <a:pt x="44" y="29"/>
                    <a:pt x="44" y="28"/>
                    <a:pt x="44" y="28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6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9" y="23"/>
                  </a:cubicBezTo>
                  <a:cubicBezTo>
                    <a:pt x="50" y="23"/>
                    <a:pt x="51" y="22"/>
                    <a:pt x="52" y="21"/>
                  </a:cubicBezTo>
                  <a:cubicBezTo>
                    <a:pt x="52" y="21"/>
                    <a:pt x="52" y="21"/>
                    <a:pt x="53" y="21"/>
                  </a:cubicBezTo>
                  <a:cubicBezTo>
                    <a:pt x="53" y="21"/>
                    <a:pt x="54" y="21"/>
                    <a:pt x="55" y="20"/>
                  </a:cubicBezTo>
                  <a:cubicBezTo>
                    <a:pt x="55" y="20"/>
                    <a:pt x="55" y="20"/>
                    <a:pt x="56" y="19"/>
                  </a:cubicBezTo>
                  <a:cubicBezTo>
                    <a:pt x="56" y="19"/>
                    <a:pt x="56" y="19"/>
                    <a:pt x="57" y="19"/>
                  </a:cubicBezTo>
                  <a:cubicBezTo>
                    <a:pt x="57" y="19"/>
                    <a:pt x="58" y="19"/>
                    <a:pt x="59" y="19"/>
                  </a:cubicBezTo>
                  <a:cubicBezTo>
                    <a:pt x="59" y="18"/>
                    <a:pt x="60" y="18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6"/>
                    <a:pt x="62" y="16"/>
                    <a:pt x="63" y="16"/>
                  </a:cubicBezTo>
                  <a:cubicBezTo>
                    <a:pt x="63" y="16"/>
                    <a:pt x="64" y="16"/>
                    <a:pt x="64" y="16"/>
                  </a:cubicBezTo>
                  <a:cubicBezTo>
                    <a:pt x="65" y="15"/>
                    <a:pt x="66" y="15"/>
                    <a:pt x="67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4"/>
                    <a:pt x="68" y="14"/>
                    <a:pt x="69" y="14"/>
                  </a:cubicBezTo>
                  <a:cubicBezTo>
                    <a:pt x="69" y="14"/>
                    <a:pt x="69" y="13"/>
                    <a:pt x="70" y="13"/>
                  </a:cubicBezTo>
                  <a:cubicBezTo>
                    <a:pt x="71" y="13"/>
                    <a:pt x="72" y="12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4" y="11"/>
                    <a:pt x="74" y="10"/>
                    <a:pt x="75" y="10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6" y="9"/>
                    <a:pt x="77" y="8"/>
                    <a:pt x="77" y="6"/>
                  </a:cubicBezTo>
                  <a:cubicBezTo>
                    <a:pt x="77" y="5"/>
                    <a:pt x="77" y="3"/>
                    <a:pt x="76" y="2"/>
                  </a:cubicBezTo>
                  <a:cubicBezTo>
                    <a:pt x="75" y="1"/>
                    <a:pt x="74" y="0"/>
                    <a:pt x="72" y="0"/>
                  </a:cubicBezTo>
                  <a:cubicBezTo>
                    <a:pt x="72" y="0"/>
                    <a:pt x="71" y="0"/>
                    <a:pt x="70" y="0"/>
                  </a:cubicBezTo>
                  <a:cubicBezTo>
                    <a:pt x="70" y="0"/>
                    <a:pt x="69" y="0"/>
                    <a:pt x="69" y="0"/>
                  </a:cubicBezTo>
                  <a:cubicBezTo>
                    <a:pt x="68" y="0"/>
                    <a:pt x="67" y="1"/>
                    <a:pt x="66" y="1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5" y="2"/>
                  </a:cubicBezTo>
                  <a:cubicBezTo>
                    <a:pt x="65" y="2"/>
                    <a:pt x="65" y="2"/>
                    <a:pt x="64" y="2"/>
                  </a:cubicBezTo>
                  <a:cubicBezTo>
                    <a:pt x="64" y="2"/>
                    <a:pt x="64" y="2"/>
                    <a:pt x="64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2" y="3"/>
                    <a:pt x="61" y="4"/>
                    <a:pt x="61" y="5"/>
                  </a:cubicBezTo>
                  <a:cubicBezTo>
                    <a:pt x="61" y="5"/>
                    <a:pt x="62" y="6"/>
                    <a:pt x="62" y="6"/>
                  </a:cubicBezTo>
                  <a:cubicBezTo>
                    <a:pt x="62" y="6"/>
                    <a:pt x="62" y="6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0" y="6"/>
                    <a:pt x="59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7" y="7"/>
                    <a:pt x="57" y="7"/>
                    <a:pt x="56" y="7"/>
                  </a:cubicBezTo>
                  <a:cubicBezTo>
                    <a:pt x="55" y="7"/>
                    <a:pt x="55" y="8"/>
                    <a:pt x="54" y="8"/>
                  </a:cubicBezTo>
                  <a:cubicBezTo>
                    <a:pt x="54" y="9"/>
                    <a:pt x="53" y="9"/>
                    <a:pt x="53" y="9"/>
                  </a:cubicBezTo>
                  <a:cubicBezTo>
                    <a:pt x="53" y="9"/>
                    <a:pt x="53" y="9"/>
                    <a:pt x="52" y="9"/>
                  </a:cubicBezTo>
                  <a:cubicBezTo>
                    <a:pt x="52" y="9"/>
                    <a:pt x="52" y="9"/>
                    <a:pt x="51" y="9"/>
                  </a:cubicBezTo>
                  <a:cubicBezTo>
                    <a:pt x="51" y="9"/>
                    <a:pt x="51" y="9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4289" y="465"/>
              <a:ext cx="49" cy="14"/>
            </a:xfrm>
            <a:custGeom>
              <a:avLst/>
              <a:gdLst>
                <a:gd name="T0" fmla="*/ 7 w 21"/>
                <a:gd name="T1" fmla="*/ 6 h 6"/>
                <a:gd name="T2" fmla="*/ 7 w 21"/>
                <a:gd name="T3" fmla="*/ 6 h 6"/>
                <a:gd name="T4" fmla="*/ 8 w 21"/>
                <a:gd name="T5" fmla="*/ 6 h 6"/>
                <a:gd name="T6" fmla="*/ 8 w 21"/>
                <a:gd name="T7" fmla="*/ 6 h 6"/>
                <a:gd name="T8" fmla="*/ 9 w 21"/>
                <a:gd name="T9" fmla="*/ 6 h 6"/>
                <a:gd name="T10" fmla="*/ 10 w 21"/>
                <a:gd name="T11" fmla="*/ 6 h 6"/>
                <a:gd name="T12" fmla="*/ 10 w 21"/>
                <a:gd name="T13" fmla="*/ 6 h 6"/>
                <a:gd name="T14" fmla="*/ 10 w 21"/>
                <a:gd name="T15" fmla="*/ 6 h 6"/>
                <a:gd name="T16" fmla="*/ 11 w 21"/>
                <a:gd name="T17" fmla="*/ 6 h 6"/>
                <a:gd name="T18" fmla="*/ 11 w 21"/>
                <a:gd name="T19" fmla="*/ 5 h 6"/>
                <a:gd name="T20" fmla="*/ 21 w 21"/>
                <a:gd name="T21" fmla="*/ 4 h 6"/>
                <a:gd name="T22" fmla="*/ 11 w 21"/>
                <a:gd name="T23" fmla="*/ 3 h 6"/>
                <a:gd name="T24" fmla="*/ 11 w 21"/>
                <a:gd name="T25" fmla="*/ 3 h 6"/>
                <a:gd name="T26" fmla="*/ 11 w 21"/>
                <a:gd name="T27" fmla="*/ 1 h 6"/>
                <a:gd name="T28" fmla="*/ 11 w 21"/>
                <a:gd name="T29" fmla="*/ 1 h 6"/>
                <a:gd name="T30" fmla="*/ 9 w 21"/>
                <a:gd name="T31" fmla="*/ 0 h 6"/>
                <a:gd name="T32" fmla="*/ 9 w 21"/>
                <a:gd name="T33" fmla="*/ 0 h 6"/>
                <a:gd name="T34" fmla="*/ 8 w 21"/>
                <a:gd name="T35" fmla="*/ 0 h 6"/>
                <a:gd name="T36" fmla="*/ 6 w 21"/>
                <a:gd name="T37" fmla="*/ 0 h 6"/>
                <a:gd name="T38" fmla="*/ 6 w 21"/>
                <a:gd name="T39" fmla="*/ 1 h 6"/>
                <a:gd name="T40" fmla="*/ 4 w 21"/>
                <a:gd name="T41" fmla="*/ 1 h 6"/>
                <a:gd name="T42" fmla="*/ 4 w 21"/>
                <a:gd name="T43" fmla="*/ 3 h 6"/>
                <a:gd name="T44" fmla="*/ 4 w 21"/>
                <a:gd name="T45" fmla="*/ 4 h 6"/>
                <a:gd name="T46" fmla="*/ 0 w 21"/>
                <a:gd name="T47" fmla="*/ 5 h 6"/>
                <a:gd name="T48" fmla="*/ 7 w 21"/>
                <a:gd name="T4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6"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9" name="Freeform 68"/>
            <p:cNvSpPr>
              <a:spLocks noEditPoints="1"/>
            </p:cNvSpPr>
            <p:nvPr/>
          </p:nvSpPr>
          <p:spPr bwMode="auto">
            <a:xfrm>
              <a:off x="3816" y="505"/>
              <a:ext cx="163" cy="121"/>
            </a:xfrm>
            <a:custGeom>
              <a:avLst/>
              <a:gdLst>
                <a:gd name="T0" fmla="*/ 3 w 69"/>
                <a:gd name="T1" fmla="*/ 25 h 51"/>
                <a:gd name="T2" fmla="*/ 8 w 69"/>
                <a:gd name="T3" fmla="*/ 32 h 51"/>
                <a:gd name="T4" fmla="*/ 10 w 69"/>
                <a:gd name="T5" fmla="*/ 42 h 51"/>
                <a:gd name="T6" fmla="*/ 15 w 69"/>
                <a:gd name="T7" fmla="*/ 47 h 51"/>
                <a:gd name="T8" fmla="*/ 23 w 69"/>
                <a:gd name="T9" fmla="*/ 48 h 51"/>
                <a:gd name="T10" fmla="*/ 26 w 69"/>
                <a:gd name="T11" fmla="*/ 44 h 51"/>
                <a:gd name="T12" fmla="*/ 26 w 69"/>
                <a:gd name="T13" fmla="*/ 38 h 51"/>
                <a:gd name="T14" fmla="*/ 32 w 69"/>
                <a:gd name="T15" fmla="*/ 32 h 51"/>
                <a:gd name="T16" fmla="*/ 34 w 69"/>
                <a:gd name="T17" fmla="*/ 28 h 51"/>
                <a:gd name="T18" fmla="*/ 38 w 69"/>
                <a:gd name="T19" fmla="*/ 31 h 51"/>
                <a:gd name="T20" fmla="*/ 38 w 69"/>
                <a:gd name="T21" fmla="*/ 36 h 51"/>
                <a:gd name="T22" fmla="*/ 38 w 69"/>
                <a:gd name="T23" fmla="*/ 41 h 51"/>
                <a:gd name="T24" fmla="*/ 42 w 69"/>
                <a:gd name="T25" fmla="*/ 40 h 51"/>
                <a:gd name="T26" fmla="*/ 46 w 69"/>
                <a:gd name="T27" fmla="*/ 42 h 51"/>
                <a:gd name="T28" fmla="*/ 51 w 69"/>
                <a:gd name="T29" fmla="*/ 40 h 51"/>
                <a:gd name="T30" fmla="*/ 55 w 69"/>
                <a:gd name="T31" fmla="*/ 39 h 51"/>
                <a:gd name="T32" fmla="*/ 53 w 69"/>
                <a:gd name="T33" fmla="*/ 33 h 51"/>
                <a:gd name="T34" fmla="*/ 45 w 69"/>
                <a:gd name="T35" fmla="*/ 30 h 51"/>
                <a:gd name="T36" fmla="*/ 43 w 69"/>
                <a:gd name="T37" fmla="*/ 24 h 51"/>
                <a:gd name="T38" fmla="*/ 36 w 69"/>
                <a:gd name="T39" fmla="*/ 17 h 51"/>
                <a:gd name="T40" fmla="*/ 31 w 69"/>
                <a:gd name="T41" fmla="*/ 12 h 51"/>
                <a:gd name="T42" fmla="*/ 36 w 69"/>
                <a:gd name="T43" fmla="*/ 12 h 51"/>
                <a:gd name="T44" fmla="*/ 39 w 69"/>
                <a:gd name="T45" fmla="*/ 15 h 51"/>
                <a:gd name="T46" fmla="*/ 46 w 69"/>
                <a:gd name="T47" fmla="*/ 19 h 51"/>
                <a:gd name="T48" fmla="*/ 53 w 69"/>
                <a:gd name="T49" fmla="*/ 20 h 51"/>
                <a:gd name="T50" fmla="*/ 58 w 69"/>
                <a:gd name="T51" fmla="*/ 18 h 51"/>
                <a:gd name="T52" fmla="*/ 64 w 69"/>
                <a:gd name="T53" fmla="*/ 15 h 51"/>
                <a:gd name="T54" fmla="*/ 69 w 69"/>
                <a:gd name="T55" fmla="*/ 9 h 51"/>
                <a:gd name="T56" fmla="*/ 67 w 69"/>
                <a:gd name="T57" fmla="*/ 4 h 51"/>
                <a:gd name="T58" fmla="*/ 63 w 69"/>
                <a:gd name="T59" fmla="*/ 4 h 51"/>
                <a:gd name="T60" fmla="*/ 58 w 69"/>
                <a:gd name="T61" fmla="*/ 4 h 51"/>
                <a:gd name="T62" fmla="*/ 53 w 69"/>
                <a:gd name="T63" fmla="*/ 4 h 51"/>
                <a:gd name="T64" fmla="*/ 47 w 69"/>
                <a:gd name="T65" fmla="*/ 4 h 51"/>
                <a:gd name="T66" fmla="*/ 43 w 69"/>
                <a:gd name="T67" fmla="*/ 3 h 51"/>
                <a:gd name="T68" fmla="*/ 37 w 69"/>
                <a:gd name="T69" fmla="*/ 3 h 51"/>
                <a:gd name="T70" fmla="*/ 31 w 69"/>
                <a:gd name="T71" fmla="*/ 4 h 51"/>
                <a:gd name="T72" fmla="*/ 31 w 69"/>
                <a:gd name="T73" fmla="*/ 8 h 51"/>
                <a:gd name="T74" fmla="*/ 23 w 69"/>
                <a:gd name="T75" fmla="*/ 7 h 51"/>
                <a:gd name="T76" fmla="*/ 18 w 69"/>
                <a:gd name="T77" fmla="*/ 10 h 51"/>
                <a:gd name="T78" fmla="*/ 13 w 69"/>
                <a:gd name="T79" fmla="*/ 13 h 51"/>
                <a:gd name="T80" fmla="*/ 12 w 69"/>
                <a:gd name="T81" fmla="*/ 8 h 51"/>
                <a:gd name="T82" fmla="*/ 2 w 69"/>
                <a:gd name="T83" fmla="*/ 10 h 51"/>
                <a:gd name="T84" fmla="*/ 1 w 69"/>
                <a:gd name="T85" fmla="*/ 18 h 51"/>
                <a:gd name="T86" fmla="*/ 45 w 69"/>
                <a:gd name="T87" fmla="*/ 11 h 51"/>
                <a:gd name="T88" fmla="*/ 41 w 69"/>
                <a:gd name="T89" fmla="*/ 12 h 51"/>
                <a:gd name="T90" fmla="*/ 38 w 69"/>
                <a:gd name="T91" fmla="*/ 4 h 51"/>
                <a:gd name="T92" fmla="*/ 10 w 69"/>
                <a:gd name="T93" fmla="*/ 35 h 51"/>
                <a:gd name="T94" fmla="*/ 12 w 69"/>
                <a:gd name="T95" fmla="*/ 37 h 51"/>
                <a:gd name="T96" fmla="*/ 15 w 69"/>
                <a:gd name="T97" fmla="*/ 34 h 51"/>
                <a:gd name="T98" fmla="*/ 14 w 69"/>
                <a:gd name="T99" fmla="*/ 29 h 51"/>
                <a:gd name="T100" fmla="*/ 13 w 69"/>
                <a:gd name="T101" fmla="*/ 28 h 51"/>
                <a:gd name="T102" fmla="*/ 18 w 69"/>
                <a:gd name="T103" fmla="*/ 28 h 51"/>
                <a:gd name="T104" fmla="*/ 49 w 69"/>
                <a:gd name="T105" fmla="*/ 33 h 51"/>
                <a:gd name="T106" fmla="*/ 20 w 69"/>
                <a:gd name="T107" fmla="*/ 15 h 51"/>
                <a:gd name="T108" fmla="*/ 7 w 69"/>
                <a:gd name="T109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" h="51">
                  <a:moveTo>
                    <a:pt x="1" y="22"/>
                  </a:moveTo>
                  <a:cubicBezTo>
                    <a:pt x="1" y="22"/>
                    <a:pt x="1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3" y="24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7"/>
                    <a:pt x="3" y="28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6" y="29"/>
                    <a:pt x="7" y="30"/>
                  </a:cubicBezTo>
                  <a:cubicBezTo>
                    <a:pt x="7" y="30"/>
                    <a:pt x="8" y="30"/>
                    <a:pt x="9" y="30"/>
                  </a:cubicBezTo>
                  <a:cubicBezTo>
                    <a:pt x="8" y="31"/>
                    <a:pt x="8" y="31"/>
                    <a:pt x="8" y="32"/>
                  </a:cubicBezTo>
                  <a:cubicBezTo>
                    <a:pt x="7" y="33"/>
                    <a:pt x="7" y="34"/>
                    <a:pt x="7" y="35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9" y="36"/>
                    <a:pt x="9" y="36"/>
                  </a:cubicBezTo>
                  <a:cubicBezTo>
                    <a:pt x="8" y="37"/>
                    <a:pt x="7" y="38"/>
                    <a:pt x="8" y="40"/>
                  </a:cubicBezTo>
                  <a:cubicBezTo>
                    <a:pt x="8" y="41"/>
                    <a:pt x="9" y="42"/>
                    <a:pt x="10" y="42"/>
                  </a:cubicBezTo>
                  <a:cubicBezTo>
                    <a:pt x="10" y="42"/>
                    <a:pt x="10" y="42"/>
                    <a:pt x="1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4"/>
                    <a:pt x="11" y="44"/>
                    <a:pt x="12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0"/>
                    <a:pt x="18" y="50"/>
                    <a:pt x="19" y="50"/>
                  </a:cubicBezTo>
                  <a:cubicBezTo>
                    <a:pt x="19" y="50"/>
                    <a:pt x="20" y="51"/>
                    <a:pt x="21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3" y="50"/>
                    <a:pt x="23" y="49"/>
                    <a:pt x="23" y="48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5" y="46"/>
                    <a:pt x="25" y="45"/>
                    <a:pt x="26" y="44"/>
                  </a:cubicBezTo>
                  <a:cubicBezTo>
                    <a:pt x="26" y="44"/>
                    <a:pt x="26" y="43"/>
                    <a:pt x="26" y="43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7" y="41"/>
                    <a:pt x="27" y="40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39"/>
                    <a:pt x="26" y="38"/>
                    <a:pt x="26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8"/>
                    <a:pt x="29" y="38"/>
                    <a:pt x="29" y="37"/>
                  </a:cubicBezTo>
                  <a:cubicBezTo>
                    <a:pt x="30" y="37"/>
                    <a:pt x="30" y="36"/>
                    <a:pt x="31" y="36"/>
                  </a:cubicBezTo>
                  <a:cubicBezTo>
                    <a:pt x="32" y="35"/>
                    <a:pt x="32" y="34"/>
                    <a:pt x="32" y="33"/>
                  </a:cubicBezTo>
                  <a:cubicBezTo>
                    <a:pt x="32" y="33"/>
                    <a:pt x="32" y="33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1"/>
                    <a:pt x="33" y="31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8"/>
                    <a:pt x="34" y="28"/>
                  </a:cubicBezTo>
                  <a:cubicBezTo>
                    <a:pt x="34" y="28"/>
                    <a:pt x="34" y="28"/>
                    <a:pt x="35" y="28"/>
                  </a:cubicBezTo>
                  <a:cubicBezTo>
                    <a:pt x="35" y="27"/>
                    <a:pt x="36" y="27"/>
                    <a:pt x="36" y="27"/>
                  </a:cubicBezTo>
                  <a:cubicBezTo>
                    <a:pt x="36" y="28"/>
                    <a:pt x="37" y="28"/>
                    <a:pt x="37" y="28"/>
                  </a:cubicBezTo>
                  <a:cubicBezTo>
                    <a:pt x="37" y="29"/>
                    <a:pt x="38" y="29"/>
                    <a:pt x="38" y="29"/>
                  </a:cubicBezTo>
                  <a:cubicBezTo>
                    <a:pt x="38" y="29"/>
                    <a:pt x="37" y="30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2"/>
                  </a:cubicBezTo>
                  <a:cubicBezTo>
                    <a:pt x="38" y="33"/>
                    <a:pt x="39" y="33"/>
                    <a:pt x="39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4"/>
                    <a:pt x="39" y="35"/>
                  </a:cubicBezTo>
                  <a:cubicBezTo>
                    <a:pt x="39" y="35"/>
                    <a:pt x="39" y="35"/>
                    <a:pt x="39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7" y="37"/>
                    <a:pt x="37" y="38"/>
                  </a:cubicBezTo>
                  <a:cubicBezTo>
                    <a:pt x="37" y="38"/>
                    <a:pt x="36" y="38"/>
                    <a:pt x="36" y="40"/>
                  </a:cubicBezTo>
                  <a:cubicBezTo>
                    <a:pt x="36" y="40"/>
                    <a:pt x="37" y="41"/>
                    <a:pt x="38" y="41"/>
                  </a:cubicBezTo>
                  <a:cubicBezTo>
                    <a:pt x="38" y="41"/>
                    <a:pt x="39" y="41"/>
                    <a:pt x="39" y="41"/>
                  </a:cubicBezTo>
                  <a:cubicBezTo>
                    <a:pt x="39" y="41"/>
                    <a:pt x="39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2" y="40"/>
                    <a:pt x="42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0"/>
                    <a:pt x="43" y="40"/>
                    <a:pt x="43" y="40"/>
                  </a:cubicBezTo>
                  <a:cubicBezTo>
                    <a:pt x="42" y="41"/>
                    <a:pt x="43" y="42"/>
                    <a:pt x="43" y="42"/>
                  </a:cubicBezTo>
                  <a:cubicBezTo>
                    <a:pt x="43" y="43"/>
                    <a:pt x="44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1"/>
                    <a:pt x="48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41"/>
                    <a:pt x="51" y="40"/>
                    <a:pt x="51" y="40"/>
                  </a:cubicBezTo>
                  <a:cubicBezTo>
                    <a:pt x="52" y="39"/>
                    <a:pt x="52" y="39"/>
                    <a:pt x="52" y="38"/>
                  </a:cubicBezTo>
                  <a:cubicBezTo>
                    <a:pt x="52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4" y="39"/>
                    <a:pt x="54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6" y="39"/>
                    <a:pt x="56" y="38"/>
                    <a:pt x="56" y="37"/>
                  </a:cubicBezTo>
                  <a:cubicBezTo>
                    <a:pt x="57" y="36"/>
                    <a:pt x="56" y="35"/>
                    <a:pt x="55" y="35"/>
                  </a:cubicBezTo>
                  <a:cubicBezTo>
                    <a:pt x="55" y="35"/>
                    <a:pt x="55" y="35"/>
                    <a:pt x="54" y="35"/>
                  </a:cubicBezTo>
                  <a:cubicBezTo>
                    <a:pt x="54" y="35"/>
                    <a:pt x="54" y="34"/>
                    <a:pt x="54" y="34"/>
                  </a:cubicBezTo>
                  <a:cubicBezTo>
                    <a:pt x="54" y="34"/>
                    <a:pt x="54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2" y="33"/>
                    <a:pt x="52" y="33"/>
                    <a:pt x="51" y="34"/>
                  </a:cubicBezTo>
                  <a:cubicBezTo>
                    <a:pt x="51" y="33"/>
                    <a:pt x="51" y="33"/>
                    <a:pt x="50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1"/>
                    <a:pt x="50" y="30"/>
                    <a:pt x="49" y="29"/>
                  </a:cubicBezTo>
                  <a:cubicBezTo>
                    <a:pt x="47" y="29"/>
                    <a:pt x="46" y="29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6" y="29"/>
                    <a:pt x="46" y="29"/>
                    <a:pt x="46" y="28"/>
                  </a:cubicBezTo>
                  <a:cubicBezTo>
                    <a:pt x="47" y="27"/>
                    <a:pt x="47" y="26"/>
                    <a:pt x="47" y="25"/>
                  </a:cubicBezTo>
                  <a:cubicBezTo>
                    <a:pt x="47" y="24"/>
                    <a:pt x="45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3"/>
                    <a:pt x="43" y="23"/>
                  </a:cubicBezTo>
                  <a:cubicBezTo>
                    <a:pt x="43" y="21"/>
                    <a:pt x="41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ubicBezTo>
                    <a:pt x="38" y="19"/>
                    <a:pt x="38" y="19"/>
                    <a:pt x="38" y="18"/>
                  </a:cubicBezTo>
                  <a:cubicBezTo>
                    <a:pt x="37" y="18"/>
                    <a:pt x="37" y="18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3"/>
                    <a:pt x="35" y="12"/>
                  </a:cubicBezTo>
                  <a:cubicBezTo>
                    <a:pt x="34" y="11"/>
                    <a:pt x="32" y="11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1"/>
                    <a:pt x="31" y="11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2" y="11"/>
                    <a:pt x="33" y="11"/>
                  </a:cubicBezTo>
                  <a:cubicBezTo>
                    <a:pt x="33" y="11"/>
                    <a:pt x="34" y="12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7" y="12"/>
                    <a:pt x="37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7" y="13"/>
                    <a:pt x="37" y="13"/>
                  </a:cubicBezTo>
                  <a:cubicBezTo>
                    <a:pt x="37" y="14"/>
                    <a:pt x="37" y="14"/>
                    <a:pt x="38" y="15"/>
                  </a:cubicBezTo>
                  <a:cubicBezTo>
                    <a:pt x="38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6"/>
                    <a:pt x="40" y="17"/>
                    <a:pt x="42" y="17"/>
                  </a:cubicBezTo>
                  <a:cubicBezTo>
                    <a:pt x="43" y="17"/>
                    <a:pt x="43" y="17"/>
                    <a:pt x="44" y="17"/>
                  </a:cubicBezTo>
                  <a:cubicBezTo>
                    <a:pt x="44" y="18"/>
                    <a:pt x="45" y="18"/>
                    <a:pt x="45" y="18"/>
                  </a:cubicBezTo>
                  <a:cubicBezTo>
                    <a:pt x="45" y="18"/>
                    <a:pt x="45" y="18"/>
                    <a:pt x="46" y="18"/>
                  </a:cubicBezTo>
                  <a:cubicBezTo>
                    <a:pt x="46" y="18"/>
                    <a:pt x="46" y="19"/>
                    <a:pt x="46" y="19"/>
                  </a:cubicBezTo>
                  <a:cubicBezTo>
                    <a:pt x="47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20"/>
                    <a:pt x="54" y="20"/>
                    <a:pt x="55" y="20"/>
                  </a:cubicBezTo>
                  <a:cubicBezTo>
                    <a:pt x="55" y="20"/>
                    <a:pt x="55" y="19"/>
                    <a:pt x="55" y="19"/>
                  </a:cubicBezTo>
                  <a:cubicBezTo>
                    <a:pt x="55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7" y="19"/>
                    <a:pt x="57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60" y="17"/>
                    <a:pt x="60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2" y="17"/>
                    <a:pt x="62" y="17"/>
                  </a:cubicBezTo>
                  <a:cubicBezTo>
                    <a:pt x="63" y="16"/>
                    <a:pt x="63" y="16"/>
                    <a:pt x="64" y="15"/>
                  </a:cubicBezTo>
                  <a:cubicBezTo>
                    <a:pt x="64" y="15"/>
                    <a:pt x="64" y="14"/>
                    <a:pt x="64" y="14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5" y="13"/>
                    <a:pt x="65" y="13"/>
                  </a:cubicBezTo>
                  <a:cubicBezTo>
                    <a:pt x="65" y="13"/>
                    <a:pt x="65" y="13"/>
                    <a:pt x="66" y="13"/>
                  </a:cubicBezTo>
                  <a:cubicBezTo>
                    <a:pt x="66" y="13"/>
                    <a:pt x="66" y="13"/>
                    <a:pt x="66" y="12"/>
                  </a:cubicBezTo>
                  <a:cubicBezTo>
                    <a:pt x="68" y="11"/>
                    <a:pt x="68" y="10"/>
                    <a:pt x="69" y="9"/>
                  </a:cubicBezTo>
                  <a:cubicBezTo>
                    <a:pt x="69" y="9"/>
                    <a:pt x="69" y="7"/>
                    <a:pt x="69" y="6"/>
                  </a:cubicBezTo>
                  <a:cubicBezTo>
                    <a:pt x="69" y="6"/>
                    <a:pt x="68" y="5"/>
                    <a:pt x="68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5" y="4"/>
                    <a:pt x="64" y="4"/>
                    <a:pt x="64" y="4"/>
                  </a:cubicBezTo>
                  <a:cubicBezTo>
                    <a:pt x="64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2" y="3"/>
                    <a:pt x="62" y="3"/>
                    <a:pt x="61" y="3"/>
                  </a:cubicBezTo>
                  <a:cubicBezTo>
                    <a:pt x="60" y="2"/>
                    <a:pt x="59" y="3"/>
                    <a:pt x="59" y="3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3"/>
                    <a:pt x="58" y="4"/>
                  </a:cubicBezTo>
                  <a:cubicBezTo>
                    <a:pt x="58" y="3"/>
                    <a:pt x="57" y="3"/>
                    <a:pt x="56" y="3"/>
                  </a:cubicBezTo>
                  <a:cubicBezTo>
                    <a:pt x="55" y="3"/>
                    <a:pt x="54" y="3"/>
                    <a:pt x="54" y="4"/>
                  </a:cubicBezTo>
                  <a:cubicBezTo>
                    <a:pt x="54" y="4"/>
                    <a:pt x="54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4"/>
                    <a:pt x="53" y="4"/>
                  </a:cubicBezTo>
                  <a:cubicBezTo>
                    <a:pt x="53" y="3"/>
                    <a:pt x="53" y="3"/>
                    <a:pt x="52" y="2"/>
                  </a:cubicBezTo>
                  <a:cubicBezTo>
                    <a:pt x="52" y="2"/>
                    <a:pt x="51" y="1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8" y="2"/>
                    <a:pt x="48" y="3"/>
                  </a:cubicBezTo>
                  <a:cubicBezTo>
                    <a:pt x="47" y="3"/>
                    <a:pt x="47" y="4"/>
                    <a:pt x="47" y="4"/>
                  </a:cubicBezTo>
                  <a:cubicBezTo>
                    <a:pt x="47" y="4"/>
                    <a:pt x="47" y="4"/>
                    <a:pt x="47" y="5"/>
                  </a:cubicBezTo>
                  <a:cubicBezTo>
                    <a:pt x="47" y="4"/>
                    <a:pt x="46" y="4"/>
                    <a:pt x="4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3" y="4"/>
                    <a:pt x="43" y="4"/>
                    <a:pt x="43" y="3"/>
                  </a:cubicBezTo>
                  <a:cubicBezTo>
                    <a:pt x="43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1" y="3"/>
                    <a:pt x="41" y="2"/>
                  </a:cubicBezTo>
                  <a:cubicBezTo>
                    <a:pt x="41" y="2"/>
                    <a:pt x="40" y="1"/>
                    <a:pt x="40" y="1"/>
                  </a:cubicBezTo>
                  <a:cubicBezTo>
                    <a:pt x="40" y="1"/>
                    <a:pt x="38" y="0"/>
                    <a:pt x="38" y="1"/>
                  </a:cubicBezTo>
                  <a:cubicBezTo>
                    <a:pt x="37" y="1"/>
                    <a:pt x="37" y="2"/>
                    <a:pt x="3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5" y="3"/>
                    <a:pt x="35" y="3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3" y="3"/>
                    <a:pt x="32" y="3"/>
                    <a:pt x="31" y="4"/>
                  </a:cubicBezTo>
                  <a:cubicBezTo>
                    <a:pt x="31" y="4"/>
                    <a:pt x="31" y="5"/>
                    <a:pt x="31" y="5"/>
                  </a:cubicBezTo>
                  <a:cubicBezTo>
                    <a:pt x="31" y="6"/>
                    <a:pt x="32" y="6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3" y="7"/>
                    <a:pt x="33" y="7"/>
                  </a:cubicBezTo>
                  <a:cubicBezTo>
                    <a:pt x="32" y="7"/>
                    <a:pt x="32" y="7"/>
                    <a:pt x="32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7"/>
                    <a:pt x="31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6"/>
                    <a:pt x="28" y="6"/>
                    <a:pt x="28" y="7"/>
                  </a:cubicBezTo>
                  <a:cubicBezTo>
                    <a:pt x="28" y="6"/>
                    <a:pt x="27" y="5"/>
                    <a:pt x="26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4" y="5"/>
                    <a:pt x="23" y="5"/>
                    <a:pt x="23" y="7"/>
                  </a:cubicBezTo>
                  <a:cubicBezTo>
                    <a:pt x="23" y="8"/>
                    <a:pt x="23" y="8"/>
                    <a:pt x="22" y="8"/>
                  </a:cubicBezTo>
                  <a:cubicBezTo>
                    <a:pt x="22" y="9"/>
                    <a:pt x="21" y="10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19" y="10"/>
                    <a:pt x="18" y="1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5" y="11"/>
                  </a:cubicBezTo>
                  <a:cubicBezTo>
                    <a:pt x="14" y="11"/>
                    <a:pt x="14" y="12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3" y="12"/>
                    <a:pt x="13" y="12"/>
                    <a:pt x="14" y="12"/>
                  </a:cubicBezTo>
                  <a:cubicBezTo>
                    <a:pt x="16" y="11"/>
                    <a:pt x="16" y="9"/>
                    <a:pt x="16" y="9"/>
                  </a:cubicBezTo>
                  <a:cubicBezTo>
                    <a:pt x="16" y="8"/>
                    <a:pt x="15" y="7"/>
                    <a:pt x="14" y="7"/>
                  </a:cubicBezTo>
                  <a:cubicBezTo>
                    <a:pt x="13" y="7"/>
                    <a:pt x="13" y="7"/>
                    <a:pt x="12" y="8"/>
                  </a:cubicBezTo>
                  <a:cubicBezTo>
                    <a:pt x="12" y="8"/>
                    <a:pt x="12" y="8"/>
                    <a:pt x="11" y="7"/>
                  </a:cubicBezTo>
                  <a:cubicBezTo>
                    <a:pt x="10" y="7"/>
                    <a:pt x="9" y="7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5" y="7"/>
                    <a:pt x="4" y="8"/>
                  </a:cubicBezTo>
                  <a:cubicBezTo>
                    <a:pt x="3" y="8"/>
                    <a:pt x="3" y="9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1" y="18"/>
                  </a:cubicBezTo>
                  <a:cubicBezTo>
                    <a:pt x="1" y="18"/>
                    <a:pt x="1" y="19"/>
                    <a:pt x="2" y="19"/>
                  </a:cubicBezTo>
                  <a:cubicBezTo>
                    <a:pt x="1" y="19"/>
                    <a:pt x="1" y="19"/>
                    <a:pt x="1" y="20"/>
                  </a:cubicBezTo>
                  <a:cubicBezTo>
                    <a:pt x="0" y="20"/>
                    <a:pt x="0" y="21"/>
                    <a:pt x="1" y="22"/>
                  </a:cubicBezTo>
                  <a:close/>
                  <a:moveTo>
                    <a:pt x="45" y="11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lose/>
                  <a:moveTo>
                    <a:pt x="54" y="18"/>
                  </a:move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lose/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8" y="3"/>
                    <a:pt x="38" y="3"/>
                    <a:pt x="38" y="3"/>
                  </a:cubicBezTo>
                  <a:close/>
                  <a:moveTo>
                    <a:pt x="10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10" y="35"/>
                    <a:pt x="10" y="35"/>
                    <a:pt x="10" y="35"/>
                  </a:cubicBezTo>
                  <a:lnTo>
                    <a:pt x="10" y="36"/>
                  </a:lnTo>
                  <a:close/>
                  <a:moveTo>
                    <a:pt x="20" y="27"/>
                  </a:moveTo>
                  <a:cubicBezTo>
                    <a:pt x="20" y="27"/>
                    <a:pt x="20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0" y="27"/>
                    <a:pt x="20" y="27"/>
                    <a:pt x="20" y="27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6"/>
                    <a:pt x="12" y="36"/>
                  </a:cubicBezTo>
                  <a:cubicBezTo>
                    <a:pt x="12" y="36"/>
                    <a:pt x="12" y="36"/>
                    <a:pt x="1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7"/>
                  </a:cubicBezTo>
                  <a:close/>
                  <a:moveTo>
                    <a:pt x="15" y="34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lnTo>
                    <a:pt x="15" y="34"/>
                  </a:lnTo>
                  <a:close/>
                  <a:moveTo>
                    <a:pt x="17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3" y="29"/>
                    <a:pt x="13" y="29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4" y="28"/>
                    <a:pt x="15" y="28"/>
                  </a:cubicBezTo>
                  <a:cubicBezTo>
                    <a:pt x="16" y="27"/>
                    <a:pt x="16" y="26"/>
                    <a:pt x="16" y="26"/>
                  </a:cubicBezTo>
                  <a:cubicBezTo>
                    <a:pt x="16" y="26"/>
                    <a:pt x="16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7" y="27"/>
                    <a:pt x="17" y="28"/>
                    <a:pt x="18" y="28"/>
                  </a:cubicBezTo>
                  <a:cubicBezTo>
                    <a:pt x="17" y="28"/>
                    <a:pt x="17" y="28"/>
                    <a:pt x="17" y="28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21" y="16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1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4"/>
                    <a:pt x="20" y="14"/>
                    <a:pt x="20" y="14"/>
                  </a:cubicBezTo>
                  <a:lnTo>
                    <a:pt x="21" y="16"/>
                  </a:lnTo>
                  <a:close/>
                  <a:moveTo>
                    <a:pt x="7" y="8"/>
                  </a:moveTo>
                  <a:cubicBezTo>
                    <a:pt x="7" y="8"/>
                    <a:pt x="7" y="8"/>
                    <a:pt x="8" y="8"/>
                  </a:cubicBezTo>
                  <a:cubicBezTo>
                    <a:pt x="7" y="9"/>
                    <a:pt x="7" y="9"/>
                    <a:pt x="7" y="9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3513" y="749"/>
              <a:ext cx="31" cy="19"/>
            </a:xfrm>
            <a:custGeom>
              <a:avLst/>
              <a:gdLst>
                <a:gd name="T0" fmla="*/ 6 w 13"/>
                <a:gd name="T1" fmla="*/ 7 h 8"/>
                <a:gd name="T2" fmla="*/ 7 w 13"/>
                <a:gd name="T3" fmla="*/ 7 h 8"/>
                <a:gd name="T4" fmla="*/ 10 w 13"/>
                <a:gd name="T5" fmla="*/ 6 h 8"/>
                <a:gd name="T6" fmla="*/ 10 w 13"/>
                <a:gd name="T7" fmla="*/ 5 h 8"/>
                <a:gd name="T8" fmla="*/ 10 w 13"/>
                <a:gd name="T9" fmla="*/ 5 h 8"/>
                <a:gd name="T10" fmla="*/ 12 w 13"/>
                <a:gd name="T11" fmla="*/ 3 h 8"/>
                <a:gd name="T12" fmla="*/ 12 w 13"/>
                <a:gd name="T13" fmla="*/ 1 h 8"/>
                <a:gd name="T14" fmla="*/ 10 w 13"/>
                <a:gd name="T15" fmla="*/ 0 h 8"/>
                <a:gd name="T16" fmla="*/ 8 w 13"/>
                <a:gd name="T17" fmla="*/ 0 h 8"/>
                <a:gd name="T18" fmla="*/ 7 w 13"/>
                <a:gd name="T19" fmla="*/ 0 h 8"/>
                <a:gd name="T20" fmla="*/ 7 w 13"/>
                <a:gd name="T21" fmla="*/ 1 h 8"/>
                <a:gd name="T22" fmla="*/ 6 w 13"/>
                <a:gd name="T23" fmla="*/ 3 h 8"/>
                <a:gd name="T24" fmla="*/ 5 w 13"/>
                <a:gd name="T25" fmla="*/ 3 h 8"/>
                <a:gd name="T26" fmla="*/ 2 w 13"/>
                <a:gd name="T27" fmla="*/ 4 h 8"/>
                <a:gd name="T28" fmla="*/ 0 w 13"/>
                <a:gd name="T29" fmla="*/ 5 h 8"/>
                <a:gd name="T30" fmla="*/ 0 w 13"/>
                <a:gd name="T31" fmla="*/ 7 h 8"/>
                <a:gd name="T32" fmla="*/ 1 w 13"/>
                <a:gd name="T33" fmla="*/ 6 h 8"/>
                <a:gd name="T34" fmla="*/ 0 w 13"/>
                <a:gd name="T35" fmla="*/ 7 h 8"/>
                <a:gd name="T36" fmla="*/ 1 w 13"/>
                <a:gd name="T37" fmla="*/ 8 h 8"/>
                <a:gd name="T38" fmla="*/ 1 w 13"/>
                <a:gd name="T39" fmla="*/ 8 h 8"/>
                <a:gd name="T40" fmla="*/ 4 w 13"/>
                <a:gd name="T41" fmla="*/ 7 h 8"/>
                <a:gd name="T42" fmla="*/ 5 w 13"/>
                <a:gd name="T43" fmla="*/ 7 h 8"/>
                <a:gd name="T44" fmla="*/ 6 w 13"/>
                <a:gd name="T4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" h="8">
                  <a:moveTo>
                    <a:pt x="6" y="7"/>
                  </a:moveTo>
                  <a:cubicBezTo>
                    <a:pt x="6" y="7"/>
                    <a:pt x="7" y="7"/>
                    <a:pt x="7" y="7"/>
                  </a:cubicBezTo>
                  <a:cubicBezTo>
                    <a:pt x="8" y="7"/>
                    <a:pt x="9" y="7"/>
                    <a:pt x="10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4"/>
                    <a:pt x="12" y="3"/>
                  </a:cubicBezTo>
                  <a:cubicBezTo>
                    <a:pt x="12" y="2"/>
                    <a:pt x="13" y="1"/>
                    <a:pt x="12" y="1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3"/>
                    <a:pt x="6" y="3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3" y="7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3314" y="1095"/>
              <a:ext cx="199" cy="232"/>
            </a:xfrm>
            <a:custGeom>
              <a:avLst/>
              <a:gdLst>
                <a:gd name="T0" fmla="*/ 82 w 84"/>
                <a:gd name="T1" fmla="*/ 75 h 98"/>
                <a:gd name="T2" fmla="*/ 75 w 84"/>
                <a:gd name="T3" fmla="*/ 65 h 98"/>
                <a:gd name="T4" fmla="*/ 75 w 84"/>
                <a:gd name="T5" fmla="*/ 52 h 98"/>
                <a:gd name="T6" fmla="*/ 70 w 84"/>
                <a:gd name="T7" fmla="*/ 39 h 98"/>
                <a:gd name="T8" fmla="*/ 69 w 84"/>
                <a:gd name="T9" fmla="*/ 33 h 98"/>
                <a:gd name="T10" fmla="*/ 66 w 84"/>
                <a:gd name="T11" fmla="*/ 28 h 98"/>
                <a:gd name="T12" fmla="*/ 75 w 84"/>
                <a:gd name="T13" fmla="*/ 16 h 98"/>
                <a:gd name="T14" fmla="*/ 63 w 84"/>
                <a:gd name="T15" fmla="*/ 11 h 98"/>
                <a:gd name="T16" fmla="*/ 69 w 84"/>
                <a:gd name="T17" fmla="*/ 2 h 98"/>
                <a:gd name="T18" fmla="*/ 55 w 84"/>
                <a:gd name="T19" fmla="*/ 4 h 98"/>
                <a:gd name="T20" fmla="*/ 49 w 84"/>
                <a:gd name="T21" fmla="*/ 13 h 98"/>
                <a:gd name="T22" fmla="*/ 44 w 84"/>
                <a:gd name="T23" fmla="*/ 12 h 98"/>
                <a:gd name="T24" fmla="*/ 47 w 84"/>
                <a:gd name="T25" fmla="*/ 10 h 98"/>
                <a:gd name="T26" fmla="*/ 50 w 84"/>
                <a:gd name="T27" fmla="*/ 2 h 98"/>
                <a:gd name="T28" fmla="*/ 44 w 84"/>
                <a:gd name="T29" fmla="*/ 5 h 98"/>
                <a:gd name="T30" fmla="*/ 40 w 84"/>
                <a:gd name="T31" fmla="*/ 10 h 98"/>
                <a:gd name="T32" fmla="*/ 39 w 84"/>
                <a:gd name="T33" fmla="*/ 15 h 98"/>
                <a:gd name="T34" fmla="*/ 41 w 84"/>
                <a:gd name="T35" fmla="*/ 15 h 98"/>
                <a:gd name="T36" fmla="*/ 43 w 84"/>
                <a:gd name="T37" fmla="*/ 18 h 98"/>
                <a:gd name="T38" fmla="*/ 45 w 84"/>
                <a:gd name="T39" fmla="*/ 21 h 98"/>
                <a:gd name="T40" fmla="*/ 37 w 84"/>
                <a:gd name="T41" fmla="*/ 26 h 98"/>
                <a:gd name="T42" fmla="*/ 44 w 84"/>
                <a:gd name="T43" fmla="*/ 32 h 98"/>
                <a:gd name="T44" fmla="*/ 39 w 84"/>
                <a:gd name="T45" fmla="*/ 36 h 98"/>
                <a:gd name="T46" fmla="*/ 37 w 84"/>
                <a:gd name="T47" fmla="*/ 37 h 98"/>
                <a:gd name="T48" fmla="*/ 30 w 84"/>
                <a:gd name="T49" fmla="*/ 36 h 98"/>
                <a:gd name="T50" fmla="*/ 22 w 84"/>
                <a:gd name="T51" fmla="*/ 41 h 98"/>
                <a:gd name="T52" fmla="*/ 17 w 84"/>
                <a:gd name="T53" fmla="*/ 47 h 98"/>
                <a:gd name="T54" fmla="*/ 11 w 84"/>
                <a:gd name="T55" fmla="*/ 50 h 98"/>
                <a:gd name="T56" fmla="*/ 8 w 84"/>
                <a:gd name="T57" fmla="*/ 56 h 98"/>
                <a:gd name="T58" fmla="*/ 9 w 84"/>
                <a:gd name="T59" fmla="*/ 60 h 98"/>
                <a:gd name="T60" fmla="*/ 4 w 84"/>
                <a:gd name="T61" fmla="*/ 69 h 98"/>
                <a:gd name="T62" fmla="*/ 1 w 84"/>
                <a:gd name="T63" fmla="*/ 78 h 98"/>
                <a:gd name="T64" fmla="*/ 12 w 84"/>
                <a:gd name="T65" fmla="*/ 79 h 98"/>
                <a:gd name="T66" fmla="*/ 23 w 84"/>
                <a:gd name="T67" fmla="*/ 74 h 98"/>
                <a:gd name="T68" fmla="*/ 30 w 84"/>
                <a:gd name="T69" fmla="*/ 71 h 98"/>
                <a:gd name="T70" fmla="*/ 35 w 84"/>
                <a:gd name="T71" fmla="*/ 60 h 98"/>
                <a:gd name="T72" fmla="*/ 38 w 84"/>
                <a:gd name="T73" fmla="*/ 53 h 98"/>
                <a:gd name="T74" fmla="*/ 41 w 84"/>
                <a:gd name="T75" fmla="*/ 42 h 98"/>
                <a:gd name="T76" fmla="*/ 47 w 84"/>
                <a:gd name="T77" fmla="*/ 33 h 98"/>
                <a:gd name="T78" fmla="*/ 45 w 84"/>
                <a:gd name="T79" fmla="*/ 41 h 98"/>
                <a:gd name="T80" fmla="*/ 45 w 84"/>
                <a:gd name="T81" fmla="*/ 47 h 98"/>
                <a:gd name="T82" fmla="*/ 51 w 84"/>
                <a:gd name="T83" fmla="*/ 46 h 98"/>
                <a:gd name="T84" fmla="*/ 52 w 84"/>
                <a:gd name="T85" fmla="*/ 49 h 98"/>
                <a:gd name="T86" fmla="*/ 53 w 84"/>
                <a:gd name="T87" fmla="*/ 54 h 98"/>
                <a:gd name="T88" fmla="*/ 50 w 84"/>
                <a:gd name="T89" fmla="*/ 60 h 98"/>
                <a:gd name="T90" fmla="*/ 43 w 84"/>
                <a:gd name="T91" fmla="*/ 59 h 98"/>
                <a:gd name="T92" fmla="*/ 40 w 84"/>
                <a:gd name="T93" fmla="*/ 65 h 98"/>
                <a:gd name="T94" fmla="*/ 42 w 84"/>
                <a:gd name="T95" fmla="*/ 72 h 98"/>
                <a:gd name="T96" fmla="*/ 38 w 84"/>
                <a:gd name="T97" fmla="*/ 81 h 98"/>
                <a:gd name="T98" fmla="*/ 38 w 84"/>
                <a:gd name="T99" fmla="*/ 84 h 98"/>
                <a:gd name="T100" fmla="*/ 33 w 84"/>
                <a:gd name="T101" fmla="*/ 96 h 98"/>
                <a:gd name="T102" fmla="*/ 47 w 84"/>
                <a:gd name="T103" fmla="*/ 92 h 98"/>
                <a:gd name="T104" fmla="*/ 54 w 84"/>
                <a:gd name="T105" fmla="*/ 91 h 98"/>
                <a:gd name="T106" fmla="*/ 63 w 84"/>
                <a:gd name="T107" fmla="*/ 91 h 98"/>
                <a:gd name="T108" fmla="*/ 72 w 84"/>
                <a:gd name="T109" fmla="*/ 90 h 98"/>
                <a:gd name="T110" fmla="*/ 76 w 84"/>
                <a:gd name="T111" fmla="*/ 83 h 98"/>
                <a:gd name="T112" fmla="*/ 75 w 84"/>
                <a:gd name="T113" fmla="*/ 65 h 98"/>
                <a:gd name="T114" fmla="*/ 46 w 84"/>
                <a:gd name="T115" fmla="*/ 13 h 98"/>
                <a:gd name="T116" fmla="*/ 49 w 84"/>
                <a:gd name="T117" fmla="*/ 6 h 98"/>
                <a:gd name="T118" fmla="*/ 68 w 84"/>
                <a:gd name="T119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" h="98">
                  <a:moveTo>
                    <a:pt x="78" y="79"/>
                  </a:moveTo>
                  <a:cubicBezTo>
                    <a:pt x="78" y="79"/>
                    <a:pt x="78" y="79"/>
                    <a:pt x="7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78"/>
                    <a:pt x="79" y="78"/>
                    <a:pt x="79" y="78"/>
                  </a:cubicBezTo>
                  <a:cubicBezTo>
                    <a:pt x="81" y="78"/>
                    <a:pt x="82" y="77"/>
                    <a:pt x="82" y="76"/>
                  </a:cubicBezTo>
                  <a:cubicBezTo>
                    <a:pt x="82" y="76"/>
                    <a:pt x="82" y="75"/>
                    <a:pt x="82" y="75"/>
                  </a:cubicBezTo>
                  <a:cubicBezTo>
                    <a:pt x="83" y="74"/>
                    <a:pt x="84" y="73"/>
                    <a:pt x="84" y="7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0"/>
                    <a:pt x="84" y="68"/>
                    <a:pt x="82" y="67"/>
                  </a:cubicBezTo>
                  <a:cubicBezTo>
                    <a:pt x="82" y="67"/>
                    <a:pt x="81" y="67"/>
                    <a:pt x="81" y="67"/>
                  </a:cubicBezTo>
                  <a:cubicBezTo>
                    <a:pt x="80" y="66"/>
                    <a:pt x="79" y="66"/>
                    <a:pt x="78" y="66"/>
                  </a:cubicBezTo>
                  <a:cubicBezTo>
                    <a:pt x="78" y="65"/>
                    <a:pt x="76" y="65"/>
                    <a:pt x="75" y="65"/>
                  </a:cubicBezTo>
                  <a:cubicBezTo>
                    <a:pt x="76" y="65"/>
                    <a:pt x="76" y="64"/>
                    <a:pt x="76" y="63"/>
                  </a:cubicBezTo>
                  <a:cubicBezTo>
                    <a:pt x="76" y="63"/>
                    <a:pt x="76" y="62"/>
                    <a:pt x="75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59"/>
                    <a:pt x="76" y="58"/>
                    <a:pt x="76" y="57"/>
                  </a:cubicBezTo>
                  <a:cubicBezTo>
                    <a:pt x="76" y="57"/>
                    <a:pt x="75" y="55"/>
                    <a:pt x="76" y="55"/>
                  </a:cubicBezTo>
                  <a:cubicBezTo>
                    <a:pt x="76" y="54"/>
                    <a:pt x="76" y="53"/>
                    <a:pt x="75" y="52"/>
                  </a:cubicBezTo>
                  <a:cubicBezTo>
                    <a:pt x="75" y="52"/>
                    <a:pt x="74" y="52"/>
                    <a:pt x="74" y="51"/>
                  </a:cubicBezTo>
                  <a:cubicBezTo>
                    <a:pt x="74" y="51"/>
                    <a:pt x="74" y="49"/>
                    <a:pt x="73" y="48"/>
                  </a:cubicBezTo>
                  <a:cubicBezTo>
                    <a:pt x="73" y="48"/>
                    <a:pt x="73" y="48"/>
                    <a:pt x="72" y="47"/>
                  </a:cubicBezTo>
                  <a:cubicBezTo>
                    <a:pt x="72" y="47"/>
                    <a:pt x="72" y="46"/>
                    <a:pt x="71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1"/>
                    <a:pt x="70" y="39"/>
                  </a:cubicBezTo>
                  <a:cubicBezTo>
                    <a:pt x="70" y="38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69" y="36"/>
                    <a:pt x="69" y="36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2"/>
                    <a:pt x="68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5" y="31"/>
                    <a:pt x="65" y="30"/>
                  </a:cubicBezTo>
                  <a:cubicBezTo>
                    <a:pt x="66" y="30"/>
                    <a:pt x="66" y="29"/>
                    <a:pt x="66" y="29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28"/>
                    <a:pt x="67" y="28"/>
                    <a:pt x="68" y="27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5"/>
                    <a:pt x="69" y="25"/>
                    <a:pt x="70" y="24"/>
                  </a:cubicBezTo>
                  <a:cubicBezTo>
                    <a:pt x="71" y="23"/>
                    <a:pt x="71" y="23"/>
                    <a:pt x="72" y="22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4" y="20"/>
                    <a:pt x="76" y="18"/>
                    <a:pt x="75" y="16"/>
                  </a:cubicBezTo>
                  <a:cubicBezTo>
                    <a:pt x="75" y="16"/>
                    <a:pt x="75" y="16"/>
                    <a:pt x="75" y="15"/>
                  </a:cubicBezTo>
                  <a:cubicBezTo>
                    <a:pt x="74" y="14"/>
                    <a:pt x="74" y="13"/>
                    <a:pt x="70" y="13"/>
                  </a:cubicBezTo>
                  <a:cubicBezTo>
                    <a:pt x="70" y="13"/>
                    <a:pt x="69" y="13"/>
                    <a:pt x="68" y="13"/>
                  </a:cubicBezTo>
                  <a:cubicBezTo>
                    <a:pt x="66" y="13"/>
                    <a:pt x="65" y="12"/>
                    <a:pt x="64" y="13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12"/>
                    <a:pt x="64" y="11"/>
                    <a:pt x="63" y="11"/>
                  </a:cubicBezTo>
                  <a:cubicBezTo>
                    <a:pt x="65" y="10"/>
                    <a:pt x="69" y="8"/>
                    <a:pt x="70" y="8"/>
                  </a:cubicBezTo>
                  <a:cubicBezTo>
                    <a:pt x="70" y="7"/>
                    <a:pt x="71" y="7"/>
                    <a:pt x="71" y="6"/>
                  </a:cubicBezTo>
                  <a:cubicBezTo>
                    <a:pt x="72" y="5"/>
                    <a:pt x="71" y="5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2" y="3"/>
                    <a:pt x="71" y="2"/>
                  </a:cubicBezTo>
                  <a:cubicBezTo>
                    <a:pt x="71" y="2"/>
                    <a:pt x="70" y="1"/>
                    <a:pt x="69" y="2"/>
                  </a:cubicBezTo>
                  <a:cubicBezTo>
                    <a:pt x="68" y="2"/>
                    <a:pt x="66" y="2"/>
                    <a:pt x="65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2" y="2"/>
                    <a:pt x="61" y="3"/>
                  </a:cubicBezTo>
                  <a:cubicBezTo>
                    <a:pt x="61" y="3"/>
                    <a:pt x="61" y="3"/>
                    <a:pt x="61" y="2"/>
                  </a:cubicBezTo>
                  <a:cubicBezTo>
                    <a:pt x="59" y="1"/>
                    <a:pt x="57" y="0"/>
                    <a:pt x="56" y="2"/>
                  </a:cubicBezTo>
                  <a:cubicBezTo>
                    <a:pt x="55" y="3"/>
                    <a:pt x="55" y="3"/>
                    <a:pt x="55" y="4"/>
                  </a:cubicBezTo>
                  <a:cubicBezTo>
                    <a:pt x="55" y="4"/>
                    <a:pt x="55" y="5"/>
                    <a:pt x="55" y="5"/>
                  </a:cubicBezTo>
                  <a:cubicBezTo>
                    <a:pt x="54" y="5"/>
                    <a:pt x="54" y="6"/>
                    <a:pt x="53" y="6"/>
                  </a:cubicBezTo>
                  <a:cubicBezTo>
                    <a:pt x="53" y="7"/>
                    <a:pt x="52" y="8"/>
                    <a:pt x="52" y="9"/>
                  </a:cubicBezTo>
                  <a:cubicBezTo>
                    <a:pt x="52" y="9"/>
                    <a:pt x="51" y="9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1"/>
                    <a:pt x="49" y="12"/>
                    <a:pt x="49" y="13"/>
                  </a:cubicBezTo>
                  <a:cubicBezTo>
                    <a:pt x="49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2"/>
                  </a:cubicBezTo>
                  <a:cubicBezTo>
                    <a:pt x="48" y="11"/>
                    <a:pt x="47" y="10"/>
                    <a:pt x="46" y="10"/>
                  </a:cubicBezTo>
                  <a:cubicBezTo>
                    <a:pt x="46" y="10"/>
                    <a:pt x="46" y="10"/>
                    <a:pt x="45" y="11"/>
                  </a:cubicBezTo>
                  <a:cubicBezTo>
                    <a:pt x="45" y="11"/>
                    <a:pt x="45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1"/>
                  </a:cubicBezTo>
                  <a:cubicBezTo>
                    <a:pt x="44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9" y="9"/>
                    <a:pt x="49" y="8"/>
                    <a:pt x="49" y="7"/>
                  </a:cubicBezTo>
                  <a:cubicBezTo>
                    <a:pt x="50" y="7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1" y="5"/>
                    <a:pt x="51" y="3"/>
                    <a:pt x="50" y="2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7" y="2"/>
                    <a:pt x="47" y="3"/>
                    <a:pt x="47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3" y="5"/>
                    <a:pt x="42" y="5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1" y="8"/>
                    <a:pt x="41" y="8"/>
                    <a:pt x="41" y="9"/>
                  </a:cubicBezTo>
                  <a:cubicBezTo>
                    <a:pt x="41" y="9"/>
                    <a:pt x="41" y="10"/>
                    <a:pt x="41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39" y="10"/>
                    <a:pt x="39" y="11"/>
                    <a:pt x="39" y="11"/>
                  </a:cubicBezTo>
                  <a:cubicBezTo>
                    <a:pt x="38" y="11"/>
                    <a:pt x="38" y="11"/>
                    <a:pt x="37" y="11"/>
                  </a:cubicBezTo>
                  <a:cubicBezTo>
                    <a:pt x="37" y="12"/>
                    <a:pt x="36" y="12"/>
                    <a:pt x="37" y="13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6"/>
                    <a:pt x="42" y="16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8"/>
                    <a:pt x="43" y="18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20"/>
                    <a:pt x="45" y="20"/>
                  </a:cubicBezTo>
                  <a:cubicBezTo>
                    <a:pt x="45" y="20"/>
                    <a:pt x="45" y="20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5" y="21"/>
                  </a:cubicBezTo>
                  <a:cubicBezTo>
                    <a:pt x="45" y="21"/>
                    <a:pt x="43" y="21"/>
                    <a:pt x="43" y="23"/>
                  </a:cubicBezTo>
                  <a:cubicBezTo>
                    <a:pt x="43" y="23"/>
                    <a:pt x="43" y="23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1" y="26"/>
                    <a:pt x="41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2" y="29"/>
                    <a:pt x="42" y="29"/>
                    <a:pt x="43" y="29"/>
                  </a:cubicBezTo>
                  <a:cubicBezTo>
                    <a:pt x="44" y="29"/>
                    <a:pt x="44" y="29"/>
                    <a:pt x="45" y="29"/>
                  </a:cubicBezTo>
                  <a:cubicBezTo>
                    <a:pt x="45" y="29"/>
                    <a:pt x="45" y="29"/>
                    <a:pt x="45" y="30"/>
                  </a:cubicBezTo>
                  <a:cubicBezTo>
                    <a:pt x="44" y="30"/>
                    <a:pt x="44" y="31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1"/>
                    <a:pt x="42" y="31"/>
                  </a:cubicBezTo>
                  <a:cubicBezTo>
                    <a:pt x="41" y="29"/>
                    <a:pt x="38" y="31"/>
                    <a:pt x="38" y="32"/>
                  </a:cubicBezTo>
                  <a:cubicBezTo>
                    <a:pt x="38" y="33"/>
                    <a:pt x="38" y="33"/>
                    <a:pt x="38" y="34"/>
                  </a:cubicBezTo>
                  <a:cubicBezTo>
                    <a:pt x="38" y="34"/>
                    <a:pt x="37" y="35"/>
                    <a:pt x="38" y="35"/>
                  </a:cubicBezTo>
                  <a:cubicBezTo>
                    <a:pt x="38" y="36"/>
                    <a:pt x="39" y="36"/>
                    <a:pt x="39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0" y="36"/>
                    <a:pt x="40" y="36"/>
                    <a:pt x="41" y="36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9"/>
                    <a:pt x="41" y="39"/>
                    <a:pt x="41" y="39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38"/>
                    <a:pt x="39" y="37"/>
                    <a:pt x="37" y="37"/>
                  </a:cubicBezTo>
                  <a:cubicBezTo>
                    <a:pt x="37" y="37"/>
                    <a:pt x="36" y="37"/>
                    <a:pt x="35" y="37"/>
                  </a:cubicBezTo>
                  <a:cubicBezTo>
                    <a:pt x="35" y="37"/>
                    <a:pt x="35" y="38"/>
                    <a:pt x="34" y="38"/>
                  </a:cubicBezTo>
                  <a:cubicBezTo>
                    <a:pt x="34" y="38"/>
                    <a:pt x="34" y="38"/>
                    <a:pt x="34" y="37"/>
                  </a:cubicBezTo>
                  <a:cubicBezTo>
                    <a:pt x="34" y="37"/>
                    <a:pt x="34" y="36"/>
                    <a:pt x="33" y="36"/>
                  </a:cubicBezTo>
                  <a:cubicBezTo>
                    <a:pt x="32" y="35"/>
                    <a:pt x="31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29" y="36"/>
                    <a:pt x="29" y="36"/>
                  </a:cubicBezTo>
                  <a:cubicBezTo>
                    <a:pt x="29" y="37"/>
                    <a:pt x="28" y="37"/>
                    <a:pt x="28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6" y="37"/>
                    <a:pt x="23" y="38"/>
                    <a:pt x="22" y="40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2"/>
                    <a:pt x="22" y="42"/>
                  </a:cubicBezTo>
                  <a:cubicBezTo>
                    <a:pt x="20" y="42"/>
                    <a:pt x="19" y="43"/>
                    <a:pt x="19" y="45"/>
                  </a:cubicBezTo>
                  <a:cubicBezTo>
                    <a:pt x="19" y="45"/>
                    <a:pt x="19" y="46"/>
                    <a:pt x="20" y="46"/>
                  </a:cubicBezTo>
                  <a:cubicBezTo>
                    <a:pt x="20" y="46"/>
                    <a:pt x="20" y="46"/>
                    <a:pt x="20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8" y="47"/>
                    <a:pt x="17" y="47"/>
                    <a:pt x="17" y="47"/>
                  </a:cubicBezTo>
                  <a:cubicBezTo>
                    <a:pt x="16" y="46"/>
                    <a:pt x="16" y="47"/>
                    <a:pt x="15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3" y="47"/>
                  </a:cubicBezTo>
                  <a:cubicBezTo>
                    <a:pt x="12" y="46"/>
                    <a:pt x="11" y="46"/>
                    <a:pt x="10" y="47"/>
                  </a:cubicBezTo>
                  <a:cubicBezTo>
                    <a:pt x="10" y="47"/>
                    <a:pt x="10" y="48"/>
                    <a:pt x="10" y="49"/>
                  </a:cubicBezTo>
                  <a:cubicBezTo>
                    <a:pt x="10" y="49"/>
                    <a:pt x="10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51"/>
                    <a:pt x="10" y="52"/>
                    <a:pt x="10" y="53"/>
                  </a:cubicBezTo>
                  <a:cubicBezTo>
                    <a:pt x="10" y="53"/>
                    <a:pt x="9" y="54"/>
                    <a:pt x="8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5"/>
                    <a:pt x="7" y="55"/>
                    <a:pt x="6" y="56"/>
                  </a:cubicBezTo>
                  <a:cubicBezTo>
                    <a:pt x="6" y="57"/>
                    <a:pt x="6" y="57"/>
                    <a:pt x="6" y="58"/>
                  </a:cubicBezTo>
                  <a:cubicBezTo>
                    <a:pt x="6" y="58"/>
                    <a:pt x="7" y="59"/>
                    <a:pt x="8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0"/>
                    <a:pt x="10" y="60"/>
                    <a:pt x="10" y="61"/>
                  </a:cubicBezTo>
                  <a:cubicBezTo>
                    <a:pt x="10" y="61"/>
                    <a:pt x="10" y="62"/>
                    <a:pt x="10" y="62"/>
                  </a:cubicBezTo>
                  <a:cubicBezTo>
                    <a:pt x="9" y="63"/>
                    <a:pt x="7" y="64"/>
                    <a:pt x="6" y="65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5" y="67"/>
                    <a:pt x="4" y="68"/>
                    <a:pt x="4" y="68"/>
                  </a:cubicBezTo>
                  <a:cubicBezTo>
                    <a:pt x="4" y="68"/>
                    <a:pt x="4" y="69"/>
                    <a:pt x="4" y="69"/>
                  </a:cubicBezTo>
                  <a:cubicBezTo>
                    <a:pt x="3" y="69"/>
                    <a:pt x="1" y="70"/>
                    <a:pt x="0" y="71"/>
                  </a:cubicBezTo>
                  <a:cubicBezTo>
                    <a:pt x="0" y="72"/>
                    <a:pt x="0" y="72"/>
                    <a:pt x="1" y="73"/>
                  </a:cubicBezTo>
                  <a:cubicBezTo>
                    <a:pt x="1" y="73"/>
                    <a:pt x="0" y="73"/>
                    <a:pt x="0" y="74"/>
                  </a:cubicBezTo>
                  <a:cubicBezTo>
                    <a:pt x="0" y="75"/>
                    <a:pt x="0" y="75"/>
                    <a:pt x="1" y="76"/>
                  </a:cubicBezTo>
                  <a:cubicBezTo>
                    <a:pt x="1" y="76"/>
                    <a:pt x="1" y="76"/>
                    <a:pt x="2" y="76"/>
                  </a:cubicBezTo>
                  <a:cubicBezTo>
                    <a:pt x="1" y="77"/>
                    <a:pt x="1" y="78"/>
                    <a:pt x="1" y="78"/>
                  </a:cubicBezTo>
                  <a:cubicBezTo>
                    <a:pt x="2" y="79"/>
                    <a:pt x="2" y="80"/>
                    <a:pt x="3" y="79"/>
                  </a:cubicBezTo>
                  <a:cubicBezTo>
                    <a:pt x="3" y="80"/>
                    <a:pt x="4" y="80"/>
                    <a:pt x="5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7" y="80"/>
                  </a:cubicBezTo>
                  <a:cubicBezTo>
                    <a:pt x="7" y="80"/>
                    <a:pt x="11" y="79"/>
                    <a:pt x="12" y="79"/>
                  </a:cubicBezTo>
                  <a:cubicBezTo>
                    <a:pt x="12" y="79"/>
                    <a:pt x="12" y="78"/>
                    <a:pt x="13" y="78"/>
                  </a:cubicBezTo>
                  <a:cubicBezTo>
                    <a:pt x="14" y="78"/>
                    <a:pt x="15" y="78"/>
                    <a:pt x="15" y="77"/>
                  </a:cubicBezTo>
                  <a:cubicBezTo>
                    <a:pt x="15" y="77"/>
                    <a:pt x="15" y="77"/>
                    <a:pt x="16" y="77"/>
                  </a:cubicBezTo>
                  <a:cubicBezTo>
                    <a:pt x="17" y="77"/>
                    <a:pt x="18" y="76"/>
                    <a:pt x="19" y="76"/>
                  </a:cubicBezTo>
                  <a:cubicBezTo>
                    <a:pt x="19" y="76"/>
                    <a:pt x="19" y="75"/>
                    <a:pt x="19" y="75"/>
                  </a:cubicBezTo>
                  <a:cubicBezTo>
                    <a:pt x="20" y="75"/>
                    <a:pt x="22" y="75"/>
                    <a:pt x="23" y="74"/>
                  </a:cubicBezTo>
                  <a:cubicBezTo>
                    <a:pt x="23" y="74"/>
                    <a:pt x="24" y="74"/>
                    <a:pt x="24" y="74"/>
                  </a:cubicBezTo>
                  <a:cubicBezTo>
                    <a:pt x="25" y="74"/>
                    <a:pt x="26" y="75"/>
                    <a:pt x="26" y="75"/>
                  </a:cubicBezTo>
                  <a:cubicBezTo>
                    <a:pt x="29" y="75"/>
                    <a:pt x="30" y="74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1" y="70"/>
                    <a:pt x="32" y="70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3" y="67"/>
                    <a:pt x="34" y="65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0"/>
                    <a:pt x="34" y="60"/>
                    <a:pt x="35" y="60"/>
                  </a:cubicBezTo>
                  <a:cubicBezTo>
                    <a:pt x="36" y="59"/>
                    <a:pt x="37" y="56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9" y="52"/>
                    <a:pt x="40" y="51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0"/>
                    <a:pt x="43" y="50"/>
                    <a:pt x="43" y="48"/>
                  </a:cubicBezTo>
                  <a:cubicBezTo>
                    <a:pt x="43" y="47"/>
                    <a:pt x="43" y="44"/>
                    <a:pt x="42" y="43"/>
                  </a:cubicBezTo>
                  <a:cubicBezTo>
                    <a:pt x="42" y="43"/>
                    <a:pt x="42" y="42"/>
                    <a:pt x="41" y="42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9"/>
                    <a:pt x="42" y="39"/>
                    <a:pt x="42" y="39"/>
                  </a:cubicBezTo>
                  <a:cubicBezTo>
                    <a:pt x="43" y="39"/>
                    <a:pt x="45" y="38"/>
                    <a:pt x="45" y="37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7" y="35"/>
                    <a:pt x="47" y="34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4"/>
                  </a:cubicBezTo>
                  <a:cubicBezTo>
                    <a:pt x="48" y="34"/>
                    <a:pt x="48" y="35"/>
                    <a:pt x="48" y="35"/>
                  </a:cubicBezTo>
                  <a:cubicBezTo>
                    <a:pt x="47" y="35"/>
                    <a:pt x="46" y="36"/>
                    <a:pt x="47" y="38"/>
                  </a:cubicBezTo>
                  <a:cubicBezTo>
                    <a:pt x="47" y="38"/>
                    <a:pt x="47" y="39"/>
                    <a:pt x="46" y="39"/>
                  </a:cubicBezTo>
                  <a:cubicBezTo>
                    <a:pt x="46" y="40"/>
                    <a:pt x="46" y="40"/>
                    <a:pt x="45" y="41"/>
                  </a:cubicBezTo>
                  <a:cubicBezTo>
                    <a:pt x="45" y="40"/>
                    <a:pt x="44" y="40"/>
                    <a:pt x="43" y="41"/>
                  </a:cubicBezTo>
                  <a:cubicBezTo>
                    <a:pt x="43" y="41"/>
                    <a:pt x="42" y="42"/>
                    <a:pt x="42" y="42"/>
                  </a:cubicBezTo>
                  <a:cubicBezTo>
                    <a:pt x="42" y="43"/>
                    <a:pt x="43" y="44"/>
                    <a:pt x="43" y="44"/>
                  </a:cubicBezTo>
                  <a:cubicBezTo>
                    <a:pt x="43" y="44"/>
                    <a:pt x="43" y="45"/>
                    <a:pt x="43" y="45"/>
                  </a:cubicBezTo>
                  <a:cubicBezTo>
                    <a:pt x="43" y="46"/>
                    <a:pt x="43" y="46"/>
                    <a:pt x="44" y="47"/>
                  </a:cubicBezTo>
                  <a:cubicBezTo>
                    <a:pt x="44" y="47"/>
                    <a:pt x="44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6" y="47"/>
                    <a:pt x="47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7" y="46"/>
                    <a:pt x="48" y="46"/>
                    <a:pt x="48" y="46"/>
                  </a:cubicBezTo>
                  <a:cubicBezTo>
                    <a:pt x="48" y="46"/>
                    <a:pt x="49" y="47"/>
                    <a:pt x="49" y="47"/>
                  </a:cubicBezTo>
                  <a:cubicBezTo>
                    <a:pt x="50" y="47"/>
                    <a:pt x="50" y="47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3" y="46"/>
                  </a:cubicBezTo>
                  <a:cubicBezTo>
                    <a:pt x="52" y="47"/>
                    <a:pt x="52" y="47"/>
                    <a:pt x="52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2" y="49"/>
                    <a:pt x="53" y="49"/>
                    <a:pt x="53" y="50"/>
                  </a:cubicBezTo>
                  <a:cubicBezTo>
                    <a:pt x="53" y="50"/>
                    <a:pt x="53" y="51"/>
                    <a:pt x="53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3" y="53"/>
                    <a:pt x="53" y="53"/>
                    <a:pt x="53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5"/>
                    <a:pt x="52" y="55"/>
                    <a:pt x="53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8"/>
                    <a:pt x="53" y="59"/>
                    <a:pt x="53" y="59"/>
                  </a:cubicBezTo>
                  <a:cubicBezTo>
                    <a:pt x="52" y="59"/>
                    <a:pt x="52" y="60"/>
                    <a:pt x="51" y="60"/>
                  </a:cubicBezTo>
                  <a:cubicBezTo>
                    <a:pt x="51" y="60"/>
                    <a:pt x="51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49" y="60"/>
                    <a:pt x="48" y="60"/>
                    <a:pt x="47" y="60"/>
                  </a:cubicBezTo>
                  <a:cubicBezTo>
                    <a:pt x="47" y="60"/>
                    <a:pt x="46" y="60"/>
                    <a:pt x="46" y="60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8"/>
                    <a:pt x="44" y="58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60"/>
                    <a:pt x="42" y="60"/>
                  </a:cubicBezTo>
                  <a:cubicBezTo>
                    <a:pt x="42" y="60"/>
                    <a:pt x="42" y="61"/>
                    <a:pt x="42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2"/>
                    <a:pt x="40" y="62"/>
                  </a:cubicBezTo>
                  <a:cubicBezTo>
                    <a:pt x="40" y="62"/>
                    <a:pt x="40" y="63"/>
                    <a:pt x="40" y="63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0" y="66"/>
                    <a:pt x="39" y="66"/>
                    <a:pt x="40" y="67"/>
                  </a:cubicBezTo>
                  <a:cubicBezTo>
                    <a:pt x="40" y="68"/>
                    <a:pt x="40" y="68"/>
                    <a:pt x="41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68"/>
                    <a:pt x="42" y="69"/>
                    <a:pt x="42" y="69"/>
                  </a:cubicBezTo>
                  <a:cubicBezTo>
                    <a:pt x="42" y="70"/>
                    <a:pt x="42" y="71"/>
                    <a:pt x="42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0" y="72"/>
                    <a:pt x="40" y="73"/>
                    <a:pt x="40" y="73"/>
                  </a:cubicBezTo>
                  <a:cubicBezTo>
                    <a:pt x="39" y="73"/>
                    <a:pt x="39" y="73"/>
                    <a:pt x="38" y="73"/>
                  </a:cubicBezTo>
                  <a:cubicBezTo>
                    <a:pt x="34" y="73"/>
                    <a:pt x="33" y="75"/>
                    <a:pt x="33" y="76"/>
                  </a:cubicBezTo>
                  <a:cubicBezTo>
                    <a:pt x="33" y="78"/>
                    <a:pt x="34" y="78"/>
                    <a:pt x="35" y="79"/>
                  </a:cubicBezTo>
                  <a:cubicBezTo>
                    <a:pt x="35" y="81"/>
                    <a:pt x="37" y="82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2"/>
                    <a:pt x="39" y="82"/>
                    <a:pt x="40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0" y="82"/>
                    <a:pt x="39" y="83"/>
                    <a:pt x="38" y="84"/>
                  </a:cubicBezTo>
                  <a:cubicBezTo>
                    <a:pt x="37" y="85"/>
                    <a:pt x="34" y="88"/>
                    <a:pt x="34" y="88"/>
                  </a:cubicBezTo>
                  <a:cubicBezTo>
                    <a:pt x="31" y="91"/>
                    <a:pt x="30" y="92"/>
                    <a:pt x="29" y="93"/>
                  </a:cubicBezTo>
                  <a:cubicBezTo>
                    <a:pt x="28" y="93"/>
                    <a:pt x="26" y="94"/>
                    <a:pt x="25" y="95"/>
                  </a:cubicBezTo>
                  <a:cubicBezTo>
                    <a:pt x="25" y="95"/>
                    <a:pt x="25" y="96"/>
                    <a:pt x="25" y="97"/>
                  </a:cubicBezTo>
                  <a:cubicBezTo>
                    <a:pt x="26" y="97"/>
                    <a:pt x="26" y="98"/>
                    <a:pt x="27" y="98"/>
                  </a:cubicBezTo>
                  <a:cubicBezTo>
                    <a:pt x="29" y="98"/>
                    <a:pt x="31" y="97"/>
                    <a:pt x="33" y="96"/>
                  </a:cubicBezTo>
                  <a:cubicBezTo>
                    <a:pt x="34" y="95"/>
                    <a:pt x="35" y="95"/>
                    <a:pt x="36" y="95"/>
                  </a:cubicBezTo>
                  <a:cubicBezTo>
                    <a:pt x="37" y="95"/>
                    <a:pt x="37" y="95"/>
                    <a:pt x="38" y="95"/>
                  </a:cubicBezTo>
                  <a:cubicBezTo>
                    <a:pt x="39" y="96"/>
                    <a:pt x="41" y="96"/>
                    <a:pt x="42" y="95"/>
                  </a:cubicBezTo>
                  <a:cubicBezTo>
                    <a:pt x="42" y="95"/>
                    <a:pt x="43" y="94"/>
                    <a:pt x="43" y="94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5" y="93"/>
                    <a:pt x="47" y="92"/>
                    <a:pt x="47" y="92"/>
                  </a:cubicBezTo>
                  <a:cubicBezTo>
                    <a:pt x="48" y="92"/>
                    <a:pt x="48" y="92"/>
                    <a:pt x="49" y="92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3"/>
                    <a:pt x="52" y="93"/>
                    <a:pt x="53" y="93"/>
                  </a:cubicBezTo>
                  <a:cubicBezTo>
                    <a:pt x="53" y="93"/>
                    <a:pt x="54" y="92"/>
                    <a:pt x="54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7" y="91"/>
                    <a:pt x="58" y="91"/>
                    <a:pt x="58" y="91"/>
                  </a:cubicBezTo>
                  <a:cubicBezTo>
                    <a:pt x="59" y="91"/>
                    <a:pt x="60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2" y="92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4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6" y="92"/>
                    <a:pt x="68" y="92"/>
                    <a:pt x="69" y="91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1" y="90"/>
                    <a:pt x="71" y="90"/>
                    <a:pt x="71" y="90"/>
                  </a:cubicBezTo>
                  <a:cubicBezTo>
                    <a:pt x="71" y="90"/>
                    <a:pt x="72" y="90"/>
                    <a:pt x="72" y="90"/>
                  </a:cubicBezTo>
                  <a:cubicBezTo>
                    <a:pt x="73" y="90"/>
                    <a:pt x="74" y="90"/>
                    <a:pt x="74" y="89"/>
                  </a:cubicBezTo>
                  <a:cubicBezTo>
                    <a:pt x="75" y="89"/>
                    <a:pt x="76" y="88"/>
                    <a:pt x="78" y="87"/>
                  </a:cubicBezTo>
                  <a:cubicBezTo>
                    <a:pt x="78" y="86"/>
                    <a:pt x="78" y="86"/>
                    <a:pt x="78" y="86"/>
                  </a:cubicBezTo>
                  <a:cubicBezTo>
                    <a:pt x="79" y="86"/>
                    <a:pt x="79" y="85"/>
                    <a:pt x="79" y="84"/>
                  </a:cubicBezTo>
                  <a:cubicBezTo>
                    <a:pt x="79" y="83"/>
                    <a:pt x="78" y="83"/>
                    <a:pt x="77" y="83"/>
                  </a:cubicBezTo>
                  <a:cubicBezTo>
                    <a:pt x="77" y="82"/>
                    <a:pt x="76" y="82"/>
                    <a:pt x="76" y="83"/>
                  </a:cubicBezTo>
                  <a:cubicBezTo>
                    <a:pt x="76" y="82"/>
                    <a:pt x="76" y="82"/>
                    <a:pt x="76" y="81"/>
                  </a:cubicBezTo>
                  <a:cubicBezTo>
                    <a:pt x="76" y="81"/>
                    <a:pt x="76" y="81"/>
                    <a:pt x="76" y="81"/>
                  </a:cubicBezTo>
                  <a:cubicBezTo>
                    <a:pt x="77" y="80"/>
                    <a:pt x="77" y="80"/>
                    <a:pt x="78" y="79"/>
                  </a:cubicBezTo>
                  <a:close/>
                  <a:moveTo>
                    <a:pt x="74" y="66"/>
                  </a:move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4" y="66"/>
                    <a:pt x="75" y="65"/>
                  </a:cubicBezTo>
                  <a:cubicBezTo>
                    <a:pt x="74" y="66"/>
                    <a:pt x="74" y="66"/>
                    <a:pt x="74" y="66"/>
                  </a:cubicBezTo>
                  <a:close/>
                  <a:moveTo>
                    <a:pt x="45" y="84"/>
                  </a:move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lose/>
                  <a:moveTo>
                    <a:pt x="45" y="13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3"/>
                    <a:pt x="44" y="13"/>
                    <a:pt x="45" y="13"/>
                  </a:cubicBezTo>
                  <a:close/>
                  <a:moveTo>
                    <a:pt x="49" y="6"/>
                  </a:moveTo>
                  <a:cubicBezTo>
                    <a:pt x="48" y="6"/>
                    <a:pt x="48" y="6"/>
                    <a:pt x="48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lose/>
                  <a:moveTo>
                    <a:pt x="45" y="6"/>
                  </a:move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lose/>
                  <a:moveTo>
                    <a:pt x="68" y="90"/>
                  </a:move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2" name="Freeform 71"/>
            <p:cNvSpPr>
              <a:spLocks noEditPoints="1"/>
            </p:cNvSpPr>
            <p:nvPr/>
          </p:nvSpPr>
          <p:spPr bwMode="auto">
            <a:xfrm>
              <a:off x="3508" y="1047"/>
              <a:ext cx="14" cy="26"/>
            </a:xfrm>
            <a:custGeom>
              <a:avLst/>
              <a:gdLst>
                <a:gd name="T0" fmla="*/ 2 w 6"/>
                <a:gd name="T1" fmla="*/ 11 h 11"/>
                <a:gd name="T2" fmla="*/ 5 w 6"/>
                <a:gd name="T3" fmla="*/ 8 h 11"/>
                <a:gd name="T4" fmla="*/ 5 w 6"/>
                <a:gd name="T5" fmla="*/ 7 h 11"/>
                <a:gd name="T6" fmla="*/ 6 w 6"/>
                <a:gd name="T7" fmla="*/ 4 h 11"/>
                <a:gd name="T8" fmla="*/ 6 w 6"/>
                <a:gd name="T9" fmla="*/ 1 h 11"/>
                <a:gd name="T10" fmla="*/ 2 w 6"/>
                <a:gd name="T11" fmla="*/ 1 h 11"/>
                <a:gd name="T12" fmla="*/ 2 w 6"/>
                <a:gd name="T13" fmla="*/ 4 h 11"/>
                <a:gd name="T14" fmla="*/ 0 w 6"/>
                <a:gd name="T15" fmla="*/ 5 h 11"/>
                <a:gd name="T16" fmla="*/ 1 w 6"/>
                <a:gd name="T17" fmla="*/ 7 h 11"/>
                <a:gd name="T18" fmla="*/ 1 w 6"/>
                <a:gd name="T19" fmla="*/ 7 h 11"/>
                <a:gd name="T20" fmla="*/ 1 w 6"/>
                <a:gd name="T21" fmla="*/ 7 h 11"/>
                <a:gd name="T22" fmla="*/ 1 w 6"/>
                <a:gd name="T23" fmla="*/ 10 h 11"/>
                <a:gd name="T24" fmla="*/ 2 w 6"/>
                <a:gd name="T25" fmla="*/ 11 h 11"/>
                <a:gd name="T26" fmla="*/ 1 w 6"/>
                <a:gd name="T27" fmla="*/ 7 h 11"/>
                <a:gd name="T28" fmla="*/ 1 w 6"/>
                <a:gd name="T29" fmla="*/ 7 h 11"/>
                <a:gd name="T30" fmla="*/ 2 w 6"/>
                <a:gd name="T31" fmla="*/ 7 h 11"/>
                <a:gd name="T32" fmla="*/ 2 w 6"/>
                <a:gd name="T33" fmla="*/ 7 h 11"/>
                <a:gd name="T34" fmla="*/ 1 w 6"/>
                <a:gd name="T3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11">
                  <a:moveTo>
                    <a:pt x="2" y="11"/>
                  </a:moveTo>
                  <a:cubicBezTo>
                    <a:pt x="3" y="11"/>
                    <a:pt x="5" y="10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6"/>
                    <a:pt x="6" y="5"/>
                    <a:pt x="6" y="4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2"/>
                    <a:pt x="1" y="3"/>
                    <a:pt x="2" y="4"/>
                  </a:cubicBezTo>
                  <a:cubicBezTo>
                    <a:pt x="1" y="4"/>
                    <a:pt x="1" y="4"/>
                    <a:pt x="0" y="5"/>
                  </a:cubicBezTo>
                  <a:cubicBezTo>
                    <a:pt x="0" y="6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9"/>
                    <a:pt x="1" y="10"/>
                  </a:cubicBezTo>
                  <a:cubicBezTo>
                    <a:pt x="1" y="10"/>
                    <a:pt x="2" y="11"/>
                    <a:pt x="2" y="11"/>
                  </a:cubicBez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auto">
            <a:xfrm>
              <a:off x="3473" y="1083"/>
              <a:ext cx="16" cy="16"/>
            </a:xfrm>
            <a:custGeom>
              <a:avLst/>
              <a:gdLst>
                <a:gd name="T0" fmla="*/ 6 w 7"/>
                <a:gd name="T1" fmla="*/ 1 h 7"/>
                <a:gd name="T2" fmla="*/ 5 w 7"/>
                <a:gd name="T3" fmla="*/ 0 h 7"/>
                <a:gd name="T4" fmla="*/ 4 w 7"/>
                <a:gd name="T5" fmla="*/ 0 h 7"/>
                <a:gd name="T6" fmla="*/ 3 w 7"/>
                <a:gd name="T7" fmla="*/ 1 h 7"/>
                <a:gd name="T8" fmla="*/ 3 w 7"/>
                <a:gd name="T9" fmla="*/ 1 h 7"/>
                <a:gd name="T10" fmla="*/ 1 w 7"/>
                <a:gd name="T11" fmla="*/ 2 h 7"/>
                <a:gd name="T12" fmla="*/ 1 w 7"/>
                <a:gd name="T13" fmla="*/ 5 h 7"/>
                <a:gd name="T14" fmla="*/ 2 w 7"/>
                <a:gd name="T15" fmla="*/ 6 h 7"/>
                <a:gd name="T16" fmla="*/ 3 w 7"/>
                <a:gd name="T17" fmla="*/ 6 h 7"/>
                <a:gd name="T18" fmla="*/ 5 w 7"/>
                <a:gd name="T19" fmla="*/ 7 h 7"/>
                <a:gd name="T20" fmla="*/ 6 w 7"/>
                <a:gd name="T21" fmla="*/ 6 h 7"/>
                <a:gd name="T22" fmla="*/ 7 w 7"/>
                <a:gd name="T23" fmla="*/ 5 h 7"/>
                <a:gd name="T24" fmla="*/ 5 w 7"/>
                <a:gd name="T25" fmla="*/ 3 h 7"/>
                <a:gd name="T26" fmla="*/ 6 w 7"/>
                <a:gd name="T27" fmla="*/ 2 h 7"/>
                <a:gd name="T28" fmla="*/ 6 w 7"/>
                <a:gd name="T2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7">
                  <a:moveTo>
                    <a:pt x="6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5" y="7"/>
                    <a:pt x="5" y="7"/>
                    <a:pt x="6" y="6"/>
                  </a:cubicBezTo>
                  <a:cubicBezTo>
                    <a:pt x="6" y="6"/>
                    <a:pt x="7" y="6"/>
                    <a:pt x="7" y="5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auto">
            <a:xfrm>
              <a:off x="3428" y="993"/>
              <a:ext cx="52" cy="35"/>
            </a:xfrm>
            <a:custGeom>
              <a:avLst/>
              <a:gdLst>
                <a:gd name="T0" fmla="*/ 8 w 22"/>
                <a:gd name="T1" fmla="*/ 4 h 15"/>
                <a:gd name="T2" fmla="*/ 0 w 22"/>
                <a:gd name="T3" fmla="*/ 5 h 15"/>
                <a:gd name="T4" fmla="*/ 8 w 22"/>
                <a:gd name="T5" fmla="*/ 6 h 15"/>
                <a:gd name="T6" fmla="*/ 9 w 22"/>
                <a:gd name="T7" fmla="*/ 6 h 15"/>
                <a:gd name="T8" fmla="*/ 10 w 22"/>
                <a:gd name="T9" fmla="*/ 7 h 15"/>
                <a:gd name="T10" fmla="*/ 10 w 22"/>
                <a:gd name="T11" fmla="*/ 7 h 15"/>
                <a:gd name="T12" fmla="*/ 10 w 22"/>
                <a:gd name="T13" fmla="*/ 8 h 15"/>
                <a:gd name="T14" fmla="*/ 10 w 22"/>
                <a:gd name="T15" fmla="*/ 8 h 15"/>
                <a:gd name="T16" fmla="*/ 10 w 22"/>
                <a:gd name="T17" fmla="*/ 9 h 15"/>
                <a:gd name="T18" fmla="*/ 9 w 22"/>
                <a:gd name="T19" fmla="*/ 9 h 15"/>
                <a:gd name="T20" fmla="*/ 8 w 22"/>
                <a:gd name="T21" fmla="*/ 11 h 15"/>
                <a:gd name="T22" fmla="*/ 8 w 22"/>
                <a:gd name="T23" fmla="*/ 12 h 15"/>
                <a:gd name="T24" fmla="*/ 8 w 22"/>
                <a:gd name="T25" fmla="*/ 13 h 15"/>
                <a:gd name="T26" fmla="*/ 9 w 22"/>
                <a:gd name="T27" fmla="*/ 15 h 15"/>
                <a:gd name="T28" fmla="*/ 10 w 22"/>
                <a:gd name="T29" fmla="*/ 15 h 15"/>
                <a:gd name="T30" fmla="*/ 10 w 22"/>
                <a:gd name="T31" fmla="*/ 15 h 15"/>
                <a:gd name="T32" fmla="*/ 12 w 22"/>
                <a:gd name="T33" fmla="*/ 14 h 15"/>
                <a:gd name="T34" fmla="*/ 12 w 22"/>
                <a:gd name="T35" fmla="*/ 13 h 15"/>
                <a:gd name="T36" fmla="*/ 12 w 22"/>
                <a:gd name="T37" fmla="*/ 13 h 15"/>
                <a:gd name="T38" fmla="*/ 12 w 22"/>
                <a:gd name="T39" fmla="*/ 10 h 15"/>
                <a:gd name="T40" fmla="*/ 12 w 22"/>
                <a:gd name="T41" fmla="*/ 10 h 15"/>
                <a:gd name="T42" fmla="*/ 14 w 22"/>
                <a:gd name="T43" fmla="*/ 9 h 15"/>
                <a:gd name="T44" fmla="*/ 14 w 22"/>
                <a:gd name="T45" fmla="*/ 8 h 15"/>
                <a:gd name="T46" fmla="*/ 14 w 22"/>
                <a:gd name="T47" fmla="*/ 7 h 15"/>
                <a:gd name="T48" fmla="*/ 14 w 22"/>
                <a:gd name="T49" fmla="*/ 6 h 15"/>
                <a:gd name="T50" fmla="*/ 14 w 22"/>
                <a:gd name="T51" fmla="*/ 6 h 15"/>
                <a:gd name="T52" fmla="*/ 15 w 22"/>
                <a:gd name="T53" fmla="*/ 5 h 15"/>
                <a:gd name="T54" fmla="*/ 22 w 22"/>
                <a:gd name="T55" fmla="*/ 4 h 15"/>
                <a:gd name="T56" fmla="*/ 16 w 22"/>
                <a:gd name="T57" fmla="*/ 4 h 15"/>
                <a:gd name="T58" fmla="*/ 16 w 22"/>
                <a:gd name="T59" fmla="*/ 3 h 15"/>
                <a:gd name="T60" fmla="*/ 14 w 22"/>
                <a:gd name="T61" fmla="*/ 1 h 15"/>
                <a:gd name="T62" fmla="*/ 14 w 22"/>
                <a:gd name="T63" fmla="*/ 0 h 15"/>
                <a:gd name="T64" fmla="*/ 13 w 22"/>
                <a:gd name="T65" fmla="*/ 1 h 15"/>
                <a:gd name="T66" fmla="*/ 12 w 22"/>
                <a:gd name="T67" fmla="*/ 2 h 15"/>
                <a:gd name="T68" fmla="*/ 11 w 22"/>
                <a:gd name="T69" fmla="*/ 1 h 15"/>
                <a:gd name="T70" fmla="*/ 9 w 22"/>
                <a:gd name="T71" fmla="*/ 2 h 15"/>
                <a:gd name="T72" fmla="*/ 9 w 22"/>
                <a:gd name="T73" fmla="*/ 3 h 15"/>
                <a:gd name="T74" fmla="*/ 8 w 22"/>
                <a:gd name="T75" fmla="*/ 3 h 15"/>
                <a:gd name="T76" fmla="*/ 8 w 22"/>
                <a:gd name="T77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" h="15">
                  <a:moveTo>
                    <a:pt x="8" y="4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10"/>
                    <a:pt x="8" y="10"/>
                    <a:pt x="8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9" y="15"/>
                    <a:pt x="9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2" y="15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2"/>
                    <a:pt x="13" y="11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4" y="10"/>
                    <a:pt x="14" y="9"/>
                  </a:cubicBezTo>
                  <a:cubicBezTo>
                    <a:pt x="14" y="9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5" y="6"/>
                    <a:pt x="15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2" y="2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1"/>
                    <a:pt x="9" y="1"/>
                    <a:pt x="9" y="2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5" name="Freeform 74"/>
            <p:cNvSpPr>
              <a:spLocks noEditPoints="1"/>
            </p:cNvSpPr>
            <p:nvPr/>
          </p:nvSpPr>
          <p:spPr bwMode="auto">
            <a:xfrm>
              <a:off x="2747" y="316"/>
              <a:ext cx="882" cy="698"/>
            </a:xfrm>
            <a:custGeom>
              <a:avLst/>
              <a:gdLst>
                <a:gd name="T0" fmla="*/ 124 w 373"/>
                <a:gd name="T1" fmla="*/ 242 h 295"/>
                <a:gd name="T2" fmla="*/ 148 w 373"/>
                <a:gd name="T3" fmla="*/ 236 h 295"/>
                <a:gd name="T4" fmla="*/ 174 w 373"/>
                <a:gd name="T5" fmla="*/ 225 h 295"/>
                <a:gd name="T6" fmla="*/ 203 w 373"/>
                <a:gd name="T7" fmla="*/ 212 h 295"/>
                <a:gd name="T8" fmla="*/ 237 w 373"/>
                <a:gd name="T9" fmla="*/ 202 h 295"/>
                <a:gd name="T10" fmla="*/ 243 w 373"/>
                <a:gd name="T11" fmla="*/ 186 h 295"/>
                <a:gd name="T12" fmla="*/ 247 w 373"/>
                <a:gd name="T13" fmla="*/ 175 h 295"/>
                <a:gd name="T14" fmla="*/ 270 w 373"/>
                <a:gd name="T15" fmla="*/ 170 h 295"/>
                <a:gd name="T16" fmla="*/ 286 w 373"/>
                <a:gd name="T17" fmla="*/ 154 h 295"/>
                <a:gd name="T18" fmla="*/ 293 w 373"/>
                <a:gd name="T19" fmla="*/ 140 h 295"/>
                <a:gd name="T20" fmla="*/ 297 w 373"/>
                <a:gd name="T21" fmla="*/ 119 h 295"/>
                <a:gd name="T22" fmla="*/ 314 w 373"/>
                <a:gd name="T23" fmla="*/ 100 h 295"/>
                <a:gd name="T24" fmla="*/ 360 w 373"/>
                <a:gd name="T25" fmla="*/ 66 h 295"/>
                <a:gd name="T26" fmla="*/ 335 w 373"/>
                <a:gd name="T27" fmla="*/ 58 h 295"/>
                <a:gd name="T28" fmla="*/ 339 w 373"/>
                <a:gd name="T29" fmla="*/ 50 h 295"/>
                <a:gd name="T30" fmla="*/ 334 w 373"/>
                <a:gd name="T31" fmla="*/ 33 h 295"/>
                <a:gd name="T32" fmla="*/ 276 w 373"/>
                <a:gd name="T33" fmla="*/ 30 h 295"/>
                <a:gd name="T34" fmla="*/ 244 w 373"/>
                <a:gd name="T35" fmla="*/ 42 h 295"/>
                <a:gd name="T36" fmla="*/ 212 w 373"/>
                <a:gd name="T37" fmla="*/ 29 h 295"/>
                <a:gd name="T38" fmla="*/ 183 w 373"/>
                <a:gd name="T39" fmla="*/ 33 h 295"/>
                <a:gd name="T40" fmla="*/ 183 w 373"/>
                <a:gd name="T41" fmla="*/ 29 h 295"/>
                <a:gd name="T42" fmla="*/ 169 w 373"/>
                <a:gd name="T43" fmla="*/ 7 h 295"/>
                <a:gd name="T44" fmla="*/ 121 w 373"/>
                <a:gd name="T45" fmla="*/ 4 h 295"/>
                <a:gd name="T46" fmla="*/ 94 w 373"/>
                <a:gd name="T47" fmla="*/ 3 h 295"/>
                <a:gd name="T48" fmla="*/ 80 w 373"/>
                <a:gd name="T49" fmla="*/ 29 h 295"/>
                <a:gd name="T50" fmla="*/ 67 w 373"/>
                <a:gd name="T51" fmla="*/ 25 h 295"/>
                <a:gd name="T52" fmla="*/ 42 w 373"/>
                <a:gd name="T53" fmla="*/ 15 h 295"/>
                <a:gd name="T54" fmla="*/ 14 w 373"/>
                <a:gd name="T55" fmla="*/ 44 h 295"/>
                <a:gd name="T56" fmla="*/ 36 w 373"/>
                <a:gd name="T57" fmla="*/ 62 h 295"/>
                <a:gd name="T58" fmla="*/ 5 w 373"/>
                <a:gd name="T59" fmla="*/ 72 h 295"/>
                <a:gd name="T60" fmla="*/ 36 w 373"/>
                <a:gd name="T61" fmla="*/ 81 h 295"/>
                <a:gd name="T62" fmla="*/ 69 w 373"/>
                <a:gd name="T63" fmla="*/ 64 h 295"/>
                <a:gd name="T64" fmla="*/ 112 w 373"/>
                <a:gd name="T65" fmla="*/ 48 h 295"/>
                <a:gd name="T66" fmla="*/ 158 w 373"/>
                <a:gd name="T67" fmla="*/ 36 h 295"/>
                <a:gd name="T68" fmla="*/ 148 w 373"/>
                <a:gd name="T69" fmla="*/ 51 h 295"/>
                <a:gd name="T70" fmla="*/ 113 w 373"/>
                <a:gd name="T71" fmla="*/ 57 h 295"/>
                <a:gd name="T72" fmla="*/ 100 w 373"/>
                <a:gd name="T73" fmla="*/ 77 h 295"/>
                <a:gd name="T74" fmla="*/ 93 w 373"/>
                <a:gd name="T75" fmla="*/ 97 h 295"/>
                <a:gd name="T76" fmla="*/ 122 w 373"/>
                <a:gd name="T77" fmla="*/ 101 h 295"/>
                <a:gd name="T78" fmla="*/ 122 w 373"/>
                <a:gd name="T79" fmla="*/ 126 h 295"/>
                <a:gd name="T80" fmla="*/ 105 w 373"/>
                <a:gd name="T81" fmla="*/ 147 h 295"/>
                <a:gd name="T82" fmla="*/ 109 w 373"/>
                <a:gd name="T83" fmla="*/ 168 h 295"/>
                <a:gd name="T84" fmla="*/ 102 w 373"/>
                <a:gd name="T85" fmla="*/ 181 h 295"/>
                <a:gd name="T86" fmla="*/ 78 w 373"/>
                <a:gd name="T87" fmla="*/ 196 h 295"/>
                <a:gd name="T88" fmla="*/ 62 w 373"/>
                <a:gd name="T89" fmla="*/ 221 h 295"/>
                <a:gd name="T90" fmla="*/ 53 w 373"/>
                <a:gd name="T91" fmla="*/ 248 h 295"/>
                <a:gd name="T92" fmla="*/ 52 w 373"/>
                <a:gd name="T93" fmla="*/ 278 h 295"/>
                <a:gd name="T94" fmla="*/ 64 w 373"/>
                <a:gd name="T95" fmla="*/ 295 h 295"/>
                <a:gd name="T96" fmla="*/ 93 w 373"/>
                <a:gd name="T97" fmla="*/ 276 h 295"/>
                <a:gd name="T98" fmla="*/ 166 w 373"/>
                <a:gd name="T99" fmla="*/ 30 h 295"/>
                <a:gd name="T100" fmla="*/ 100 w 373"/>
                <a:gd name="T101" fmla="*/ 30 h 295"/>
                <a:gd name="T102" fmla="*/ 61 w 373"/>
                <a:gd name="T103" fmla="*/ 47 h 295"/>
                <a:gd name="T104" fmla="*/ 50 w 373"/>
                <a:gd name="T105" fmla="*/ 44 h 295"/>
                <a:gd name="T106" fmla="*/ 40 w 373"/>
                <a:gd name="T107" fmla="*/ 45 h 295"/>
                <a:gd name="T108" fmla="*/ 251 w 373"/>
                <a:gd name="T109" fmla="*/ 38 h 295"/>
                <a:gd name="T110" fmla="*/ 311 w 373"/>
                <a:gd name="T111" fmla="*/ 47 h 295"/>
                <a:gd name="T112" fmla="*/ 314 w 373"/>
                <a:gd name="T113" fmla="*/ 66 h 295"/>
                <a:gd name="T114" fmla="*/ 331 w 373"/>
                <a:gd name="T115" fmla="*/ 74 h 295"/>
                <a:gd name="T116" fmla="*/ 91 w 373"/>
                <a:gd name="T117" fmla="*/ 196 h 295"/>
                <a:gd name="T118" fmla="*/ 112 w 373"/>
                <a:gd name="T119" fmla="*/ 257 h 295"/>
                <a:gd name="T120" fmla="*/ 138 w 373"/>
                <a:gd name="T121" fmla="*/ 4 h 295"/>
                <a:gd name="T122" fmla="*/ 76 w 373"/>
                <a:gd name="T123" fmla="*/ 29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295">
                  <a:moveTo>
                    <a:pt x="108" y="260"/>
                  </a:moveTo>
                  <a:cubicBezTo>
                    <a:pt x="109" y="260"/>
                    <a:pt x="109" y="260"/>
                    <a:pt x="109" y="260"/>
                  </a:cubicBezTo>
                  <a:cubicBezTo>
                    <a:pt x="109" y="260"/>
                    <a:pt x="110" y="259"/>
                    <a:pt x="110" y="259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1" y="259"/>
                    <a:pt x="111" y="259"/>
                    <a:pt x="111" y="259"/>
                  </a:cubicBezTo>
                  <a:cubicBezTo>
                    <a:pt x="111" y="259"/>
                    <a:pt x="112" y="259"/>
                    <a:pt x="113" y="258"/>
                  </a:cubicBezTo>
                  <a:cubicBezTo>
                    <a:pt x="113" y="258"/>
                    <a:pt x="113" y="257"/>
                    <a:pt x="114" y="257"/>
                  </a:cubicBezTo>
                  <a:cubicBezTo>
                    <a:pt x="114" y="257"/>
                    <a:pt x="114" y="256"/>
                    <a:pt x="115" y="256"/>
                  </a:cubicBezTo>
                  <a:cubicBezTo>
                    <a:pt x="115" y="256"/>
                    <a:pt x="115" y="256"/>
                    <a:pt x="115" y="256"/>
                  </a:cubicBezTo>
                  <a:cubicBezTo>
                    <a:pt x="116" y="256"/>
                    <a:pt x="117" y="255"/>
                    <a:pt x="118" y="253"/>
                  </a:cubicBezTo>
                  <a:cubicBezTo>
                    <a:pt x="118" y="253"/>
                    <a:pt x="118" y="253"/>
                    <a:pt x="118" y="252"/>
                  </a:cubicBezTo>
                  <a:cubicBezTo>
                    <a:pt x="118" y="252"/>
                    <a:pt x="119" y="252"/>
                    <a:pt x="119" y="251"/>
                  </a:cubicBezTo>
                  <a:cubicBezTo>
                    <a:pt x="119" y="249"/>
                    <a:pt x="118" y="248"/>
                    <a:pt x="117" y="248"/>
                  </a:cubicBezTo>
                  <a:cubicBezTo>
                    <a:pt x="117" y="248"/>
                    <a:pt x="117" y="248"/>
                    <a:pt x="116" y="248"/>
                  </a:cubicBezTo>
                  <a:cubicBezTo>
                    <a:pt x="116" y="248"/>
                    <a:pt x="116" y="248"/>
                    <a:pt x="116" y="248"/>
                  </a:cubicBezTo>
                  <a:cubicBezTo>
                    <a:pt x="116" y="248"/>
                    <a:pt x="116" y="248"/>
                    <a:pt x="116" y="248"/>
                  </a:cubicBezTo>
                  <a:cubicBezTo>
                    <a:pt x="117" y="248"/>
                    <a:pt x="117" y="248"/>
                    <a:pt x="118" y="248"/>
                  </a:cubicBezTo>
                  <a:cubicBezTo>
                    <a:pt x="118" y="248"/>
                    <a:pt x="119" y="248"/>
                    <a:pt x="119" y="248"/>
                  </a:cubicBezTo>
                  <a:cubicBezTo>
                    <a:pt x="119" y="248"/>
                    <a:pt x="119" y="248"/>
                    <a:pt x="119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9"/>
                    <a:pt x="120" y="249"/>
                    <a:pt x="121" y="249"/>
                  </a:cubicBezTo>
                  <a:cubicBezTo>
                    <a:pt x="122" y="249"/>
                    <a:pt x="122" y="249"/>
                    <a:pt x="123" y="248"/>
                  </a:cubicBezTo>
                  <a:cubicBezTo>
                    <a:pt x="123" y="247"/>
                    <a:pt x="123" y="247"/>
                    <a:pt x="123" y="246"/>
                  </a:cubicBezTo>
                  <a:cubicBezTo>
                    <a:pt x="123" y="246"/>
                    <a:pt x="123" y="245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3" y="245"/>
                    <a:pt x="123" y="244"/>
                    <a:pt x="123" y="244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2"/>
                    <a:pt x="123" y="241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4" y="240"/>
                    <a:pt x="124" y="240"/>
                    <a:pt x="124" y="240"/>
                  </a:cubicBezTo>
                  <a:cubicBezTo>
                    <a:pt x="124" y="242"/>
                    <a:pt x="124" y="242"/>
                    <a:pt x="124" y="242"/>
                  </a:cubicBezTo>
                  <a:cubicBezTo>
                    <a:pt x="125" y="241"/>
                    <a:pt x="125" y="241"/>
                    <a:pt x="125" y="241"/>
                  </a:cubicBezTo>
                  <a:cubicBezTo>
                    <a:pt x="125" y="242"/>
                    <a:pt x="125" y="243"/>
                    <a:pt x="126" y="243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8" y="243"/>
                    <a:pt x="129" y="242"/>
                    <a:pt x="129" y="241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30" y="241"/>
                    <a:pt x="130" y="240"/>
                    <a:pt x="130" y="240"/>
                  </a:cubicBezTo>
                  <a:cubicBezTo>
                    <a:pt x="131" y="240"/>
                    <a:pt x="131" y="239"/>
                    <a:pt x="132" y="239"/>
                  </a:cubicBezTo>
                  <a:cubicBezTo>
                    <a:pt x="132" y="238"/>
                    <a:pt x="132" y="238"/>
                    <a:pt x="132" y="237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32" y="237"/>
                    <a:pt x="132" y="236"/>
                    <a:pt x="132" y="236"/>
                  </a:cubicBezTo>
                  <a:cubicBezTo>
                    <a:pt x="133" y="236"/>
                    <a:pt x="133" y="235"/>
                    <a:pt x="133" y="235"/>
                  </a:cubicBezTo>
                  <a:cubicBezTo>
                    <a:pt x="133" y="235"/>
                    <a:pt x="133" y="235"/>
                    <a:pt x="134" y="235"/>
                  </a:cubicBezTo>
                  <a:cubicBezTo>
                    <a:pt x="134" y="236"/>
                    <a:pt x="135" y="235"/>
                    <a:pt x="136" y="235"/>
                  </a:cubicBezTo>
                  <a:cubicBezTo>
                    <a:pt x="136" y="235"/>
                    <a:pt x="136" y="235"/>
                    <a:pt x="136" y="235"/>
                  </a:cubicBezTo>
                  <a:cubicBezTo>
                    <a:pt x="136" y="235"/>
                    <a:pt x="137" y="235"/>
                    <a:pt x="137" y="235"/>
                  </a:cubicBezTo>
                  <a:cubicBezTo>
                    <a:pt x="137" y="236"/>
                    <a:pt x="138" y="237"/>
                    <a:pt x="139" y="237"/>
                  </a:cubicBezTo>
                  <a:cubicBezTo>
                    <a:pt x="139" y="237"/>
                    <a:pt x="140" y="236"/>
                    <a:pt x="140" y="236"/>
                  </a:cubicBezTo>
                  <a:cubicBezTo>
                    <a:pt x="141" y="236"/>
                    <a:pt x="141" y="236"/>
                    <a:pt x="141" y="236"/>
                  </a:cubicBezTo>
                  <a:cubicBezTo>
                    <a:pt x="142" y="236"/>
                    <a:pt x="142" y="236"/>
                    <a:pt x="143" y="235"/>
                  </a:cubicBezTo>
                  <a:cubicBezTo>
                    <a:pt x="143" y="235"/>
                    <a:pt x="143" y="235"/>
                    <a:pt x="143" y="235"/>
                  </a:cubicBezTo>
                  <a:cubicBezTo>
                    <a:pt x="143" y="235"/>
                    <a:pt x="143" y="235"/>
                    <a:pt x="143" y="235"/>
                  </a:cubicBezTo>
                  <a:cubicBezTo>
                    <a:pt x="143" y="234"/>
                    <a:pt x="144" y="234"/>
                    <a:pt x="144" y="234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233"/>
                    <a:pt x="144" y="233"/>
                    <a:pt x="144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5" y="232"/>
                    <a:pt x="145" y="233"/>
                    <a:pt x="146" y="233"/>
                  </a:cubicBezTo>
                  <a:cubicBezTo>
                    <a:pt x="146" y="233"/>
                    <a:pt x="146" y="233"/>
                    <a:pt x="146" y="233"/>
                  </a:cubicBezTo>
                  <a:cubicBezTo>
                    <a:pt x="146" y="233"/>
                    <a:pt x="146" y="234"/>
                    <a:pt x="146" y="234"/>
                  </a:cubicBezTo>
                  <a:cubicBezTo>
                    <a:pt x="146" y="235"/>
                    <a:pt x="147" y="236"/>
                    <a:pt x="148" y="236"/>
                  </a:cubicBezTo>
                  <a:cubicBezTo>
                    <a:pt x="148" y="236"/>
                    <a:pt x="149" y="235"/>
                    <a:pt x="149" y="234"/>
                  </a:cubicBezTo>
                  <a:cubicBezTo>
                    <a:pt x="149" y="234"/>
                    <a:pt x="150" y="234"/>
                    <a:pt x="150" y="233"/>
                  </a:cubicBezTo>
                  <a:cubicBezTo>
                    <a:pt x="150" y="233"/>
                    <a:pt x="150" y="233"/>
                    <a:pt x="150" y="233"/>
                  </a:cubicBezTo>
                  <a:cubicBezTo>
                    <a:pt x="150" y="233"/>
                    <a:pt x="150" y="233"/>
                    <a:pt x="150" y="233"/>
                  </a:cubicBezTo>
                  <a:cubicBezTo>
                    <a:pt x="150" y="233"/>
                    <a:pt x="150" y="233"/>
                    <a:pt x="151" y="233"/>
                  </a:cubicBezTo>
                  <a:cubicBezTo>
                    <a:pt x="151" y="233"/>
                    <a:pt x="151" y="234"/>
                    <a:pt x="151" y="234"/>
                  </a:cubicBezTo>
                  <a:cubicBezTo>
                    <a:pt x="152" y="234"/>
                    <a:pt x="152" y="234"/>
                    <a:pt x="152" y="234"/>
                  </a:cubicBezTo>
                  <a:cubicBezTo>
                    <a:pt x="153" y="234"/>
                    <a:pt x="153" y="233"/>
                    <a:pt x="154" y="233"/>
                  </a:cubicBezTo>
                  <a:cubicBezTo>
                    <a:pt x="154" y="233"/>
                    <a:pt x="154" y="233"/>
                    <a:pt x="154" y="233"/>
                  </a:cubicBezTo>
                  <a:cubicBezTo>
                    <a:pt x="154" y="234"/>
                    <a:pt x="155" y="234"/>
                    <a:pt x="156" y="234"/>
                  </a:cubicBezTo>
                  <a:cubicBezTo>
                    <a:pt x="157" y="234"/>
                    <a:pt x="158" y="233"/>
                    <a:pt x="158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8" y="231"/>
                    <a:pt x="158" y="231"/>
                    <a:pt x="158" y="231"/>
                  </a:cubicBezTo>
                  <a:cubicBezTo>
                    <a:pt x="159" y="231"/>
                    <a:pt x="159" y="231"/>
                    <a:pt x="159" y="231"/>
                  </a:cubicBezTo>
                  <a:cubicBezTo>
                    <a:pt x="159" y="231"/>
                    <a:pt x="159" y="231"/>
                    <a:pt x="159" y="231"/>
                  </a:cubicBezTo>
                  <a:cubicBezTo>
                    <a:pt x="160" y="231"/>
                    <a:pt x="160" y="231"/>
                    <a:pt x="160" y="230"/>
                  </a:cubicBezTo>
                  <a:cubicBezTo>
                    <a:pt x="161" y="230"/>
                    <a:pt x="161" y="229"/>
                    <a:pt x="161" y="2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2" y="229"/>
                    <a:pt x="162" y="229"/>
                    <a:pt x="162" y="229"/>
                  </a:cubicBezTo>
                  <a:cubicBezTo>
                    <a:pt x="162" y="229"/>
                    <a:pt x="164" y="229"/>
                    <a:pt x="165" y="229"/>
                  </a:cubicBezTo>
                  <a:cubicBezTo>
                    <a:pt x="165" y="229"/>
                    <a:pt x="165" y="229"/>
                    <a:pt x="165" y="229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9"/>
                    <a:pt x="165" y="229"/>
                    <a:pt x="165" y="229"/>
                  </a:cubicBezTo>
                  <a:cubicBezTo>
                    <a:pt x="165" y="229"/>
                    <a:pt x="165" y="229"/>
                    <a:pt x="165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8" y="229"/>
                    <a:pt x="168" y="228"/>
                    <a:pt x="169" y="227"/>
                  </a:cubicBezTo>
                  <a:cubicBezTo>
                    <a:pt x="168" y="227"/>
                    <a:pt x="168" y="227"/>
                    <a:pt x="168" y="227"/>
                  </a:cubicBezTo>
                  <a:cubicBezTo>
                    <a:pt x="169" y="227"/>
                    <a:pt x="169" y="227"/>
                    <a:pt x="169" y="227"/>
                  </a:cubicBezTo>
                  <a:cubicBezTo>
                    <a:pt x="169" y="227"/>
                    <a:pt x="169" y="227"/>
                    <a:pt x="169" y="227"/>
                  </a:cubicBezTo>
                  <a:cubicBezTo>
                    <a:pt x="170" y="227"/>
                    <a:pt x="171" y="227"/>
                    <a:pt x="172" y="227"/>
                  </a:cubicBezTo>
                  <a:cubicBezTo>
                    <a:pt x="172" y="226"/>
                    <a:pt x="173" y="226"/>
                    <a:pt x="174" y="225"/>
                  </a:cubicBezTo>
                  <a:cubicBezTo>
                    <a:pt x="174" y="225"/>
                    <a:pt x="175" y="224"/>
                    <a:pt x="175" y="224"/>
                  </a:cubicBezTo>
                  <a:cubicBezTo>
                    <a:pt x="175" y="223"/>
                    <a:pt x="175" y="223"/>
                    <a:pt x="175" y="223"/>
                  </a:cubicBezTo>
                  <a:cubicBezTo>
                    <a:pt x="175" y="223"/>
                    <a:pt x="176" y="223"/>
                    <a:pt x="176" y="222"/>
                  </a:cubicBezTo>
                  <a:cubicBezTo>
                    <a:pt x="176" y="222"/>
                    <a:pt x="176" y="222"/>
                    <a:pt x="176" y="222"/>
                  </a:cubicBezTo>
                  <a:cubicBezTo>
                    <a:pt x="177" y="222"/>
                    <a:pt x="177" y="222"/>
                    <a:pt x="177" y="221"/>
                  </a:cubicBezTo>
                  <a:cubicBezTo>
                    <a:pt x="178" y="221"/>
                    <a:pt x="178" y="220"/>
                    <a:pt x="178" y="219"/>
                  </a:cubicBezTo>
                  <a:cubicBezTo>
                    <a:pt x="178" y="219"/>
                    <a:pt x="178" y="219"/>
                    <a:pt x="178" y="219"/>
                  </a:cubicBezTo>
                  <a:cubicBezTo>
                    <a:pt x="179" y="219"/>
                    <a:pt x="179" y="219"/>
                    <a:pt x="179" y="219"/>
                  </a:cubicBezTo>
                  <a:cubicBezTo>
                    <a:pt x="179" y="219"/>
                    <a:pt x="180" y="219"/>
                    <a:pt x="181" y="219"/>
                  </a:cubicBezTo>
                  <a:cubicBezTo>
                    <a:pt x="181" y="218"/>
                    <a:pt x="182" y="218"/>
                    <a:pt x="182" y="217"/>
                  </a:cubicBezTo>
                  <a:cubicBezTo>
                    <a:pt x="182" y="217"/>
                    <a:pt x="183" y="216"/>
                    <a:pt x="183" y="216"/>
                  </a:cubicBezTo>
                  <a:cubicBezTo>
                    <a:pt x="183" y="216"/>
                    <a:pt x="184" y="215"/>
                    <a:pt x="184" y="215"/>
                  </a:cubicBezTo>
                  <a:cubicBezTo>
                    <a:pt x="184" y="214"/>
                    <a:pt x="184" y="214"/>
                    <a:pt x="185" y="214"/>
                  </a:cubicBezTo>
                  <a:cubicBezTo>
                    <a:pt x="185" y="214"/>
                    <a:pt x="185" y="214"/>
                    <a:pt x="186" y="214"/>
                  </a:cubicBezTo>
                  <a:cubicBezTo>
                    <a:pt x="186" y="213"/>
                    <a:pt x="186" y="213"/>
                    <a:pt x="186" y="213"/>
                  </a:cubicBezTo>
                  <a:cubicBezTo>
                    <a:pt x="186" y="214"/>
                    <a:pt x="186" y="214"/>
                    <a:pt x="186" y="214"/>
                  </a:cubicBezTo>
                  <a:cubicBezTo>
                    <a:pt x="187" y="214"/>
                    <a:pt x="187" y="214"/>
                    <a:pt x="187" y="214"/>
                  </a:cubicBezTo>
                  <a:cubicBezTo>
                    <a:pt x="188" y="214"/>
                    <a:pt x="188" y="214"/>
                    <a:pt x="188" y="214"/>
                  </a:cubicBezTo>
                  <a:cubicBezTo>
                    <a:pt x="189" y="214"/>
                    <a:pt x="189" y="214"/>
                    <a:pt x="190" y="214"/>
                  </a:cubicBezTo>
                  <a:cubicBezTo>
                    <a:pt x="191" y="214"/>
                    <a:pt x="192" y="213"/>
                    <a:pt x="192" y="211"/>
                  </a:cubicBezTo>
                  <a:cubicBezTo>
                    <a:pt x="192" y="211"/>
                    <a:pt x="192" y="211"/>
                    <a:pt x="192" y="210"/>
                  </a:cubicBezTo>
                  <a:cubicBezTo>
                    <a:pt x="192" y="210"/>
                    <a:pt x="193" y="210"/>
                    <a:pt x="193" y="210"/>
                  </a:cubicBezTo>
                  <a:cubicBezTo>
                    <a:pt x="193" y="211"/>
                    <a:pt x="193" y="211"/>
                    <a:pt x="194" y="212"/>
                  </a:cubicBezTo>
                  <a:cubicBezTo>
                    <a:pt x="194" y="212"/>
                    <a:pt x="195" y="212"/>
                    <a:pt x="196" y="212"/>
                  </a:cubicBezTo>
                  <a:cubicBezTo>
                    <a:pt x="196" y="211"/>
                    <a:pt x="196" y="211"/>
                    <a:pt x="196" y="211"/>
                  </a:cubicBezTo>
                  <a:cubicBezTo>
                    <a:pt x="197" y="212"/>
                    <a:pt x="197" y="212"/>
                    <a:pt x="197" y="212"/>
                  </a:cubicBezTo>
                  <a:cubicBezTo>
                    <a:pt x="197" y="212"/>
                    <a:pt x="197" y="212"/>
                    <a:pt x="198" y="211"/>
                  </a:cubicBezTo>
                  <a:cubicBezTo>
                    <a:pt x="198" y="212"/>
                    <a:pt x="199" y="212"/>
                    <a:pt x="199" y="212"/>
                  </a:cubicBezTo>
                  <a:cubicBezTo>
                    <a:pt x="200" y="212"/>
                    <a:pt x="200" y="212"/>
                    <a:pt x="200" y="212"/>
                  </a:cubicBezTo>
                  <a:cubicBezTo>
                    <a:pt x="201" y="212"/>
                    <a:pt x="201" y="212"/>
                    <a:pt x="201" y="212"/>
                  </a:cubicBezTo>
                  <a:cubicBezTo>
                    <a:pt x="201" y="212"/>
                    <a:pt x="202" y="212"/>
                    <a:pt x="203" y="212"/>
                  </a:cubicBezTo>
                  <a:cubicBezTo>
                    <a:pt x="204" y="211"/>
                    <a:pt x="204" y="211"/>
                    <a:pt x="204" y="210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6" y="210"/>
                    <a:pt x="206" y="210"/>
                    <a:pt x="206" y="210"/>
                  </a:cubicBezTo>
                  <a:cubicBezTo>
                    <a:pt x="206" y="211"/>
                    <a:pt x="207" y="211"/>
                    <a:pt x="208" y="211"/>
                  </a:cubicBezTo>
                  <a:cubicBezTo>
                    <a:pt x="208" y="211"/>
                    <a:pt x="208" y="211"/>
                    <a:pt x="208" y="211"/>
                  </a:cubicBezTo>
                  <a:cubicBezTo>
                    <a:pt x="208" y="211"/>
                    <a:pt x="209" y="211"/>
                    <a:pt x="209" y="211"/>
                  </a:cubicBezTo>
                  <a:cubicBezTo>
                    <a:pt x="210" y="211"/>
                    <a:pt x="210" y="211"/>
                    <a:pt x="210" y="211"/>
                  </a:cubicBezTo>
                  <a:cubicBezTo>
                    <a:pt x="210" y="211"/>
                    <a:pt x="210" y="211"/>
                    <a:pt x="211" y="211"/>
                  </a:cubicBezTo>
                  <a:cubicBezTo>
                    <a:pt x="211" y="211"/>
                    <a:pt x="211" y="211"/>
                    <a:pt x="211" y="211"/>
                  </a:cubicBezTo>
                  <a:cubicBezTo>
                    <a:pt x="211" y="211"/>
                    <a:pt x="211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3" y="211"/>
                    <a:pt x="213" y="211"/>
                    <a:pt x="214" y="211"/>
                  </a:cubicBezTo>
                  <a:cubicBezTo>
                    <a:pt x="214" y="211"/>
                    <a:pt x="214" y="210"/>
                    <a:pt x="215" y="210"/>
                  </a:cubicBezTo>
                  <a:cubicBezTo>
                    <a:pt x="215" y="210"/>
                    <a:pt x="215" y="210"/>
                    <a:pt x="215" y="210"/>
                  </a:cubicBezTo>
                  <a:cubicBezTo>
                    <a:pt x="216" y="210"/>
                    <a:pt x="218" y="210"/>
                    <a:pt x="218" y="210"/>
                  </a:cubicBezTo>
                  <a:cubicBezTo>
                    <a:pt x="219" y="210"/>
                    <a:pt x="219" y="210"/>
                    <a:pt x="219" y="210"/>
                  </a:cubicBezTo>
                  <a:cubicBezTo>
                    <a:pt x="220" y="210"/>
                    <a:pt x="220" y="210"/>
                    <a:pt x="221" y="209"/>
                  </a:cubicBezTo>
                  <a:cubicBezTo>
                    <a:pt x="221" y="209"/>
                    <a:pt x="221" y="209"/>
                    <a:pt x="221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4" y="209"/>
                    <a:pt x="224" y="208"/>
                    <a:pt x="225" y="208"/>
                  </a:cubicBezTo>
                  <a:cubicBezTo>
                    <a:pt x="225" y="208"/>
                    <a:pt x="225" y="208"/>
                    <a:pt x="225" y="208"/>
                  </a:cubicBezTo>
                  <a:cubicBezTo>
                    <a:pt x="226" y="207"/>
                    <a:pt x="227" y="207"/>
                    <a:pt x="227" y="207"/>
                  </a:cubicBezTo>
                  <a:cubicBezTo>
                    <a:pt x="227" y="207"/>
                    <a:pt x="228" y="207"/>
                    <a:pt x="228" y="207"/>
                  </a:cubicBezTo>
                  <a:cubicBezTo>
                    <a:pt x="228" y="207"/>
                    <a:pt x="229" y="207"/>
                    <a:pt x="230" y="207"/>
                  </a:cubicBezTo>
                  <a:cubicBezTo>
                    <a:pt x="231" y="207"/>
                    <a:pt x="232" y="206"/>
                    <a:pt x="232" y="206"/>
                  </a:cubicBezTo>
                  <a:cubicBezTo>
                    <a:pt x="233" y="205"/>
                    <a:pt x="234" y="205"/>
                    <a:pt x="234" y="204"/>
                  </a:cubicBezTo>
                  <a:cubicBezTo>
                    <a:pt x="235" y="203"/>
                    <a:pt x="235" y="203"/>
                    <a:pt x="236" y="202"/>
                  </a:cubicBezTo>
                  <a:cubicBezTo>
                    <a:pt x="236" y="202"/>
                    <a:pt x="236" y="202"/>
                    <a:pt x="237" y="202"/>
                  </a:cubicBezTo>
                  <a:cubicBezTo>
                    <a:pt x="237" y="202"/>
                    <a:pt x="238" y="202"/>
                    <a:pt x="238" y="202"/>
                  </a:cubicBezTo>
                  <a:cubicBezTo>
                    <a:pt x="238" y="202"/>
                    <a:pt x="238" y="202"/>
                    <a:pt x="238" y="202"/>
                  </a:cubicBezTo>
                  <a:cubicBezTo>
                    <a:pt x="238" y="202"/>
                    <a:pt x="238" y="202"/>
                    <a:pt x="239" y="202"/>
                  </a:cubicBezTo>
                  <a:cubicBezTo>
                    <a:pt x="239" y="202"/>
                    <a:pt x="239" y="203"/>
                    <a:pt x="240" y="203"/>
                  </a:cubicBezTo>
                  <a:cubicBezTo>
                    <a:pt x="241" y="203"/>
                    <a:pt x="241" y="202"/>
                    <a:pt x="242" y="202"/>
                  </a:cubicBezTo>
                  <a:cubicBezTo>
                    <a:pt x="242" y="202"/>
                    <a:pt x="242" y="201"/>
                    <a:pt x="242" y="201"/>
                  </a:cubicBezTo>
                  <a:cubicBezTo>
                    <a:pt x="242" y="201"/>
                    <a:pt x="242" y="201"/>
                    <a:pt x="242" y="201"/>
                  </a:cubicBezTo>
                  <a:cubicBezTo>
                    <a:pt x="243" y="201"/>
                    <a:pt x="243" y="201"/>
                    <a:pt x="244" y="200"/>
                  </a:cubicBezTo>
                  <a:cubicBezTo>
                    <a:pt x="244" y="200"/>
                    <a:pt x="245" y="200"/>
                    <a:pt x="245" y="199"/>
                  </a:cubicBezTo>
                  <a:cubicBezTo>
                    <a:pt x="245" y="199"/>
                    <a:pt x="245" y="199"/>
                    <a:pt x="246" y="199"/>
                  </a:cubicBezTo>
                  <a:cubicBezTo>
                    <a:pt x="246" y="198"/>
                    <a:pt x="247" y="198"/>
                    <a:pt x="247" y="198"/>
                  </a:cubicBezTo>
                  <a:cubicBezTo>
                    <a:pt x="247" y="197"/>
                    <a:pt x="247" y="197"/>
                    <a:pt x="247" y="197"/>
                  </a:cubicBezTo>
                  <a:cubicBezTo>
                    <a:pt x="248" y="198"/>
                    <a:pt x="248" y="198"/>
                    <a:pt x="248" y="198"/>
                  </a:cubicBezTo>
                  <a:cubicBezTo>
                    <a:pt x="248" y="198"/>
                    <a:pt x="248" y="197"/>
                    <a:pt x="248" y="197"/>
                  </a:cubicBezTo>
                  <a:cubicBezTo>
                    <a:pt x="248" y="198"/>
                    <a:pt x="249" y="198"/>
                    <a:pt x="249" y="198"/>
                  </a:cubicBezTo>
                  <a:cubicBezTo>
                    <a:pt x="249" y="198"/>
                    <a:pt x="249" y="198"/>
                    <a:pt x="249" y="198"/>
                  </a:cubicBezTo>
                  <a:cubicBezTo>
                    <a:pt x="251" y="198"/>
                    <a:pt x="252" y="197"/>
                    <a:pt x="252" y="196"/>
                  </a:cubicBezTo>
                  <a:cubicBezTo>
                    <a:pt x="252" y="196"/>
                    <a:pt x="252" y="195"/>
                    <a:pt x="253" y="195"/>
                  </a:cubicBezTo>
                  <a:cubicBezTo>
                    <a:pt x="253" y="195"/>
                    <a:pt x="254" y="195"/>
                    <a:pt x="255" y="195"/>
                  </a:cubicBezTo>
                  <a:cubicBezTo>
                    <a:pt x="255" y="194"/>
                    <a:pt x="256" y="194"/>
                    <a:pt x="256" y="193"/>
                  </a:cubicBezTo>
                  <a:cubicBezTo>
                    <a:pt x="257" y="193"/>
                    <a:pt x="257" y="192"/>
                    <a:pt x="256" y="191"/>
                  </a:cubicBezTo>
                  <a:cubicBezTo>
                    <a:pt x="256" y="191"/>
                    <a:pt x="256" y="190"/>
                    <a:pt x="254" y="190"/>
                  </a:cubicBezTo>
                  <a:cubicBezTo>
                    <a:pt x="254" y="190"/>
                    <a:pt x="254" y="190"/>
                    <a:pt x="254" y="190"/>
                  </a:cubicBezTo>
                  <a:cubicBezTo>
                    <a:pt x="253" y="190"/>
                    <a:pt x="253" y="190"/>
                    <a:pt x="253" y="190"/>
                  </a:cubicBezTo>
                  <a:cubicBezTo>
                    <a:pt x="253" y="190"/>
                    <a:pt x="253" y="190"/>
                    <a:pt x="252" y="190"/>
                  </a:cubicBezTo>
                  <a:cubicBezTo>
                    <a:pt x="252" y="190"/>
                    <a:pt x="252" y="190"/>
                    <a:pt x="252" y="190"/>
                  </a:cubicBezTo>
                  <a:cubicBezTo>
                    <a:pt x="251" y="190"/>
                    <a:pt x="250" y="190"/>
                    <a:pt x="249" y="189"/>
                  </a:cubicBezTo>
                  <a:cubicBezTo>
                    <a:pt x="248" y="189"/>
                    <a:pt x="248" y="189"/>
                    <a:pt x="248" y="189"/>
                  </a:cubicBezTo>
                  <a:cubicBezTo>
                    <a:pt x="248" y="189"/>
                    <a:pt x="248" y="189"/>
                    <a:pt x="247" y="188"/>
                  </a:cubicBezTo>
                  <a:cubicBezTo>
                    <a:pt x="247" y="188"/>
                    <a:pt x="247" y="188"/>
                    <a:pt x="247" y="188"/>
                  </a:cubicBezTo>
                  <a:cubicBezTo>
                    <a:pt x="246" y="186"/>
                    <a:pt x="244" y="186"/>
                    <a:pt x="243" y="186"/>
                  </a:cubicBezTo>
                  <a:cubicBezTo>
                    <a:pt x="243" y="186"/>
                    <a:pt x="243" y="186"/>
                    <a:pt x="243" y="186"/>
                  </a:cubicBezTo>
                  <a:cubicBezTo>
                    <a:pt x="243" y="186"/>
                    <a:pt x="243" y="186"/>
                    <a:pt x="242" y="186"/>
                  </a:cubicBezTo>
                  <a:cubicBezTo>
                    <a:pt x="241" y="185"/>
                    <a:pt x="240" y="185"/>
                    <a:pt x="239" y="186"/>
                  </a:cubicBezTo>
                  <a:cubicBezTo>
                    <a:pt x="239" y="186"/>
                    <a:pt x="239" y="186"/>
                    <a:pt x="238" y="186"/>
                  </a:cubicBezTo>
                  <a:cubicBezTo>
                    <a:pt x="238" y="186"/>
                    <a:pt x="238" y="187"/>
                    <a:pt x="238" y="187"/>
                  </a:cubicBezTo>
                  <a:cubicBezTo>
                    <a:pt x="238" y="187"/>
                    <a:pt x="237" y="187"/>
                    <a:pt x="237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6"/>
                    <a:pt x="235" y="186"/>
                  </a:cubicBezTo>
                  <a:cubicBezTo>
                    <a:pt x="235" y="185"/>
                    <a:pt x="235" y="185"/>
                    <a:pt x="234" y="185"/>
                  </a:cubicBezTo>
                  <a:cubicBezTo>
                    <a:pt x="234" y="184"/>
                    <a:pt x="233" y="184"/>
                    <a:pt x="232" y="184"/>
                  </a:cubicBezTo>
                  <a:cubicBezTo>
                    <a:pt x="232" y="185"/>
                    <a:pt x="232" y="185"/>
                    <a:pt x="232" y="185"/>
                  </a:cubicBezTo>
                  <a:cubicBezTo>
                    <a:pt x="231" y="185"/>
                    <a:pt x="231" y="184"/>
                    <a:pt x="231" y="184"/>
                  </a:cubicBezTo>
                  <a:cubicBezTo>
                    <a:pt x="230" y="184"/>
                    <a:pt x="230" y="184"/>
                    <a:pt x="230" y="184"/>
                  </a:cubicBezTo>
                  <a:cubicBezTo>
                    <a:pt x="231" y="183"/>
                    <a:pt x="231" y="183"/>
                    <a:pt x="232" y="182"/>
                  </a:cubicBezTo>
                  <a:cubicBezTo>
                    <a:pt x="232" y="182"/>
                    <a:pt x="232" y="182"/>
                    <a:pt x="233" y="181"/>
                  </a:cubicBezTo>
                  <a:cubicBezTo>
                    <a:pt x="233" y="181"/>
                    <a:pt x="233" y="181"/>
                    <a:pt x="233" y="181"/>
                  </a:cubicBezTo>
                  <a:cubicBezTo>
                    <a:pt x="233" y="181"/>
                    <a:pt x="233" y="181"/>
                    <a:pt x="234" y="181"/>
                  </a:cubicBezTo>
                  <a:cubicBezTo>
                    <a:pt x="234" y="181"/>
                    <a:pt x="234" y="181"/>
                    <a:pt x="235" y="180"/>
                  </a:cubicBezTo>
                  <a:cubicBezTo>
                    <a:pt x="235" y="180"/>
                    <a:pt x="236" y="180"/>
                    <a:pt x="236" y="180"/>
                  </a:cubicBezTo>
                  <a:cubicBezTo>
                    <a:pt x="236" y="180"/>
                    <a:pt x="237" y="180"/>
                    <a:pt x="237" y="180"/>
                  </a:cubicBezTo>
                  <a:cubicBezTo>
                    <a:pt x="238" y="180"/>
                    <a:pt x="240" y="180"/>
                    <a:pt x="241" y="179"/>
                  </a:cubicBezTo>
                  <a:cubicBezTo>
                    <a:pt x="241" y="179"/>
                    <a:pt x="241" y="179"/>
                    <a:pt x="241" y="179"/>
                  </a:cubicBezTo>
                  <a:cubicBezTo>
                    <a:pt x="242" y="179"/>
                    <a:pt x="242" y="179"/>
                    <a:pt x="243" y="179"/>
                  </a:cubicBezTo>
                  <a:cubicBezTo>
                    <a:pt x="243" y="179"/>
                    <a:pt x="244" y="179"/>
                    <a:pt x="245" y="178"/>
                  </a:cubicBezTo>
                  <a:cubicBezTo>
                    <a:pt x="246" y="178"/>
                    <a:pt x="246" y="178"/>
                    <a:pt x="247" y="177"/>
                  </a:cubicBezTo>
                  <a:cubicBezTo>
                    <a:pt x="247" y="176"/>
                    <a:pt x="247" y="175"/>
                    <a:pt x="246" y="174"/>
                  </a:cubicBezTo>
                  <a:cubicBezTo>
                    <a:pt x="246" y="174"/>
                    <a:pt x="246" y="174"/>
                    <a:pt x="246" y="174"/>
                  </a:cubicBezTo>
                  <a:cubicBezTo>
                    <a:pt x="246" y="174"/>
                    <a:pt x="246" y="174"/>
                    <a:pt x="247" y="175"/>
                  </a:cubicBezTo>
                  <a:cubicBezTo>
                    <a:pt x="247" y="175"/>
                    <a:pt x="247" y="175"/>
                    <a:pt x="247" y="175"/>
                  </a:cubicBezTo>
                  <a:cubicBezTo>
                    <a:pt x="247" y="176"/>
                    <a:pt x="248" y="176"/>
                    <a:pt x="248" y="177"/>
                  </a:cubicBezTo>
                  <a:cubicBezTo>
                    <a:pt x="248" y="177"/>
                    <a:pt x="248" y="177"/>
                    <a:pt x="248" y="177"/>
                  </a:cubicBezTo>
                  <a:cubicBezTo>
                    <a:pt x="249" y="178"/>
                    <a:pt x="249" y="179"/>
                    <a:pt x="249" y="179"/>
                  </a:cubicBezTo>
                  <a:cubicBezTo>
                    <a:pt x="249" y="179"/>
                    <a:pt x="249" y="180"/>
                    <a:pt x="249" y="180"/>
                  </a:cubicBezTo>
                  <a:cubicBezTo>
                    <a:pt x="249" y="181"/>
                    <a:pt x="248" y="182"/>
                    <a:pt x="249" y="183"/>
                  </a:cubicBezTo>
                  <a:cubicBezTo>
                    <a:pt x="249" y="184"/>
                    <a:pt x="249" y="185"/>
                    <a:pt x="250" y="186"/>
                  </a:cubicBezTo>
                  <a:cubicBezTo>
                    <a:pt x="250" y="186"/>
                    <a:pt x="250" y="186"/>
                    <a:pt x="250" y="186"/>
                  </a:cubicBezTo>
                  <a:cubicBezTo>
                    <a:pt x="251" y="188"/>
                    <a:pt x="252" y="189"/>
                    <a:pt x="253" y="189"/>
                  </a:cubicBezTo>
                  <a:cubicBezTo>
                    <a:pt x="254" y="189"/>
                    <a:pt x="254" y="189"/>
                    <a:pt x="254" y="189"/>
                  </a:cubicBezTo>
                  <a:cubicBezTo>
                    <a:pt x="255" y="189"/>
                    <a:pt x="256" y="189"/>
                    <a:pt x="256" y="189"/>
                  </a:cubicBezTo>
                  <a:cubicBezTo>
                    <a:pt x="256" y="189"/>
                    <a:pt x="257" y="189"/>
                    <a:pt x="257" y="190"/>
                  </a:cubicBezTo>
                  <a:cubicBezTo>
                    <a:pt x="257" y="191"/>
                    <a:pt x="259" y="192"/>
                    <a:pt x="260" y="191"/>
                  </a:cubicBezTo>
                  <a:cubicBezTo>
                    <a:pt x="261" y="191"/>
                    <a:pt x="262" y="190"/>
                    <a:pt x="262" y="189"/>
                  </a:cubicBezTo>
                  <a:cubicBezTo>
                    <a:pt x="262" y="189"/>
                    <a:pt x="262" y="188"/>
                    <a:pt x="263" y="188"/>
                  </a:cubicBezTo>
                  <a:cubicBezTo>
                    <a:pt x="263" y="187"/>
                    <a:pt x="263" y="187"/>
                    <a:pt x="263" y="187"/>
                  </a:cubicBezTo>
                  <a:cubicBezTo>
                    <a:pt x="263" y="186"/>
                    <a:pt x="263" y="186"/>
                    <a:pt x="263" y="186"/>
                  </a:cubicBezTo>
                  <a:cubicBezTo>
                    <a:pt x="263" y="185"/>
                    <a:pt x="264" y="185"/>
                    <a:pt x="264" y="184"/>
                  </a:cubicBezTo>
                  <a:cubicBezTo>
                    <a:pt x="264" y="184"/>
                    <a:pt x="264" y="183"/>
                    <a:pt x="264" y="182"/>
                  </a:cubicBezTo>
                  <a:cubicBezTo>
                    <a:pt x="264" y="181"/>
                    <a:pt x="264" y="181"/>
                    <a:pt x="265" y="180"/>
                  </a:cubicBezTo>
                  <a:cubicBezTo>
                    <a:pt x="265" y="180"/>
                    <a:pt x="265" y="180"/>
                    <a:pt x="265" y="180"/>
                  </a:cubicBezTo>
                  <a:cubicBezTo>
                    <a:pt x="265" y="179"/>
                    <a:pt x="266" y="179"/>
                    <a:pt x="266" y="178"/>
                  </a:cubicBezTo>
                  <a:cubicBezTo>
                    <a:pt x="266" y="178"/>
                    <a:pt x="266" y="176"/>
                    <a:pt x="266" y="175"/>
                  </a:cubicBezTo>
                  <a:cubicBezTo>
                    <a:pt x="266" y="175"/>
                    <a:pt x="266" y="175"/>
                    <a:pt x="266" y="174"/>
                  </a:cubicBezTo>
                  <a:cubicBezTo>
                    <a:pt x="266" y="174"/>
                    <a:pt x="267" y="174"/>
                    <a:pt x="267" y="173"/>
                  </a:cubicBezTo>
                  <a:cubicBezTo>
                    <a:pt x="267" y="172"/>
                    <a:pt x="266" y="171"/>
                    <a:pt x="266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66" y="170"/>
                    <a:pt x="266" y="170"/>
                    <a:pt x="266" y="169"/>
                  </a:cubicBezTo>
                  <a:cubicBezTo>
                    <a:pt x="267" y="170"/>
                    <a:pt x="268" y="171"/>
                    <a:pt x="268" y="171"/>
                  </a:cubicBezTo>
                  <a:cubicBezTo>
                    <a:pt x="268" y="171"/>
                    <a:pt x="269" y="171"/>
                    <a:pt x="269" y="170"/>
                  </a:cubicBezTo>
                  <a:cubicBezTo>
                    <a:pt x="269" y="170"/>
                    <a:pt x="269" y="170"/>
                    <a:pt x="269" y="170"/>
                  </a:cubicBezTo>
                  <a:cubicBezTo>
                    <a:pt x="270" y="170"/>
                    <a:pt x="270" y="170"/>
                    <a:pt x="270" y="170"/>
                  </a:cubicBezTo>
                  <a:cubicBezTo>
                    <a:pt x="270" y="169"/>
                    <a:pt x="270" y="169"/>
                    <a:pt x="270" y="168"/>
                  </a:cubicBezTo>
                  <a:cubicBezTo>
                    <a:pt x="270" y="168"/>
                    <a:pt x="270" y="168"/>
                    <a:pt x="270" y="168"/>
                  </a:cubicBezTo>
                  <a:cubicBezTo>
                    <a:pt x="271" y="168"/>
                    <a:pt x="271" y="168"/>
                    <a:pt x="271" y="167"/>
                  </a:cubicBezTo>
                  <a:cubicBezTo>
                    <a:pt x="272" y="167"/>
                    <a:pt x="272" y="166"/>
                    <a:pt x="271" y="165"/>
                  </a:cubicBezTo>
                  <a:cubicBezTo>
                    <a:pt x="271" y="164"/>
                    <a:pt x="271" y="164"/>
                    <a:pt x="270" y="163"/>
                  </a:cubicBezTo>
                  <a:cubicBezTo>
                    <a:pt x="271" y="163"/>
                    <a:pt x="271" y="163"/>
                    <a:pt x="271" y="163"/>
                  </a:cubicBezTo>
                  <a:cubicBezTo>
                    <a:pt x="272" y="163"/>
                    <a:pt x="272" y="163"/>
                    <a:pt x="273" y="162"/>
                  </a:cubicBezTo>
                  <a:cubicBezTo>
                    <a:pt x="273" y="162"/>
                    <a:pt x="273" y="162"/>
                    <a:pt x="273" y="162"/>
                  </a:cubicBezTo>
                  <a:cubicBezTo>
                    <a:pt x="273" y="161"/>
                    <a:pt x="274" y="161"/>
                    <a:pt x="274" y="160"/>
                  </a:cubicBezTo>
                  <a:cubicBezTo>
                    <a:pt x="274" y="159"/>
                    <a:pt x="274" y="159"/>
                    <a:pt x="274" y="158"/>
                  </a:cubicBezTo>
                  <a:cubicBezTo>
                    <a:pt x="273" y="157"/>
                    <a:pt x="272" y="157"/>
                    <a:pt x="270" y="157"/>
                  </a:cubicBezTo>
                  <a:cubicBezTo>
                    <a:pt x="270" y="157"/>
                    <a:pt x="270" y="157"/>
                    <a:pt x="270" y="156"/>
                  </a:cubicBezTo>
                  <a:cubicBezTo>
                    <a:pt x="270" y="155"/>
                    <a:pt x="269" y="155"/>
                    <a:pt x="269" y="154"/>
                  </a:cubicBezTo>
                  <a:cubicBezTo>
                    <a:pt x="268" y="154"/>
                    <a:pt x="268" y="154"/>
                    <a:pt x="268" y="154"/>
                  </a:cubicBezTo>
                  <a:cubicBezTo>
                    <a:pt x="268" y="154"/>
                    <a:pt x="268" y="154"/>
                    <a:pt x="268" y="154"/>
                  </a:cubicBezTo>
                  <a:cubicBezTo>
                    <a:pt x="268" y="153"/>
                    <a:pt x="268" y="153"/>
                    <a:pt x="267" y="152"/>
                  </a:cubicBezTo>
                  <a:cubicBezTo>
                    <a:pt x="268" y="152"/>
                    <a:pt x="268" y="152"/>
                    <a:pt x="268" y="151"/>
                  </a:cubicBezTo>
                  <a:cubicBezTo>
                    <a:pt x="268" y="151"/>
                    <a:pt x="268" y="151"/>
                    <a:pt x="268" y="151"/>
                  </a:cubicBezTo>
                  <a:cubicBezTo>
                    <a:pt x="268" y="152"/>
                    <a:pt x="269" y="153"/>
                    <a:pt x="270" y="153"/>
                  </a:cubicBezTo>
                  <a:cubicBezTo>
                    <a:pt x="270" y="154"/>
                    <a:pt x="270" y="154"/>
                    <a:pt x="271" y="154"/>
                  </a:cubicBezTo>
                  <a:cubicBezTo>
                    <a:pt x="271" y="155"/>
                    <a:pt x="271" y="156"/>
                    <a:pt x="273" y="157"/>
                  </a:cubicBezTo>
                  <a:cubicBezTo>
                    <a:pt x="274" y="157"/>
                    <a:pt x="275" y="157"/>
                    <a:pt x="276" y="157"/>
                  </a:cubicBezTo>
                  <a:cubicBezTo>
                    <a:pt x="276" y="156"/>
                    <a:pt x="276" y="156"/>
                    <a:pt x="276" y="156"/>
                  </a:cubicBezTo>
                  <a:cubicBezTo>
                    <a:pt x="276" y="156"/>
                    <a:pt x="276" y="156"/>
                    <a:pt x="277" y="156"/>
                  </a:cubicBezTo>
                  <a:cubicBezTo>
                    <a:pt x="277" y="156"/>
                    <a:pt x="277" y="156"/>
                    <a:pt x="278" y="156"/>
                  </a:cubicBezTo>
                  <a:cubicBezTo>
                    <a:pt x="279" y="156"/>
                    <a:pt x="279" y="156"/>
                    <a:pt x="280" y="156"/>
                  </a:cubicBezTo>
                  <a:cubicBezTo>
                    <a:pt x="280" y="155"/>
                    <a:pt x="280" y="155"/>
                    <a:pt x="280" y="155"/>
                  </a:cubicBezTo>
                  <a:cubicBezTo>
                    <a:pt x="280" y="155"/>
                    <a:pt x="280" y="155"/>
                    <a:pt x="281" y="156"/>
                  </a:cubicBezTo>
                  <a:cubicBezTo>
                    <a:pt x="282" y="156"/>
                    <a:pt x="283" y="156"/>
                    <a:pt x="284" y="156"/>
                  </a:cubicBezTo>
                  <a:cubicBezTo>
                    <a:pt x="285" y="155"/>
                    <a:pt x="285" y="155"/>
                    <a:pt x="286" y="154"/>
                  </a:cubicBezTo>
                  <a:cubicBezTo>
                    <a:pt x="286" y="154"/>
                    <a:pt x="286" y="154"/>
                    <a:pt x="286" y="154"/>
                  </a:cubicBezTo>
                  <a:cubicBezTo>
                    <a:pt x="286" y="153"/>
                    <a:pt x="286" y="153"/>
                    <a:pt x="286" y="153"/>
                  </a:cubicBezTo>
                  <a:cubicBezTo>
                    <a:pt x="287" y="153"/>
                    <a:pt x="287" y="152"/>
                    <a:pt x="288" y="152"/>
                  </a:cubicBezTo>
                  <a:cubicBezTo>
                    <a:pt x="288" y="151"/>
                    <a:pt x="288" y="151"/>
                    <a:pt x="288" y="150"/>
                  </a:cubicBezTo>
                  <a:cubicBezTo>
                    <a:pt x="287" y="149"/>
                    <a:pt x="286" y="149"/>
                    <a:pt x="286" y="149"/>
                  </a:cubicBezTo>
                  <a:cubicBezTo>
                    <a:pt x="285" y="149"/>
                    <a:pt x="285" y="148"/>
                    <a:pt x="284" y="148"/>
                  </a:cubicBezTo>
                  <a:cubicBezTo>
                    <a:pt x="284" y="147"/>
                    <a:pt x="283" y="147"/>
                    <a:pt x="282" y="147"/>
                  </a:cubicBezTo>
                  <a:cubicBezTo>
                    <a:pt x="282" y="147"/>
                    <a:pt x="281" y="147"/>
                    <a:pt x="281" y="148"/>
                  </a:cubicBezTo>
                  <a:cubicBezTo>
                    <a:pt x="281" y="148"/>
                    <a:pt x="280" y="148"/>
                    <a:pt x="280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80" y="148"/>
                    <a:pt x="281" y="147"/>
                    <a:pt x="281" y="147"/>
                  </a:cubicBezTo>
                  <a:cubicBezTo>
                    <a:pt x="281" y="147"/>
                    <a:pt x="282" y="147"/>
                    <a:pt x="282" y="146"/>
                  </a:cubicBezTo>
                  <a:cubicBezTo>
                    <a:pt x="283" y="146"/>
                    <a:pt x="283" y="145"/>
                    <a:pt x="283" y="144"/>
                  </a:cubicBezTo>
                  <a:cubicBezTo>
                    <a:pt x="283" y="144"/>
                    <a:pt x="283" y="144"/>
                    <a:pt x="283" y="144"/>
                  </a:cubicBezTo>
                  <a:cubicBezTo>
                    <a:pt x="284" y="144"/>
                    <a:pt x="285" y="143"/>
                    <a:pt x="286" y="142"/>
                  </a:cubicBezTo>
                  <a:cubicBezTo>
                    <a:pt x="286" y="143"/>
                    <a:pt x="287" y="143"/>
                    <a:pt x="287" y="143"/>
                  </a:cubicBezTo>
                  <a:cubicBezTo>
                    <a:pt x="288" y="143"/>
                    <a:pt x="288" y="143"/>
                    <a:pt x="289" y="143"/>
                  </a:cubicBezTo>
                  <a:cubicBezTo>
                    <a:pt x="289" y="143"/>
                    <a:pt x="289" y="143"/>
                    <a:pt x="290" y="143"/>
                  </a:cubicBezTo>
                  <a:cubicBezTo>
                    <a:pt x="290" y="143"/>
                    <a:pt x="291" y="144"/>
                    <a:pt x="291" y="146"/>
                  </a:cubicBezTo>
                  <a:cubicBezTo>
                    <a:pt x="292" y="146"/>
                    <a:pt x="292" y="147"/>
                    <a:pt x="294" y="147"/>
                  </a:cubicBezTo>
                  <a:cubicBezTo>
                    <a:pt x="294" y="147"/>
                    <a:pt x="294" y="147"/>
                    <a:pt x="294" y="147"/>
                  </a:cubicBezTo>
                  <a:cubicBezTo>
                    <a:pt x="295" y="147"/>
                    <a:pt x="296" y="146"/>
                    <a:pt x="297" y="146"/>
                  </a:cubicBezTo>
                  <a:cubicBezTo>
                    <a:pt x="298" y="145"/>
                    <a:pt x="298" y="144"/>
                    <a:pt x="298" y="143"/>
                  </a:cubicBezTo>
                  <a:cubicBezTo>
                    <a:pt x="298" y="143"/>
                    <a:pt x="298" y="143"/>
                    <a:pt x="298" y="142"/>
                  </a:cubicBezTo>
                  <a:cubicBezTo>
                    <a:pt x="298" y="142"/>
                    <a:pt x="298" y="141"/>
                    <a:pt x="298" y="141"/>
                  </a:cubicBezTo>
                  <a:cubicBezTo>
                    <a:pt x="298" y="139"/>
                    <a:pt x="297" y="139"/>
                    <a:pt x="296" y="139"/>
                  </a:cubicBezTo>
                  <a:cubicBezTo>
                    <a:pt x="296" y="139"/>
                    <a:pt x="295" y="139"/>
                    <a:pt x="295" y="139"/>
                  </a:cubicBezTo>
                  <a:cubicBezTo>
                    <a:pt x="294" y="140"/>
                    <a:pt x="294" y="140"/>
                    <a:pt x="294" y="140"/>
                  </a:cubicBezTo>
                  <a:cubicBezTo>
                    <a:pt x="294" y="140"/>
                    <a:pt x="294" y="140"/>
                    <a:pt x="294" y="14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39"/>
                    <a:pt x="294" y="139"/>
                    <a:pt x="294" y="138"/>
                  </a:cubicBezTo>
                  <a:cubicBezTo>
                    <a:pt x="294" y="138"/>
                    <a:pt x="294" y="137"/>
                    <a:pt x="293" y="137"/>
                  </a:cubicBezTo>
                  <a:cubicBezTo>
                    <a:pt x="293" y="137"/>
                    <a:pt x="293" y="136"/>
                    <a:pt x="293" y="136"/>
                  </a:cubicBezTo>
                  <a:cubicBezTo>
                    <a:pt x="294" y="136"/>
                    <a:pt x="295" y="136"/>
                    <a:pt x="295" y="135"/>
                  </a:cubicBezTo>
                  <a:cubicBezTo>
                    <a:pt x="295" y="134"/>
                    <a:pt x="295" y="134"/>
                    <a:pt x="294" y="133"/>
                  </a:cubicBezTo>
                  <a:cubicBezTo>
                    <a:pt x="294" y="133"/>
                    <a:pt x="294" y="133"/>
                    <a:pt x="294" y="133"/>
                  </a:cubicBezTo>
                  <a:cubicBezTo>
                    <a:pt x="295" y="133"/>
                    <a:pt x="296" y="133"/>
                    <a:pt x="297" y="133"/>
                  </a:cubicBezTo>
                  <a:cubicBezTo>
                    <a:pt x="297" y="134"/>
                    <a:pt x="297" y="134"/>
                    <a:pt x="297" y="135"/>
                  </a:cubicBezTo>
                  <a:cubicBezTo>
                    <a:pt x="298" y="135"/>
                    <a:pt x="299" y="136"/>
                    <a:pt x="300" y="135"/>
                  </a:cubicBezTo>
                  <a:cubicBezTo>
                    <a:pt x="301" y="134"/>
                    <a:pt x="301" y="134"/>
                    <a:pt x="302" y="134"/>
                  </a:cubicBezTo>
                  <a:cubicBezTo>
                    <a:pt x="302" y="133"/>
                    <a:pt x="302" y="133"/>
                    <a:pt x="302" y="133"/>
                  </a:cubicBezTo>
                  <a:cubicBezTo>
                    <a:pt x="302" y="133"/>
                    <a:pt x="303" y="133"/>
                    <a:pt x="303" y="133"/>
                  </a:cubicBezTo>
                  <a:cubicBezTo>
                    <a:pt x="303" y="132"/>
                    <a:pt x="304" y="132"/>
                    <a:pt x="304" y="131"/>
                  </a:cubicBezTo>
                  <a:cubicBezTo>
                    <a:pt x="305" y="131"/>
                    <a:pt x="305" y="130"/>
                    <a:pt x="305" y="130"/>
                  </a:cubicBezTo>
                  <a:cubicBezTo>
                    <a:pt x="305" y="129"/>
                    <a:pt x="305" y="129"/>
                    <a:pt x="306" y="129"/>
                  </a:cubicBezTo>
                  <a:cubicBezTo>
                    <a:pt x="306" y="128"/>
                    <a:pt x="307" y="128"/>
                    <a:pt x="307" y="127"/>
                  </a:cubicBezTo>
                  <a:cubicBezTo>
                    <a:pt x="307" y="126"/>
                    <a:pt x="306" y="126"/>
                    <a:pt x="306" y="125"/>
                  </a:cubicBezTo>
                  <a:cubicBezTo>
                    <a:pt x="305" y="125"/>
                    <a:pt x="305" y="124"/>
                    <a:pt x="304" y="124"/>
                  </a:cubicBezTo>
                  <a:cubicBezTo>
                    <a:pt x="304" y="124"/>
                    <a:pt x="304" y="124"/>
                    <a:pt x="304" y="124"/>
                  </a:cubicBezTo>
                  <a:cubicBezTo>
                    <a:pt x="305" y="124"/>
                    <a:pt x="307" y="123"/>
                    <a:pt x="307" y="122"/>
                  </a:cubicBezTo>
                  <a:cubicBezTo>
                    <a:pt x="307" y="121"/>
                    <a:pt x="306" y="120"/>
                    <a:pt x="306" y="120"/>
                  </a:cubicBezTo>
                  <a:cubicBezTo>
                    <a:pt x="305" y="120"/>
                    <a:pt x="304" y="120"/>
                    <a:pt x="303" y="120"/>
                  </a:cubicBezTo>
                  <a:cubicBezTo>
                    <a:pt x="303" y="120"/>
                    <a:pt x="302" y="120"/>
                    <a:pt x="302" y="120"/>
                  </a:cubicBezTo>
                  <a:cubicBezTo>
                    <a:pt x="302" y="120"/>
                    <a:pt x="302" y="120"/>
                    <a:pt x="302" y="120"/>
                  </a:cubicBezTo>
                  <a:cubicBezTo>
                    <a:pt x="301" y="119"/>
                    <a:pt x="301" y="119"/>
                    <a:pt x="300" y="119"/>
                  </a:cubicBezTo>
                  <a:cubicBezTo>
                    <a:pt x="300" y="119"/>
                    <a:pt x="299" y="119"/>
                    <a:pt x="299" y="119"/>
                  </a:cubicBezTo>
                  <a:cubicBezTo>
                    <a:pt x="298" y="119"/>
                    <a:pt x="298" y="119"/>
                    <a:pt x="298" y="119"/>
                  </a:cubicBezTo>
                  <a:cubicBezTo>
                    <a:pt x="298" y="119"/>
                    <a:pt x="298" y="119"/>
                    <a:pt x="298" y="119"/>
                  </a:cubicBezTo>
                  <a:cubicBezTo>
                    <a:pt x="298" y="119"/>
                    <a:pt x="298" y="119"/>
                    <a:pt x="298" y="119"/>
                  </a:cubicBezTo>
                  <a:cubicBezTo>
                    <a:pt x="298" y="119"/>
                    <a:pt x="298" y="119"/>
                    <a:pt x="297" y="119"/>
                  </a:cubicBezTo>
                  <a:cubicBezTo>
                    <a:pt x="298" y="119"/>
                    <a:pt x="298" y="118"/>
                    <a:pt x="298" y="118"/>
                  </a:cubicBezTo>
                  <a:cubicBezTo>
                    <a:pt x="299" y="117"/>
                    <a:pt x="299" y="117"/>
                    <a:pt x="299" y="116"/>
                  </a:cubicBezTo>
                  <a:cubicBezTo>
                    <a:pt x="299" y="116"/>
                    <a:pt x="299" y="116"/>
                    <a:pt x="299" y="116"/>
                  </a:cubicBezTo>
                  <a:cubicBezTo>
                    <a:pt x="299" y="116"/>
                    <a:pt x="299" y="116"/>
                    <a:pt x="299" y="116"/>
                  </a:cubicBezTo>
                  <a:cubicBezTo>
                    <a:pt x="300" y="116"/>
                    <a:pt x="301" y="116"/>
                    <a:pt x="302" y="116"/>
                  </a:cubicBezTo>
                  <a:cubicBezTo>
                    <a:pt x="303" y="116"/>
                    <a:pt x="304" y="116"/>
                    <a:pt x="304" y="116"/>
                  </a:cubicBezTo>
                  <a:cubicBezTo>
                    <a:pt x="305" y="116"/>
                    <a:pt x="306" y="115"/>
                    <a:pt x="306" y="114"/>
                  </a:cubicBezTo>
                  <a:cubicBezTo>
                    <a:pt x="306" y="114"/>
                    <a:pt x="306" y="114"/>
                    <a:pt x="306" y="114"/>
                  </a:cubicBezTo>
                  <a:cubicBezTo>
                    <a:pt x="306" y="114"/>
                    <a:pt x="307" y="114"/>
                    <a:pt x="307" y="114"/>
                  </a:cubicBezTo>
                  <a:cubicBezTo>
                    <a:pt x="307" y="115"/>
                    <a:pt x="307" y="115"/>
                    <a:pt x="307" y="115"/>
                  </a:cubicBezTo>
                  <a:cubicBezTo>
                    <a:pt x="308" y="115"/>
                    <a:pt x="308" y="115"/>
                    <a:pt x="309" y="115"/>
                  </a:cubicBezTo>
                  <a:cubicBezTo>
                    <a:pt x="309" y="116"/>
                    <a:pt x="310" y="116"/>
                    <a:pt x="311" y="117"/>
                  </a:cubicBezTo>
                  <a:cubicBezTo>
                    <a:pt x="312" y="117"/>
                    <a:pt x="312" y="117"/>
                    <a:pt x="312" y="118"/>
                  </a:cubicBezTo>
                  <a:cubicBezTo>
                    <a:pt x="313" y="118"/>
                    <a:pt x="313" y="118"/>
                    <a:pt x="313" y="118"/>
                  </a:cubicBezTo>
                  <a:cubicBezTo>
                    <a:pt x="313" y="118"/>
                    <a:pt x="313" y="118"/>
                    <a:pt x="314" y="119"/>
                  </a:cubicBezTo>
                  <a:cubicBezTo>
                    <a:pt x="314" y="119"/>
                    <a:pt x="314" y="119"/>
                    <a:pt x="315" y="119"/>
                  </a:cubicBezTo>
                  <a:cubicBezTo>
                    <a:pt x="316" y="119"/>
                    <a:pt x="317" y="117"/>
                    <a:pt x="317" y="116"/>
                  </a:cubicBezTo>
                  <a:cubicBezTo>
                    <a:pt x="317" y="116"/>
                    <a:pt x="317" y="116"/>
                    <a:pt x="317" y="115"/>
                  </a:cubicBezTo>
                  <a:cubicBezTo>
                    <a:pt x="318" y="115"/>
                    <a:pt x="318" y="114"/>
                    <a:pt x="318" y="114"/>
                  </a:cubicBezTo>
                  <a:cubicBezTo>
                    <a:pt x="318" y="113"/>
                    <a:pt x="319" y="113"/>
                    <a:pt x="319" y="112"/>
                  </a:cubicBezTo>
                  <a:cubicBezTo>
                    <a:pt x="319" y="112"/>
                    <a:pt x="320" y="112"/>
                    <a:pt x="320" y="112"/>
                  </a:cubicBezTo>
                  <a:cubicBezTo>
                    <a:pt x="321" y="111"/>
                    <a:pt x="320" y="110"/>
                    <a:pt x="320" y="109"/>
                  </a:cubicBezTo>
                  <a:cubicBezTo>
                    <a:pt x="320" y="109"/>
                    <a:pt x="319" y="108"/>
                    <a:pt x="319" y="108"/>
                  </a:cubicBezTo>
                  <a:cubicBezTo>
                    <a:pt x="319" y="108"/>
                    <a:pt x="320" y="107"/>
                    <a:pt x="320" y="107"/>
                  </a:cubicBezTo>
                  <a:cubicBezTo>
                    <a:pt x="320" y="105"/>
                    <a:pt x="319" y="104"/>
                    <a:pt x="318" y="103"/>
                  </a:cubicBezTo>
                  <a:cubicBezTo>
                    <a:pt x="318" y="103"/>
                    <a:pt x="317" y="103"/>
                    <a:pt x="317" y="102"/>
                  </a:cubicBezTo>
                  <a:cubicBezTo>
                    <a:pt x="316" y="102"/>
                    <a:pt x="316" y="102"/>
                    <a:pt x="316" y="102"/>
                  </a:cubicBezTo>
                  <a:cubicBezTo>
                    <a:pt x="315" y="101"/>
                    <a:pt x="314" y="101"/>
                    <a:pt x="313" y="101"/>
                  </a:cubicBezTo>
                  <a:cubicBezTo>
                    <a:pt x="313" y="101"/>
                    <a:pt x="313" y="101"/>
                    <a:pt x="313" y="101"/>
                  </a:cubicBezTo>
                  <a:cubicBezTo>
                    <a:pt x="313" y="100"/>
                    <a:pt x="314" y="100"/>
                    <a:pt x="314" y="100"/>
                  </a:cubicBezTo>
                  <a:cubicBezTo>
                    <a:pt x="314" y="100"/>
                    <a:pt x="314" y="100"/>
                    <a:pt x="314" y="100"/>
                  </a:cubicBezTo>
                  <a:cubicBezTo>
                    <a:pt x="316" y="101"/>
                    <a:pt x="317" y="101"/>
                    <a:pt x="319" y="100"/>
                  </a:cubicBezTo>
                  <a:cubicBezTo>
                    <a:pt x="320" y="99"/>
                    <a:pt x="320" y="99"/>
                    <a:pt x="320" y="99"/>
                  </a:cubicBezTo>
                  <a:cubicBezTo>
                    <a:pt x="320" y="99"/>
                    <a:pt x="320" y="98"/>
                    <a:pt x="320" y="98"/>
                  </a:cubicBezTo>
                  <a:cubicBezTo>
                    <a:pt x="321" y="98"/>
                    <a:pt x="321" y="97"/>
                    <a:pt x="322" y="97"/>
                  </a:cubicBezTo>
                  <a:cubicBezTo>
                    <a:pt x="322" y="97"/>
                    <a:pt x="322" y="96"/>
                    <a:pt x="322" y="96"/>
                  </a:cubicBezTo>
                  <a:cubicBezTo>
                    <a:pt x="323" y="96"/>
                    <a:pt x="323" y="96"/>
                    <a:pt x="323" y="95"/>
                  </a:cubicBezTo>
                  <a:cubicBezTo>
                    <a:pt x="324" y="95"/>
                    <a:pt x="324" y="95"/>
                    <a:pt x="325" y="95"/>
                  </a:cubicBezTo>
                  <a:cubicBezTo>
                    <a:pt x="326" y="94"/>
                    <a:pt x="327" y="92"/>
                    <a:pt x="327" y="91"/>
                  </a:cubicBezTo>
                  <a:cubicBezTo>
                    <a:pt x="328" y="90"/>
                    <a:pt x="328" y="89"/>
                    <a:pt x="329" y="89"/>
                  </a:cubicBezTo>
                  <a:cubicBezTo>
                    <a:pt x="330" y="87"/>
                    <a:pt x="332" y="86"/>
                    <a:pt x="334" y="85"/>
                  </a:cubicBezTo>
                  <a:cubicBezTo>
                    <a:pt x="335" y="85"/>
                    <a:pt x="337" y="84"/>
                    <a:pt x="338" y="83"/>
                  </a:cubicBezTo>
                  <a:cubicBezTo>
                    <a:pt x="338" y="82"/>
                    <a:pt x="338" y="82"/>
                    <a:pt x="339" y="81"/>
                  </a:cubicBezTo>
                  <a:cubicBezTo>
                    <a:pt x="339" y="81"/>
                    <a:pt x="339" y="80"/>
                    <a:pt x="340" y="80"/>
                  </a:cubicBezTo>
                  <a:cubicBezTo>
                    <a:pt x="340" y="80"/>
                    <a:pt x="341" y="80"/>
                    <a:pt x="341" y="80"/>
                  </a:cubicBezTo>
                  <a:cubicBezTo>
                    <a:pt x="342" y="80"/>
                    <a:pt x="342" y="80"/>
                    <a:pt x="343" y="80"/>
                  </a:cubicBezTo>
                  <a:cubicBezTo>
                    <a:pt x="344" y="80"/>
                    <a:pt x="345" y="79"/>
                    <a:pt x="346" y="78"/>
                  </a:cubicBezTo>
                  <a:cubicBezTo>
                    <a:pt x="346" y="78"/>
                    <a:pt x="346" y="77"/>
                    <a:pt x="345" y="76"/>
                  </a:cubicBezTo>
                  <a:cubicBezTo>
                    <a:pt x="345" y="76"/>
                    <a:pt x="345" y="76"/>
                    <a:pt x="344" y="76"/>
                  </a:cubicBezTo>
                  <a:cubicBezTo>
                    <a:pt x="345" y="76"/>
                    <a:pt x="345" y="76"/>
                    <a:pt x="346" y="76"/>
                  </a:cubicBezTo>
                  <a:cubicBezTo>
                    <a:pt x="347" y="76"/>
                    <a:pt x="348" y="76"/>
                    <a:pt x="348" y="76"/>
                  </a:cubicBezTo>
                  <a:cubicBezTo>
                    <a:pt x="350" y="76"/>
                    <a:pt x="351" y="75"/>
                    <a:pt x="352" y="74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351" y="71"/>
                    <a:pt x="351" y="71"/>
                    <a:pt x="351" y="71"/>
                  </a:cubicBezTo>
                  <a:cubicBezTo>
                    <a:pt x="351" y="71"/>
                    <a:pt x="350" y="71"/>
                    <a:pt x="349" y="71"/>
                  </a:cubicBezTo>
                  <a:cubicBezTo>
                    <a:pt x="349" y="71"/>
                    <a:pt x="349" y="71"/>
                    <a:pt x="349" y="71"/>
                  </a:cubicBezTo>
                  <a:cubicBezTo>
                    <a:pt x="350" y="71"/>
                    <a:pt x="351" y="71"/>
                    <a:pt x="352" y="71"/>
                  </a:cubicBezTo>
                  <a:cubicBezTo>
                    <a:pt x="352" y="71"/>
                    <a:pt x="353" y="71"/>
                    <a:pt x="353" y="71"/>
                  </a:cubicBezTo>
                  <a:cubicBezTo>
                    <a:pt x="354" y="71"/>
                    <a:pt x="355" y="71"/>
                    <a:pt x="356" y="71"/>
                  </a:cubicBezTo>
                  <a:cubicBezTo>
                    <a:pt x="358" y="71"/>
                    <a:pt x="359" y="69"/>
                    <a:pt x="359" y="67"/>
                  </a:cubicBezTo>
                  <a:cubicBezTo>
                    <a:pt x="360" y="67"/>
                    <a:pt x="360" y="67"/>
                    <a:pt x="360" y="66"/>
                  </a:cubicBezTo>
                  <a:cubicBezTo>
                    <a:pt x="360" y="66"/>
                    <a:pt x="360" y="66"/>
                    <a:pt x="360" y="66"/>
                  </a:cubicBezTo>
                  <a:cubicBezTo>
                    <a:pt x="360" y="66"/>
                    <a:pt x="361" y="66"/>
                    <a:pt x="361" y="67"/>
                  </a:cubicBezTo>
                  <a:cubicBezTo>
                    <a:pt x="362" y="67"/>
                    <a:pt x="363" y="67"/>
                    <a:pt x="364" y="67"/>
                  </a:cubicBezTo>
                  <a:cubicBezTo>
                    <a:pt x="364" y="66"/>
                    <a:pt x="365" y="66"/>
                    <a:pt x="365" y="66"/>
                  </a:cubicBezTo>
                  <a:cubicBezTo>
                    <a:pt x="366" y="66"/>
                    <a:pt x="366" y="66"/>
                    <a:pt x="367" y="66"/>
                  </a:cubicBezTo>
                  <a:cubicBezTo>
                    <a:pt x="367" y="66"/>
                    <a:pt x="368" y="66"/>
                    <a:pt x="368" y="66"/>
                  </a:cubicBezTo>
                  <a:cubicBezTo>
                    <a:pt x="368" y="66"/>
                    <a:pt x="369" y="66"/>
                    <a:pt x="369" y="66"/>
                  </a:cubicBezTo>
                  <a:cubicBezTo>
                    <a:pt x="370" y="66"/>
                    <a:pt x="371" y="66"/>
                    <a:pt x="372" y="65"/>
                  </a:cubicBezTo>
                  <a:cubicBezTo>
                    <a:pt x="372" y="64"/>
                    <a:pt x="373" y="64"/>
                    <a:pt x="373" y="63"/>
                  </a:cubicBezTo>
                  <a:cubicBezTo>
                    <a:pt x="373" y="62"/>
                    <a:pt x="372" y="60"/>
                    <a:pt x="372" y="59"/>
                  </a:cubicBezTo>
                  <a:cubicBezTo>
                    <a:pt x="371" y="59"/>
                    <a:pt x="370" y="58"/>
                    <a:pt x="369" y="58"/>
                  </a:cubicBezTo>
                  <a:cubicBezTo>
                    <a:pt x="369" y="58"/>
                    <a:pt x="369" y="58"/>
                    <a:pt x="368" y="57"/>
                  </a:cubicBezTo>
                  <a:cubicBezTo>
                    <a:pt x="368" y="57"/>
                    <a:pt x="367" y="56"/>
                    <a:pt x="366" y="56"/>
                  </a:cubicBezTo>
                  <a:cubicBezTo>
                    <a:pt x="366" y="55"/>
                    <a:pt x="366" y="55"/>
                    <a:pt x="365" y="55"/>
                  </a:cubicBezTo>
                  <a:cubicBezTo>
                    <a:pt x="364" y="53"/>
                    <a:pt x="362" y="53"/>
                    <a:pt x="361" y="53"/>
                  </a:cubicBezTo>
                  <a:cubicBezTo>
                    <a:pt x="359" y="53"/>
                    <a:pt x="358" y="53"/>
                    <a:pt x="357" y="53"/>
                  </a:cubicBezTo>
                  <a:cubicBezTo>
                    <a:pt x="356" y="53"/>
                    <a:pt x="356" y="53"/>
                    <a:pt x="356" y="53"/>
                  </a:cubicBezTo>
                  <a:cubicBezTo>
                    <a:pt x="355" y="53"/>
                    <a:pt x="353" y="53"/>
                    <a:pt x="352" y="53"/>
                  </a:cubicBezTo>
                  <a:cubicBezTo>
                    <a:pt x="352" y="53"/>
                    <a:pt x="351" y="54"/>
                    <a:pt x="350" y="55"/>
                  </a:cubicBezTo>
                  <a:cubicBezTo>
                    <a:pt x="350" y="55"/>
                    <a:pt x="349" y="55"/>
                    <a:pt x="349" y="55"/>
                  </a:cubicBezTo>
                  <a:cubicBezTo>
                    <a:pt x="349" y="55"/>
                    <a:pt x="349" y="56"/>
                    <a:pt x="349" y="56"/>
                  </a:cubicBezTo>
                  <a:cubicBezTo>
                    <a:pt x="348" y="56"/>
                    <a:pt x="348" y="56"/>
                    <a:pt x="348" y="56"/>
                  </a:cubicBezTo>
                  <a:cubicBezTo>
                    <a:pt x="347" y="57"/>
                    <a:pt x="347" y="57"/>
                    <a:pt x="347" y="57"/>
                  </a:cubicBezTo>
                  <a:cubicBezTo>
                    <a:pt x="347" y="56"/>
                    <a:pt x="347" y="56"/>
                    <a:pt x="346" y="55"/>
                  </a:cubicBezTo>
                  <a:cubicBezTo>
                    <a:pt x="346" y="55"/>
                    <a:pt x="345" y="55"/>
                    <a:pt x="345" y="55"/>
                  </a:cubicBezTo>
                  <a:cubicBezTo>
                    <a:pt x="345" y="55"/>
                    <a:pt x="344" y="55"/>
                    <a:pt x="344" y="55"/>
                  </a:cubicBezTo>
                  <a:cubicBezTo>
                    <a:pt x="343" y="55"/>
                    <a:pt x="343" y="55"/>
                    <a:pt x="343" y="55"/>
                  </a:cubicBezTo>
                  <a:cubicBezTo>
                    <a:pt x="343" y="55"/>
                    <a:pt x="342" y="55"/>
                    <a:pt x="341" y="55"/>
                  </a:cubicBezTo>
                  <a:cubicBezTo>
                    <a:pt x="340" y="56"/>
                    <a:pt x="339" y="57"/>
                    <a:pt x="339" y="57"/>
                  </a:cubicBezTo>
                  <a:cubicBezTo>
                    <a:pt x="339" y="57"/>
                    <a:pt x="339" y="57"/>
                    <a:pt x="339" y="57"/>
                  </a:cubicBezTo>
                  <a:cubicBezTo>
                    <a:pt x="338" y="58"/>
                    <a:pt x="338" y="58"/>
                    <a:pt x="337" y="58"/>
                  </a:cubicBezTo>
                  <a:cubicBezTo>
                    <a:pt x="336" y="58"/>
                    <a:pt x="336" y="58"/>
                    <a:pt x="335" y="58"/>
                  </a:cubicBezTo>
                  <a:cubicBezTo>
                    <a:pt x="334" y="58"/>
                    <a:pt x="334" y="58"/>
                    <a:pt x="334" y="58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34" y="58"/>
                    <a:pt x="334" y="58"/>
                    <a:pt x="334" y="58"/>
                  </a:cubicBezTo>
                  <a:cubicBezTo>
                    <a:pt x="333" y="58"/>
                    <a:pt x="333" y="58"/>
                    <a:pt x="333" y="58"/>
                  </a:cubicBezTo>
                  <a:cubicBezTo>
                    <a:pt x="332" y="58"/>
                    <a:pt x="332" y="58"/>
                    <a:pt x="331" y="59"/>
                  </a:cubicBezTo>
                  <a:cubicBezTo>
                    <a:pt x="330" y="59"/>
                    <a:pt x="330" y="59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8" y="60"/>
                    <a:pt x="328" y="61"/>
                    <a:pt x="327" y="61"/>
                  </a:cubicBezTo>
                  <a:cubicBezTo>
                    <a:pt x="326" y="61"/>
                    <a:pt x="325" y="61"/>
                    <a:pt x="324" y="61"/>
                  </a:cubicBezTo>
                  <a:cubicBezTo>
                    <a:pt x="324" y="61"/>
                    <a:pt x="324" y="61"/>
                    <a:pt x="323" y="61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3" y="61"/>
                    <a:pt x="322" y="61"/>
                    <a:pt x="322" y="61"/>
                  </a:cubicBezTo>
                  <a:cubicBezTo>
                    <a:pt x="322" y="61"/>
                    <a:pt x="323" y="61"/>
                    <a:pt x="323" y="61"/>
                  </a:cubicBezTo>
                  <a:cubicBezTo>
                    <a:pt x="323" y="61"/>
                    <a:pt x="324" y="60"/>
                    <a:pt x="324" y="60"/>
                  </a:cubicBezTo>
                  <a:cubicBezTo>
                    <a:pt x="325" y="60"/>
                    <a:pt x="325" y="60"/>
                    <a:pt x="325" y="60"/>
                  </a:cubicBezTo>
                  <a:cubicBezTo>
                    <a:pt x="325" y="60"/>
                    <a:pt x="325" y="60"/>
                    <a:pt x="326" y="60"/>
                  </a:cubicBezTo>
                  <a:cubicBezTo>
                    <a:pt x="326" y="60"/>
                    <a:pt x="326" y="60"/>
                    <a:pt x="326" y="60"/>
                  </a:cubicBezTo>
                  <a:cubicBezTo>
                    <a:pt x="327" y="60"/>
                    <a:pt x="327" y="60"/>
                    <a:pt x="327" y="59"/>
                  </a:cubicBezTo>
                  <a:cubicBezTo>
                    <a:pt x="328" y="59"/>
                    <a:pt x="328" y="59"/>
                    <a:pt x="329" y="59"/>
                  </a:cubicBezTo>
                  <a:cubicBezTo>
                    <a:pt x="330" y="59"/>
                    <a:pt x="330" y="59"/>
                    <a:pt x="330" y="59"/>
                  </a:cubicBezTo>
                  <a:cubicBezTo>
                    <a:pt x="331" y="59"/>
                    <a:pt x="331" y="58"/>
                    <a:pt x="332" y="58"/>
                  </a:cubicBezTo>
                  <a:cubicBezTo>
                    <a:pt x="332" y="58"/>
                    <a:pt x="332" y="58"/>
                    <a:pt x="333" y="57"/>
                  </a:cubicBezTo>
                  <a:cubicBezTo>
                    <a:pt x="333" y="57"/>
                    <a:pt x="333" y="57"/>
                    <a:pt x="333" y="57"/>
                  </a:cubicBezTo>
                  <a:cubicBezTo>
                    <a:pt x="333" y="57"/>
                    <a:pt x="334" y="57"/>
                    <a:pt x="334" y="57"/>
                  </a:cubicBezTo>
                  <a:cubicBezTo>
                    <a:pt x="334" y="56"/>
                    <a:pt x="334" y="56"/>
                    <a:pt x="334" y="56"/>
                  </a:cubicBezTo>
                  <a:cubicBezTo>
                    <a:pt x="335" y="56"/>
                    <a:pt x="335" y="56"/>
                    <a:pt x="335" y="56"/>
                  </a:cubicBezTo>
                  <a:cubicBezTo>
                    <a:pt x="335" y="56"/>
                    <a:pt x="336" y="56"/>
                    <a:pt x="336" y="55"/>
                  </a:cubicBezTo>
                  <a:cubicBezTo>
                    <a:pt x="337" y="55"/>
                    <a:pt x="337" y="55"/>
                    <a:pt x="338" y="54"/>
                  </a:cubicBezTo>
                  <a:cubicBezTo>
                    <a:pt x="339" y="54"/>
                    <a:pt x="339" y="53"/>
                    <a:pt x="340" y="53"/>
                  </a:cubicBezTo>
                  <a:cubicBezTo>
                    <a:pt x="340" y="52"/>
                    <a:pt x="340" y="51"/>
                    <a:pt x="339" y="50"/>
                  </a:cubicBezTo>
                  <a:cubicBezTo>
                    <a:pt x="339" y="50"/>
                    <a:pt x="339" y="50"/>
                    <a:pt x="339" y="50"/>
                  </a:cubicBezTo>
                  <a:cubicBezTo>
                    <a:pt x="338" y="49"/>
                    <a:pt x="338" y="49"/>
                    <a:pt x="338" y="49"/>
                  </a:cubicBezTo>
                  <a:cubicBezTo>
                    <a:pt x="338" y="49"/>
                    <a:pt x="337" y="49"/>
                    <a:pt x="337" y="49"/>
                  </a:cubicBezTo>
                  <a:cubicBezTo>
                    <a:pt x="336" y="49"/>
                    <a:pt x="335" y="49"/>
                    <a:pt x="334" y="49"/>
                  </a:cubicBezTo>
                  <a:cubicBezTo>
                    <a:pt x="333" y="49"/>
                    <a:pt x="333" y="49"/>
                    <a:pt x="333" y="49"/>
                  </a:cubicBezTo>
                  <a:cubicBezTo>
                    <a:pt x="333" y="49"/>
                    <a:pt x="333" y="49"/>
                    <a:pt x="333" y="49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48"/>
                    <a:pt x="334" y="48"/>
                    <a:pt x="334" y="48"/>
                  </a:cubicBezTo>
                  <a:cubicBezTo>
                    <a:pt x="335" y="48"/>
                    <a:pt x="335" y="48"/>
                    <a:pt x="335" y="48"/>
                  </a:cubicBezTo>
                  <a:cubicBezTo>
                    <a:pt x="335" y="48"/>
                    <a:pt x="335" y="48"/>
                    <a:pt x="335" y="48"/>
                  </a:cubicBezTo>
                  <a:cubicBezTo>
                    <a:pt x="336" y="48"/>
                    <a:pt x="336" y="48"/>
                    <a:pt x="336" y="48"/>
                  </a:cubicBezTo>
                  <a:cubicBezTo>
                    <a:pt x="337" y="48"/>
                    <a:pt x="338" y="48"/>
                    <a:pt x="339" y="48"/>
                  </a:cubicBezTo>
                  <a:cubicBezTo>
                    <a:pt x="339" y="48"/>
                    <a:pt x="339" y="48"/>
                    <a:pt x="340" y="48"/>
                  </a:cubicBezTo>
                  <a:cubicBezTo>
                    <a:pt x="340" y="48"/>
                    <a:pt x="340" y="48"/>
                    <a:pt x="341" y="48"/>
                  </a:cubicBezTo>
                  <a:cubicBezTo>
                    <a:pt x="341" y="48"/>
                    <a:pt x="341" y="48"/>
                    <a:pt x="341" y="48"/>
                  </a:cubicBezTo>
                  <a:cubicBezTo>
                    <a:pt x="342" y="48"/>
                    <a:pt x="343" y="48"/>
                    <a:pt x="343" y="48"/>
                  </a:cubicBezTo>
                  <a:cubicBezTo>
                    <a:pt x="344" y="48"/>
                    <a:pt x="346" y="47"/>
                    <a:pt x="347" y="47"/>
                  </a:cubicBezTo>
                  <a:cubicBezTo>
                    <a:pt x="349" y="47"/>
                    <a:pt x="349" y="45"/>
                    <a:pt x="350" y="44"/>
                  </a:cubicBezTo>
                  <a:cubicBezTo>
                    <a:pt x="350" y="44"/>
                    <a:pt x="350" y="44"/>
                    <a:pt x="350" y="44"/>
                  </a:cubicBezTo>
                  <a:cubicBezTo>
                    <a:pt x="350" y="43"/>
                    <a:pt x="350" y="43"/>
                    <a:pt x="350" y="43"/>
                  </a:cubicBezTo>
                  <a:cubicBezTo>
                    <a:pt x="349" y="43"/>
                    <a:pt x="349" y="42"/>
                    <a:pt x="348" y="41"/>
                  </a:cubicBezTo>
                  <a:cubicBezTo>
                    <a:pt x="347" y="41"/>
                    <a:pt x="346" y="41"/>
                    <a:pt x="346" y="41"/>
                  </a:cubicBezTo>
                  <a:cubicBezTo>
                    <a:pt x="345" y="41"/>
                    <a:pt x="345" y="41"/>
                    <a:pt x="345" y="41"/>
                  </a:cubicBezTo>
                  <a:cubicBezTo>
                    <a:pt x="345" y="41"/>
                    <a:pt x="345" y="40"/>
                    <a:pt x="344" y="40"/>
                  </a:cubicBezTo>
                  <a:cubicBezTo>
                    <a:pt x="344" y="38"/>
                    <a:pt x="342" y="38"/>
                    <a:pt x="340" y="37"/>
                  </a:cubicBezTo>
                  <a:cubicBezTo>
                    <a:pt x="340" y="37"/>
                    <a:pt x="339" y="37"/>
                    <a:pt x="338" y="37"/>
                  </a:cubicBezTo>
                  <a:cubicBezTo>
                    <a:pt x="338" y="37"/>
                    <a:pt x="337" y="37"/>
                    <a:pt x="337" y="38"/>
                  </a:cubicBezTo>
                  <a:cubicBezTo>
                    <a:pt x="337" y="38"/>
                    <a:pt x="337" y="38"/>
                    <a:pt x="337" y="38"/>
                  </a:cubicBezTo>
                  <a:cubicBezTo>
                    <a:pt x="336" y="38"/>
                    <a:pt x="336" y="38"/>
                    <a:pt x="335" y="38"/>
                  </a:cubicBezTo>
                  <a:cubicBezTo>
                    <a:pt x="335" y="38"/>
                    <a:pt x="335" y="38"/>
                    <a:pt x="336" y="37"/>
                  </a:cubicBezTo>
                  <a:cubicBezTo>
                    <a:pt x="336" y="37"/>
                    <a:pt x="336" y="36"/>
                    <a:pt x="336" y="35"/>
                  </a:cubicBezTo>
                  <a:cubicBezTo>
                    <a:pt x="336" y="34"/>
                    <a:pt x="335" y="34"/>
                    <a:pt x="334" y="33"/>
                  </a:cubicBezTo>
                  <a:cubicBezTo>
                    <a:pt x="334" y="33"/>
                    <a:pt x="333" y="33"/>
                    <a:pt x="332" y="33"/>
                  </a:cubicBezTo>
                  <a:cubicBezTo>
                    <a:pt x="332" y="33"/>
                    <a:pt x="332" y="33"/>
                    <a:pt x="332" y="33"/>
                  </a:cubicBezTo>
                  <a:cubicBezTo>
                    <a:pt x="333" y="32"/>
                    <a:pt x="332" y="31"/>
                    <a:pt x="332" y="31"/>
                  </a:cubicBezTo>
                  <a:cubicBezTo>
                    <a:pt x="332" y="30"/>
                    <a:pt x="331" y="30"/>
                    <a:pt x="331" y="29"/>
                  </a:cubicBezTo>
                  <a:cubicBezTo>
                    <a:pt x="330" y="29"/>
                    <a:pt x="329" y="29"/>
                    <a:pt x="329" y="28"/>
                  </a:cubicBezTo>
                  <a:cubicBezTo>
                    <a:pt x="327" y="28"/>
                    <a:pt x="326" y="27"/>
                    <a:pt x="325" y="27"/>
                  </a:cubicBezTo>
                  <a:cubicBezTo>
                    <a:pt x="323" y="26"/>
                    <a:pt x="322" y="26"/>
                    <a:pt x="321" y="26"/>
                  </a:cubicBezTo>
                  <a:cubicBezTo>
                    <a:pt x="319" y="26"/>
                    <a:pt x="318" y="26"/>
                    <a:pt x="317" y="26"/>
                  </a:cubicBezTo>
                  <a:cubicBezTo>
                    <a:pt x="316" y="26"/>
                    <a:pt x="316" y="26"/>
                    <a:pt x="315" y="26"/>
                  </a:cubicBezTo>
                  <a:cubicBezTo>
                    <a:pt x="314" y="25"/>
                    <a:pt x="314" y="25"/>
                    <a:pt x="313" y="25"/>
                  </a:cubicBezTo>
                  <a:cubicBezTo>
                    <a:pt x="311" y="25"/>
                    <a:pt x="310" y="25"/>
                    <a:pt x="308" y="25"/>
                  </a:cubicBezTo>
                  <a:cubicBezTo>
                    <a:pt x="308" y="25"/>
                    <a:pt x="308" y="25"/>
                    <a:pt x="307" y="25"/>
                  </a:cubicBezTo>
                  <a:cubicBezTo>
                    <a:pt x="307" y="25"/>
                    <a:pt x="306" y="25"/>
                    <a:pt x="306" y="25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05" y="25"/>
                    <a:pt x="305" y="25"/>
                    <a:pt x="304" y="25"/>
                  </a:cubicBezTo>
                  <a:cubicBezTo>
                    <a:pt x="303" y="24"/>
                    <a:pt x="302" y="23"/>
                    <a:pt x="300" y="23"/>
                  </a:cubicBezTo>
                  <a:cubicBezTo>
                    <a:pt x="299" y="23"/>
                    <a:pt x="297" y="23"/>
                    <a:pt x="295" y="23"/>
                  </a:cubicBezTo>
                  <a:cubicBezTo>
                    <a:pt x="294" y="23"/>
                    <a:pt x="294" y="23"/>
                    <a:pt x="294" y="23"/>
                  </a:cubicBezTo>
                  <a:cubicBezTo>
                    <a:pt x="292" y="24"/>
                    <a:pt x="291" y="24"/>
                    <a:pt x="289" y="23"/>
                  </a:cubicBezTo>
                  <a:cubicBezTo>
                    <a:pt x="289" y="23"/>
                    <a:pt x="288" y="23"/>
                    <a:pt x="288" y="23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6" y="23"/>
                    <a:pt x="286" y="23"/>
                    <a:pt x="285" y="23"/>
                  </a:cubicBezTo>
                  <a:cubicBezTo>
                    <a:pt x="285" y="23"/>
                    <a:pt x="285" y="23"/>
                    <a:pt x="284" y="23"/>
                  </a:cubicBezTo>
                  <a:cubicBezTo>
                    <a:pt x="284" y="23"/>
                    <a:pt x="284" y="22"/>
                    <a:pt x="283" y="22"/>
                  </a:cubicBezTo>
                  <a:cubicBezTo>
                    <a:pt x="282" y="22"/>
                    <a:pt x="281" y="23"/>
                    <a:pt x="281" y="24"/>
                  </a:cubicBezTo>
                  <a:cubicBezTo>
                    <a:pt x="280" y="25"/>
                    <a:pt x="280" y="26"/>
                    <a:pt x="280" y="28"/>
                  </a:cubicBezTo>
                  <a:cubicBezTo>
                    <a:pt x="281" y="28"/>
                    <a:pt x="281" y="29"/>
                    <a:pt x="281" y="29"/>
                  </a:cubicBezTo>
                  <a:cubicBezTo>
                    <a:pt x="280" y="29"/>
                    <a:pt x="280" y="29"/>
                    <a:pt x="280" y="29"/>
                  </a:cubicBezTo>
                  <a:cubicBezTo>
                    <a:pt x="279" y="29"/>
                    <a:pt x="279" y="29"/>
                    <a:pt x="279" y="29"/>
                  </a:cubicBezTo>
                  <a:cubicBezTo>
                    <a:pt x="279" y="29"/>
                    <a:pt x="278" y="29"/>
                    <a:pt x="278" y="29"/>
                  </a:cubicBezTo>
                  <a:cubicBezTo>
                    <a:pt x="277" y="29"/>
                    <a:pt x="277" y="30"/>
                    <a:pt x="276" y="30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30"/>
                    <a:pt x="276" y="29"/>
                    <a:pt x="275" y="29"/>
                  </a:cubicBezTo>
                  <a:cubicBezTo>
                    <a:pt x="275" y="28"/>
                    <a:pt x="274" y="28"/>
                    <a:pt x="273" y="27"/>
                  </a:cubicBezTo>
                  <a:cubicBezTo>
                    <a:pt x="273" y="27"/>
                    <a:pt x="273" y="27"/>
                    <a:pt x="273" y="27"/>
                  </a:cubicBezTo>
                  <a:cubicBezTo>
                    <a:pt x="272" y="26"/>
                    <a:pt x="271" y="26"/>
                    <a:pt x="270" y="26"/>
                  </a:cubicBezTo>
                  <a:cubicBezTo>
                    <a:pt x="270" y="26"/>
                    <a:pt x="270" y="26"/>
                    <a:pt x="270" y="26"/>
                  </a:cubicBezTo>
                  <a:cubicBezTo>
                    <a:pt x="269" y="26"/>
                    <a:pt x="268" y="26"/>
                    <a:pt x="267" y="25"/>
                  </a:cubicBezTo>
                  <a:cubicBezTo>
                    <a:pt x="267" y="25"/>
                    <a:pt x="267" y="25"/>
                    <a:pt x="267" y="25"/>
                  </a:cubicBezTo>
                  <a:cubicBezTo>
                    <a:pt x="266" y="25"/>
                    <a:pt x="265" y="24"/>
                    <a:pt x="264" y="24"/>
                  </a:cubicBezTo>
                  <a:cubicBezTo>
                    <a:pt x="264" y="23"/>
                    <a:pt x="264" y="23"/>
                    <a:pt x="263" y="23"/>
                  </a:cubicBezTo>
                  <a:cubicBezTo>
                    <a:pt x="262" y="23"/>
                    <a:pt x="262" y="23"/>
                    <a:pt x="262" y="23"/>
                  </a:cubicBezTo>
                  <a:cubicBezTo>
                    <a:pt x="262" y="23"/>
                    <a:pt x="262" y="23"/>
                    <a:pt x="262" y="23"/>
                  </a:cubicBezTo>
                  <a:cubicBezTo>
                    <a:pt x="261" y="24"/>
                    <a:pt x="261" y="24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59" y="25"/>
                    <a:pt x="258" y="26"/>
                    <a:pt x="258" y="27"/>
                  </a:cubicBezTo>
                  <a:cubicBezTo>
                    <a:pt x="257" y="28"/>
                    <a:pt x="257" y="28"/>
                    <a:pt x="258" y="29"/>
                  </a:cubicBezTo>
                  <a:cubicBezTo>
                    <a:pt x="256" y="29"/>
                    <a:pt x="255" y="29"/>
                    <a:pt x="254" y="29"/>
                  </a:cubicBezTo>
                  <a:cubicBezTo>
                    <a:pt x="254" y="29"/>
                    <a:pt x="253" y="29"/>
                    <a:pt x="252" y="3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52" y="30"/>
                    <a:pt x="252" y="30"/>
                  </a:cubicBezTo>
                  <a:cubicBezTo>
                    <a:pt x="250" y="29"/>
                    <a:pt x="249" y="29"/>
                    <a:pt x="248" y="30"/>
                  </a:cubicBezTo>
                  <a:cubicBezTo>
                    <a:pt x="247" y="30"/>
                    <a:pt x="247" y="32"/>
                    <a:pt x="247" y="33"/>
                  </a:cubicBezTo>
                  <a:cubicBezTo>
                    <a:pt x="246" y="33"/>
                    <a:pt x="246" y="34"/>
                    <a:pt x="246" y="34"/>
                  </a:cubicBezTo>
                  <a:cubicBezTo>
                    <a:pt x="246" y="34"/>
                    <a:pt x="246" y="35"/>
                    <a:pt x="246" y="35"/>
                  </a:cubicBezTo>
                  <a:cubicBezTo>
                    <a:pt x="246" y="36"/>
                    <a:pt x="246" y="36"/>
                    <a:pt x="246" y="36"/>
                  </a:cubicBezTo>
                  <a:cubicBezTo>
                    <a:pt x="246" y="37"/>
                    <a:pt x="246" y="37"/>
                    <a:pt x="246" y="38"/>
                  </a:cubicBezTo>
                  <a:cubicBezTo>
                    <a:pt x="246" y="38"/>
                    <a:pt x="246" y="39"/>
                    <a:pt x="246" y="39"/>
                  </a:cubicBezTo>
                  <a:cubicBezTo>
                    <a:pt x="245" y="40"/>
                    <a:pt x="245" y="40"/>
                    <a:pt x="245" y="40"/>
                  </a:cubicBezTo>
                  <a:cubicBezTo>
                    <a:pt x="245" y="40"/>
                    <a:pt x="245" y="40"/>
                    <a:pt x="245" y="40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44" y="41"/>
                    <a:pt x="244" y="42"/>
                    <a:pt x="244" y="42"/>
                  </a:cubicBezTo>
                  <a:cubicBezTo>
                    <a:pt x="244" y="42"/>
                    <a:pt x="243" y="42"/>
                    <a:pt x="243" y="42"/>
                  </a:cubicBezTo>
                  <a:cubicBezTo>
                    <a:pt x="243" y="41"/>
                    <a:pt x="243" y="41"/>
                    <a:pt x="243" y="40"/>
                  </a:cubicBezTo>
                  <a:cubicBezTo>
                    <a:pt x="243" y="40"/>
                    <a:pt x="243" y="40"/>
                    <a:pt x="243" y="40"/>
                  </a:cubicBezTo>
                  <a:cubicBezTo>
                    <a:pt x="243" y="40"/>
                    <a:pt x="243" y="39"/>
                    <a:pt x="243" y="39"/>
                  </a:cubicBezTo>
                  <a:cubicBezTo>
                    <a:pt x="243" y="38"/>
                    <a:pt x="244" y="37"/>
                    <a:pt x="243" y="36"/>
                  </a:cubicBezTo>
                  <a:cubicBezTo>
                    <a:pt x="242" y="35"/>
                    <a:pt x="241" y="35"/>
                    <a:pt x="240" y="35"/>
                  </a:cubicBezTo>
                  <a:cubicBezTo>
                    <a:pt x="240" y="34"/>
                    <a:pt x="239" y="34"/>
                    <a:pt x="239" y="34"/>
                  </a:cubicBezTo>
                  <a:cubicBezTo>
                    <a:pt x="239" y="34"/>
                    <a:pt x="238" y="34"/>
                    <a:pt x="238" y="33"/>
                  </a:cubicBezTo>
                  <a:cubicBezTo>
                    <a:pt x="238" y="33"/>
                    <a:pt x="238" y="33"/>
                    <a:pt x="238" y="32"/>
                  </a:cubicBezTo>
                  <a:cubicBezTo>
                    <a:pt x="238" y="32"/>
                    <a:pt x="238" y="31"/>
                    <a:pt x="237" y="30"/>
                  </a:cubicBezTo>
                  <a:cubicBezTo>
                    <a:pt x="236" y="29"/>
                    <a:pt x="235" y="29"/>
                    <a:pt x="234" y="30"/>
                  </a:cubicBezTo>
                  <a:cubicBezTo>
                    <a:pt x="233" y="30"/>
                    <a:pt x="232" y="30"/>
                    <a:pt x="232" y="31"/>
                  </a:cubicBezTo>
                  <a:cubicBezTo>
                    <a:pt x="231" y="31"/>
                    <a:pt x="230" y="32"/>
                    <a:pt x="230" y="33"/>
                  </a:cubicBezTo>
                  <a:cubicBezTo>
                    <a:pt x="229" y="34"/>
                    <a:pt x="229" y="36"/>
                    <a:pt x="229" y="37"/>
                  </a:cubicBezTo>
                  <a:cubicBezTo>
                    <a:pt x="230" y="38"/>
                    <a:pt x="230" y="38"/>
                    <a:pt x="230" y="38"/>
                  </a:cubicBezTo>
                  <a:cubicBezTo>
                    <a:pt x="229" y="38"/>
                    <a:pt x="229" y="38"/>
                    <a:pt x="229" y="38"/>
                  </a:cubicBezTo>
                  <a:cubicBezTo>
                    <a:pt x="229" y="38"/>
                    <a:pt x="228" y="38"/>
                    <a:pt x="228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7"/>
                    <a:pt x="225" y="36"/>
                    <a:pt x="224" y="36"/>
                  </a:cubicBezTo>
                  <a:cubicBezTo>
                    <a:pt x="224" y="36"/>
                    <a:pt x="224" y="36"/>
                    <a:pt x="223" y="37"/>
                  </a:cubicBezTo>
                  <a:cubicBezTo>
                    <a:pt x="223" y="37"/>
                    <a:pt x="222" y="37"/>
                    <a:pt x="222" y="37"/>
                  </a:cubicBezTo>
                  <a:cubicBezTo>
                    <a:pt x="222" y="37"/>
                    <a:pt x="221" y="37"/>
                    <a:pt x="221" y="36"/>
                  </a:cubicBezTo>
                  <a:cubicBezTo>
                    <a:pt x="220" y="36"/>
                    <a:pt x="220" y="36"/>
                    <a:pt x="220" y="35"/>
                  </a:cubicBezTo>
                  <a:cubicBezTo>
                    <a:pt x="220" y="35"/>
                    <a:pt x="219" y="35"/>
                    <a:pt x="219" y="34"/>
                  </a:cubicBezTo>
                  <a:cubicBezTo>
                    <a:pt x="219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9" y="33"/>
                    <a:pt x="219" y="32"/>
                    <a:pt x="219" y="31"/>
                  </a:cubicBezTo>
                  <a:cubicBezTo>
                    <a:pt x="218" y="30"/>
                    <a:pt x="217" y="29"/>
                    <a:pt x="216" y="29"/>
                  </a:cubicBezTo>
                  <a:cubicBezTo>
                    <a:pt x="216" y="29"/>
                    <a:pt x="215" y="29"/>
                    <a:pt x="215" y="29"/>
                  </a:cubicBezTo>
                  <a:cubicBezTo>
                    <a:pt x="214" y="29"/>
                    <a:pt x="213" y="29"/>
                    <a:pt x="213" y="29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12" y="28"/>
                    <a:pt x="212" y="28"/>
                    <a:pt x="211" y="28"/>
                  </a:cubicBezTo>
                  <a:cubicBezTo>
                    <a:pt x="210" y="28"/>
                    <a:pt x="210" y="28"/>
                    <a:pt x="209" y="28"/>
                  </a:cubicBezTo>
                  <a:cubicBezTo>
                    <a:pt x="209" y="28"/>
                    <a:pt x="208" y="28"/>
                    <a:pt x="208" y="28"/>
                  </a:cubicBezTo>
                  <a:cubicBezTo>
                    <a:pt x="207" y="28"/>
                    <a:pt x="207" y="29"/>
                    <a:pt x="207" y="29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7" y="29"/>
                    <a:pt x="206" y="28"/>
                    <a:pt x="206" y="28"/>
                  </a:cubicBezTo>
                  <a:cubicBezTo>
                    <a:pt x="205" y="28"/>
                    <a:pt x="204" y="28"/>
                    <a:pt x="203" y="28"/>
                  </a:cubicBezTo>
                  <a:cubicBezTo>
                    <a:pt x="203" y="28"/>
                    <a:pt x="203" y="28"/>
                    <a:pt x="203" y="28"/>
                  </a:cubicBezTo>
                  <a:cubicBezTo>
                    <a:pt x="202" y="28"/>
                    <a:pt x="202" y="28"/>
                    <a:pt x="201" y="28"/>
                  </a:cubicBezTo>
                  <a:cubicBezTo>
                    <a:pt x="201" y="29"/>
                    <a:pt x="201" y="29"/>
                    <a:pt x="201" y="29"/>
                  </a:cubicBezTo>
                  <a:cubicBezTo>
                    <a:pt x="201" y="28"/>
                    <a:pt x="201" y="28"/>
                    <a:pt x="201" y="28"/>
                  </a:cubicBezTo>
                  <a:cubicBezTo>
                    <a:pt x="200" y="28"/>
                    <a:pt x="200" y="28"/>
                    <a:pt x="199" y="28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8" y="28"/>
                    <a:pt x="197" y="28"/>
                    <a:pt x="197" y="28"/>
                  </a:cubicBezTo>
                  <a:cubicBezTo>
                    <a:pt x="197" y="28"/>
                    <a:pt x="196" y="28"/>
                    <a:pt x="196" y="28"/>
                  </a:cubicBezTo>
                  <a:cubicBezTo>
                    <a:pt x="196" y="28"/>
                    <a:pt x="196" y="28"/>
                    <a:pt x="195" y="28"/>
                  </a:cubicBezTo>
                  <a:cubicBezTo>
                    <a:pt x="195" y="28"/>
                    <a:pt x="195" y="28"/>
                    <a:pt x="194" y="27"/>
                  </a:cubicBezTo>
                  <a:cubicBezTo>
                    <a:pt x="194" y="27"/>
                    <a:pt x="194" y="27"/>
                    <a:pt x="194" y="27"/>
                  </a:cubicBezTo>
                  <a:cubicBezTo>
                    <a:pt x="193" y="27"/>
                    <a:pt x="192" y="28"/>
                    <a:pt x="192" y="29"/>
                  </a:cubicBezTo>
                  <a:cubicBezTo>
                    <a:pt x="191" y="29"/>
                    <a:pt x="191" y="29"/>
                    <a:pt x="190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89" y="29"/>
                    <a:pt x="189" y="29"/>
                    <a:pt x="189" y="29"/>
                  </a:cubicBezTo>
                  <a:cubicBezTo>
                    <a:pt x="189" y="29"/>
                    <a:pt x="188" y="29"/>
                    <a:pt x="188" y="29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7" y="29"/>
                    <a:pt x="187" y="29"/>
                    <a:pt x="187" y="29"/>
                  </a:cubicBezTo>
                  <a:cubicBezTo>
                    <a:pt x="187" y="29"/>
                    <a:pt x="186" y="29"/>
                    <a:pt x="185" y="29"/>
                  </a:cubicBezTo>
                  <a:cubicBezTo>
                    <a:pt x="184" y="30"/>
                    <a:pt x="183" y="31"/>
                    <a:pt x="183" y="32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83" y="33"/>
                    <a:pt x="182" y="33"/>
                    <a:pt x="182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1" y="34"/>
                    <a:pt x="181" y="34"/>
                    <a:pt x="181" y="34"/>
                  </a:cubicBezTo>
                  <a:cubicBezTo>
                    <a:pt x="181" y="34"/>
                    <a:pt x="180" y="34"/>
                    <a:pt x="180" y="34"/>
                  </a:cubicBezTo>
                  <a:cubicBezTo>
                    <a:pt x="179" y="34"/>
                    <a:pt x="179" y="34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7" y="35"/>
                    <a:pt x="176" y="36"/>
                    <a:pt x="176" y="36"/>
                  </a:cubicBezTo>
                  <a:cubicBezTo>
                    <a:pt x="175" y="37"/>
                    <a:pt x="175" y="37"/>
                    <a:pt x="175" y="38"/>
                  </a:cubicBezTo>
                  <a:cubicBezTo>
                    <a:pt x="175" y="38"/>
                    <a:pt x="175" y="38"/>
                    <a:pt x="175" y="39"/>
                  </a:cubicBezTo>
                  <a:cubicBezTo>
                    <a:pt x="175" y="39"/>
                    <a:pt x="174" y="39"/>
                    <a:pt x="174" y="39"/>
                  </a:cubicBezTo>
                  <a:cubicBezTo>
                    <a:pt x="174" y="39"/>
                    <a:pt x="174" y="39"/>
                    <a:pt x="174" y="39"/>
                  </a:cubicBezTo>
                  <a:cubicBezTo>
                    <a:pt x="173" y="39"/>
                    <a:pt x="173" y="39"/>
                    <a:pt x="173" y="39"/>
                  </a:cubicBezTo>
                  <a:cubicBezTo>
                    <a:pt x="173" y="38"/>
                    <a:pt x="173" y="38"/>
                    <a:pt x="174" y="38"/>
                  </a:cubicBezTo>
                  <a:cubicBezTo>
                    <a:pt x="174" y="38"/>
                    <a:pt x="174" y="38"/>
                    <a:pt x="174" y="38"/>
                  </a:cubicBezTo>
                  <a:cubicBezTo>
                    <a:pt x="174" y="37"/>
                    <a:pt x="175" y="36"/>
                    <a:pt x="174" y="35"/>
                  </a:cubicBezTo>
                  <a:cubicBezTo>
                    <a:pt x="174" y="34"/>
                    <a:pt x="172" y="33"/>
                    <a:pt x="171" y="33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71" y="33"/>
                    <a:pt x="171" y="32"/>
                    <a:pt x="170" y="32"/>
                  </a:cubicBezTo>
                  <a:cubicBezTo>
                    <a:pt x="170" y="31"/>
                    <a:pt x="170" y="31"/>
                    <a:pt x="169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1" y="29"/>
                    <a:pt x="171" y="29"/>
                  </a:cubicBezTo>
                  <a:cubicBezTo>
                    <a:pt x="171" y="29"/>
                    <a:pt x="172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9"/>
                    <a:pt x="174" y="29"/>
                  </a:cubicBezTo>
                  <a:cubicBezTo>
                    <a:pt x="175" y="30"/>
                    <a:pt x="176" y="30"/>
                    <a:pt x="177" y="29"/>
                  </a:cubicBezTo>
                  <a:cubicBezTo>
                    <a:pt x="178" y="29"/>
                    <a:pt x="179" y="29"/>
                    <a:pt x="180" y="29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82" y="29"/>
                    <a:pt x="182" y="29"/>
                    <a:pt x="183" y="29"/>
                  </a:cubicBezTo>
                  <a:cubicBezTo>
                    <a:pt x="183" y="29"/>
                    <a:pt x="184" y="29"/>
                    <a:pt x="184" y="29"/>
                  </a:cubicBezTo>
                  <a:cubicBezTo>
                    <a:pt x="186" y="29"/>
                    <a:pt x="187" y="29"/>
                    <a:pt x="188" y="28"/>
                  </a:cubicBezTo>
                  <a:cubicBezTo>
                    <a:pt x="188" y="28"/>
                    <a:pt x="188" y="28"/>
                    <a:pt x="188" y="27"/>
                  </a:cubicBezTo>
                  <a:cubicBezTo>
                    <a:pt x="189" y="27"/>
                    <a:pt x="189" y="27"/>
                    <a:pt x="189" y="27"/>
                  </a:cubicBezTo>
                  <a:cubicBezTo>
                    <a:pt x="189" y="27"/>
                    <a:pt x="189" y="27"/>
                    <a:pt x="190" y="26"/>
                  </a:cubicBezTo>
                  <a:cubicBezTo>
                    <a:pt x="191" y="26"/>
                    <a:pt x="193" y="26"/>
                    <a:pt x="194" y="25"/>
                  </a:cubicBezTo>
                  <a:cubicBezTo>
                    <a:pt x="194" y="24"/>
                    <a:pt x="194" y="23"/>
                    <a:pt x="194" y="22"/>
                  </a:cubicBezTo>
                  <a:cubicBezTo>
                    <a:pt x="194" y="22"/>
                    <a:pt x="193" y="21"/>
                    <a:pt x="193" y="21"/>
                  </a:cubicBezTo>
                  <a:cubicBezTo>
                    <a:pt x="193" y="20"/>
                    <a:pt x="194" y="19"/>
                    <a:pt x="194" y="18"/>
                  </a:cubicBezTo>
                  <a:cubicBezTo>
                    <a:pt x="194" y="18"/>
                    <a:pt x="193" y="17"/>
                    <a:pt x="193" y="17"/>
                  </a:cubicBezTo>
                  <a:cubicBezTo>
                    <a:pt x="193" y="17"/>
                    <a:pt x="193" y="16"/>
                    <a:pt x="193" y="16"/>
                  </a:cubicBezTo>
                  <a:cubicBezTo>
                    <a:pt x="193" y="15"/>
                    <a:pt x="193" y="14"/>
                    <a:pt x="193" y="14"/>
                  </a:cubicBezTo>
                  <a:cubicBezTo>
                    <a:pt x="192" y="13"/>
                    <a:pt x="191" y="13"/>
                    <a:pt x="190" y="13"/>
                  </a:cubicBezTo>
                  <a:cubicBezTo>
                    <a:pt x="189" y="13"/>
                    <a:pt x="189" y="13"/>
                    <a:pt x="189" y="13"/>
                  </a:cubicBezTo>
                  <a:cubicBezTo>
                    <a:pt x="189" y="13"/>
                    <a:pt x="189" y="13"/>
                    <a:pt x="188" y="13"/>
                  </a:cubicBezTo>
                  <a:cubicBezTo>
                    <a:pt x="188" y="13"/>
                    <a:pt x="188" y="13"/>
                    <a:pt x="188" y="13"/>
                  </a:cubicBezTo>
                  <a:cubicBezTo>
                    <a:pt x="186" y="13"/>
                    <a:pt x="186" y="14"/>
                    <a:pt x="185" y="14"/>
                  </a:cubicBezTo>
                  <a:cubicBezTo>
                    <a:pt x="185" y="14"/>
                    <a:pt x="185" y="14"/>
                    <a:pt x="184" y="14"/>
                  </a:cubicBezTo>
                  <a:cubicBezTo>
                    <a:pt x="184" y="14"/>
                    <a:pt x="183" y="14"/>
                    <a:pt x="183" y="14"/>
                  </a:cubicBezTo>
                  <a:cubicBezTo>
                    <a:pt x="183" y="14"/>
                    <a:pt x="183" y="13"/>
                    <a:pt x="183" y="13"/>
                  </a:cubicBezTo>
                  <a:cubicBezTo>
                    <a:pt x="183" y="11"/>
                    <a:pt x="179" y="10"/>
                    <a:pt x="179" y="10"/>
                  </a:cubicBezTo>
                  <a:cubicBezTo>
                    <a:pt x="179" y="10"/>
                    <a:pt x="178" y="10"/>
                    <a:pt x="177" y="10"/>
                  </a:cubicBezTo>
                  <a:cubicBezTo>
                    <a:pt x="177" y="10"/>
                    <a:pt x="177" y="10"/>
                    <a:pt x="177" y="10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5" y="10"/>
                    <a:pt x="174" y="10"/>
                    <a:pt x="174" y="10"/>
                  </a:cubicBezTo>
                  <a:cubicBezTo>
                    <a:pt x="174" y="10"/>
                    <a:pt x="173" y="10"/>
                    <a:pt x="173" y="10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72" y="7"/>
                    <a:pt x="171" y="7"/>
                    <a:pt x="170" y="7"/>
                  </a:cubicBezTo>
                  <a:cubicBezTo>
                    <a:pt x="170" y="7"/>
                    <a:pt x="170" y="7"/>
                    <a:pt x="170" y="7"/>
                  </a:cubicBezTo>
                  <a:cubicBezTo>
                    <a:pt x="169" y="7"/>
                    <a:pt x="169" y="7"/>
                    <a:pt x="169" y="7"/>
                  </a:cubicBezTo>
                  <a:cubicBezTo>
                    <a:pt x="169" y="7"/>
                    <a:pt x="169" y="7"/>
                    <a:pt x="169" y="7"/>
                  </a:cubicBezTo>
                  <a:cubicBezTo>
                    <a:pt x="169" y="7"/>
                    <a:pt x="169" y="7"/>
                    <a:pt x="168" y="7"/>
                  </a:cubicBezTo>
                  <a:cubicBezTo>
                    <a:pt x="167" y="7"/>
                    <a:pt x="166" y="7"/>
                    <a:pt x="165" y="7"/>
                  </a:cubicBezTo>
                  <a:cubicBezTo>
                    <a:pt x="165" y="7"/>
                    <a:pt x="165" y="8"/>
                    <a:pt x="165" y="8"/>
                  </a:cubicBezTo>
                  <a:cubicBezTo>
                    <a:pt x="164" y="7"/>
                    <a:pt x="162" y="7"/>
                    <a:pt x="162" y="7"/>
                  </a:cubicBezTo>
                  <a:cubicBezTo>
                    <a:pt x="161" y="7"/>
                    <a:pt x="160" y="7"/>
                    <a:pt x="160" y="7"/>
                  </a:cubicBezTo>
                  <a:cubicBezTo>
                    <a:pt x="159" y="7"/>
                    <a:pt x="158" y="8"/>
                    <a:pt x="156" y="9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56" y="9"/>
                    <a:pt x="156" y="9"/>
                    <a:pt x="156" y="8"/>
                  </a:cubicBezTo>
                  <a:cubicBezTo>
                    <a:pt x="156" y="8"/>
                    <a:pt x="156" y="6"/>
                    <a:pt x="155" y="6"/>
                  </a:cubicBezTo>
                  <a:cubicBezTo>
                    <a:pt x="154" y="5"/>
                    <a:pt x="154" y="5"/>
                    <a:pt x="153" y="5"/>
                  </a:cubicBezTo>
                  <a:cubicBezTo>
                    <a:pt x="153" y="5"/>
                    <a:pt x="153" y="5"/>
                    <a:pt x="152" y="5"/>
                  </a:cubicBezTo>
                  <a:cubicBezTo>
                    <a:pt x="152" y="5"/>
                    <a:pt x="152" y="5"/>
                    <a:pt x="151" y="4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8" y="3"/>
                    <a:pt x="146" y="3"/>
                    <a:pt x="145" y="4"/>
                  </a:cubicBezTo>
                  <a:cubicBezTo>
                    <a:pt x="145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3" y="5"/>
                  </a:cubicBezTo>
                  <a:cubicBezTo>
                    <a:pt x="143" y="4"/>
                    <a:pt x="141" y="4"/>
                    <a:pt x="140" y="5"/>
                  </a:cubicBezTo>
                  <a:cubicBezTo>
                    <a:pt x="140" y="5"/>
                    <a:pt x="140" y="5"/>
                    <a:pt x="139" y="5"/>
                  </a:cubicBezTo>
                  <a:cubicBezTo>
                    <a:pt x="139" y="4"/>
                    <a:pt x="139" y="4"/>
                    <a:pt x="138" y="4"/>
                  </a:cubicBezTo>
                  <a:cubicBezTo>
                    <a:pt x="138" y="3"/>
                    <a:pt x="138" y="2"/>
                    <a:pt x="137" y="1"/>
                  </a:cubicBezTo>
                  <a:cubicBezTo>
                    <a:pt x="136" y="0"/>
                    <a:pt x="133" y="0"/>
                    <a:pt x="132" y="3"/>
                  </a:cubicBezTo>
                  <a:cubicBezTo>
                    <a:pt x="132" y="3"/>
                    <a:pt x="132" y="3"/>
                    <a:pt x="132" y="4"/>
                  </a:cubicBezTo>
                  <a:cubicBezTo>
                    <a:pt x="132" y="4"/>
                    <a:pt x="131" y="5"/>
                    <a:pt x="131" y="5"/>
                  </a:cubicBezTo>
                  <a:cubicBezTo>
                    <a:pt x="131" y="5"/>
                    <a:pt x="130" y="4"/>
                    <a:pt x="130" y="4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29" y="3"/>
                    <a:pt x="129" y="2"/>
                    <a:pt x="128" y="2"/>
                  </a:cubicBezTo>
                  <a:cubicBezTo>
                    <a:pt x="127" y="2"/>
                    <a:pt x="126" y="3"/>
                    <a:pt x="125" y="4"/>
                  </a:cubicBezTo>
                  <a:cubicBezTo>
                    <a:pt x="125" y="3"/>
                    <a:pt x="124" y="3"/>
                    <a:pt x="123" y="3"/>
                  </a:cubicBezTo>
                  <a:cubicBezTo>
                    <a:pt x="122" y="3"/>
                    <a:pt x="121" y="3"/>
                    <a:pt x="121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0" y="4"/>
                    <a:pt x="120" y="4"/>
                    <a:pt x="119" y="5"/>
                  </a:cubicBezTo>
                  <a:cubicBezTo>
                    <a:pt x="119" y="5"/>
                    <a:pt x="118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7" y="8"/>
                    <a:pt x="117" y="9"/>
                    <a:pt x="117" y="10"/>
                  </a:cubicBezTo>
                  <a:cubicBezTo>
                    <a:pt x="117" y="10"/>
                    <a:pt x="118" y="10"/>
                    <a:pt x="117" y="10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7" y="9"/>
                    <a:pt x="117" y="8"/>
                    <a:pt x="116" y="7"/>
                  </a:cubicBezTo>
                  <a:cubicBezTo>
                    <a:pt x="116" y="7"/>
                    <a:pt x="116" y="6"/>
                    <a:pt x="115" y="6"/>
                  </a:cubicBezTo>
                  <a:cubicBezTo>
                    <a:pt x="114" y="6"/>
                    <a:pt x="114" y="7"/>
                    <a:pt x="113" y="8"/>
                  </a:cubicBezTo>
                  <a:cubicBezTo>
                    <a:pt x="113" y="7"/>
                    <a:pt x="113" y="6"/>
                    <a:pt x="112" y="6"/>
                  </a:cubicBezTo>
                  <a:cubicBezTo>
                    <a:pt x="112" y="6"/>
                    <a:pt x="112" y="6"/>
                    <a:pt x="112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3"/>
                    <a:pt x="113" y="2"/>
                    <a:pt x="112" y="1"/>
                  </a:cubicBezTo>
                  <a:cubicBezTo>
                    <a:pt x="112" y="1"/>
                    <a:pt x="112" y="1"/>
                    <a:pt x="111" y="1"/>
                  </a:cubicBezTo>
                  <a:cubicBezTo>
                    <a:pt x="111" y="0"/>
                    <a:pt x="110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8" y="0"/>
                    <a:pt x="107" y="0"/>
                    <a:pt x="106" y="2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105" y="3"/>
                    <a:pt x="105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4"/>
                    <a:pt x="103" y="4"/>
                    <a:pt x="102" y="4"/>
                  </a:cubicBezTo>
                  <a:cubicBezTo>
                    <a:pt x="101" y="4"/>
                    <a:pt x="101" y="5"/>
                    <a:pt x="100" y="6"/>
                  </a:cubicBezTo>
                  <a:cubicBezTo>
                    <a:pt x="100" y="7"/>
                    <a:pt x="101" y="9"/>
                    <a:pt x="101" y="9"/>
                  </a:cubicBezTo>
                  <a:cubicBezTo>
                    <a:pt x="101" y="9"/>
                    <a:pt x="101" y="9"/>
                    <a:pt x="101" y="10"/>
                  </a:cubicBezTo>
                  <a:cubicBezTo>
                    <a:pt x="101" y="9"/>
                    <a:pt x="101" y="9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7"/>
                    <a:pt x="99" y="6"/>
                    <a:pt x="98" y="6"/>
                  </a:cubicBezTo>
                  <a:cubicBezTo>
                    <a:pt x="97" y="5"/>
                    <a:pt x="96" y="6"/>
                    <a:pt x="96" y="6"/>
                  </a:cubicBezTo>
                  <a:cubicBezTo>
                    <a:pt x="96" y="5"/>
                    <a:pt x="95" y="4"/>
                    <a:pt x="94" y="3"/>
                  </a:cubicBezTo>
                  <a:cubicBezTo>
                    <a:pt x="93" y="3"/>
                    <a:pt x="92" y="3"/>
                    <a:pt x="91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8" y="3"/>
                    <a:pt x="88" y="3"/>
                    <a:pt x="87" y="3"/>
                  </a:cubicBezTo>
                  <a:cubicBezTo>
                    <a:pt x="86" y="3"/>
                    <a:pt x="85" y="3"/>
                    <a:pt x="85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3" y="4"/>
                    <a:pt x="83" y="3"/>
                  </a:cubicBezTo>
                  <a:cubicBezTo>
                    <a:pt x="82" y="2"/>
                    <a:pt x="79" y="2"/>
                    <a:pt x="77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6" y="3"/>
                    <a:pt x="76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4" y="3"/>
                    <a:pt x="73" y="4"/>
                  </a:cubicBezTo>
                  <a:cubicBezTo>
                    <a:pt x="73" y="4"/>
                    <a:pt x="72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1" y="4"/>
                    <a:pt x="69" y="4"/>
                    <a:pt x="69" y="7"/>
                  </a:cubicBezTo>
                  <a:cubicBezTo>
                    <a:pt x="68" y="8"/>
                    <a:pt x="68" y="9"/>
                    <a:pt x="69" y="10"/>
                  </a:cubicBezTo>
                  <a:cubicBezTo>
                    <a:pt x="69" y="10"/>
                    <a:pt x="70" y="10"/>
                    <a:pt x="70" y="11"/>
                  </a:cubicBezTo>
                  <a:cubicBezTo>
                    <a:pt x="71" y="11"/>
                    <a:pt x="71" y="11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69" y="12"/>
                  </a:cubicBezTo>
                  <a:cubicBezTo>
                    <a:pt x="68" y="12"/>
                    <a:pt x="66" y="13"/>
                    <a:pt x="66" y="14"/>
                  </a:cubicBezTo>
                  <a:cubicBezTo>
                    <a:pt x="65" y="15"/>
                    <a:pt x="66" y="17"/>
                    <a:pt x="67" y="17"/>
                  </a:cubicBezTo>
                  <a:cubicBezTo>
                    <a:pt x="67" y="17"/>
                    <a:pt x="68" y="17"/>
                    <a:pt x="68" y="18"/>
                  </a:cubicBezTo>
                  <a:cubicBezTo>
                    <a:pt x="68" y="18"/>
                    <a:pt x="67" y="18"/>
                    <a:pt x="67" y="18"/>
                  </a:cubicBezTo>
                  <a:cubicBezTo>
                    <a:pt x="66" y="20"/>
                    <a:pt x="67" y="23"/>
                    <a:pt x="69" y="25"/>
                  </a:cubicBezTo>
                  <a:cubicBezTo>
                    <a:pt x="70" y="26"/>
                    <a:pt x="73" y="25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5"/>
                    <a:pt x="75" y="25"/>
                    <a:pt x="76" y="26"/>
                  </a:cubicBezTo>
                  <a:cubicBezTo>
                    <a:pt x="76" y="27"/>
                    <a:pt x="78" y="29"/>
                    <a:pt x="80" y="29"/>
                  </a:cubicBezTo>
                  <a:cubicBezTo>
                    <a:pt x="82" y="30"/>
                    <a:pt x="84" y="29"/>
                    <a:pt x="85" y="28"/>
                  </a:cubicBezTo>
                  <a:cubicBezTo>
                    <a:pt x="85" y="28"/>
                    <a:pt x="85" y="28"/>
                    <a:pt x="85" y="29"/>
                  </a:cubicBezTo>
                  <a:cubicBezTo>
                    <a:pt x="85" y="29"/>
                    <a:pt x="85" y="29"/>
                    <a:pt x="86" y="30"/>
                  </a:cubicBezTo>
                  <a:cubicBezTo>
                    <a:pt x="85" y="30"/>
                    <a:pt x="85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3" y="30"/>
                    <a:pt x="81" y="30"/>
                    <a:pt x="81" y="30"/>
                  </a:cubicBezTo>
                  <a:cubicBezTo>
                    <a:pt x="81" y="31"/>
                    <a:pt x="81" y="31"/>
                    <a:pt x="80" y="31"/>
                  </a:cubicBezTo>
                  <a:cubicBezTo>
                    <a:pt x="80" y="30"/>
                    <a:pt x="79" y="30"/>
                    <a:pt x="78" y="30"/>
                  </a:cubicBezTo>
                  <a:cubicBezTo>
                    <a:pt x="78" y="30"/>
                    <a:pt x="77" y="30"/>
                    <a:pt x="77" y="30"/>
                  </a:cubicBezTo>
                  <a:cubicBezTo>
                    <a:pt x="77" y="29"/>
                    <a:pt x="76" y="29"/>
                    <a:pt x="76" y="28"/>
                  </a:cubicBezTo>
                  <a:cubicBezTo>
                    <a:pt x="75" y="27"/>
                    <a:pt x="75" y="27"/>
                    <a:pt x="74" y="26"/>
                  </a:cubicBezTo>
                  <a:cubicBezTo>
                    <a:pt x="73" y="26"/>
                    <a:pt x="73" y="26"/>
                    <a:pt x="72" y="26"/>
                  </a:cubicBezTo>
                  <a:cubicBezTo>
                    <a:pt x="71" y="26"/>
                    <a:pt x="70" y="26"/>
                    <a:pt x="69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8"/>
                  </a:cubicBezTo>
                  <a:cubicBezTo>
                    <a:pt x="68" y="28"/>
                    <a:pt x="67" y="28"/>
                    <a:pt x="67" y="29"/>
                  </a:cubicBezTo>
                  <a:cubicBezTo>
                    <a:pt x="66" y="30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5" y="31"/>
                    <a:pt x="65" y="32"/>
                    <a:pt x="64" y="32"/>
                  </a:cubicBezTo>
                  <a:cubicBezTo>
                    <a:pt x="64" y="33"/>
                    <a:pt x="64" y="34"/>
                    <a:pt x="64" y="34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4" y="34"/>
                    <a:pt x="63" y="34"/>
                  </a:cubicBezTo>
                  <a:cubicBezTo>
                    <a:pt x="63" y="34"/>
                    <a:pt x="63" y="33"/>
                    <a:pt x="63" y="33"/>
                  </a:cubicBezTo>
                  <a:cubicBezTo>
                    <a:pt x="62" y="33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2"/>
                    <a:pt x="64" y="32"/>
                    <a:pt x="65" y="31"/>
                  </a:cubicBezTo>
                  <a:cubicBezTo>
                    <a:pt x="65" y="31"/>
                    <a:pt x="66" y="30"/>
                    <a:pt x="65" y="29"/>
                  </a:cubicBezTo>
                  <a:cubicBezTo>
                    <a:pt x="65" y="29"/>
                    <a:pt x="65" y="28"/>
                    <a:pt x="65" y="28"/>
                  </a:cubicBezTo>
                  <a:cubicBezTo>
                    <a:pt x="66" y="28"/>
                    <a:pt x="67" y="27"/>
                    <a:pt x="67" y="25"/>
                  </a:cubicBezTo>
                  <a:cubicBezTo>
                    <a:pt x="66" y="23"/>
                    <a:pt x="65" y="23"/>
                    <a:pt x="64" y="23"/>
                  </a:cubicBezTo>
                  <a:cubicBezTo>
                    <a:pt x="64" y="23"/>
                    <a:pt x="64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4" y="22"/>
                    <a:pt x="64" y="21"/>
                    <a:pt x="63" y="20"/>
                  </a:cubicBezTo>
                  <a:cubicBezTo>
                    <a:pt x="63" y="20"/>
                    <a:pt x="62" y="19"/>
                    <a:pt x="62" y="19"/>
                  </a:cubicBezTo>
                  <a:cubicBezTo>
                    <a:pt x="61" y="19"/>
                    <a:pt x="60" y="20"/>
                    <a:pt x="60" y="21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9" y="20"/>
                    <a:pt x="60" y="19"/>
                    <a:pt x="60" y="18"/>
                  </a:cubicBezTo>
                  <a:cubicBezTo>
                    <a:pt x="60" y="18"/>
                    <a:pt x="60" y="17"/>
                    <a:pt x="61" y="17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5"/>
                    <a:pt x="61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4" y="12"/>
                    <a:pt x="63" y="10"/>
                    <a:pt x="62" y="9"/>
                  </a:cubicBezTo>
                  <a:cubicBezTo>
                    <a:pt x="61" y="8"/>
                    <a:pt x="61" y="7"/>
                    <a:pt x="59" y="7"/>
                  </a:cubicBezTo>
                  <a:cubicBezTo>
                    <a:pt x="59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7" y="6"/>
                    <a:pt x="56" y="6"/>
                  </a:cubicBezTo>
                  <a:cubicBezTo>
                    <a:pt x="55" y="5"/>
                    <a:pt x="53" y="7"/>
                    <a:pt x="53" y="8"/>
                  </a:cubicBezTo>
                  <a:cubicBezTo>
                    <a:pt x="53" y="9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3" y="10"/>
                    <a:pt x="52" y="11"/>
                    <a:pt x="51" y="11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9"/>
                    <a:pt x="49" y="9"/>
                  </a:cubicBezTo>
                  <a:cubicBezTo>
                    <a:pt x="49" y="8"/>
                    <a:pt x="47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5" y="10"/>
                    <a:pt x="42" y="11"/>
                    <a:pt x="42" y="12"/>
                  </a:cubicBezTo>
                  <a:cubicBezTo>
                    <a:pt x="42" y="13"/>
                    <a:pt x="42" y="14"/>
                    <a:pt x="42" y="14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4"/>
                    <a:pt x="39" y="14"/>
                  </a:cubicBezTo>
                  <a:cubicBezTo>
                    <a:pt x="38" y="14"/>
                    <a:pt x="37" y="13"/>
                    <a:pt x="36" y="13"/>
                  </a:cubicBezTo>
                  <a:cubicBezTo>
                    <a:pt x="35" y="13"/>
                    <a:pt x="34" y="14"/>
                    <a:pt x="34" y="15"/>
                  </a:cubicBezTo>
                  <a:cubicBezTo>
                    <a:pt x="33" y="14"/>
                    <a:pt x="32" y="13"/>
                    <a:pt x="31" y="14"/>
                  </a:cubicBezTo>
                  <a:cubicBezTo>
                    <a:pt x="29" y="15"/>
                    <a:pt x="29" y="17"/>
                    <a:pt x="30" y="18"/>
                  </a:cubicBezTo>
                  <a:cubicBezTo>
                    <a:pt x="30" y="18"/>
                    <a:pt x="30" y="19"/>
                    <a:pt x="30" y="19"/>
                  </a:cubicBezTo>
                  <a:cubicBezTo>
                    <a:pt x="29" y="19"/>
                    <a:pt x="29" y="20"/>
                    <a:pt x="30" y="21"/>
                  </a:cubicBezTo>
                  <a:cubicBezTo>
                    <a:pt x="29" y="21"/>
                    <a:pt x="29" y="20"/>
                    <a:pt x="29" y="20"/>
                  </a:cubicBezTo>
                  <a:cubicBezTo>
                    <a:pt x="29" y="20"/>
                    <a:pt x="29" y="20"/>
                    <a:pt x="28" y="20"/>
                  </a:cubicBezTo>
                  <a:cubicBezTo>
                    <a:pt x="28" y="19"/>
                    <a:pt x="28" y="19"/>
                    <a:pt x="27" y="18"/>
                  </a:cubicBezTo>
                  <a:cubicBezTo>
                    <a:pt x="26" y="17"/>
                    <a:pt x="24" y="18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1"/>
                    <a:pt x="23" y="21"/>
                    <a:pt x="22" y="22"/>
                  </a:cubicBezTo>
                  <a:cubicBezTo>
                    <a:pt x="22" y="22"/>
                    <a:pt x="20" y="24"/>
                    <a:pt x="21" y="25"/>
                  </a:cubicBezTo>
                  <a:cubicBezTo>
                    <a:pt x="19" y="25"/>
                    <a:pt x="18" y="26"/>
                    <a:pt x="17" y="27"/>
                  </a:cubicBezTo>
                  <a:cubicBezTo>
                    <a:pt x="17" y="28"/>
                    <a:pt x="17" y="29"/>
                    <a:pt x="17" y="30"/>
                  </a:cubicBezTo>
                  <a:cubicBezTo>
                    <a:pt x="17" y="31"/>
                    <a:pt x="18" y="32"/>
                    <a:pt x="18" y="32"/>
                  </a:cubicBezTo>
                  <a:cubicBezTo>
                    <a:pt x="19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2" y="32"/>
                    <a:pt x="22" y="33"/>
                    <a:pt x="22" y="33"/>
                  </a:cubicBezTo>
                  <a:cubicBezTo>
                    <a:pt x="21" y="33"/>
                    <a:pt x="19" y="32"/>
                    <a:pt x="18" y="33"/>
                  </a:cubicBezTo>
                  <a:cubicBezTo>
                    <a:pt x="17" y="33"/>
                    <a:pt x="16" y="34"/>
                    <a:pt x="16" y="34"/>
                  </a:cubicBezTo>
                  <a:cubicBezTo>
                    <a:pt x="16" y="35"/>
                    <a:pt x="16" y="36"/>
                    <a:pt x="16" y="36"/>
                  </a:cubicBezTo>
                  <a:cubicBezTo>
                    <a:pt x="16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15" y="40"/>
                    <a:pt x="16" y="40"/>
                    <a:pt x="16" y="41"/>
                  </a:cubicBezTo>
                  <a:cubicBezTo>
                    <a:pt x="14" y="41"/>
                    <a:pt x="14" y="42"/>
                    <a:pt x="14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5"/>
                    <a:pt x="15" y="47"/>
                    <a:pt x="15" y="47"/>
                  </a:cubicBezTo>
                  <a:cubicBezTo>
                    <a:pt x="16" y="48"/>
                    <a:pt x="17" y="48"/>
                    <a:pt x="17" y="48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20" y="50"/>
                    <a:pt x="22" y="49"/>
                    <a:pt x="22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9"/>
                    <a:pt x="24" y="49"/>
                    <a:pt x="24" y="50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7" y="50"/>
                    <a:pt x="27" y="50"/>
                  </a:cubicBezTo>
                  <a:cubicBezTo>
                    <a:pt x="27" y="50"/>
                    <a:pt x="27" y="51"/>
                    <a:pt x="27" y="51"/>
                  </a:cubicBezTo>
                  <a:cubicBezTo>
                    <a:pt x="27" y="51"/>
                    <a:pt x="28" y="52"/>
                    <a:pt x="28" y="52"/>
                  </a:cubicBezTo>
                  <a:cubicBezTo>
                    <a:pt x="29" y="52"/>
                    <a:pt x="30" y="51"/>
                    <a:pt x="30" y="51"/>
                  </a:cubicBezTo>
                  <a:cubicBezTo>
                    <a:pt x="31" y="50"/>
                    <a:pt x="31" y="50"/>
                    <a:pt x="31" y="49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3" y="48"/>
                  </a:cubicBezTo>
                  <a:cubicBezTo>
                    <a:pt x="33" y="47"/>
                    <a:pt x="34" y="47"/>
                    <a:pt x="34" y="46"/>
                  </a:cubicBezTo>
                  <a:cubicBezTo>
                    <a:pt x="34" y="46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3" y="49"/>
                    <a:pt x="33" y="50"/>
                    <a:pt x="33" y="51"/>
                  </a:cubicBezTo>
                  <a:cubicBezTo>
                    <a:pt x="34" y="52"/>
                    <a:pt x="35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6"/>
                    <a:pt x="35" y="57"/>
                    <a:pt x="35" y="59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7" y="61"/>
                    <a:pt x="37" y="61"/>
                  </a:cubicBezTo>
                  <a:cubicBezTo>
                    <a:pt x="36" y="61"/>
                    <a:pt x="36" y="62"/>
                    <a:pt x="36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4" y="60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5" y="57"/>
                    <a:pt x="34" y="55"/>
                    <a:pt x="33" y="53"/>
                  </a:cubicBezTo>
                  <a:cubicBezTo>
                    <a:pt x="32" y="52"/>
                    <a:pt x="31" y="52"/>
                    <a:pt x="29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7" y="52"/>
                  </a:cubicBezTo>
                  <a:cubicBezTo>
                    <a:pt x="26" y="52"/>
                    <a:pt x="25" y="52"/>
                    <a:pt x="24" y="53"/>
                  </a:cubicBezTo>
                  <a:cubicBezTo>
                    <a:pt x="23" y="54"/>
                    <a:pt x="23" y="55"/>
                    <a:pt x="23" y="56"/>
                  </a:cubicBezTo>
                  <a:cubicBezTo>
                    <a:pt x="23" y="56"/>
                    <a:pt x="23" y="56"/>
                    <a:pt x="23" y="57"/>
                  </a:cubicBezTo>
                  <a:cubicBezTo>
                    <a:pt x="22" y="58"/>
                    <a:pt x="21" y="59"/>
                    <a:pt x="22" y="61"/>
                  </a:cubicBezTo>
                  <a:cubicBezTo>
                    <a:pt x="22" y="61"/>
                    <a:pt x="22" y="61"/>
                    <a:pt x="22" y="62"/>
                  </a:cubicBezTo>
                  <a:cubicBezTo>
                    <a:pt x="22" y="62"/>
                    <a:pt x="22" y="61"/>
                    <a:pt x="22" y="61"/>
                  </a:cubicBezTo>
                  <a:cubicBezTo>
                    <a:pt x="21" y="61"/>
                    <a:pt x="20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7" y="61"/>
                    <a:pt x="17" y="61"/>
                    <a:pt x="16" y="61"/>
                  </a:cubicBezTo>
                  <a:cubicBezTo>
                    <a:pt x="15" y="61"/>
                    <a:pt x="14" y="61"/>
                    <a:pt x="13" y="61"/>
                  </a:cubicBezTo>
                  <a:cubicBezTo>
                    <a:pt x="12" y="61"/>
                    <a:pt x="10" y="61"/>
                    <a:pt x="8" y="61"/>
                  </a:cubicBezTo>
                  <a:cubicBezTo>
                    <a:pt x="7" y="61"/>
                    <a:pt x="5" y="62"/>
                    <a:pt x="4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4"/>
                    <a:pt x="3" y="64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1" y="66"/>
                    <a:pt x="0" y="66"/>
                  </a:cubicBezTo>
                  <a:cubicBezTo>
                    <a:pt x="0" y="67"/>
                    <a:pt x="0" y="68"/>
                    <a:pt x="0" y="69"/>
                  </a:cubicBezTo>
                  <a:cubicBezTo>
                    <a:pt x="1" y="71"/>
                    <a:pt x="3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5" y="72"/>
                    <a:pt x="5" y="72"/>
                  </a:cubicBezTo>
                  <a:cubicBezTo>
                    <a:pt x="6" y="74"/>
                    <a:pt x="9" y="74"/>
                    <a:pt x="10" y="73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72"/>
                    <a:pt x="10" y="72"/>
                    <a:pt x="11" y="72"/>
                  </a:cubicBezTo>
                  <a:cubicBezTo>
                    <a:pt x="11" y="72"/>
                    <a:pt x="11" y="73"/>
                    <a:pt x="1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3" y="73"/>
                    <a:pt x="14" y="73"/>
                    <a:pt x="14" y="72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4"/>
                    <a:pt x="15" y="75"/>
                    <a:pt x="16" y="75"/>
                  </a:cubicBezTo>
                  <a:cubicBezTo>
                    <a:pt x="16" y="76"/>
                    <a:pt x="16" y="76"/>
                    <a:pt x="17" y="76"/>
                  </a:cubicBezTo>
                  <a:cubicBezTo>
                    <a:pt x="17" y="76"/>
                    <a:pt x="17" y="76"/>
                    <a:pt x="18" y="76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6"/>
                    <a:pt x="19" y="77"/>
                    <a:pt x="20" y="77"/>
                  </a:cubicBezTo>
                  <a:cubicBezTo>
                    <a:pt x="20" y="77"/>
                    <a:pt x="20" y="77"/>
                    <a:pt x="21" y="77"/>
                  </a:cubicBezTo>
                  <a:cubicBezTo>
                    <a:pt x="21" y="77"/>
                    <a:pt x="22" y="76"/>
                    <a:pt x="22" y="75"/>
                  </a:cubicBezTo>
                  <a:cubicBezTo>
                    <a:pt x="23" y="76"/>
                    <a:pt x="25" y="76"/>
                    <a:pt x="26" y="75"/>
                  </a:cubicBezTo>
                  <a:cubicBezTo>
                    <a:pt x="26" y="75"/>
                    <a:pt x="26" y="74"/>
                    <a:pt x="26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7"/>
                    <a:pt x="31" y="77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33" y="77"/>
                    <a:pt x="34" y="77"/>
                    <a:pt x="35" y="77"/>
                  </a:cubicBezTo>
                  <a:cubicBezTo>
                    <a:pt x="35" y="76"/>
                    <a:pt x="35" y="76"/>
                    <a:pt x="36" y="75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5" y="76"/>
                    <a:pt x="34" y="77"/>
                    <a:pt x="34" y="78"/>
                  </a:cubicBezTo>
                  <a:cubicBezTo>
                    <a:pt x="34" y="79"/>
                    <a:pt x="34" y="80"/>
                    <a:pt x="35" y="80"/>
                  </a:cubicBezTo>
                  <a:cubicBezTo>
                    <a:pt x="35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8" y="81"/>
                    <a:pt x="38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40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3" y="80"/>
                    <a:pt x="45" y="81"/>
                    <a:pt x="46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8" y="79"/>
                    <a:pt x="48" y="80"/>
                    <a:pt x="49" y="80"/>
                  </a:cubicBezTo>
                  <a:cubicBezTo>
                    <a:pt x="50" y="80"/>
                    <a:pt x="50" y="80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2" y="79"/>
                    <a:pt x="52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9"/>
                    <a:pt x="55" y="78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8" y="75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60" y="71"/>
                    <a:pt x="60" y="71"/>
                    <a:pt x="61" y="70"/>
                  </a:cubicBezTo>
                  <a:cubicBezTo>
                    <a:pt x="61" y="70"/>
                    <a:pt x="62" y="70"/>
                    <a:pt x="62" y="70"/>
                  </a:cubicBezTo>
                  <a:cubicBezTo>
                    <a:pt x="62" y="70"/>
                    <a:pt x="62" y="69"/>
                    <a:pt x="62" y="69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4" y="70"/>
                    <a:pt x="65" y="69"/>
                    <a:pt x="66" y="69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8" y="68"/>
                    <a:pt x="68" y="68"/>
                    <a:pt x="69" y="67"/>
                  </a:cubicBezTo>
                  <a:cubicBezTo>
                    <a:pt x="71" y="66"/>
                    <a:pt x="70" y="65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70" y="63"/>
                    <a:pt x="70" y="63"/>
                  </a:cubicBezTo>
                  <a:cubicBezTo>
                    <a:pt x="70" y="63"/>
                    <a:pt x="71" y="63"/>
                    <a:pt x="71" y="63"/>
                  </a:cubicBezTo>
                  <a:cubicBezTo>
                    <a:pt x="72" y="64"/>
                    <a:pt x="73" y="64"/>
                    <a:pt x="74" y="64"/>
                  </a:cubicBezTo>
                  <a:cubicBezTo>
                    <a:pt x="74" y="64"/>
                    <a:pt x="74" y="65"/>
                    <a:pt x="74" y="65"/>
                  </a:cubicBezTo>
                  <a:cubicBezTo>
                    <a:pt x="75" y="66"/>
                    <a:pt x="75" y="66"/>
                    <a:pt x="76" y="66"/>
                  </a:cubicBezTo>
                  <a:cubicBezTo>
                    <a:pt x="77" y="66"/>
                    <a:pt x="78" y="65"/>
                    <a:pt x="79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64"/>
                    <a:pt x="80" y="65"/>
                    <a:pt x="81" y="65"/>
                  </a:cubicBezTo>
                  <a:cubicBezTo>
                    <a:pt x="82" y="65"/>
                    <a:pt x="83" y="64"/>
                    <a:pt x="83" y="64"/>
                  </a:cubicBezTo>
                  <a:cubicBezTo>
                    <a:pt x="84" y="63"/>
                    <a:pt x="84" y="62"/>
                    <a:pt x="83" y="62"/>
                  </a:cubicBezTo>
                  <a:cubicBezTo>
                    <a:pt x="84" y="62"/>
                    <a:pt x="84" y="62"/>
                    <a:pt x="85" y="61"/>
                  </a:cubicBezTo>
                  <a:cubicBezTo>
                    <a:pt x="85" y="61"/>
                    <a:pt x="85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7" y="61"/>
                  </a:cubicBezTo>
                  <a:cubicBezTo>
                    <a:pt x="88" y="61"/>
                    <a:pt x="89" y="60"/>
                    <a:pt x="90" y="60"/>
                  </a:cubicBezTo>
                  <a:cubicBezTo>
                    <a:pt x="90" y="59"/>
                    <a:pt x="90" y="59"/>
                    <a:pt x="90" y="58"/>
                  </a:cubicBezTo>
                  <a:cubicBezTo>
                    <a:pt x="91" y="59"/>
                    <a:pt x="92" y="58"/>
                    <a:pt x="93" y="57"/>
                  </a:cubicBezTo>
                  <a:cubicBezTo>
                    <a:pt x="93" y="56"/>
                    <a:pt x="94" y="56"/>
                    <a:pt x="95" y="55"/>
                  </a:cubicBezTo>
                  <a:cubicBezTo>
                    <a:pt x="96" y="55"/>
                    <a:pt x="96" y="54"/>
                    <a:pt x="96" y="53"/>
                  </a:cubicBezTo>
                  <a:cubicBezTo>
                    <a:pt x="97" y="54"/>
                    <a:pt x="97" y="54"/>
                    <a:pt x="98" y="54"/>
                  </a:cubicBezTo>
                  <a:cubicBezTo>
                    <a:pt x="98" y="54"/>
                    <a:pt x="99" y="54"/>
                    <a:pt x="99" y="53"/>
                  </a:cubicBezTo>
                  <a:cubicBezTo>
                    <a:pt x="99" y="52"/>
                    <a:pt x="100" y="51"/>
                    <a:pt x="100" y="50"/>
                  </a:cubicBezTo>
                  <a:cubicBezTo>
                    <a:pt x="101" y="50"/>
                    <a:pt x="102" y="50"/>
                    <a:pt x="103" y="49"/>
                  </a:cubicBezTo>
                  <a:cubicBezTo>
                    <a:pt x="103" y="49"/>
                    <a:pt x="103" y="49"/>
                    <a:pt x="103" y="50"/>
                  </a:cubicBezTo>
                  <a:cubicBezTo>
                    <a:pt x="104" y="50"/>
                    <a:pt x="105" y="50"/>
                    <a:pt x="106" y="50"/>
                  </a:cubicBezTo>
                  <a:cubicBezTo>
                    <a:pt x="107" y="50"/>
                    <a:pt x="107" y="50"/>
                    <a:pt x="108" y="49"/>
                  </a:cubicBezTo>
                  <a:cubicBezTo>
                    <a:pt x="108" y="49"/>
                    <a:pt x="108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10" y="49"/>
                    <a:pt x="111" y="50"/>
                    <a:pt x="112" y="49"/>
                  </a:cubicBezTo>
                  <a:cubicBezTo>
                    <a:pt x="112" y="49"/>
                    <a:pt x="112" y="48"/>
                    <a:pt x="112" y="48"/>
                  </a:cubicBezTo>
                  <a:cubicBezTo>
                    <a:pt x="113" y="49"/>
                    <a:pt x="114" y="49"/>
                    <a:pt x="115" y="49"/>
                  </a:cubicBezTo>
                  <a:cubicBezTo>
                    <a:pt x="115" y="49"/>
                    <a:pt x="115" y="49"/>
                    <a:pt x="115" y="4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7" y="49"/>
                    <a:pt x="118" y="49"/>
                    <a:pt x="118" y="49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20" y="49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7"/>
                  </a:cubicBezTo>
                  <a:cubicBezTo>
                    <a:pt x="121" y="47"/>
                    <a:pt x="122" y="47"/>
                    <a:pt x="122" y="48"/>
                  </a:cubicBezTo>
                  <a:cubicBezTo>
                    <a:pt x="122" y="48"/>
                    <a:pt x="123" y="48"/>
                    <a:pt x="124" y="48"/>
                  </a:cubicBezTo>
                  <a:cubicBezTo>
                    <a:pt x="125" y="48"/>
                    <a:pt x="125" y="47"/>
                    <a:pt x="126" y="46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6" y="46"/>
                    <a:pt x="128" y="46"/>
                    <a:pt x="129" y="46"/>
                  </a:cubicBezTo>
                  <a:cubicBezTo>
                    <a:pt x="130" y="45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1" y="44"/>
                    <a:pt x="132" y="44"/>
                    <a:pt x="133" y="44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4" y="44"/>
                    <a:pt x="135" y="44"/>
                    <a:pt x="136" y="43"/>
                  </a:cubicBezTo>
                  <a:cubicBezTo>
                    <a:pt x="136" y="43"/>
                    <a:pt x="137" y="43"/>
                    <a:pt x="137" y="43"/>
                  </a:cubicBezTo>
                  <a:cubicBezTo>
                    <a:pt x="137" y="43"/>
                    <a:pt x="138" y="43"/>
                    <a:pt x="139" y="42"/>
                  </a:cubicBezTo>
                  <a:cubicBezTo>
                    <a:pt x="140" y="42"/>
                    <a:pt x="140" y="41"/>
                    <a:pt x="140" y="41"/>
                  </a:cubicBezTo>
                  <a:cubicBezTo>
                    <a:pt x="141" y="41"/>
                    <a:pt x="141" y="41"/>
                    <a:pt x="141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43" y="40"/>
                    <a:pt x="143" y="40"/>
                    <a:pt x="144" y="40"/>
                  </a:cubicBezTo>
                  <a:cubicBezTo>
                    <a:pt x="144" y="39"/>
                    <a:pt x="145" y="39"/>
                    <a:pt x="145" y="39"/>
                  </a:cubicBezTo>
                  <a:cubicBezTo>
                    <a:pt x="146" y="39"/>
                    <a:pt x="147" y="39"/>
                    <a:pt x="148" y="39"/>
                  </a:cubicBezTo>
                  <a:cubicBezTo>
                    <a:pt x="149" y="39"/>
                    <a:pt x="150" y="39"/>
                    <a:pt x="151" y="39"/>
                  </a:cubicBezTo>
                  <a:cubicBezTo>
                    <a:pt x="152" y="39"/>
                    <a:pt x="152" y="38"/>
                    <a:pt x="153" y="38"/>
                  </a:cubicBezTo>
                  <a:cubicBezTo>
                    <a:pt x="153" y="38"/>
                    <a:pt x="153" y="38"/>
                    <a:pt x="153" y="38"/>
                  </a:cubicBezTo>
                  <a:cubicBezTo>
                    <a:pt x="154" y="38"/>
                    <a:pt x="154" y="38"/>
                    <a:pt x="155" y="37"/>
                  </a:cubicBezTo>
                  <a:cubicBezTo>
                    <a:pt x="155" y="37"/>
                    <a:pt x="156" y="37"/>
                    <a:pt x="156" y="37"/>
                  </a:cubicBezTo>
                  <a:cubicBezTo>
                    <a:pt x="157" y="37"/>
                    <a:pt x="157" y="36"/>
                    <a:pt x="158" y="36"/>
                  </a:cubicBezTo>
                  <a:cubicBezTo>
                    <a:pt x="160" y="36"/>
                    <a:pt x="161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2" y="36"/>
                    <a:pt x="162" y="37"/>
                  </a:cubicBezTo>
                  <a:cubicBezTo>
                    <a:pt x="162" y="37"/>
                    <a:pt x="162" y="37"/>
                    <a:pt x="161" y="37"/>
                  </a:cubicBezTo>
                  <a:cubicBezTo>
                    <a:pt x="161" y="37"/>
                    <a:pt x="161" y="37"/>
                    <a:pt x="161" y="38"/>
                  </a:cubicBezTo>
                  <a:cubicBezTo>
                    <a:pt x="161" y="38"/>
                    <a:pt x="160" y="38"/>
                    <a:pt x="159" y="38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8" y="39"/>
                    <a:pt x="157" y="40"/>
                    <a:pt x="157" y="40"/>
                  </a:cubicBezTo>
                  <a:cubicBezTo>
                    <a:pt x="156" y="40"/>
                    <a:pt x="156" y="40"/>
                    <a:pt x="156" y="40"/>
                  </a:cubicBezTo>
                  <a:cubicBezTo>
                    <a:pt x="156" y="41"/>
                    <a:pt x="155" y="41"/>
                    <a:pt x="154" y="41"/>
                  </a:cubicBezTo>
                  <a:cubicBezTo>
                    <a:pt x="153" y="42"/>
                    <a:pt x="153" y="42"/>
                    <a:pt x="152" y="42"/>
                  </a:cubicBezTo>
                  <a:cubicBezTo>
                    <a:pt x="151" y="42"/>
                    <a:pt x="150" y="42"/>
                    <a:pt x="149" y="42"/>
                  </a:cubicBezTo>
                  <a:cubicBezTo>
                    <a:pt x="149" y="42"/>
                    <a:pt x="148" y="42"/>
                    <a:pt x="148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146" y="42"/>
                    <a:pt x="146" y="42"/>
                  </a:cubicBezTo>
                  <a:cubicBezTo>
                    <a:pt x="145" y="42"/>
                    <a:pt x="143" y="43"/>
                    <a:pt x="142" y="44"/>
                  </a:cubicBezTo>
                  <a:cubicBezTo>
                    <a:pt x="141" y="45"/>
                    <a:pt x="142" y="46"/>
                    <a:pt x="142" y="47"/>
                  </a:cubicBezTo>
                  <a:cubicBezTo>
                    <a:pt x="142" y="47"/>
                    <a:pt x="143" y="48"/>
                    <a:pt x="144" y="48"/>
                  </a:cubicBezTo>
                  <a:cubicBezTo>
                    <a:pt x="144" y="48"/>
                    <a:pt x="144" y="48"/>
                    <a:pt x="144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6" y="51"/>
                    <a:pt x="147" y="51"/>
                    <a:pt x="149" y="50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49" y="51"/>
                    <a:pt x="149" y="51"/>
                    <a:pt x="149" y="51"/>
                  </a:cubicBezTo>
                  <a:cubicBezTo>
                    <a:pt x="149" y="51"/>
                    <a:pt x="149" y="51"/>
                    <a:pt x="149" y="52"/>
                  </a:cubicBezTo>
                  <a:cubicBezTo>
                    <a:pt x="149" y="51"/>
                    <a:pt x="149" y="51"/>
                    <a:pt x="149" y="51"/>
                  </a:cubicBezTo>
                  <a:cubicBezTo>
                    <a:pt x="149" y="51"/>
                    <a:pt x="148" y="51"/>
                    <a:pt x="148" y="51"/>
                  </a:cubicBezTo>
                  <a:cubicBezTo>
                    <a:pt x="148" y="51"/>
                    <a:pt x="148" y="51"/>
                    <a:pt x="148" y="51"/>
                  </a:cubicBezTo>
                  <a:cubicBezTo>
                    <a:pt x="147" y="51"/>
                    <a:pt x="146" y="52"/>
                    <a:pt x="146" y="53"/>
                  </a:cubicBezTo>
                  <a:cubicBezTo>
                    <a:pt x="145" y="53"/>
                    <a:pt x="145" y="53"/>
                    <a:pt x="145" y="54"/>
                  </a:cubicBezTo>
                  <a:cubicBezTo>
                    <a:pt x="145" y="54"/>
                    <a:pt x="145" y="54"/>
                    <a:pt x="145" y="55"/>
                  </a:cubicBezTo>
                  <a:cubicBezTo>
                    <a:pt x="144" y="55"/>
                    <a:pt x="144" y="55"/>
                    <a:pt x="144" y="55"/>
                  </a:cubicBezTo>
                  <a:cubicBezTo>
                    <a:pt x="144" y="55"/>
                    <a:pt x="144" y="55"/>
                    <a:pt x="143" y="55"/>
                  </a:cubicBezTo>
                  <a:cubicBezTo>
                    <a:pt x="143" y="55"/>
                    <a:pt x="142" y="56"/>
                    <a:pt x="142" y="56"/>
                  </a:cubicBezTo>
                  <a:cubicBezTo>
                    <a:pt x="141" y="56"/>
                    <a:pt x="140" y="57"/>
                    <a:pt x="139" y="57"/>
                  </a:cubicBezTo>
                  <a:cubicBezTo>
                    <a:pt x="139" y="57"/>
                    <a:pt x="139" y="57"/>
                    <a:pt x="138" y="57"/>
                  </a:cubicBezTo>
                  <a:cubicBezTo>
                    <a:pt x="138" y="58"/>
                    <a:pt x="137" y="58"/>
                    <a:pt x="137" y="58"/>
                  </a:cubicBezTo>
                  <a:cubicBezTo>
                    <a:pt x="136" y="58"/>
                    <a:pt x="135" y="59"/>
                    <a:pt x="135" y="60"/>
                  </a:cubicBezTo>
                  <a:cubicBezTo>
                    <a:pt x="134" y="59"/>
                    <a:pt x="134" y="59"/>
                    <a:pt x="134" y="59"/>
                  </a:cubicBezTo>
                  <a:cubicBezTo>
                    <a:pt x="134" y="59"/>
                    <a:pt x="133" y="58"/>
                    <a:pt x="133" y="58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2" y="58"/>
                    <a:pt x="131" y="57"/>
                    <a:pt x="130" y="57"/>
                  </a:cubicBezTo>
                  <a:cubicBezTo>
                    <a:pt x="130" y="58"/>
                    <a:pt x="129" y="58"/>
                    <a:pt x="129" y="58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29" y="58"/>
                    <a:pt x="128" y="58"/>
                    <a:pt x="128" y="57"/>
                  </a:cubicBezTo>
                  <a:cubicBezTo>
                    <a:pt x="127" y="57"/>
                    <a:pt x="127" y="57"/>
                    <a:pt x="126" y="57"/>
                  </a:cubicBezTo>
                  <a:cubicBezTo>
                    <a:pt x="126" y="57"/>
                    <a:pt x="125" y="57"/>
                    <a:pt x="125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3" y="57"/>
                    <a:pt x="122" y="57"/>
                    <a:pt x="122" y="57"/>
                  </a:cubicBezTo>
                  <a:cubicBezTo>
                    <a:pt x="121" y="57"/>
                    <a:pt x="121" y="58"/>
                    <a:pt x="120" y="58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0" y="58"/>
                    <a:pt x="120" y="58"/>
                    <a:pt x="120" y="58"/>
                  </a:cubicBezTo>
                  <a:cubicBezTo>
                    <a:pt x="119" y="58"/>
                    <a:pt x="119" y="58"/>
                    <a:pt x="119" y="58"/>
                  </a:cubicBezTo>
                  <a:cubicBezTo>
                    <a:pt x="119" y="57"/>
                    <a:pt x="118" y="57"/>
                    <a:pt x="117" y="57"/>
                  </a:cubicBezTo>
                  <a:cubicBezTo>
                    <a:pt x="117" y="57"/>
                    <a:pt x="117" y="57"/>
                    <a:pt x="116" y="57"/>
                  </a:cubicBezTo>
                  <a:cubicBezTo>
                    <a:pt x="116" y="57"/>
                    <a:pt x="116" y="57"/>
                    <a:pt x="115" y="57"/>
                  </a:cubicBezTo>
                  <a:cubicBezTo>
                    <a:pt x="114" y="57"/>
                    <a:pt x="114" y="57"/>
                    <a:pt x="113" y="57"/>
                  </a:cubicBezTo>
                  <a:cubicBezTo>
                    <a:pt x="112" y="57"/>
                    <a:pt x="112" y="57"/>
                    <a:pt x="111" y="57"/>
                  </a:cubicBezTo>
                  <a:cubicBezTo>
                    <a:pt x="111" y="57"/>
                    <a:pt x="110" y="57"/>
                    <a:pt x="110" y="57"/>
                  </a:cubicBezTo>
                  <a:cubicBezTo>
                    <a:pt x="109" y="57"/>
                    <a:pt x="109" y="57"/>
                    <a:pt x="108" y="58"/>
                  </a:cubicBezTo>
                  <a:cubicBezTo>
                    <a:pt x="108" y="58"/>
                    <a:pt x="107" y="57"/>
                    <a:pt x="106" y="58"/>
                  </a:cubicBezTo>
                  <a:cubicBezTo>
                    <a:pt x="106" y="58"/>
                    <a:pt x="106" y="58"/>
                    <a:pt x="105" y="58"/>
                  </a:cubicBezTo>
                  <a:cubicBezTo>
                    <a:pt x="105" y="58"/>
                    <a:pt x="105" y="58"/>
                    <a:pt x="104" y="58"/>
                  </a:cubicBezTo>
                  <a:cubicBezTo>
                    <a:pt x="104" y="58"/>
                    <a:pt x="102" y="58"/>
                    <a:pt x="102" y="58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99" y="59"/>
                    <a:pt x="98" y="60"/>
                    <a:pt x="98" y="60"/>
                  </a:cubicBezTo>
                  <a:cubicBezTo>
                    <a:pt x="98" y="60"/>
                    <a:pt x="98" y="60"/>
                    <a:pt x="97" y="61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61"/>
                    <a:pt x="96" y="61"/>
                    <a:pt x="95" y="61"/>
                  </a:cubicBezTo>
                  <a:cubicBezTo>
                    <a:pt x="95" y="61"/>
                    <a:pt x="94" y="61"/>
                    <a:pt x="94" y="62"/>
                  </a:cubicBezTo>
                  <a:cubicBezTo>
                    <a:pt x="94" y="63"/>
                    <a:pt x="94" y="64"/>
                    <a:pt x="94" y="64"/>
                  </a:cubicBezTo>
                  <a:cubicBezTo>
                    <a:pt x="94" y="64"/>
                    <a:pt x="94" y="65"/>
                    <a:pt x="94" y="65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3" y="66"/>
                    <a:pt x="93" y="67"/>
                    <a:pt x="93" y="67"/>
                  </a:cubicBezTo>
                  <a:cubicBezTo>
                    <a:pt x="94" y="68"/>
                    <a:pt x="95" y="69"/>
                    <a:pt x="95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1"/>
                    <a:pt x="96" y="71"/>
                  </a:cubicBezTo>
                  <a:cubicBezTo>
                    <a:pt x="95" y="71"/>
                    <a:pt x="95" y="72"/>
                    <a:pt x="95" y="72"/>
                  </a:cubicBezTo>
                  <a:cubicBezTo>
                    <a:pt x="96" y="73"/>
                    <a:pt x="97" y="74"/>
                    <a:pt x="97" y="74"/>
                  </a:cubicBezTo>
                  <a:cubicBezTo>
                    <a:pt x="97" y="75"/>
                    <a:pt x="98" y="76"/>
                    <a:pt x="98" y="76"/>
                  </a:cubicBezTo>
                  <a:cubicBezTo>
                    <a:pt x="99" y="77"/>
                    <a:pt x="99" y="77"/>
                    <a:pt x="100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99" y="78"/>
                    <a:pt x="99" y="78"/>
                    <a:pt x="99" y="79"/>
                  </a:cubicBezTo>
                  <a:cubicBezTo>
                    <a:pt x="99" y="79"/>
                    <a:pt x="100" y="79"/>
                    <a:pt x="100" y="80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9"/>
                    <a:pt x="99" y="79"/>
                    <a:pt x="99" y="78"/>
                  </a:cubicBezTo>
                  <a:cubicBezTo>
                    <a:pt x="98" y="78"/>
                    <a:pt x="97" y="77"/>
                    <a:pt x="96" y="77"/>
                  </a:cubicBezTo>
                  <a:cubicBezTo>
                    <a:pt x="95" y="77"/>
                    <a:pt x="95" y="77"/>
                    <a:pt x="94" y="77"/>
                  </a:cubicBezTo>
                  <a:cubicBezTo>
                    <a:pt x="92" y="77"/>
                    <a:pt x="92" y="77"/>
                    <a:pt x="91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0" y="77"/>
                    <a:pt x="89" y="77"/>
                    <a:pt x="88" y="78"/>
                  </a:cubicBezTo>
                  <a:cubicBezTo>
                    <a:pt x="87" y="78"/>
                    <a:pt x="87" y="80"/>
                    <a:pt x="87" y="81"/>
                  </a:cubicBezTo>
                  <a:cubicBezTo>
                    <a:pt x="87" y="81"/>
                    <a:pt x="87" y="83"/>
                    <a:pt x="88" y="83"/>
                  </a:cubicBezTo>
                  <a:cubicBezTo>
                    <a:pt x="89" y="84"/>
                    <a:pt x="90" y="84"/>
                    <a:pt x="91" y="84"/>
                  </a:cubicBezTo>
                  <a:cubicBezTo>
                    <a:pt x="92" y="83"/>
                    <a:pt x="92" y="83"/>
                    <a:pt x="93" y="83"/>
                  </a:cubicBezTo>
                  <a:cubicBezTo>
                    <a:pt x="92" y="83"/>
                    <a:pt x="92" y="84"/>
                    <a:pt x="92" y="85"/>
                  </a:cubicBezTo>
                  <a:cubicBezTo>
                    <a:pt x="92" y="85"/>
                    <a:pt x="92" y="85"/>
                    <a:pt x="93" y="85"/>
                  </a:cubicBezTo>
                  <a:cubicBezTo>
                    <a:pt x="92" y="85"/>
                    <a:pt x="92" y="85"/>
                    <a:pt x="91" y="85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86"/>
                    <a:pt x="90" y="86"/>
                    <a:pt x="89" y="86"/>
                  </a:cubicBezTo>
                  <a:cubicBezTo>
                    <a:pt x="89" y="86"/>
                    <a:pt x="89" y="86"/>
                    <a:pt x="88" y="86"/>
                  </a:cubicBezTo>
                  <a:cubicBezTo>
                    <a:pt x="87" y="86"/>
                    <a:pt x="86" y="87"/>
                    <a:pt x="86" y="89"/>
                  </a:cubicBezTo>
                  <a:cubicBezTo>
                    <a:pt x="86" y="90"/>
                    <a:pt x="86" y="90"/>
                    <a:pt x="86" y="91"/>
                  </a:cubicBezTo>
                  <a:cubicBezTo>
                    <a:pt x="87" y="92"/>
                    <a:pt x="87" y="92"/>
                    <a:pt x="88" y="92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88" y="94"/>
                    <a:pt x="89" y="94"/>
                    <a:pt x="89" y="95"/>
                  </a:cubicBezTo>
                  <a:cubicBezTo>
                    <a:pt x="89" y="95"/>
                    <a:pt x="90" y="95"/>
                    <a:pt x="90" y="95"/>
                  </a:cubicBezTo>
                  <a:cubicBezTo>
                    <a:pt x="90" y="95"/>
                    <a:pt x="91" y="96"/>
                    <a:pt x="92" y="96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92" y="96"/>
                    <a:pt x="92" y="96"/>
                    <a:pt x="93" y="97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9"/>
                    <a:pt x="95" y="99"/>
                    <a:pt x="95" y="99"/>
                  </a:cubicBezTo>
                  <a:cubicBezTo>
                    <a:pt x="95" y="99"/>
                    <a:pt x="96" y="99"/>
                    <a:pt x="97" y="98"/>
                  </a:cubicBezTo>
                  <a:cubicBezTo>
                    <a:pt x="97" y="97"/>
                    <a:pt x="97" y="97"/>
                    <a:pt x="98" y="96"/>
                  </a:cubicBezTo>
                  <a:cubicBezTo>
                    <a:pt x="98" y="96"/>
                    <a:pt x="98" y="96"/>
                    <a:pt x="98" y="96"/>
                  </a:cubicBezTo>
                  <a:cubicBezTo>
                    <a:pt x="98" y="95"/>
                    <a:pt x="98" y="95"/>
                    <a:pt x="99" y="95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5"/>
                    <a:pt x="100" y="95"/>
                    <a:pt x="100" y="95"/>
                  </a:cubicBezTo>
                  <a:cubicBezTo>
                    <a:pt x="100" y="95"/>
                    <a:pt x="100" y="95"/>
                    <a:pt x="100" y="95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3" y="97"/>
                    <a:pt x="104" y="97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96"/>
                    <a:pt x="105" y="96"/>
                    <a:pt x="105" y="96"/>
                  </a:cubicBezTo>
                  <a:cubicBezTo>
                    <a:pt x="105" y="96"/>
                    <a:pt x="105" y="96"/>
                    <a:pt x="106" y="96"/>
                  </a:cubicBezTo>
                  <a:cubicBezTo>
                    <a:pt x="106" y="96"/>
                    <a:pt x="106" y="96"/>
                    <a:pt x="107" y="96"/>
                  </a:cubicBezTo>
                  <a:cubicBezTo>
                    <a:pt x="107" y="96"/>
                    <a:pt x="107" y="96"/>
                    <a:pt x="108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10" y="98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6"/>
                  </a:cubicBezTo>
                  <a:cubicBezTo>
                    <a:pt x="113" y="96"/>
                    <a:pt x="114" y="96"/>
                    <a:pt x="114" y="96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7" y="99"/>
                    <a:pt x="118" y="98"/>
                    <a:pt x="119" y="98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9" y="98"/>
                    <a:pt x="120" y="98"/>
                  </a:cubicBezTo>
                  <a:cubicBezTo>
                    <a:pt x="120" y="98"/>
                    <a:pt x="120" y="98"/>
                    <a:pt x="120" y="98"/>
                  </a:cubicBezTo>
                  <a:cubicBezTo>
                    <a:pt x="120" y="98"/>
                    <a:pt x="121" y="99"/>
                    <a:pt x="121" y="99"/>
                  </a:cubicBezTo>
                  <a:cubicBezTo>
                    <a:pt x="121" y="100"/>
                    <a:pt x="122" y="100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2"/>
                  </a:cubicBezTo>
                  <a:cubicBezTo>
                    <a:pt x="122" y="103"/>
                    <a:pt x="122" y="103"/>
                    <a:pt x="122" y="104"/>
                  </a:cubicBezTo>
                  <a:cubicBezTo>
                    <a:pt x="123" y="104"/>
                    <a:pt x="124" y="104"/>
                    <a:pt x="125" y="104"/>
                  </a:cubicBezTo>
                  <a:cubicBezTo>
                    <a:pt x="125" y="104"/>
                    <a:pt x="126" y="103"/>
                    <a:pt x="126" y="103"/>
                  </a:cubicBezTo>
                  <a:cubicBezTo>
                    <a:pt x="126" y="103"/>
                    <a:pt x="127" y="103"/>
                    <a:pt x="127" y="104"/>
                  </a:cubicBezTo>
                  <a:cubicBezTo>
                    <a:pt x="127" y="105"/>
                    <a:pt x="128" y="105"/>
                    <a:pt x="128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27" y="106"/>
                    <a:pt x="126" y="107"/>
                    <a:pt x="125" y="107"/>
                  </a:cubicBezTo>
                  <a:cubicBezTo>
                    <a:pt x="125" y="108"/>
                    <a:pt x="125" y="108"/>
                    <a:pt x="125" y="109"/>
                  </a:cubicBezTo>
                  <a:cubicBezTo>
                    <a:pt x="125" y="109"/>
                    <a:pt x="124" y="109"/>
                    <a:pt x="124" y="110"/>
                  </a:cubicBezTo>
                  <a:cubicBezTo>
                    <a:pt x="123" y="111"/>
                    <a:pt x="124" y="113"/>
                    <a:pt x="124" y="114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6" y="116"/>
                    <a:pt x="126" y="116"/>
                    <a:pt x="126" y="116"/>
                  </a:cubicBezTo>
                  <a:cubicBezTo>
                    <a:pt x="126" y="117"/>
                    <a:pt x="126" y="117"/>
                    <a:pt x="126" y="118"/>
                  </a:cubicBezTo>
                  <a:cubicBezTo>
                    <a:pt x="127" y="119"/>
                    <a:pt x="127" y="119"/>
                    <a:pt x="127" y="120"/>
                  </a:cubicBezTo>
                  <a:cubicBezTo>
                    <a:pt x="127" y="120"/>
                    <a:pt x="126" y="120"/>
                    <a:pt x="125" y="121"/>
                  </a:cubicBezTo>
                  <a:cubicBezTo>
                    <a:pt x="125" y="121"/>
                    <a:pt x="125" y="121"/>
                    <a:pt x="124" y="122"/>
                  </a:cubicBezTo>
                  <a:cubicBezTo>
                    <a:pt x="124" y="122"/>
                    <a:pt x="124" y="122"/>
                    <a:pt x="124" y="122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123" y="122"/>
                    <a:pt x="122" y="122"/>
                    <a:pt x="121" y="122"/>
                  </a:cubicBezTo>
                  <a:cubicBezTo>
                    <a:pt x="121" y="124"/>
                    <a:pt x="121" y="124"/>
                    <a:pt x="121" y="124"/>
                  </a:cubicBezTo>
                  <a:cubicBezTo>
                    <a:pt x="121" y="122"/>
                    <a:pt x="121" y="122"/>
                    <a:pt x="121" y="122"/>
                  </a:cubicBezTo>
                  <a:cubicBezTo>
                    <a:pt x="121" y="122"/>
                    <a:pt x="121" y="122"/>
                    <a:pt x="121" y="122"/>
                  </a:cubicBezTo>
                  <a:cubicBezTo>
                    <a:pt x="119" y="122"/>
                    <a:pt x="118" y="123"/>
                    <a:pt x="118" y="124"/>
                  </a:cubicBezTo>
                  <a:cubicBezTo>
                    <a:pt x="118" y="125"/>
                    <a:pt x="118" y="125"/>
                    <a:pt x="119" y="126"/>
                  </a:cubicBezTo>
                  <a:cubicBezTo>
                    <a:pt x="119" y="126"/>
                    <a:pt x="120" y="127"/>
                    <a:pt x="121" y="126"/>
                  </a:cubicBezTo>
                  <a:cubicBezTo>
                    <a:pt x="121" y="126"/>
                    <a:pt x="122" y="126"/>
                    <a:pt x="122" y="126"/>
                  </a:cubicBezTo>
                  <a:cubicBezTo>
                    <a:pt x="122" y="126"/>
                    <a:pt x="122" y="126"/>
                    <a:pt x="122" y="126"/>
                  </a:cubicBezTo>
                  <a:cubicBezTo>
                    <a:pt x="122" y="126"/>
                    <a:pt x="122" y="126"/>
                    <a:pt x="122" y="126"/>
                  </a:cubicBezTo>
                  <a:cubicBezTo>
                    <a:pt x="122" y="127"/>
                    <a:pt x="121" y="127"/>
                    <a:pt x="121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0" y="128"/>
                    <a:pt x="120" y="129"/>
                    <a:pt x="119" y="130"/>
                  </a:cubicBezTo>
                  <a:cubicBezTo>
                    <a:pt x="119" y="130"/>
                    <a:pt x="119" y="131"/>
                    <a:pt x="119" y="132"/>
                  </a:cubicBezTo>
                  <a:cubicBezTo>
                    <a:pt x="119" y="132"/>
                    <a:pt x="119" y="132"/>
                    <a:pt x="119" y="132"/>
                  </a:cubicBezTo>
                  <a:cubicBezTo>
                    <a:pt x="118" y="132"/>
                    <a:pt x="117" y="133"/>
                    <a:pt x="117" y="133"/>
                  </a:cubicBezTo>
                  <a:cubicBezTo>
                    <a:pt x="117" y="134"/>
                    <a:pt x="118" y="134"/>
                    <a:pt x="118" y="134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117" y="135"/>
                    <a:pt x="117" y="135"/>
                    <a:pt x="117" y="135"/>
                  </a:cubicBezTo>
                  <a:cubicBezTo>
                    <a:pt x="116" y="135"/>
                    <a:pt x="116" y="135"/>
                    <a:pt x="116" y="135"/>
                  </a:cubicBezTo>
                  <a:cubicBezTo>
                    <a:pt x="116" y="136"/>
                    <a:pt x="114" y="136"/>
                    <a:pt x="115" y="138"/>
                  </a:cubicBezTo>
                  <a:cubicBezTo>
                    <a:pt x="115" y="139"/>
                    <a:pt x="116" y="139"/>
                    <a:pt x="116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5" y="141"/>
                    <a:pt x="114" y="141"/>
                    <a:pt x="114" y="142"/>
                  </a:cubicBezTo>
                  <a:cubicBezTo>
                    <a:pt x="114" y="143"/>
                    <a:pt x="114" y="143"/>
                    <a:pt x="114" y="143"/>
                  </a:cubicBezTo>
                  <a:cubicBezTo>
                    <a:pt x="114" y="143"/>
                    <a:pt x="114" y="143"/>
                    <a:pt x="114" y="143"/>
                  </a:cubicBezTo>
                  <a:cubicBezTo>
                    <a:pt x="114" y="143"/>
                    <a:pt x="114" y="143"/>
                    <a:pt x="113" y="143"/>
                  </a:cubicBezTo>
                  <a:cubicBezTo>
                    <a:pt x="113" y="143"/>
                    <a:pt x="113" y="143"/>
                    <a:pt x="112" y="143"/>
                  </a:cubicBezTo>
                  <a:cubicBezTo>
                    <a:pt x="112" y="143"/>
                    <a:pt x="112" y="143"/>
                    <a:pt x="111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5"/>
                    <a:pt x="109" y="145"/>
                    <a:pt x="109" y="146"/>
                  </a:cubicBezTo>
                  <a:cubicBezTo>
                    <a:pt x="109" y="146"/>
                    <a:pt x="109" y="146"/>
                    <a:pt x="110" y="146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8" y="146"/>
                    <a:pt x="107" y="146"/>
                    <a:pt x="106" y="147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6" y="147"/>
                    <a:pt x="105" y="147"/>
                    <a:pt x="105" y="147"/>
                  </a:cubicBezTo>
                  <a:cubicBezTo>
                    <a:pt x="104" y="147"/>
                    <a:pt x="103" y="147"/>
                    <a:pt x="103" y="148"/>
                  </a:cubicBezTo>
                  <a:cubicBezTo>
                    <a:pt x="103" y="149"/>
                    <a:pt x="103" y="149"/>
                    <a:pt x="103" y="150"/>
                  </a:cubicBezTo>
                  <a:cubicBezTo>
                    <a:pt x="102" y="150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149"/>
                    <a:pt x="100" y="150"/>
                    <a:pt x="99" y="150"/>
                  </a:cubicBezTo>
                  <a:cubicBezTo>
                    <a:pt x="98" y="151"/>
                    <a:pt x="98" y="152"/>
                    <a:pt x="98" y="154"/>
                  </a:cubicBezTo>
                  <a:cubicBezTo>
                    <a:pt x="97" y="154"/>
                    <a:pt x="97" y="155"/>
                    <a:pt x="98" y="156"/>
                  </a:cubicBezTo>
                  <a:cubicBezTo>
                    <a:pt x="98" y="157"/>
                    <a:pt x="100" y="157"/>
                    <a:pt x="101" y="157"/>
                  </a:cubicBezTo>
                  <a:cubicBezTo>
                    <a:pt x="101" y="157"/>
                    <a:pt x="101" y="158"/>
                    <a:pt x="101" y="158"/>
                  </a:cubicBezTo>
                  <a:cubicBezTo>
                    <a:pt x="102" y="158"/>
                    <a:pt x="103" y="159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5" y="159"/>
                    <a:pt x="106" y="158"/>
                    <a:pt x="107" y="157"/>
                  </a:cubicBezTo>
                  <a:cubicBezTo>
                    <a:pt x="108" y="157"/>
                    <a:pt x="108" y="156"/>
                    <a:pt x="108" y="156"/>
                  </a:cubicBezTo>
                  <a:cubicBezTo>
                    <a:pt x="109" y="156"/>
                    <a:pt x="109" y="156"/>
                    <a:pt x="110" y="156"/>
                  </a:cubicBezTo>
                  <a:cubicBezTo>
                    <a:pt x="110" y="156"/>
                    <a:pt x="110" y="156"/>
                    <a:pt x="110" y="156"/>
                  </a:cubicBezTo>
                  <a:cubicBezTo>
                    <a:pt x="110" y="156"/>
                    <a:pt x="110" y="156"/>
                    <a:pt x="111" y="156"/>
                  </a:cubicBezTo>
                  <a:cubicBezTo>
                    <a:pt x="111" y="156"/>
                    <a:pt x="111" y="156"/>
                    <a:pt x="111" y="157"/>
                  </a:cubicBezTo>
                  <a:cubicBezTo>
                    <a:pt x="111" y="157"/>
                    <a:pt x="112" y="157"/>
                    <a:pt x="112" y="158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12" y="159"/>
                    <a:pt x="112" y="159"/>
                    <a:pt x="112" y="160"/>
                  </a:cubicBezTo>
                  <a:cubicBezTo>
                    <a:pt x="112" y="160"/>
                    <a:pt x="112" y="160"/>
                    <a:pt x="112" y="160"/>
                  </a:cubicBezTo>
                  <a:cubicBezTo>
                    <a:pt x="111" y="161"/>
                    <a:pt x="111" y="162"/>
                    <a:pt x="111" y="163"/>
                  </a:cubicBezTo>
                  <a:cubicBezTo>
                    <a:pt x="112" y="163"/>
                    <a:pt x="112" y="164"/>
                    <a:pt x="113" y="164"/>
                  </a:cubicBezTo>
                  <a:cubicBezTo>
                    <a:pt x="113" y="164"/>
                    <a:pt x="113" y="164"/>
                    <a:pt x="113" y="164"/>
                  </a:cubicBezTo>
                  <a:cubicBezTo>
                    <a:pt x="113" y="164"/>
                    <a:pt x="113" y="165"/>
                    <a:pt x="113" y="165"/>
                  </a:cubicBezTo>
                  <a:cubicBezTo>
                    <a:pt x="112" y="165"/>
                    <a:pt x="112" y="166"/>
                    <a:pt x="112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1" y="167"/>
                    <a:pt x="111" y="167"/>
                    <a:pt x="111" y="168"/>
                  </a:cubicBezTo>
                  <a:cubicBezTo>
                    <a:pt x="111" y="168"/>
                    <a:pt x="110" y="168"/>
                    <a:pt x="110" y="169"/>
                  </a:cubicBezTo>
                  <a:cubicBezTo>
                    <a:pt x="110" y="168"/>
                    <a:pt x="110" y="168"/>
                    <a:pt x="109" y="168"/>
                  </a:cubicBezTo>
                  <a:cubicBezTo>
                    <a:pt x="109" y="168"/>
                    <a:pt x="109" y="167"/>
                    <a:pt x="109" y="167"/>
                  </a:cubicBezTo>
                  <a:cubicBezTo>
                    <a:pt x="109" y="166"/>
                    <a:pt x="109" y="165"/>
                    <a:pt x="108" y="164"/>
                  </a:cubicBezTo>
                  <a:cubicBezTo>
                    <a:pt x="107" y="163"/>
                    <a:pt x="106" y="163"/>
                    <a:pt x="105" y="163"/>
                  </a:cubicBezTo>
                  <a:cubicBezTo>
                    <a:pt x="105" y="163"/>
                    <a:pt x="104" y="163"/>
                    <a:pt x="104" y="163"/>
                  </a:cubicBezTo>
                  <a:cubicBezTo>
                    <a:pt x="104" y="162"/>
                    <a:pt x="103" y="162"/>
                    <a:pt x="103" y="162"/>
                  </a:cubicBezTo>
                  <a:cubicBezTo>
                    <a:pt x="103" y="161"/>
                    <a:pt x="102" y="161"/>
                    <a:pt x="101" y="161"/>
                  </a:cubicBezTo>
                  <a:cubicBezTo>
                    <a:pt x="99" y="160"/>
                    <a:pt x="98" y="161"/>
                    <a:pt x="97" y="163"/>
                  </a:cubicBezTo>
                  <a:cubicBezTo>
                    <a:pt x="96" y="164"/>
                    <a:pt x="96" y="165"/>
                    <a:pt x="96" y="166"/>
                  </a:cubicBezTo>
                  <a:cubicBezTo>
                    <a:pt x="96" y="168"/>
                    <a:pt x="97" y="169"/>
                    <a:pt x="98" y="170"/>
                  </a:cubicBezTo>
                  <a:cubicBezTo>
                    <a:pt x="99" y="170"/>
                    <a:pt x="100" y="171"/>
                    <a:pt x="100" y="171"/>
                  </a:cubicBezTo>
                  <a:cubicBezTo>
                    <a:pt x="100" y="172"/>
                    <a:pt x="101" y="172"/>
                    <a:pt x="101" y="172"/>
                  </a:cubicBezTo>
                  <a:cubicBezTo>
                    <a:pt x="101" y="172"/>
                    <a:pt x="101" y="172"/>
                    <a:pt x="101" y="173"/>
                  </a:cubicBezTo>
                  <a:cubicBezTo>
                    <a:pt x="101" y="173"/>
                    <a:pt x="101" y="173"/>
                    <a:pt x="101" y="173"/>
                  </a:cubicBezTo>
                  <a:cubicBezTo>
                    <a:pt x="101" y="173"/>
                    <a:pt x="102" y="174"/>
                    <a:pt x="102" y="174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2" y="175"/>
                    <a:pt x="103" y="176"/>
                    <a:pt x="103" y="177"/>
                  </a:cubicBezTo>
                  <a:cubicBezTo>
                    <a:pt x="104" y="177"/>
                    <a:pt x="105" y="177"/>
                    <a:pt x="105" y="177"/>
                  </a:cubicBezTo>
                  <a:cubicBezTo>
                    <a:pt x="106" y="177"/>
                    <a:pt x="106" y="177"/>
                    <a:pt x="106" y="177"/>
                  </a:cubicBezTo>
                  <a:cubicBezTo>
                    <a:pt x="106" y="176"/>
                    <a:pt x="106" y="176"/>
                    <a:pt x="106" y="176"/>
                  </a:cubicBezTo>
                  <a:cubicBezTo>
                    <a:pt x="106" y="176"/>
                    <a:pt x="106" y="176"/>
                    <a:pt x="106" y="176"/>
                  </a:cubicBezTo>
                  <a:cubicBezTo>
                    <a:pt x="106" y="177"/>
                    <a:pt x="106" y="177"/>
                    <a:pt x="106" y="177"/>
                  </a:cubicBezTo>
                  <a:cubicBezTo>
                    <a:pt x="107" y="177"/>
                    <a:pt x="107" y="177"/>
                    <a:pt x="107" y="177"/>
                  </a:cubicBezTo>
                  <a:cubicBezTo>
                    <a:pt x="107" y="177"/>
                    <a:pt x="108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7" y="178"/>
                    <a:pt x="107" y="178"/>
                    <a:pt x="106" y="178"/>
                  </a:cubicBezTo>
                  <a:cubicBezTo>
                    <a:pt x="106" y="178"/>
                    <a:pt x="106" y="178"/>
                    <a:pt x="106" y="178"/>
                  </a:cubicBezTo>
                  <a:cubicBezTo>
                    <a:pt x="106" y="179"/>
                    <a:pt x="105" y="179"/>
                    <a:pt x="105" y="179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0"/>
                    <a:pt x="105" y="181"/>
                    <a:pt x="105" y="181"/>
                  </a:cubicBezTo>
                  <a:cubicBezTo>
                    <a:pt x="104" y="180"/>
                    <a:pt x="104" y="181"/>
                    <a:pt x="103" y="181"/>
                  </a:cubicBezTo>
                  <a:cubicBezTo>
                    <a:pt x="103" y="181"/>
                    <a:pt x="103" y="181"/>
                    <a:pt x="102" y="181"/>
                  </a:cubicBezTo>
                  <a:cubicBezTo>
                    <a:pt x="102" y="181"/>
                    <a:pt x="102" y="181"/>
                    <a:pt x="102" y="181"/>
                  </a:cubicBezTo>
                  <a:cubicBezTo>
                    <a:pt x="101" y="182"/>
                    <a:pt x="101" y="182"/>
                    <a:pt x="101" y="183"/>
                  </a:cubicBezTo>
                  <a:cubicBezTo>
                    <a:pt x="101" y="183"/>
                    <a:pt x="101" y="184"/>
                    <a:pt x="101" y="184"/>
                  </a:cubicBezTo>
                  <a:cubicBezTo>
                    <a:pt x="100" y="184"/>
                    <a:pt x="100" y="184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8" y="185"/>
                    <a:pt x="97" y="186"/>
                  </a:cubicBezTo>
                  <a:cubicBezTo>
                    <a:pt x="97" y="187"/>
                    <a:pt x="97" y="187"/>
                    <a:pt x="97" y="187"/>
                  </a:cubicBezTo>
                  <a:cubicBezTo>
                    <a:pt x="97" y="187"/>
                    <a:pt x="96" y="188"/>
                    <a:pt x="96" y="188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8"/>
                    <a:pt x="94" y="189"/>
                    <a:pt x="94" y="190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93" y="190"/>
                    <a:pt x="93" y="190"/>
                    <a:pt x="93" y="190"/>
                  </a:cubicBezTo>
                  <a:cubicBezTo>
                    <a:pt x="93" y="190"/>
                    <a:pt x="92" y="190"/>
                    <a:pt x="92" y="190"/>
                  </a:cubicBezTo>
                  <a:cubicBezTo>
                    <a:pt x="92" y="190"/>
                    <a:pt x="91" y="190"/>
                    <a:pt x="91" y="190"/>
                  </a:cubicBezTo>
                  <a:cubicBezTo>
                    <a:pt x="91" y="190"/>
                    <a:pt x="90" y="189"/>
                    <a:pt x="89" y="190"/>
                  </a:cubicBezTo>
                  <a:cubicBezTo>
                    <a:pt x="88" y="190"/>
                    <a:pt x="88" y="190"/>
                    <a:pt x="88" y="191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6" y="191"/>
                    <a:pt x="85" y="191"/>
                    <a:pt x="84" y="191"/>
                  </a:cubicBezTo>
                  <a:cubicBezTo>
                    <a:pt x="84" y="191"/>
                    <a:pt x="83" y="192"/>
                    <a:pt x="83" y="192"/>
                  </a:cubicBezTo>
                  <a:cubicBezTo>
                    <a:pt x="83" y="193"/>
                    <a:pt x="83" y="193"/>
                    <a:pt x="83" y="193"/>
                  </a:cubicBezTo>
                  <a:cubicBezTo>
                    <a:pt x="83" y="193"/>
                    <a:pt x="82" y="193"/>
                    <a:pt x="81" y="193"/>
                  </a:cubicBezTo>
                  <a:cubicBezTo>
                    <a:pt x="81" y="194"/>
                    <a:pt x="81" y="194"/>
                    <a:pt x="81" y="194"/>
                  </a:cubicBezTo>
                  <a:cubicBezTo>
                    <a:pt x="81" y="193"/>
                    <a:pt x="81" y="193"/>
                    <a:pt x="81" y="193"/>
                  </a:cubicBezTo>
                  <a:cubicBezTo>
                    <a:pt x="80" y="194"/>
                    <a:pt x="80" y="194"/>
                    <a:pt x="80" y="194"/>
                  </a:cubicBezTo>
                  <a:cubicBezTo>
                    <a:pt x="80" y="195"/>
                    <a:pt x="80" y="195"/>
                    <a:pt x="80" y="195"/>
                  </a:cubicBezTo>
                  <a:cubicBezTo>
                    <a:pt x="80" y="195"/>
                    <a:pt x="80" y="195"/>
                    <a:pt x="80" y="196"/>
                  </a:cubicBezTo>
                  <a:cubicBezTo>
                    <a:pt x="80" y="196"/>
                    <a:pt x="80" y="196"/>
                    <a:pt x="79" y="196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78" y="196"/>
                    <a:pt x="78" y="196"/>
                    <a:pt x="78" y="196"/>
                  </a:cubicBezTo>
                  <a:cubicBezTo>
                    <a:pt x="78" y="196"/>
                    <a:pt x="78" y="196"/>
                    <a:pt x="78" y="196"/>
                  </a:cubicBezTo>
                  <a:cubicBezTo>
                    <a:pt x="77" y="196"/>
                    <a:pt x="77" y="196"/>
                    <a:pt x="77" y="196"/>
                  </a:cubicBezTo>
                  <a:cubicBezTo>
                    <a:pt x="76" y="197"/>
                    <a:pt x="76" y="197"/>
                    <a:pt x="76" y="197"/>
                  </a:cubicBezTo>
                  <a:cubicBezTo>
                    <a:pt x="76" y="197"/>
                    <a:pt x="74" y="197"/>
                    <a:pt x="74" y="198"/>
                  </a:cubicBezTo>
                  <a:cubicBezTo>
                    <a:pt x="74" y="199"/>
                    <a:pt x="74" y="199"/>
                    <a:pt x="74" y="199"/>
                  </a:cubicBezTo>
                  <a:cubicBezTo>
                    <a:pt x="74" y="199"/>
                    <a:pt x="74" y="199"/>
                    <a:pt x="74" y="200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73" y="200"/>
                    <a:pt x="73" y="200"/>
                    <a:pt x="73" y="200"/>
                  </a:cubicBezTo>
                  <a:cubicBezTo>
                    <a:pt x="72" y="200"/>
                    <a:pt x="72" y="201"/>
                    <a:pt x="71" y="202"/>
                  </a:cubicBezTo>
                  <a:cubicBezTo>
                    <a:pt x="71" y="202"/>
                    <a:pt x="71" y="202"/>
                    <a:pt x="71" y="202"/>
                  </a:cubicBezTo>
                  <a:cubicBezTo>
                    <a:pt x="71" y="202"/>
                    <a:pt x="70" y="203"/>
                    <a:pt x="70" y="203"/>
                  </a:cubicBezTo>
                  <a:cubicBezTo>
                    <a:pt x="69" y="203"/>
                    <a:pt x="69" y="204"/>
                    <a:pt x="69" y="205"/>
                  </a:cubicBezTo>
                  <a:cubicBezTo>
                    <a:pt x="70" y="205"/>
                    <a:pt x="70" y="205"/>
                    <a:pt x="70" y="205"/>
                  </a:cubicBezTo>
                  <a:cubicBezTo>
                    <a:pt x="69" y="205"/>
                    <a:pt x="69" y="205"/>
                    <a:pt x="69" y="205"/>
                  </a:cubicBezTo>
                  <a:cubicBezTo>
                    <a:pt x="69" y="206"/>
                    <a:pt x="69" y="206"/>
                    <a:pt x="68" y="206"/>
                  </a:cubicBezTo>
                  <a:cubicBezTo>
                    <a:pt x="68" y="206"/>
                    <a:pt x="68" y="206"/>
                    <a:pt x="68" y="206"/>
                  </a:cubicBezTo>
                  <a:cubicBezTo>
                    <a:pt x="68" y="206"/>
                    <a:pt x="67" y="206"/>
                    <a:pt x="66" y="207"/>
                  </a:cubicBezTo>
                  <a:cubicBezTo>
                    <a:pt x="66" y="208"/>
                    <a:pt x="66" y="209"/>
                    <a:pt x="66" y="209"/>
                  </a:cubicBezTo>
                  <a:cubicBezTo>
                    <a:pt x="66" y="210"/>
                    <a:pt x="67" y="210"/>
                    <a:pt x="67" y="210"/>
                  </a:cubicBezTo>
                  <a:cubicBezTo>
                    <a:pt x="67" y="210"/>
                    <a:pt x="67" y="210"/>
                    <a:pt x="67" y="210"/>
                  </a:cubicBezTo>
                  <a:cubicBezTo>
                    <a:pt x="67" y="210"/>
                    <a:pt x="66" y="211"/>
                    <a:pt x="66" y="211"/>
                  </a:cubicBezTo>
                  <a:cubicBezTo>
                    <a:pt x="66" y="211"/>
                    <a:pt x="66" y="211"/>
                    <a:pt x="65" y="211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4" y="212"/>
                    <a:pt x="64" y="212"/>
                    <a:pt x="63" y="212"/>
                  </a:cubicBezTo>
                  <a:cubicBezTo>
                    <a:pt x="63" y="213"/>
                    <a:pt x="63" y="213"/>
                    <a:pt x="63" y="213"/>
                  </a:cubicBezTo>
                  <a:cubicBezTo>
                    <a:pt x="62" y="213"/>
                    <a:pt x="61" y="214"/>
                    <a:pt x="62" y="216"/>
                  </a:cubicBezTo>
                  <a:cubicBezTo>
                    <a:pt x="61" y="216"/>
                    <a:pt x="61" y="216"/>
                    <a:pt x="60" y="217"/>
                  </a:cubicBezTo>
                  <a:cubicBezTo>
                    <a:pt x="60" y="217"/>
                    <a:pt x="60" y="218"/>
                    <a:pt x="61" y="218"/>
                  </a:cubicBezTo>
                  <a:cubicBezTo>
                    <a:pt x="61" y="218"/>
                    <a:pt x="61" y="219"/>
                    <a:pt x="61" y="219"/>
                  </a:cubicBezTo>
                  <a:cubicBezTo>
                    <a:pt x="60" y="219"/>
                    <a:pt x="61" y="220"/>
                    <a:pt x="61" y="220"/>
                  </a:cubicBezTo>
                  <a:cubicBezTo>
                    <a:pt x="61" y="221"/>
                    <a:pt x="62" y="221"/>
                    <a:pt x="62" y="221"/>
                  </a:cubicBezTo>
                  <a:cubicBezTo>
                    <a:pt x="61" y="221"/>
                    <a:pt x="60" y="222"/>
                    <a:pt x="60" y="222"/>
                  </a:cubicBezTo>
                  <a:cubicBezTo>
                    <a:pt x="59" y="224"/>
                    <a:pt x="60" y="226"/>
                    <a:pt x="60" y="226"/>
                  </a:cubicBezTo>
                  <a:cubicBezTo>
                    <a:pt x="60" y="226"/>
                    <a:pt x="60" y="226"/>
                    <a:pt x="60" y="227"/>
                  </a:cubicBezTo>
                  <a:cubicBezTo>
                    <a:pt x="60" y="227"/>
                    <a:pt x="60" y="227"/>
                    <a:pt x="59" y="227"/>
                  </a:cubicBezTo>
                  <a:cubicBezTo>
                    <a:pt x="58" y="227"/>
                    <a:pt x="58" y="229"/>
                    <a:pt x="58" y="230"/>
                  </a:cubicBezTo>
                  <a:cubicBezTo>
                    <a:pt x="58" y="230"/>
                    <a:pt x="59" y="230"/>
                    <a:pt x="59" y="23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58" y="231"/>
                    <a:pt x="58" y="231"/>
                    <a:pt x="59" y="232"/>
                  </a:cubicBezTo>
                  <a:cubicBezTo>
                    <a:pt x="59" y="232"/>
                    <a:pt x="59" y="232"/>
                    <a:pt x="59" y="233"/>
                  </a:cubicBezTo>
                  <a:cubicBezTo>
                    <a:pt x="58" y="233"/>
                    <a:pt x="58" y="233"/>
                    <a:pt x="58" y="233"/>
                  </a:cubicBezTo>
                  <a:cubicBezTo>
                    <a:pt x="56" y="233"/>
                    <a:pt x="56" y="235"/>
                    <a:pt x="55" y="236"/>
                  </a:cubicBezTo>
                  <a:cubicBezTo>
                    <a:pt x="55" y="237"/>
                    <a:pt x="55" y="237"/>
                    <a:pt x="54" y="238"/>
                  </a:cubicBezTo>
                  <a:cubicBezTo>
                    <a:pt x="54" y="238"/>
                    <a:pt x="54" y="238"/>
                    <a:pt x="54" y="238"/>
                  </a:cubicBezTo>
                  <a:cubicBezTo>
                    <a:pt x="53" y="239"/>
                    <a:pt x="53" y="240"/>
                    <a:pt x="53" y="241"/>
                  </a:cubicBezTo>
                  <a:cubicBezTo>
                    <a:pt x="54" y="242"/>
                    <a:pt x="55" y="241"/>
                    <a:pt x="56" y="241"/>
                  </a:cubicBezTo>
                  <a:cubicBezTo>
                    <a:pt x="56" y="241"/>
                    <a:pt x="57" y="241"/>
                    <a:pt x="57" y="240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59" y="240"/>
                    <a:pt x="59" y="239"/>
                    <a:pt x="59" y="239"/>
                  </a:cubicBezTo>
                  <a:cubicBezTo>
                    <a:pt x="59" y="240"/>
                    <a:pt x="59" y="240"/>
                    <a:pt x="59" y="240"/>
                  </a:cubicBezTo>
                  <a:cubicBezTo>
                    <a:pt x="59" y="240"/>
                    <a:pt x="59" y="240"/>
                    <a:pt x="58" y="240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58" y="241"/>
                    <a:pt x="57" y="241"/>
                    <a:pt x="57" y="242"/>
                  </a:cubicBezTo>
                  <a:cubicBezTo>
                    <a:pt x="57" y="242"/>
                    <a:pt x="57" y="242"/>
                    <a:pt x="57" y="242"/>
                  </a:cubicBezTo>
                  <a:cubicBezTo>
                    <a:pt x="56" y="242"/>
                    <a:pt x="55" y="242"/>
                    <a:pt x="54" y="243"/>
                  </a:cubicBezTo>
                  <a:cubicBezTo>
                    <a:pt x="54" y="243"/>
                    <a:pt x="54" y="244"/>
                    <a:pt x="54" y="244"/>
                  </a:cubicBezTo>
                  <a:cubicBezTo>
                    <a:pt x="54" y="245"/>
                    <a:pt x="54" y="245"/>
                    <a:pt x="54" y="245"/>
                  </a:cubicBezTo>
                  <a:cubicBezTo>
                    <a:pt x="54" y="246"/>
                    <a:pt x="54" y="247"/>
                    <a:pt x="55" y="248"/>
                  </a:cubicBezTo>
                  <a:cubicBezTo>
                    <a:pt x="55" y="248"/>
                    <a:pt x="54" y="248"/>
                    <a:pt x="54" y="248"/>
                  </a:cubicBezTo>
                  <a:cubicBezTo>
                    <a:pt x="54" y="248"/>
                    <a:pt x="54" y="248"/>
                    <a:pt x="53" y="248"/>
                  </a:cubicBezTo>
                  <a:cubicBezTo>
                    <a:pt x="53" y="249"/>
                    <a:pt x="52" y="249"/>
                    <a:pt x="52" y="250"/>
                  </a:cubicBezTo>
                  <a:cubicBezTo>
                    <a:pt x="47" y="251"/>
                    <a:pt x="47" y="251"/>
                    <a:pt x="47" y="251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52" y="253"/>
                    <a:pt x="52" y="253"/>
                    <a:pt x="52" y="253"/>
                  </a:cubicBezTo>
                  <a:cubicBezTo>
                    <a:pt x="53" y="254"/>
                    <a:pt x="53" y="254"/>
                    <a:pt x="53" y="254"/>
                  </a:cubicBezTo>
                  <a:cubicBezTo>
                    <a:pt x="53" y="254"/>
                    <a:pt x="53" y="254"/>
                    <a:pt x="53" y="254"/>
                  </a:cubicBezTo>
                  <a:cubicBezTo>
                    <a:pt x="53" y="254"/>
                    <a:pt x="53" y="254"/>
                    <a:pt x="53" y="254"/>
                  </a:cubicBezTo>
                  <a:cubicBezTo>
                    <a:pt x="53" y="254"/>
                    <a:pt x="52" y="255"/>
                    <a:pt x="52" y="255"/>
                  </a:cubicBezTo>
                  <a:cubicBezTo>
                    <a:pt x="52" y="256"/>
                    <a:pt x="53" y="257"/>
                    <a:pt x="53" y="257"/>
                  </a:cubicBezTo>
                  <a:cubicBezTo>
                    <a:pt x="53" y="257"/>
                    <a:pt x="53" y="257"/>
                    <a:pt x="53" y="257"/>
                  </a:cubicBezTo>
                  <a:cubicBezTo>
                    <a:pt x="53" y="258"/>
                    <a:pt x="53" y="258"/>
                    <a:pt x="53" y="258"/>
                  </a:cubicBezTo>
                  <a:cubicBezTo>
                    <a:pt x="53" y="258"/>
                    <a:pt x="52" y="259"/>
                    <a:pt x="51" y="260"/>
                  </a:cubicBezTo>
                  <a:cubicBezTo>
                    <a:pt x="51" y="261"/>
                    <a:pt x="52" y="262"/>
                    <a:pt x="52" y="262"/>
                  </a:cubicBezTo>
                  <a:cubicBezTo>
                    <a:pt x="52" y="263"/>
                    <a:pt x="52" y="263"/>
                    <a:pt x="52" y="263"/>
                  </a:cubicBezTo>
                  <a:cubicBezTo>
                    <a:pt x="52" y="264"/>
                    <a:pt x="52" y="265"/>
                    <a:pt x="52" y="266"/>
                  </a:cubicBezTo>
                  <a:cubicBezTo>
                    <a:pt x="51" y="267"/>
                    <a:pt x="51" y="267"/>
                    <a:pt x="52" y="268"/>
                  </a:cubicBezTo>
                  <a:cubicBezTo>
                    <a:pt x="52" y="268"/>
                    <a:pt x="52" y="268"/>
                    <a:pt x="53" y="268"/>
                  </a:cubicBezTo>
                  <a:cubicBezTo>
                    <a:pt x="52" y="268"/>
                    <a:pt x="52" y="268"/>
                    <a:pt x="52" y="268"/>
                  </a:cubicBezTo>
                  <a:cubicBezTo>
                    <a:pt x="52" y="269"/>
                    <a:pt x="52" y="269"/>
                    <a:pt x="52" y="269"/>
                  </a:cubicBezTo>
                  <a:cubicBezTo>
                    <a:pt x="52" y="269"/>
                    <a:pt x="52" y="269"/>
                    <a:pt x="52" y="269"/>
                  </a:cubicBezTo>
                  <a:cubicBezTo>
                    <a:pt x="51" y="269"/>
                    <a:pt x="51" y="270"/>
                    <a:pt x="50" y="271"/>
                  </a:cubicBezTo>
                  <a:cubicBezTo>
                    <a:pt x="50" y="272"/>
                    <a:pt x="50" y="273"/>
                    <a:pt x="51" y="273"/>
                  </a:cubicBezTo>
                  <a:cubicBezTo>
                    <a:pt x="51" y="274"/>
                    <a:pt x="50" y="274"/>
                    <a:pt x="51" y="275"/>
                  </a:cubicBezTo>
                  <a:cubicBezTo>
                    <a:pt x="51" y="275"/>
                    <a:pt x="51" y="275"/>
                    <a:pt x="51" y="276"/>
                  </a:cubicBezTo>
                  <a:cubicBezTo>
                    <a:pt x="51" y="277"/>
                    <a:pt x="52" y="277"/>
                    <a:pt x="53" y="277"/>
                  </a:cubicBezTo>
                  <a:cubicBezTo>
                    <a:pt x="53" y="277"/>
                    <a:pt x="54" y="277"/>
                    <a:pt x="54" y="277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53" y="278"/>
                    <a:pt x="53" y="278"/>
                    <a:pt x="52" y="278"/>
                  </a:cubicBezTo>
                  <a:cubicBezTo>
                    <a:pt x="49" y="281"/>
                    <a:pt x="49" y="281"/>
                    <a:pt x="49" y="281"/>
                  </a:cubicBezTo>
                  <a:cubicBezTo>
                    <a:pt x="53" y="281"/>
                    <a:pt x="53" y="281"/>
                    <a:pt x="53" y="281"/>
                  </a:cubicBezTo>
                  <a:cubicBezTo>
                    <a:pt x="53" y="281"/>
                    <a:pt x="53" y="281"/>
                    <a:pt x="54" y="281"/>
                  </a:cubicBezTo>
                  <a:cubicBezTo>
                    <a:pt x="54" y="281"/>
                    <a:pt x="54" y="281"/>
                    <a:pt x="54" y="281"/>
                  </a:cubicBezTo>
                  <a:cubicBezTo>
                    <a:pt x="55" y="281"/>
                    <a:pt x="55" y="281"/>
                    <a:pt x="56" y="282"/>
                  </a:cubicBezTo>
                  <a:cubicBezTo>
                    <a:pt x="57" y="282"/>
                    <a:pt x="58" y="281"/>
                    <a:pt x="58" y="281"/>
                  </a:cubicBezTo>
                  <a:cubicBezTo>
                    <a:pt x="58" y="281"/>
                    <a:pt x="58" y="280"/>
                    <a:pt x="58" y="280"/>
                  </a:cubicBezTo>
                  <a:cubicBezTo>
                    <a:pt x="59" y="280"/>
                    <a:pt x="59" y="280"/>
                    <a:pt x="59" y="280"/>
                  </a:cubicBezTo>
                  <a:cubicBezTo>
                    <a:pt x="59" y="280"/>
                    <a:pt x="59" y="280"/>
                    <a:pt x="59" y="280"/>
                  </a:cubicBezTo>
                  <a:cubicBezTo>
                    <a:pt x="60" y="280"/>
                    <a:pt x="60" y="280"/>
                    <a:pt x="60" y="280"/>
                  </a:cubicBezTo>
                  <a:cubicBezTo>
                    <a:pt x="62" y="280"/>
                    <a:pt x="62" y="280"/>
                    <a:pt x="62" y="280"/>
                  </a:cubicBezTo>
                  <a:cubicBezTo>
                    <a:pt x="62" y="280"/>
                    <a:pt x="62" y="280"/>
                    <a:pt x="63" y="280"/>
                  </a:cubicBezTo>
                  <a:cubicBezTo>
                    <a:pt x="63" y="280"/>
                    <a:pt x="63" y="280"/>
                    <a:pt x="64" y="280"/>
                  </a:cubicBezTo>
                  <a:cubicBezTo>
                    <a:pt x="64" y="280"/>
                    <a:pt x="64" y="280"/>
                    <a:pt x="64" y="280"/>
                  </a:cubicBezTo>
                  <a:cubicBezTo>
                    <a:pt x="65" y="280"/>
                    <a:pt x="65" y="280"/>
                    <a:pt x="65" y="280"/>
                  </a:cubicBezTo>
                  <a:cubicBezTo>
                    <a:pt x="65" y="280"/>
                    <a:pt x="65" y="280"/>
                    <a:pt x="65" y="280"/>
                  </a:cubicBezTo>
                  <a:cubicBezTo>
                    <a:pt x="64" y="280"/>
                    <a:pt x="64" y="281"/>
                    <a:pt x="64" y="281"/>
                  </a:cubicBezTo>
                  <a:cubicBezTo>
                    <a:pt x="63" y="282"/>
                    <a:pt x="63" y="282"/>
                    <a:pt x="63" y="283"/>
                  </a:cubicBezTo>
                  <a:cubicBezTo>
                    <a:pt x="63" y="283"/>
                    <a:pt x="63" y="283"/>
                    <a:pt x="63" y="283"/>
                  </a:cubicBezTo>
                  <a:cubicBezTo>
                    <a:pt x="63" y="283"/>
                    <a:pt x="63" y="283"/>
                    <a:pt x="63" y="283"/>
                  </a:cubicBezTo>
                  <a:cubicBezTo>
                    <a:pt x="62" y="284"/>
                    <a:pt x="62" y="285"/>
                    <a:pt x="62" y="286"/>
                  </a:cubicBezTo>
                  <a:cubicBezTo>
                    <a:pt x="62" y="286"/>
                    <a:pt x="63" y="287"/>
                    <a:pt x="64" y="287"/>
                  </a:cubicBezTo>
                  <a:cubicBezTo>
                    <a:pt x="65" y="287"/>
                    <a:pt x="65" y="287"/>
                    <a:pt x="65" y="287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7"/>
                    <a:pt x="66" y="288"/>
                    <a:pt x="65" y="288"/>
                  </a:cubicBezTo>
                  <a:cubicBezTo>
                    <a:pt x="65" y="288"/>
                    <a:pt x="65" y="288"/>
                    <a:pt x="65" y="288"/>
                  </a:cubicBezTo>
                  <a:cubicBezTo>
                    <a:pt x="64" y="290"/>
                    <a:pt x="64" y="291"/>
                    <a:pt x="64" y="291"/>
                  </a:cubicBezTo>
                  <a:cubicBezTo>
                    <a:pt x="64" y="291"/>
                    <a:pt x="64" y="291"/>
                    <a:pt x="64" y="292"/>
                  </a:cubicBezTo>
                  <a:cubicBezTo>
                    <a:pt x="63" y="292"/>
                    <a:pt x="63" y="293"/>
                    <a:pt x="63" y="293"/>
                  </a:cubicBezTo>
                  <a:cubicBezTo>
                    <a:pt x="63" y="294"/>
                    <a:pt x="63" y="295"/>
                    <a:pt x="64" y="295"/>
                  </a:cubicBezTo>
                  <a:cubicBezTo>
                    <a:pt x="65" y="295"/>
                    <a:pt x="66" y="295"/>
                    <a:pt x="67" y="295"/>
                  </a:cubicBezTo>
                  <a:cubicBezTo>
                    <a:pt x="67" y="295"/>
                    <a:pt x="68" y="294"/>
                    <a:pt x="69" y="293"/>
                  </a:cubicBezTo>
                  <a:cubicBezTo>
                    <a:pt x="69" y="293"/>
                    <a:pt x="70" y="293"/>
                    <a:pt x="70" y="292"/>
                  </a:cubicBezTo>
                  <a:cubicBezTo>
                    <a:pt x="70" y="292"/>
                    <a:pt x="70" y="292"/>
                    <a:pt x="70" y="292"/>
                  </a:cubicBezTo>
                  <a:cubicBezTo>
                    <a:pt x="70" y="293"/>
                    <a:pt x="71" y="293"/>
                    <a:pt x="72" y="293"/>
                  </a:cubicBezTo>
                  <a:cubicBezTo>
                    <a:pt x="72" y="293"/>
                    <a:pt x="72" y="293"/>
                    <a:pt x="72" y="293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74" y="294"/>
                    <a:pt x="74" y="295"/>
                    <a:pt x="74" y="295"/>
                  </a:cubicBezTo>
                  <a:cubicBezTo>
                    <a:pt x="75" y="295"/>
                    <a:pt x="75" y="295"/>
                    <a:pt x="76" y="295"/>
                  </a:cubicBezTo>
                  <a:cubicBezTo>
                    <a:pt x="77" y="295"/>
                    <a:pt x="78" y="295"/>
                    <a:pt x="78" y="293"/>
                  </a:cubicBezTo>
                  <a:cubicBezTo>
                    <a:pt x="78" y="293"/>
                    <a:pt x="78" y="293"/>
                    <a:pt x="78" y="293"/>
                  </a:cubicBezTo>
                  <a:cubicBezTo>
                    <a:pt x="78" y="293"/>
                    <a:pt x="78" y="293"/>
                    <a:pt x="78" y="293"/>
                  </a:cubicBezTo>
                  <a:cubicBezTo>
                    <a:pt x="78" y="293"/>
                    <a:pt x="78" y="293"/>
                    <a:pt x="78" y="293"/>
                  </a:cubicBezTo>
                  <a:cubicBezTo>
                    <a:pt x="79" y="292"/>
                    <a:pt x="79" y="292"/>
                    <a:pt x="79" y="291"/>
                  </a:cubicBezTo>
                  <a:cubicBezTo>
                    <a:pt x="80" y="290"/>
                    <a:pt x="80" y="290"/>
                    <a:pt x="80" y="289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80" y="289"/>
                    <a:pt x="80" y="288"/>
                    <a:pt x="80" y="288"/>
                  </a:cubicBezTo>
                  <a:cubicBezTo>
                    <a:pt x="80" y="288"/>
                    <a:pt x="80" y="288"/>
                    <a:pt x="80" y="288"/>
                  </a:cubicBezTo>
                  <a:cubicBezTo>
                    <a:pt x="81" y="288"/>
                    <a:pt x="81" y="288"/>
                    <a:pt x="82" y="288"/>
                  </a:cubicBezTo>
                  <a:cubicBezTo>
                    <a:pt x="83" y="287"/>
                    <a:pt x="83" y="285"/>
                    <a:pt x="83" y="284"/>
                  </a:cubicBezTo>
                  <a:cubicBezTo>
                    <a:pt x="83" y="284"/>
                    <a:pt x="83" y="284"/>
                    <a:pt x="83" y="284"/>
                  </a:cubicBezTo>
                  <a:cubicBezTo>
                    <a:pt x="84" y="284"/>
                    <a:pt x="84" y="285"/>
                    <a:pt x="85" y="285"/>
                  </a:cubicBezTo>
                  <a:cubicBezTo>
                    <a:pt x="86" y="285"/>
                    <a:pt x="86" y="284"/>
                    <a:pt x="87" y="284"/>
                  </a:cubicBezTo>
                  <a:cubicBezTo>
                    <a:pt x="87" y="283"/>
                    <a:pt x="87" y="283"/>
                    <a:pt x="87" y="282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8" y="282"/>
                    <a:pt x="88" y="281"/>
                    <a:pt x="89" y="280"/>
                  </a:cubicBezTo>
                  <a:cubicBezTo>
                    <a:pt x="89" y="280"/>
                    <a:pt x="89" y="280"/>
                    <a:pt x="89" y="280"/>
                  </a:cubicBezTo>
                  <a:cubicBezTo>
                    <a:pt x="89" y="280"/>
                    <a:pt x="90" y="280"/>
                    <a:pt x="91" y="280"/>
                  </a:cubicBezTo>
                  <a:cubicBezTo>
                    <a:pt x="91" y="279"/>
                    <a:pt x="92" y="279"/>
                    <a:pt x="92" y="278"/>
                  </a:cubicBezTo>
                  <a:cubicBezTo>
                    <a:pt x="92" y="277"/>
                    <a:pt x="93" y="277"/>
                    <a:pt x="93" y="276"/>
                  </a:cubicBezTo>
                  <a:cubicBezTo>
                    <a:pt x="93" y="276"/>
                    <a:pt x="93" y="276"/>
                    <a:pt x="93" y="275"/>
                  </a:cubicBezTo>
                  <a:cubicBezTo>
                    <a:pt x="93" y="275"/>
                    <a:pt x="93" y="275"/>
                    <a:pt x="93" y="275"/>
                  </a:cubicBezTo>
                  <a:cubicBezTo>
                    <a:pt x="93" y="275"/>
                    <a:pt x="94" y="275"/>
                    <a:pt x="94" y="275"/>
                  </a:cubicBezTo>
                  <a:cubicBezTo>
                    <a:pt x="96" y="274"/>
                    <a:pt x="96" y="273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7" y="271"/>
                    <a:pt x="97" y="271"/>
                    <a:pt x="97" y="270"/>
                  </a:cubicBezTo>
                  <a:cubicBezTo>
                    <a:pt x="97" y="269"/>
                    <a:pt x="97" y="268"/>
                    <a:pt x="97" y="268"/>
                  </a:cubicBezTo>
                  <a:cubicBezTo>
                    <a:pt x="96" y="268"/>
                    <a:pt x="96" y="268"/>
                    <a:pt x="96" y="268"/>
                  </a:cubicBezTo>
                  <a:cubicBezTo>
                    <a:pt x="97" y="268"/>
                    <a:pt x="97" y="268"/>
                    <a:pt x="97" y="268"/>
                  </a:cubicBezTo>
                  <a:cubicBezTo>
                    <a:pt x="97" y="268"/>
                    <a:pt x="99" y="267"/>
                    <a:pt x="99" y="266"/>
                  </a:cubicBezTo>
                  <a:cubicBezTo>
                    <a:pt x="100" y="266"/>
                    <a:pt x="100" y="266"/>
                    <a:pt x="100" y="265"/>
                  </a:cubicBezTo>
                  <a:cubicBezTo>
                    <a:pt x="100" y="265"/>
                    <a:pt x="100" y="265"/>
                    <a:pt x="100" y="265"/>
                  </a:cubicBezTo>
                  <a:cubicBezTo>
                    <a:pt x="101" y="265"/>
                    <a:pt x="101" y="265"/>
                    <a:pt x="102" y="264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103" y="264"/>
                    <a:pt x="103" y="264"/>
                    <a:pt x="104" y="264"/>
                  </a:cubicBezTo>
                  <a:cubicBezTo>
                    <a:pt x="105" y="264"/>
                    <a:pt x="105" y="263"/>
                    <a:pt x="105" y="262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6" y="262"/>
                    <a:pt x="107" y="262"/>
                    <a:pt x="108" y="261"/>
                  </a:cubicBezTo>
                  <a:cubicBezTo>
                    <a:pt x="108" y="261"/>
                    <a:pt x="108" y="260"/>
                    <a:pt x="108" y="260"/>
                  </a:cubicBezTo>
                  <a:cubicBezTo>
                    <a:pt x="108" y="260"/>
                    <a:pt x="108" y="260"/>
                    <a:pt x="108" y="260"/>
                  </a:cubicBezTo>
                  <a:close/>
                  <a:moveTo>
                    <a:pt x="137" y="5"/>
                  </a:moveTo>
                  <a:cubicBezTo>
                    <a:pt x="137" y="5"/>
                    <a:pt x="137" y="5"/>
                    <a:pt x="137" y="5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5"/>
                    <a:pt x="137" y="5"/>
                    <a:pt x="137" y="5"/>
                  </a:cubicBezTo>
                  <a:close/>
                  <a:moveTo>
                    <a:pt x="162" y="31"/>
                  </a:moveTo>
                  <a:cubicBezTo>
                    <a:pt x="162" y="31"/>
                    <a:pt x="162" y="31"/>
                    <a:pt x="162" y="31"/>
                  </a:cubicBezTo>
                  <a:cubicBezTo>
                    <a:pt x="163" y="31"/>
                    <a:pt x="164" y="31"/>
                    <a:pt x="164" y="31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5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5" y="31"/>
                    <a:pt x="164" y="31"/>
                    <a:pt x="163" y="31"/>
                  </a:cubicBezTo>
                  <a:cubicBezTo>
                    <a:pt x="163" y="31"/>
                    <a:pt x="162" y="31"/>
                    <a:pt x="162" y="31"/>
                  </a:cubicBezTo>
                  <a:close/>
                  <a:moveTo>
                    <a:pt x="97" y="49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7"/>
                  </a:cubicBezTo>
                  <a:cubicBezTo>
                    <a:pt x="96" y="47"/>
                    <a:pt x="97" y="48"/>
                    <a:pt x="97" y="48"/>
                  </a:cubicBezTo>
                  <a:cubicBezTo>
                    <a:pt x="97" y="48"/>
                    <a:pt x="97" y="48"/>
                    <a:pt x="96" y="48"/>
                  </a:cubicBezTo>
                  <a:cubicBezTo>
                    <a:pt x="97" y="49"/>
                    <a:pt x="97" y="49"/>
                    <a:pt x="97" y="49"/>
                  </a:cubicBezTo>
                  <a:close/>
                  <a:moveTo>
                    <a:pt x="82" y="40"/>
                  </a:moveTo>
                  <a:cubicBezTo>
                    <a:pt x="82" y="40"/>
                    <a:pt x="82" y="40"/>
                    <a:pt x="82" y="39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40"/>
                    <a:pt x="82" y="40"/>
                    <a:pt x="82" y="40"/>
                  </a:cubicBezTo>
                  <a:close/>
                  <a:moveTo>
                    <a:pt x="110" y="24"/>
                  </a:moveTo>
                  <a:cubicBezTo>
                    <a:pt x="110" y="24"/>
                    <a:pt x="110" y="24"/>
                    <a:pt x="110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24"/>
                    <a:pt x="110" y="24"/>
                    <a:pt x="110" y="24"/>
                  </a:cubicBezTo>
                  <a:cubicBezTo>
                    <a:pt x="110" y="24"/>
                    <a:pt x="110" y="24"/>
                    <a:pt x="110" y="24"/>
                  </a:cubicBezTo>
                  <a:close/>
                  <a:moveTo>
                    <a:pt x="108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7" y="29"/>
                  </a:cubicBezTo>
                  <a:cubicBezTo>
                    <a:pt x="107" y="29"/>
                    <a:pt x="106" y="29"/>
                    <a:pt x="106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5" y="28"/>
                    <a:pt x="106" y="28"/>
                    <a:pt x="107" y="28"/>
                  </a:cubicBezTo>
                  <a:cubicBezTo>
                    <a:pt x="107" y="28"/>
                    <a:pt x="107" y="27"/>
                    <a:pt x="107" y="27"/>
                  </a:cubicBezTo>
                  <a:cubicBezTo>
                    <a:pt x="107" y="27"/>
                    <a:pt x="107" y="27"/>
                    <a:pt x="107" y="28"/>
                  </a:cubicBezTo>
                  <a:cubicBezTo>
                    <a:pt x="108" y="28"/>
                    <a:pt x="108" y="28"/>
                    <a:pt x="108" y="29"/>
                  </a:cubicBezTo>
                  <a:close/>
                  <a:moveTo>
                    <a:pt x="101" y="30"/>
                  </a:move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29"/>
                    <a:pt x="100" y="29"/>
                  </a:cubicBezTo>
                  <a:lnTo>
                    <a:pt x="101" y="30"/>
                  </a:ln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93" y="30"/>
                  </a:moveTo>
                  <a:cubicBezTo>
                    <a:pt x="92" y="30"/>
                    <a:pt x="92" y="30"/>
                    <a:pt x="91" y="30"/>
                  </a:cubicBezTo>
                  <a:cubicBezTo>
                    <a:pt x="91" y="30"/>
                    <a:pt x="91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2" y="30"/>
                    <a:pt x="93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3" y="30"/>
                    <a:pt x="93" y="30"/>
                  </a:cubicBezTo>
                  <a:close/>
                  <a:moveTo>
                    <a:pt x="93" y="50"/>
                  </a:move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2" y="50"/>
                    <a:pt x="92" y="50"/>
                  </a:cubicBezTo>
                  <a:lnTo>
                    <a:pt x="93" y="50"/>
                  </a:lnTo>
                  <a:close/>
                  <a:moveTo>
                    <a:pt x="82" y="35"/>
                  </a:moveTo>
                  <a:cubicBezTo>
                    <a:pt x="82" y="36"/>
                    <a:pt x="82" y="36"/>
                    <a:pt x="82" y="37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6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lose/>
                  <a:moveTo>
                    <a:pt x="46" y="67"/>
                  </a:moveTo>
                  <a:cubicBezTo>
                    <a:pt x="46" y="66"/>
                    <a:pt x="46" y="66"/>
                    <a:pt x="46" y="66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lose/>
                  <a:moveTo>
                    <a:pt x="61" y="47"/>
                  </a:move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lose/>
                  <a:moveTo>
                    <a:pt x="48" y="67"/>
                  </a:move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lose/>
                  <a:moveTo>
                    <a:pt x="46" y="66"/>
                  </a:move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lose/>
                  <a:moveTo>
                    <a:pt x="45" y="43"/>
                  </a:move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lose/>
                  <a:moveTo>
                    <a:pt x="51" y="66"/>
                  </a:moveTo>
                  <a:cubicBezTo>
                    <a:pt x="51" y="66"/>
                    <a:pt x="52" y="67"/>
                    <a:pt x="52" y="67"/>
                  </a:cubicBezTo>
                  <a:cubicBezTo>
                    <a:pt x="52" y="67"/>
                    <a:pt x="53" y="68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8"/>
                    <a:pt x="52" y="68"/>
                    <a:pt x="52" y="68"/>
                  </a:cubicBezTo>
                  <a:cubicBezTo>
                    <a:pt x="52" y="67"/>
                    <a:pt x="51" y="67"/>
                    <a:pt x="51" y="67"/>
                  </a:cubicBezTo>
                  <a:cubicBezTo>
                    <a:pt x="51" y="67"/>
                    <a:pt x="51" y="67"/>
                    <a:pt x="51" y="66"/>
                  </a:cubicBezTo>
                  <a:close/>
                  <a:moveTo>
                    <a:pt x="60" y="4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9" y="41"/>
                    <a:pt x="58" y="42"/>
                    <a:pt x="58" y="43"/>
                  </a:cubicBezTo>
                  <a:cubicBezTo>
                    <a:pt x="58" y="43"/>
                    <a:pt x="58" y="44"/>
                    <a:pt x="58" y="44"/>
                  </a:cubicBezTo>
                  <a:cubicBezTo>
                    <a:pt x="57" y="44"/>
                    <a:pt x="57" y="44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5" y="45"/>
                    <a:pt x="54" y="44"/>
                  </a:cubicBezTo>
                  <a:cubicBezTo>
                    <a:pt x="54" y="44"/>
                    <a:pt x="53" y="44"/>
                    <a:pt x="52" y="44"/>
                  </a:cubicBezTo>
                  <a:cubicBezTo>
                    <a:pt x="52" y="44"/>
                    <a:pt x="52" y="44"/>
                    <a:pt x="5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3" y="41"/>
                    <a:pt x="55" y="40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59" y="41"/>
                    <a:pt x="60" y="41"/>
                  </a:cubicBezTo>
                  <a:cubicBezTo>
                    <a:pt x="60" y="41"/>
                    <a:pt x="60" y="41"/>
                    <a:pt x="61" y="40"/>
                  </a:cubicBezTo>
                  <a:cubicBezTo>
                    <a:pt x="61" y="40"/>
                    <a:pt x="61" y="41"/>
                    <a:pt x="60" y="41"/>
                  </a:cubicBezTo>
                  <a:close/>
                  <a:moveTo>
                    <a:pt x="30" y="32"/>
                  </a:moveTo>
                  <a:cubicBezTo>
                    <a:pt x="29" y="32"/>
                    <a:pt x="28" y="32"/>
                    <a:pt x="28" y="33"/>
                  </a:cubicBezTo>
                  <a:cubicBezTo>
                    <a:pt x="28" y="32"/>
                    <a:pt x="28" y="32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30" y="31"/>
                    <a:pt x="30" y="31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lose/>
                  <a:moveTo>
                    <a:pt x="24" y="34"/>
                  </a:moveTo>
                  <a:cubicBezTo>
                    <a:pt x="25" y="34"/>
                    <a:pt x="26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4"/>
                  </a:cubicBezTo>
                  <a:cubicBezTo>
                    <a:pt x="27" y="34"/>
                    <a:pt x="27" y="34"/>
                    <a:pt x="27" y="35"/>
                  </a:cubicBezTo>
                  <a:cubicBezTo>
                    <a:pt x="26" y="35"/>
                    <a:pt x="25" y="34"/>
                    <a:pt x="25" y="34"/>
                  </a:cubicBezTo>
                  <a:cubicBezTo>
                    <a:pt x="24" y="34"/>
                    <a:pt x="24" y="34"/>
                    <a:pt x="23" y="33"/>
                  </a:cubicBezTo>
                  <a:cubicBezTo>
                    <a:pt x="24" y="33"/>
                    <a:pt x="24" y="34"/>
                    <a:pt x="24" y="34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204" y="209"/>
                  </a:moveTo>
                  <a:cubicBezTo>
                    <a:pt x="204" y="209"/>
                    <a:pt x="204" y="209"/>
                    <a:pt x="204" y="209"/>
                  </a:cubicBezTo>
                  <a:cubicBezTo>
                    <a:pt x="204" y="209"/>
                    <a:pt x="204" y="209"/>
                    <a:pt x="204" y="209"/>
                  </a:cubicBezTo>
                  <a:close/>
                  <a:moveTo>
                    <a:pt x="215" y="35"/>
                  </a:moveTo>
                  <a:cubicBezTo>
                    <a:pt x="215" y="35"/>
                    <a:pt x="215" y="35"/>
                    <a:pt x="215" y="35"/>
                  </a:cubicBezTo>
                  <a:cubicBezTo>
                    <a:pt x="216" y="36"/>
                    <a:pt x="216" y="36"/>
                    <a:pt x="216" y="36"/>
                  </a:cubicBezTo>
                  <a:lnTo>
                    <a:pt x="215" y="35"/>
                  </a:lnTo>
                  <a:close/>
                  <a:moveTo>
                    <a:pt x="213" y="36"/>
                  </a:moveTo>
                  <a:cubicBezTo>
                    <a:pt x="213" y="36"/>
                    <a:pt x="213" y="36"/>
                    <a:pt x="213" y="36"/>
                  </a:cubicBezTo>
                  <a:cubicBezTo>
                    <a:pt x="213" y="36"/>
                    <a:pt x="213" y="36"/>
                    <a:pt x="213" y="36"/>
                  </a:cubicBezTo>
                  <a:close/>
                  <a:moveTo>
                    <a:pt x="251" y="159"/>
                  </a:moveTo>
                  <a:cubicBezTo>
                    <a:pt x="251" y="159"/>
                    <a:pt x="251" y="159"/>
                    <a:pt x="251" y="159"/>
                  </a:cubicBezTo>
                  <a:cubicBezTo>
                    <a:pt x="251" y="159"/>
                    <a:pt x="251" y="159"/>
                    <a:pt x="251" y="159"/>
                  </a:cubicBezTo>
                  <a:cubicBezTo>
                    <a:pt x="251" y="159"/>
                    <a:pt x="251" y="159"/>
                    <a:pt x="251" y="159"/>
                  </a:cubicBezTo>
                  <a:close/>
                  <a:moveTo>
                    <a:pt x="257" y="154"/>
                  </a:moveTo>
                  <a:cubicBezTo>
                    <a:pt x="257" y="154"/>
                    <a:pt x="257" y="154"/>
                    <a:pt x="257" y="154"/>
                  </a:cubicBezTo>
                  <a:cubicBezTo>
                    <a:pt x="256" y="154"/>
                    <a:pt x="256" y="154"/>
                    <a:pt x="256" y="154"/>
                  </a:cubicBezTo>
                  <a:cubicBezTo>
                    <a:pt x="256" y="154"/>
                    <a:pt x="256" y="154"/>
                    <a:pt x="256" y="154"/>
                  </a:cubicBezTo>
                  <a:cubicBezTo>
                    <a:pt x="256" y="154"/>
                    <a:pt x="257" y="154"/>
                    <a:pt x="257" y="154"/>
                  </a:cubicBezTo>
                  <a:cubicBezTo>
                    <a:pt x="257" y="154"/>
                    <a:pt x="258" y="154"/>
                    <a:pt x="258" y="154"/>
                  </a:cubicBezTo>
                  <a:cubicBezTo>
                    <a:pt x="258" y="154"/>
                    <a:pt x="257" y="154"/>
                    <a:pt x="257" y="154"/>
                  </a:cubicBezTo>
                  <a:close/>
                  <a:moveTo>
                    <a:pt x="265" y="34"/>
                  </a:moveTo>
                  <a:cubicBezTo>
                    <a:pt x="265" y="34"/>
                    <a:pt x="264" y="34"/>
                    <a:pt x="264" y="34"/>
                  </a:cubicBezTo>
                  <a:cubicBezTo>
                    <a:pt x="264" y="34"/>
                    <a:pt x="264" y="34"/>
                    <a:pt x="264" y="34"/>
                  </a:cubicBezTo>
                  <a:cubicBezTo>
                    <a:pt x="264" y="34"/>
                    <a:pt x="264" y="33"/>
                    <a:pt x="264" y="33"/>
                  </a:cubicBezTo>
                  <a:cubicBezTo>
                    <a:pt x="264" y="33"/>
                    <a:pt x="264" y="33"/>
                    <a:pt x="264" y="33"/>
                  </a:cubicBezTo>
                  <a:cubicBezTo>
                    <a:pt x="264" y="33"/>
                    <a:pt x="264" y="33"/>
                    <a:pt x="265" y="33"/>
                  </a:cubicBezTo>
                  <a:cubicBezTo>
                    <a:pt x="265" y="33"/>
                    <a:pt x="265" y="33"/>
                    <a:pt x="265" y="33"/>
                  </a:cubicBezTo>
                  <a:cubicBezTo>
                    <a:pt x="265" y="33"/>
                    <a:pt x="265" y="34"/>
                    <a:pt x="265" y="34"/>
                  </a:cubicBezTo>
                  <a:close/>
                  <a:moveTo>
                    <a:pt x="251" y="38"/>
                  </a:moveTo>
                  <a:cubicBezTo>
                    <a:pt x="251" y="38"/>
                    <a:pt x="251" y="38"/>
                    <a:pt x="251" y="38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1" y="38"/>
                    <a:pt x="251" y="38"/>
                    <a:pt x="251" y="38"/>
                  </a:cubicBezTo>
                  <a:close/>
                  <a:moveTo>
                    <a:pt x="263" y="167"/>
                  </a:moveTo>
                  <a:cubicBezTo>
                    <a:pt x="263" y="166"/>
                    <a:pt x="262" y="166"/>
                    <a:pt x="262" y="166"/>
                  </a:cubicBezTo>
                  <a:cubicBezTo>
                    <a:pt x="262" y="166"/>
                    <a:pt x="262" y="166"/>
                    <a:pt x="262" y="166"/>
                  </a:cubicBezTo>
                  <a:cubicBezTo>
                    <a:pt x="262" y="166"/>
                    <a:pt x="262" y="166"/>
                    <a:pt x="261" y="165"/>
                  </a:cubicBezTo>
                  <a:cubicBezTo>
                    <a:pt x="261" y="164"/>
                    <a:pt x="260" y="164"/>
                    <a:pt x="259" y="164"/>
                  </a:cubicBezTo>
                  <a:cubicBezTo>
                    <a:pt x="260" y="163"/>
                    <a:pt x="260" y="162"/>
                    <a:pt x="260" y="162"/>
                  </a:cubicBezTo>
                  <a:cubicBezTo>
                    <a:pt x="259" y="161"/>
                    <a:pt x="259" y="160"/>
                    <a:pt x="258" y="159"/>
                  </a:cubicBezTo>
                  <a:cubicBezTo>
                    <a:pt x="258" y="159"/>
                    <a:pt x="258" y="159"/>
                    <a:pt x="258" y="159"/>
                  </a:cubicBezTo>
                  <a:cubicBezTo>
                    <a:pt x="258" y="159"/>
                    <a:pt x="258" y="159"/>
                    <a:pt x="259" y="159"/>
                  </a:cubicBezTo>
                  <a:cubicBezTo>
                    <a:pt x="259" y="158"/>
                    <a:pt x="259" y="158"/>
                    <a:pt x="259" y="158"/>
                  </a:cubicBezTo>
                  <a:cubicBezTo>
                    <a:pt x="259" y="158"/>
                    <a:pt x="260" y="158"/>
                    <a:pt x="260" y="158"/>
                  </a:cubicBezTo>
                  <a:cubicBezTo>
                    <a:pt x="260" y="159"/>
                    <a:pt x="261" y="159"/>
                    <a:pt x="262" y="159"/>
                  </a:cubicBezTo>
                  <a:cubicBezTo>
                    <a:pt x="260" y="160"/>
                    <a:pt x="260" y="160"/>
                    <a:pt x="260" y="160"/>
                  </a:cubicBezTo>
                  <a:cubicBezTo>
                    <a:pt x="261" y="161"/>
                    <a:pt x="261" y="161"/>
                    <a:pt x="261" y="161"/>
                  </a:cubicBezTo>
                  <a:cubicBezTo>
                    <a:pt x="260" y="162"/>
                    <a:pt x="262" y="164"/>
                    <a:pt x="263" y="166"/>
                  </a:cubicBezTo>
                  <a:cubicBezTo>
                    <a:pt x="263" y="166"/>
                    <a:pt x="263" y="166"/>
                    <a:pt x="263" y="167"/>
                  </a:cubicBezTo>
                  <a:cubicBezTo>
                    <a:pt x="263" y="167"/>
                    <a:pt x="263" y="167"/>
                    <a:pt x="263" y="167"/>
                  </a:cubicBezTo>
                  <a:close/>
                  <a:moveTo>
                    <a:pt x="304" y="47"/>
                  </a:moveTo>
                  <a:cubicBezTo>
                    <a:pt x="304" y="47"/>
                    <a:pt x="303" y="47"/>
                    <a:pt x="303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6"/>
                    <a:pt x="302" y="46"/>
                    <a:pt x="302" y="46"/>
                  </a:cubicBezTo>
                  <a:cubicBezTo>
                    <a:pt x="303" y="46"/>
                    <a:pt x="303" y="46"/>
                    <a:pt x="303" y="46"/>
                  </a:cubicBezTo>
                  <a:cubicBezTo>
                    <a:pt x="304" y="46"/>
                    <a:pt x="305" y="46"/>
                    <a:pt x="306" y="46"/>
                  </a:cubicBezTo>
                  <a:cubicBezTo>
                    <a:pt x="306" y="46"/>
                    <a:pt x="307" y="46"/>
                    <a:pt x="307" y="46"/>
                  </a:cubicBezTo>
                  <a:cubicBezTo>
                    <a:pt x="308" y="46"/>
                    <a:pt x="309" y="46"/>
                    <a:pt x="310" y="46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312" y="47"/>
                    <a:pt x="313" y="47"/>
                    <a:pt x="314" y="47"/>
                  </a:cubicBezTo>
                  <a:cubicBezTo>
                    <a:pt x="315" y="47"/>
                    <a:pt x="315" y="47"/>
                    <a:pt x="316" y="48"/>
                  </a:cubicBezTo>
                  <a:cubicBezTo>
                    <a:pt x="316" y="48"/>
                    <a:pt x="316" y="48"/>
                    <a:pt x="316" y="48"/>
                  </a:cubicBezTo>
                  <a:cubicBezTo>
                    <a:pt x="316" y="48"/>
                    <a:pt x="316" y="48"/>
                    <a:pt x="316" y="48"/>
                  </a:cubicBezTo>
                  <a:cubicBezTo>
                    <a:pt x="314" y="48"/>
                    <a:pt x="312" y="48"/>
                    <a:pt x="311" y="48"/>
                  </a:cubicBezTo>
                  <a:cubicBezTo>
                    <a:pt x="311" y="48"/>
                    <a:pt x="310" y="48"/>
                    <a:pt x="310" y="48"/>
                  </a:cubicBezTo>
                  <a:cubicBezTo>
                    <a:pt x="309" y="47"/>
                    <a:pt x="309" y="47"/>
                    <a:pt x="308" y="47"/>
                  </a:cubicBezTo>
                  <a:cubicBezTo>
                    <a:pt x="307" y="47"/>
                    <a:pt x="307" y="47"/>
                    <a:pt x="306" y="47"/>
                  </a:cubicBezTo>
                  <a:cubicBezTo>
                    <a:pt x="306" y="47"/>
                    <a:pt x="306" y="47"/>
                    <a:pt x="306" y="47"/>
                  </a:cubicBezTo>
                  <a:cubicBezTo>
                    <a:pt x="305" y="48"/>
                    <a:pt x="305" y="48"/>
                    <a:pt x="305" y="48"/>
                  </a:cubicBezTo>
                  <a:cubicBezTo>
                    <a:pt x="304" y="48"/>
                    <a:pt x="304" y="48"/>
                    <a:pt x="304" y="48"/>
                  </a:cubicBezTo>
                  <a:cubicBezTo>
                    <a:pt x="304" y="48"/>
                    <a:pt x="304" y="48"/>
                    <a:pt x="304" y="47"/>
                  </a:cubicBezTo>
                  <a:close/>
                  <a:moveTo>
                    <a:pt x="295" y="49"/>
                  </a:moveTo>
                  <a:cubicBezTo>
                    <a:pt x="295" y="49"/>
                    <a:pt x="295" y="49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9"/>
                  </a:cubicBezTo>
                  <a:cubicBezTo>
                    <a:pt x="295" y="49"/>
                    <a:pt x="295" y="49"/>
                    <a:pt x="295" y="49"/>
                  </a:cubicBezTo>
                  <a:close/>
                  <a:moveTo>
                    <a:pt x="294" y="49"/>
                  </a:moveTo>
                  <a:cubicBezTo>
                    <a:pt x="294" y="49"/>
                    <a:pt x="294" y="49"/>
                    <a:pt x="294" y="49"/>
                  </a:cubicBezTo>
                  <a:cubicBezTo>
                    <a:pt x="294" y="49"/>
                    <a:pt x="294" y="49"/>
                    <a:pt x="294" y="49"/>
                  </a:cubicBezTo>
                  <a:close/>
                  <a:moveTo>
                    <a:pt x="315" y="65"/>
                  </a:moveTo>
                  <a:cubicBezTo>
                    <a:pt x="315" y="65"/>
                    <a:pt x="315" y="65"/>
                    <a:pt x="315" y="65"/>
                  </a:cubicBezTo>
                  <a:cubicBezTo>
                    <a:pt x="315" y="65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5"/>
                    <a:pt x="316" y="65"/>
                    <a:pt x="315" y="65"/>
                  </a:cubicBezTo>
                  <a:cubicBezTo>
                    <a:pt x="315" y="66"/>
                    <a:pt x="315" y="66"/>
                    <a:pt x="314" y="66"/>
                  </a:cubicBezTo>
                  <a:cubicBezTo>
                    <a:pt x="314" y="65"/>
                    <a:pt x="314" y="65"/>
                    <a:pt x="315" y="65"/>
                  </a:cubicBezTo>
                  <a:close/>
                  <a:moveTo>
                    <a:pt x="327" y="51"/>
                  </a:moveTo>
                  <a:cubicBezTo>
                    <a:pt x="327" y="52"/>
                    <a:pt x="327" y="52"/>
                    <a:pt x="326" y="52"/>
                  </a:cubicBezTo>
                  <a:cubicBezTo>
                    <a:pt x="326" y="53"/>
                    <a:pt x="325" y="53"/>
                    <a:pt x="325" y="53"/>
                  </a:cubicBezTo>
                  <a:cubicBezTo>
                    <a:pt x="324" y="53"/>
                    <a:pt x="323" y="53"/>
                    <a:pt x="323" y="53"/>
                  </a:cubicBezTo>
                  <a:cubicBezTo>
                    <a:pt x="322" y="53"/>
                    <a:pt x="322" y="53"/>
                    <a:pt x="322" y="53"/>
                  </a:cubicBezTo>
                  <a:cubicBezTo>
                    <a:pt x="322" y="53"/>
                    <a:pt x="322" y="53"/>
                    <a:pt x="322" y="53"/>
                  </a:cubicBezTo>
                  <a:cubicBezTo>
                    <a:pt x="322" y="53"/>
                    <a:pt x="322" y="53"/>
                    <a:pt x="322" y="52"/>
                  </a:cubicBezTo>
                  <a:cubicBezTo>
                    <a:pt x="323" y="52"/>
                    <a:pt x="324" y="52"/>
                    <a:pt x="324" y="50"/>
                  </a:cubicBezTo>
                  <a:cubicBezTo>
                    <a:pt x="324" y="50"/>
                    <a:pt x="324" y="49"/>
                    <a:pt x="323" y="49"/>
                  </a:cubicBezTo>
                  <a:cubicBezTo>
                    <a:pt x="324" y="49"/>
                    <a:pt x="324" y="49"/>
                    <a:pt x="325" y="49"/>
                  </a:cubicBezTo>
                  <a:cubicBezTo>
                    <a:pt x="329" y="50"/>
                    <a:pt x="329" y="50"/>
                    <a:pt x="329" y="50"/>
                  </a:cubicBezTo>
                  <a:cubicBezTo>
                    <a:pt x="329" y="50"/>
                    <a:pt x="330" y="50"/>
                    <a:pt x="330" y="50"/>
                  </a:cubicBezTo>
                  <a:cubicBezTo>
                    <a:pt x="329" y="50"/>
                    <a:pt x="329" y="50"/>
                    <a:pt x="328" y="50"/>
                  </a:cubicBezTo>
                  <a:cubicBezTo>
                    <a:pt x="328" y="51"/>
                    <a:pt x="328" y="51"/>
                    <a:pt x="327" y="51"/>
                  </a:cubicBezTo>
                  <a:close/>
                  <a:moveTo>
                    <a:pt x="312" y="106"/>
                  </a:moveTo>
                  <a:cubicBezTo>
                    <a:pt x="312" y="106"/>
                    <a:pt x="312" y="106"/>
                    <a:pt x="312" y="106"/>
                  </a:cubicBezTo>
                  <a:cubicBezTo>
                    <a:pt x="312" y="106"/>
                    <a:pt x="312" y="106"/>
                    <a:pt x="312" y="106"/>
                  </a:cubicBezTo>
                  <a:close/>
                  <a:moveTo>
                    <a:pt x="315" y="109"/>
                  </a:moveTo>
                  <a:cubicBezTo>
                    <a:pt x="315" y="109"/>
                    <a:pt x="315" y="109"/>
                    <a:pt x="315" y="109"/>
                  </a:cubicBezTo>
                  <a:cubicBezTo>
                    <a:pt x="314" y="109"/>
                    <a:pt x="314" y="109"/>
                    <a:pt x="314" y="108"/>
                  </a:cubicBezTo>
                  <a:cubicBezTo>
                    <a:pt x="313" y="108"/>
                    <a:pt x="313" y="108"/>
                    <a:pt x="312" y="108"/>
                  </a:cubicBezTo>
                  <a:cubicBezTo>
                    <a:pt x="313" y="107"/>
                    <a:pt x="313" y="107"/>
                    <a:pt x="313" y="106"/>
                  </a:cubicBezTo>
                  <a:cubicBezTo>
                    <a:pt x="313" y="106"/>
                    <a:pt x="313" y="106"/>
                    <a:pt x="313" y="106"/>
                  </a:cubicBezTo>
                  <a:cubicBezTo>
                    <a:pt x="313" y="107"/>
                    <a:pt x="314" y="108"/>
                    <a:pt x="315" y="108"/>
                  </a:cubicBezTo>
                  <a:cubicBezTo>
                    <a:pt x="315" y="108"/>
                    <a:pt x="316" y="109"/>
                    <a:pt x="317" y="109"/>
                  </a:cubicBezTo>
                  <a:cubicBezTo>
                    <a:pt x="316" y="109"/>
                    <a:pt x="316" y="109"/>
                    <a:pt x="316" y="109"/>
                  </a:cubicBezTo>
                  <a:cubicBezTo>
                    <a:pt x="315" y="109"/>
                    <a:pt x="315" y="109"/>
                    <a:pt x="315" y="109"/>
                  </a:cubicBezTo>
                  <a:close/>
                  <a:moveTo>
                    <a:pt x="330" y="77"/>
                  </a:moveTo>
                  <a:cubicBezTo>
                    <a:pt x="330" y="77"/>
                    <a:pt x="330" y="77"/>
                    <a:pt x="330" y="77"/>
                  </a:cubicBezTo>
                  <a:cubicBezTo>
                    <a:pt x="331" y="76"/>
                    <a:pt x="331" y="75"/>
                    <a:pt x="331" y="74"/>
                  </a:cubicBezTo>
                  <a:cubicBezTo>
                    <a:pt x="332" y="74"/>
                    <a:pt x="333" y="74"/>
                    <a:pt x="334" y="74"/>
                  </a:cubicBezTo>
                  <a:cubicBezTo>
                    <a:pt x="334" y="74"/>
                    <a:pt x="334" y="74"/>
                    <a:pt x="334" y="74"/>
                  </a:cubicBezTo>
                  <a:cubicBezTo>
                    <a:pt x="335" y="74"/>
                    <a:pt x="336" y="74"/>
                    <a:pt x="336" y="75"/>
                  </a:cubicBezTo>
                  <a:cubicBezTo>
                    <a:pt x="337" y="75"/>
                    <a:pt x="337" y="75"/>
                    <a:pt x="337" y="75"/>
                  </a:cubicBezTo>
                  <a:cubicBezTo>
                    <a:pt x="337" y="75"/>
                    <a:pt x="337" y="75"/>
                    <a:pt x="337" y="75"/>
                  </a:cubicBezTo>
                  <a:cubicBezTo>
                    <a:pt x="335" y="75"/>
                    <a:pt x="334" y="75"/>
                    <a:pt x="333" y="76"/>
                  </a:cubicBezTo>
                  <a:cubicBezTo>
                    <a:pt x="332" y="76"/>
                    <a:pt x="331" y="77"/>
                    <a:pt x="331" y="77"/>
                  </a:cubicBezTo>
                  <a:cubicBezTo>
                    <a:pt x="330" y="77"/>
                    <a:pt x="330" y="77"/>
                    <a:pt x="330" y="77"/>
                  </a:cubicBezTo>
                  <a:close/>
                  <a:moveTo>
                    <a:pt x="341" y="76"/>
                  </a:moveTo>
                  <a:cubicBezTo>
                    <a:pt x="341" y="76"/>
                    <a:pt x="341" y="76"/>
                    <a:pt x="341" y="76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341" y="76"/>
                    <a:pt x="341" y="76"/>
                    <a:pt x="341" y="76"/>
                  </a:cubicBezTo>
                  <a:close/>
                  <a:moveTo>
                    <a:pt x="146" y="229"/>
                  </a:moveTo>
                  <a:cubicBezTo>
                    <a:pt x="146" y="229"/>
                    <a:pt x="146" y="229"/>
                    <a:pt x="146" y="229"/>
                  </a:cubicBezTo>
                  <a:cubicBezTo>
                    <a:pt x="146" y="229"/>
                    <a:pt x="146" y="229"/>
                    <a:pt x="146" y="229"/>
                  </a:cubicBezTo>
                  <a:cubicBezTo>
                    <a:pt x="146" y="229"/>
                    <a:pt x="146" y="229"/>
                    <a:pt x="146" y="229"/>
                  </a:cubicBezTo>
                  <a:close/>
                  <a:moveTo>
                    <a:pt x="114" y="79"/>
                  </a:moveTo>
                  <a:cubicBezTo>
                    <a:pt x="114" y="80"/>
                    <a:pt x="113" y="80"/>
                    <a:pt x="113" y="80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3" y="80"/>
                    <a:pt x="113" y="79"/>
                    <a:pt x="113" y="79"/>
                  </a:cubicBezTo>
                  <a:cubicBezTo>
                    <a:pt x="113" y="79"/>
                    <a:pt x="113" y="79"/>
                    <a:pt x="114" y="79"/>
                  </a:cubicBezTo>
                  <a:close/>
                  <a:moveTo>
                    <a:pt x="109" y="78"/>
                  </a:moveTo>
                  <a:cubicBezTo>
                    <a:pt x="108" y="78"/>
                    <a:pt x="108" y="78"/>
                    <a:pt x="108" y="78"/>
                  </a:cubicBezTo>
                  <a:cubicBezTo>
                    <a:pt x="108" y="78"/>
                    <a:pt x="109" y="78"/>
                    <a:pt x="109" y="78"/>
                  </a:cubicBezTo>
                  <a:cubicBezTo>
                    <a:pt x="109" y="78"/>
                    <a:pt x="109" y="78"/>
                    <a:pt x="109" y="78"/>
                  </a:cubicBezTo>
                  <a:close/>
                  <a:moveTo>
                    <a:pt x="92" y="195"/>
                  </a:moveTo>
                  <a:cubicBezTo>
                    <a:pt x="92" y="195"/>
                    <a:pt x="92" y="195"/>
                    <a:pt x="92" y="195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1" y="196"/>
                    <a:pt x="91" y="196"/>
                    <a:pt x="91" y="197"/>
                  </a:cubicBezTo>
                  <a:cubicBezTo>
                    <a:pt x="91" y="197"/>
                    <a:pt x="91" y="197"/>
                    <a:pt x="91" y="197"/>
                  </a:cubicBezTo>
                  <a:cubicBezTo>
                    <a:pt x="91" y="197"/>
                    <a:pt x="91" y="197"/>
                    <a:pt x="91" y="196"/>
                  </a:cubicBezTo>
                  <a:cubicBezTo>
                    <a:pt x="91" y="196"/>
                    <a:pt x="90" y="196"/>
                    <a:pt x="90" y="196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195"/>
                    <a:pt x="91" y="195"/>
                    <a:pt x="92" y="195"/>
                  </a:cubicBezTo>
                  <a:close/>
                  <a:moveTo>
                    <a:pt x="69" y="221"/>
                  </a:moveTo>
                  <a:cubicBezTo>
                    <a:pt x="69" y="221"/>
                    <a:pt x="69" y="221"/>
                    <a:pt x="69" y="221"/>
                  </a:cubicBezTo>
                  <a:cubicBezTo>
                    <a:pt x="70" y="221"/>
                    <a:pt x="70" y="221"/>
                    <a:pt x="70" y="221"/>
                  </a:cubicBezTo>
                  <a:cubicBezTo>
                    <a:pt x="70" y="221"/>
                    <a:pt x="70" y="221"/>
                    <a:pt x="70" y="221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69" y="221"/>
                    <a:pt x="69" y="221"/>
                    <a:pt x="69" y="221"/>
                  </a:cubicBezTo>
                  <a:close/>
                  <a:moveTo>
                    <a:pt x="64" y="238"/>
                  </a:moveTo>
                  <a:cubicBezTo>
                    <a:pt x="64" y="238"/>
                    <a:pt x="64" y="238"/>
                    <a:pt x="64" y="238"/>
                  </a:cubicBezTo>
                  <a:cubicBezTo>
                    <a:pt x="64" y="238"/>
                    <a:pt x="64" y="238"/>
                    <a:pt x="64" y="238"/>
                  </a:cubicBezTo>
                  <a:cubicBezTo>
                    <a:pt x="64" y="238"/>
                    <a:pt x="64" y="238"/>
                    <a:pt x="64" y="238"/>
                  </a:cubicBezTo>
                  <a:close/>
                  <a:moveTo>
                    <a:pt x="63" y="222"/>
                  </a:moveTo>
                  <a:cubicBezTo>
                    <a:pt x="64" y="222"/>
                    <a:pt x="64" y="221"/>
                    <a:pt x="65" y="221"/>
                  </a:cubicBezTo>
                  <a:cubicBezTo>
                    <a:pt x="65" y="221"/>
                    <a:pt x="65" y="221"/>
                    <a:pt x="65" y="221"/>
                  </a:cubicBezTo>
                  <a:cubicBezTo>
                    <a:pt x="65" y="221"/>
                    <a:pt x="66" y="221"/>
                    <a:pt x="66" y="221"/>
                  </a:cubicBezTo>
                  <a:cubicBezTo>
                    <a:pt x="65" y="221"/>
                    <a:pt x="64" y="222"/>
                    <a:pt x="64" y="222"/>
                  </a:cubicBezTo>
                  <a:cubicBezTo>
                    <a:pt x="64" y="222"/>
                    <a:pt x="64" y="222"/>
                    <a:pt x="64" y="222"/>
                  </a:cubicBezTo>
                  <a:cubicBezTo>
                    <a:pt x="64" y="222"/>
                    <a:pt x="63" y="222"/>
                    <a:pt x="63" y="222"/>
                  </a:cubicBezTo>
                  <a:cubicBezTo>
                    <a:pt x="63" y="222"/>
                    <a:pt x="63" y="222"/>
                    <a:pt x="62" y="222"/>
                  </a:cubicBezTo>
                  <a:cubicBezTo>
                    <a:pt x="63" y="222"/>
                    <a:pt x="63" y="222"/>
                    <a:pt x="63" y="222"/>
                  </a:cubicBezTo>
                  <a:close/>
                  <a:moveTo>
                    <a:pt x="54" y="270"/>
                  </a:moveTo>
                  <a:cubicBezTo>
                    <a:pt x="54" y="270"/>
                    <a:pt x="54" y="270"/>
                    <a:pt x="54" y="270"/>
                  </a:cubicBezTo>
                  <a:cubicBezTo>
                    <a:pt x="54" y="270"/>
                    <a:pt x="54" y="270"/>
                    <a:pt x="54" y="270"/>
                  </a:cubicBezTo>
                  <a:cubicBezTo>
                    <a:pt x="54" y="270"/>
                    <a:pt x="54" y="270"/>
                    <a:pt x="54" y="270"/>
                  </a:cubicBezTo>
                  <a:cubicBezTo>
                    <a:pt x="54" y="270"/>
                    <a:pt x="54" y="270"/>
                    <a:pt x="54" y="270"/>
                  </a:cubicBezTo>
                  <a:close/>
                  <a:moveTo>
                    <a:pt x="111" y="257"/>
                  </a:moveTo>
                  <a:cubicBezTo>
                    <a:pt x="111" y="257"/>
                    <a:pt x="111" y="257"/>
                    <a:pt x="111" y="257"/>
                  </a:cubicBezTo>
                  <a:cubicBezTo>
                    <a:pt x="111" y="257"/>
                    <a:pt x="111" y="257"/>
                    <a:pt x="111" y="257"/>
                  </a:cubicBezTo>
                  <a:close/>
                  <a:moveTo>
                    <a:pt x="112" y="257"/>
                  </a:moveTo>
                  <a:cubicBezTo>
                    <a:pt x="111" y="257"/>
                    <a:pt x="111" y="257"/>
                    <a:pt x="111" y="257"/>
                  </a:cubicBezTo>
                  <a:cubicBezTo>
                    <a:pt x="111" y="257"/>
                    <a:pt x="111" y="257"/>
                    <a:pt x="111" y="257"/>
                  </a:cubicBezTo>
                  <a:cubicBezTo>
                    <a:pt x="113" y="257"/>
                    <a:pt x="113" y="257"/>
                    <a:pt x="113" y="257"/>
                  </a:cubicBezTo>
                  <a:cubicBezTo>
                    <a:pt x="113" y="257"/>
                    <a:pt x="113" y="257"/>
                    <a:pt x="112" y="257"/>
                  </a:cubicBezTo>
                  <a:close/>
                  <a:moveTo>
                    <a:pt x="143" y="233"/>
                  </a:moveTo>
                  <a:cubicBezTo>
                    <a:pt x="143" y="233"/>
                    <a:pt x="143" y="233"/>
                    <a:pt x="143" y="233"/>
                  </a:cubicBezTo>
                  <a:cubicBezTo>
                    <a:pt x="143" y="233"/>
                    <a:pt x="143" y="233"/>
                    <a:pt x="143" y="233"/>
                  </a:cubicBezTo>
                  <a:close/>
                  <a:moveTo>
                    <a:pt x="157" y="232"/>
                  </a:moveTo>
                  <a:cubicBezTo>
                    <a:pt x="157" y="232"/>
                    <a:pt x="157" y="232"/>
                    <a:pt x="157" y="232"/>
                  </a:cubicBezTo>
                  <a:cubicBezTo>
                    <a:pt x="157" y="232"/>
                    <a:pt x="157" y="232"/>
                    <a:pt x="157" y="232"/>
                  </a:cubicBezTo>
                  <a:cubicBezTo>
                    <a:pt x="157" y="232"/>
                    <a:pt x="157" y="232"/>
                    <a:pt x="157" y="232"/>
                  </a:cubicBezTo>
                  <a:close/>
                  <a:moveTo>
                    <a:pt x="204" y="210"/>
                  </a:moveTo>
                  <a:cubicBezTo>
                    <a:pt x="204" y="209"/>
                    <a:pt x="204" y="209"/>
                    <a:pt x="204" y="209"/>
                  </a:cubicBezTo>
                  <a:cubicBezTo>
                    <a:pt x="204" y="209"/>
                    <a:pt x="204" y="209"/>
                    <a:pt x="204" y="209"/>
                  </a:cubicBezTo>
                  <a:cubicBezTo>
                    <a:pt x="205" y="209"/>
                    <a:pt x="205" y="209"/>
                    <a:pt x="205" y="209"/>
                  </a:cubicBezTo>
                  <a:cubicBezTo>
                    <a:pt x="205" y="210"/>
                    <a:pt x="204" y="210"/>
                    <a:pt x="204" y="210"/>
                  </a:cubicBezTo>
                  <a:close/>
                  <a:moveTo>
                    <a:pt x="208" y="210"/>
                  </a:moveTo>
                  <a:cubicBezTo>
                    <a:pt x="208" y="210"/>
                    <a:pt x="208" y="210"/>
                    <a:pt x="208" y="210"/>
                  </a:cubicBezTo>
                  <a:cubicBezTo>
                    <a:pt x="208" y="210"/>
                    <a:pt x="208" y="210"/>
                    <a:pt x="208" y="210"/>
                  </a:cubicBezTo>
                  <a:close/>
                  <a:moveTo>
                    <a:pt x="249" y="177"/>
                  </a:moveTo>
                  <a:cubicBezTo>
                    <a:pt x="249" y="177"/>
                    <a:pt x="249" y="177"/>
                    <a:pt x="249" y="177"/>
                  </a:cubicBezTo>
                  <a:cubicBezTo>
                    <a:pt x="249" y="177"/>
                    <a:pt x="249" y="177"/>
                    <a:pt x="249" y="177"/>
                  </a:cubicBezTo>
                  <a:close/>
                  <a:moveTo>
                    <a:pt x="174" y="40"/>
                  </a:moveTo>
                  <a:cubicBezTo>
                    <a:pt x="174" y="40"/>
                    <a:pt x="174" y="40"/>
                    <a:pt x="174" y="40"/>
                  </a:cubicBezTo>
                  <a:cubicBezTo>
                    <a:pt x="174" y="40"/>
                    <a:pt x="174" y="40"/>
                    <a:pt x="174" y="40"/>
                  </a:cubicBezTo>
                  <a:close/>
                  <a:moveTo>
                    <a:pt x="174" y="27"/>
                  </a:moveTo>
                  <a:cubicBezTo>
                    <a:pt x="174" y="27"/>
                    <a:pt x="174" y="27"/>
                    <a:pt x="174" y="27"/>
                  </a:cubicBezTo>
                  <a:cubicBezTo>
                    <a:pt x="174" y="27"/>
                    <a:pt x="174" y="27"/>
                    <a:pt x="174" y="27"/>
                  </a:cubicBezTo>
                  <a:close/>
                  <a:moveTo>
                    <a:pt x="137" y="4"/>
                  </a:moveTo>
                  <a:cubicBezTo>
                    <a:pt x="137" y="3"/>
                    <a:pt x="137" y="3"/>
                    <a:pt x="137" y="3"/>
                  </a:cubicBezTo>
                  <a:cubicBezTo>
                    <a:pt x="137" y="3"/>
                    <a:pt x="138" y="3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lose/>
                  <a:moveTo>
                    <a:pt x="57" y="71"/>
                  </a:moveTo>
                  <a:cubicBezTo>
                    <a:pt x="57" y="71"/>
                    <a:pt x="56" y="71"/>
                    <a:pt x="56" y="71"/>
                  </a:cubicBezTo>
                  <a:cubicBezTo>
                    <a:pt x="57" y="71"/>
                    <a:pt x="57" y="70"/>
                    <a:pt x="57" y="70"/>
                  </a:cubicBezTo>
                  <a:cubicBezTo>
                    <a:pt x="57" y="69"/>
                    <a:pt x="57" y="69"/>
                    <a:pt x="56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69"/>
                    <a:pt x="57" y="69"/>
                    <a:pt x="58" y="69"/>
                  </a:cubicBezTo>
                  <a:cubicBezTo>
                    <a:pt x="58" y="69"/>
                    <a:pt x="58" y="70"/>
                    <a:pt x="59" y="70"/>
                  </a:cubicBezTo>
                  <a:lnTo>
                    <a:pt x="57" y="71"/>
                  </a:lnTo>
                  <a:close/>
                  <a:moveTo>
                    <a:pt x="167" y="35"/>
                  </a:moveTo>
                  <a:cubicBezTo>
                    <a:pt x="167" y="35"/>
                    <a:pt x="167" y="35"/>
                    <a:pt x="167" y="36"/>
                  </a:cubicBezTo>
                  <a:cubicBezTo>
                    <a:pt x="166" y="36"/>
                    <a:pt x="166" y="36"/>
                    <a:pt x="166" y="37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66" y="37"/>
                    <a:pt x="166" y="36"/>
                    <a:pt x="166" y="36"/>
                  </a:cubicBezTo>
                  <a:cubicBezTo>
                    <a:pt x="165" y="36"/>
                    <a:pt x="165" y="36"/>
                    <a:pt x="164" y="36"/>
                  </a:cubicBezTo>
                  <a:cubicBezTo>
                    <a:pt x="165" y="36"/>
                    <a:pt x="166" y="36"/>
                    <a:pt x="167" y="35"/>
                  </a:cubicBezTo>
                  <a:close/>
                  <a:moveTo>
                    <a:pt x="104" y="157"/>
                  </a:moveTo>
                  <a:cubicBezTo>
                    <a:pt x="104" y="157"/>
                    <a:pt x="104" y="157"/>
                    <a:pt x="104" y="157"/>
                  </a:cubicBezTo>
                  <a:cubicBezTo>
                    <a:pt x="104" y="157"/>
                    <a:pt x="104" y="157"/>
                    <a:pt x="104" y="157"/>
                  </a:cubicBezTo>
                  <a:close/>
                  <a:moveTo>
                    <a:pt x="76" y="294"/>
                  </a:moveTo>
                  <a:cubicBezTo>
                    <a:pt x="76" y="294"/>
                    <a:pt x="76" y="294"/>
                    <a:pt x="76" y="294"/>
                  </a:cubicBezTo>
                  <a:cubicBezTo>
                    <a:pt x="76" y="294"/>
                    <a:pt x="76" y="294"/>
                    <a:pt x="76" y="294"/>
                  </a:cubicBezTo>
                  <a:close/>
                  <a:moveTo>
                    <a:pt x="77" y="292"/>
                  </a:moveTo>
                  <a:cubicBezTo>
                    <a:pt x="77" y="292"/>
                    <a:pt x="77" y="292"/>
                    <a:pt x="77" y="292"/>
                  </a:cubicBezTo>
                  <a:cubicBezTo>
                    <a:pt x="77" y="292"/>
                    <a:pt x="77" y="292"/>
                    <a:pt x="77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6" name="Freeform 75"/>
            <p:cNvSpPr>
              <a:spLocks noEditPoints="1"/>
            </p:cNvSpPr>
            <p:nvPr/>
          </p:nvSpPr>
          <p:spPr bwMode="auto">
            <a:xfrm>
              <a:off x="4156" y="2806"/>
              <a:ext cx="149" cy="324"/>
            </a:xfrm>
            <a:custGeom>
              <a:avLst/>
              <a:gdLst>
                <a:gd name="T0" fmla="*/ 60 w 63"/>
                <a:gd name="T1" fmla="*/ 22 h 137"/>
                <a:gd name="T2" fmla="*/ 58 w 63"/>
                <a:gd name="T3" fmla="*/ 12 h 137"/>
                <a:gd name="T4" fmla="*/ 55 w 63"/>
                <a:gd name="T5" fmla="*/ 7 h 137"/>
                <a:gd name="T6" fmla="*/ 51 w 63"/>
                <a:gd name="T7" fmla="*/ 0 h 137"/>
                <a:gd name="T8" fmla="*/ 47 w 63"/>
                <a:gd name="T9" fmla="*/ 3 h 137"/>
                <a:gd name="T10" fmla="*/ 47 w 63"/>
                <a:gd name="T11" fmla="*/ 9 h 137"/>
                <a:gd name="T12" fmla="*/ 46 w 63"/>
                <a:gd name="T13" fmla="*/ 13 h 137"/>
                <a:gd name="T14" fmla="*/ 42 w 63"/>
                <a:gd name="T15" fmla="*/ 15 h 137"/>
                <a:gd name="T16" fmla="*/ 40 w 63"/>
                <a:gd name="T17" fmla="*/ 20 h 137"/>
                <a:gd name="T18" fmla="*/ 38 w 63"/>
                <a:gd name="T19" fmla="*/ 25 h 137"/>
                <a:gd name="T20" fmla="*/ 34 w 63"/>
                <a:gd name="T21" fmla="*/ 30 h 137"/>
                <a:gd name="T22" fmla="*/ 29 w 63"/>
                <a:gd name="T23" fmla="*/ 34 h 137"/>
                <a:gd name="T24" fmla="*/ 28 w 63"/>
                <a:gd name="T25" fmla="*/ 37 h 137"/>
                <a:gd name="T26" fmla="*/ 25 w 63"/>
                <a:gd name="T27" fmla="*/ 38 h 137"/>
                <a:gd name="T28" fmla="*/ 21 w 63"/>
                <a:gd name="T29" fmla="*/ 39 h 137"/>
                <a:gd name="T30" fmla="*/ 16 w 63"/>
                <a:gd name="T31" fmla="*/ 41 h 137"/>
                <a:gd name="T32" fmla="*/ 10 w 63"/>
                <a:gd name="T33" fmla="*/ 49 h 137"/>
                <a:gd name="T34" fmla="*/ 7 w 63"/>
                <a:gd name="T35" fmla="*/ 57 h 137"/>
                <a:gd name="T36" fmla="*/ 8 w 63"/>
                <a:gd name="T37" fmla="*/ 61 h 137"/>
                <a:gd name="T38" fmla="*/ 9 w 63"/>
                <a:gd name="T39" fmla="*/ 69 h 137"/>
                <a:gd name="T40" fmla="*/ 11 w 63"/>
                <a:gd name="T41" fmla="*/ 80 h 137"/>
                <a:gd name="T42" fmla="*/ 10 w 63"/>
                <a:gd name="T43" fmla="*/ 83 h 137"/>
                <a:gd name="T44" fmla="*/ 6 w 63"/>
                <a:gd name="T45" fmla="*/ 90 h 137"/>
                <a:gd name="T46" fmla="*/ 2 w 63"/>
                <a:gd name="T47" fmla="*/ 94 h 137"/>
                <a:gd name="T48" fmla="*/ 0 w 63"/>
                <a:gd name="T49" fmla="*/ 99 h 137"/>
                <a:gd name="T50" fmla="*/ 1 w 63"/>
                <a:gd name="T51" fmla="*/ 105 h 137"/>
                <a:gd name="T52" fmla="*/ 4 w 63"/>
                <a:gd name="T53" fmla="*/ 111 h 137"/>
                <a:gd name="T54" fmla="*/ 5 w 63"/>
                <a:gd name="T55" fmla="*/ 116 h 137"/>
                <a:gd name="T56" fmla="*/ 5 w 63"/>
                <a:gd name="T57" fmla="*/ 123 h 137"/>
                <a:gd name="T58" fmla="*/ 8 w 63"/>
                <a:gd name="T59" fmla="*/ 130 h 137"/>
                <a:gd name="T60" fmla="*/ 9 w 63"/>
                <a:gd name="T61" fmla="*/ 133 h 137"/>
                <a:gd name="T62" fmla="*/ 14 w 63"/>
                <a:gd name="T63" fmla="*/ 136 h 137"/>
                <a:gd name="T64" fmla="*/ 22 w 63"/>
                <a:gd name="T65" fmla="*/ 136 h 137"/>
                <a:gd name="T66" fmla="*/ 29 w 63"/>
                <a:gd name="T67" fmla="*/ 134 h 137"/>
                <a:gd name="T68" fmla="*/ 35 w 63"/>
                <a:gd name="T69" fmla="*/ 130 h 137"/>
                <a:gd name="T70" fmla="*/ 38 w 63"/>
                <a:gd name="T71" fmla="*/ 116 h 137"/>
                <a:gd name="T72" fmla="*/ 41 w 63"/>
                <a:gd name="T73" fmla="*/ 107 h 137"/>
                <a:gd name="T74" fmla="*/ 43 w 63"/>
                <a:gd name="T75" fmla="*/ 99 h 137"/>
                <a:gd name="T76" fmla="*/ 45 w 63"/>
                <a:gd name="T77" fmla="*/ 91 h 137"/>
                <a:gd name="T78" fmla="*/ 46 w 63"/>
                <a:gd name="T79" fmla="*/ 86 h 137"/>
                <a:gd name="T80" fmla="*/ 49 w 63"/>
                <a:gd name="T81" fmla="*/ 78 h 137"/>
                <a:gd name="T82" fmla="*/ 52 w 63"/>
                <a:gd name="T83" fmla="*/ 65 h 137"/>
                <a:gd name="T84" fmla="*/ 55 w 63"/>
                <a:gd name="T85" fmla="*/ 56 h 137"/>
                <a:gd name="T86" fmla="*/ 56 w 63"/>
                <a:gd name="T87" fmla="*/ 48 h 137"/>
                <a:gd name="T88" fmla="*/ 57 w 63"/>
                <a:gd name="T89" fmla="*/ 45 h 137"/>
                <a:gd name="T90" fmla="*/ 58 w 63"/>
                <a:gd name="T91" fmla="*/ 41 h 137"/>
                <a:gd name="T92" fmla="*/ 62 w 63"/>
                <a:gd name="T93" fmla="*/ 36 h 137"/>
                <a:gd name="T94" fmla="*/ 62 w 63"/>
                <a:gd name="T95" fmla="*/ 30 h 137"/>
                <a:gd name="T96" fmla="*/ 10 w 63"/>
                <a:gd name="T97" fmla="*/ 69 h 137"/>
                <a:gd name="T98" fmla="*/ 37 w 63"/>
                <a:gd name="T99" fmla="*/ 11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3" h="137">
                  <a:moveTo>
                    <a:pt x="62" y="29"/>
                  </a:moveTo>
                  <a:cubicBezTo>
                    <a:pt x="62" y="29"/>
                    <a:pt x="62" y="29"/>
                    <a:pt x="62" y="29"/>
                  </a:cubicBezTo>
                  <a:cubicBezTo>
                    <a:pt x="62" y="28"/>
                    <a:pt x="61" y="27"/>
                    <a:pt x="61" y="26"/>
                  </a:cubicBezTo>
                  <a:cubicBezTo>
                    <a:pt x="61" y="25"/>
                    <a:pt x="61" y="24"/>
                    <a:pt x="60" y="22"/>
                  </a:cubicBezTo>
                  <a:cubicBezTo>
                    <a:pt x="59" y="22"/>
                    <a:pt x="59" y="21"/>
                    <a:pt x="60" y="20"/>
                  </a:cubicBezTo>
                  <a:cubicBezTo>
                    <a:pt x="60" y="19"/>
                    <a:pt x="60" y="17"/>
                    <a:pt x="60" y="1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4"/>
                    <a:pt x="59" y="13"/>
                    <a:pt x="58" y="12"/>
                  </a:cubicBezTo>
                  <a:cubicBezTo>
                    <a:pt x="58" y="12"/>
                    <a:pt x="58" y="11"/>
                    <a:pt x="58" y="10"/>
                  </a:cubicBezTo>
                  <a:cubicBezTo>
                    <a:pt x="57" y="8"/>
                    <a:pt x="56" y="8"/>
                    <a:pt x="56" y="8"/>
                  </a:cubicBezTo>
                  <a:cubicBezTo>
                    <a:pt x="56" y="8"/>
                    <a:pt x="56" y="8"/>
                    <a:pt x="55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6"/>
                    <a:pt x="55" y="5"/>
                    <a:pt x="55" y="5"/>
                  </a:cubicBezTo>
                  <a:cubicBezTo>
                    <a:pt x="55" y="4"/>
                    <a:pt x="54" y="4"/>
                    <a:pt x="54" y="3"/>
                  </a:cubicBezTo>
                  <a:cubicBezTo>
                    <a:pt x="54" y="3"/>
                    <a:pt x="53" y="3"/>
                    <a:pt x="53" y="2"/>
                  </a:cubicBezTo>
                  <a:cubicBezTo>
                    <a:pt x="53" y="1"/>
                    <a:pt x="52" y="0"/>
                    <a:pt x="51" y="0"/>
                  </a:cubicBezTo>
                  <a:cubicBezTo>
                    <a:pt x="50" y="0"/>
                    <a:pt x="50" y="0"/>
                    <a:pt x="49" y="0"/>
                  </a:cubicBezTo>
                  <a:cubicBezTo>
                    <a:pt x="49" y="1"/>
                    <a:pt x="48" y="2"/>
                    <a:pt x="48" y="2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7" y="3"/>
                  </a:cubicBezTo>
                  <a:cubicBezTo>
                    <a:pt x="46" y="3"/>
                    <a:pt x="45" y="4"/>
                    <a:pt x="45" y="5"/>
                  </a:cubicBezTo>
                  <a:cubicBezTo>
                    <a:pt x="45" y="6"/>
                    <a:pt x="46" y="6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9"/>
                    <a:pt x="47" y="9"/>
                  </a:cubicBezTo>
                  <a:cubicBezTo>
                    <a:pt x="47" y="9"/>
                    <a:pt x="47" y="10"/>
                    <a:pt x="47" y="10"/>
                  </a:cubicBezTo>
                  <a:cubicBezTo>
                    <a:pt x="47" y="10"/>
                    <a:pt x="46" y="11"/>
                    <a:pt x="46" y="11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4" y="14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5"/>
                    <a:pt x="43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1" y="15"/>
                    <a:pt x="41" y="15"/>
                    <a:pt x="40" y="16"/>
                  </a:cubicBezTo>
                  <a:cubicBezTo>
                    <a:pt x="39" y="17"/>
                    <a:pt x="40" y="18"/>
                    <a:pt x="40" y="1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1"/>
                    <a:pt x="39" y="21"/>
                    <a:pt x="39" y="23"/>
                  </a:cubicBezTo>
                  <a:cubicBezTo>
                    <a:pt x="38" y="23"/>
                    <a:pt x="38" y="23"/>
                    <a:pt x="38" y="24"/>
                  </a:cubicBezTo>
                  <a:cubicBezTo>
                    <a:pt x="38" y="24"/>
                    <a:pt x="38" y="25"/>
                    <a:pt x="38" y="2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5" y="26"/>
                    <a:pt x="34" y="27"/>
                    <a:pt x="34" y="28"/>
                  </a:cubicBezTo>
                  <a:cubicBezTo>
                    <a:pt x="34" y="29"/>
                    <a:pt x="34" y="29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3" y="30"/>
                    <a:pt x="33" y="31"/>
                  </a:cubicBezTo>
                  <a:cubicBezTo>
                    <a:pt x="31" y="31"/>
                    <a:pt x="30" y="32"/>
                    <a:pt x="29" y="33"/>
                  </a:cubicBezTo>
                  <a:cubicBezTo>
                    <a:pt x="29" y="33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5"/>
                    <a:pt x="28" y="35"/>
                    <a:pt x="28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6" y="37"/>
                    <a:pt x="25" y="37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4" y="37"/>
                    <a:pt x="24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2" y="37"/>
                    <a:pt x="22" y="38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ubicBezTo>
                    <a:pt x="21" y="39"/>
                    <a:pt x="20" y="39"/>
                    <a:pt x="20" y="40"/>
                  </a:cubicBezTo>
                  <a:cubicBezTo>
                    <a:pt x="20" y="39"/>
                    <a:pt x="19" y="39"/>
                    <a:pt x="19" y="39"/>
                  </a:cubicBezTo>
                  <a:cubicBezTo>
                    <a:pt x="18" y="39"/>
                    <a:pt x="17" y="40"/>
                    <a:pt x="17" y="40"/>
                  </a:cubicBezTo>
                  <a:cubicBezTo>
                    <a:pt x="17" y="41"/>
                    <a:pt x="17" y="41"/>
                    <a:pt x="16" y="41"/>
                  </a:cubicBezTo>
                  <a:cubicBezTo>
                    <a:pt x="16" y="41"/>
                    <a:pt x="15" y="40"/>
                    <a:pt x="14" y="40"/>
                  </a:cubicBezTo>
                  <a:cubicBezTo>
                    <a:pt x="13" y="40"/>
                    <a:pt x="12" y="41"/>
                    <a:pt x="11" y="42"/>
                  </a:cubicBezTo>
                  <a:cubicBezTo>
                    <a:pt x="10" y="44"/>
                    <a:pt x="10" y="45"/>
                    <a:pt x="10" y="47"/>
                  </a:cubicBezTo>
                  <a:cubicBezTo>
                    <a:pt x="10" y="47"/>
                    <a:pt x="10" y="48"/>
                    <a:pt x="10" y="49"/>
                  </a:cubicBezTo>
                  <a:cubicBezTo>
                    <a:pt x="10" y="49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51"/>
                    <a:pt x="7" y="52"/>
                    <a:pt x="7" y="54"/>
                  </a:cubicBezTo>
                  <a:cubicBezTo>
                    <a:pt x="7" y="55"/>
                    <a:pt x="7" y="56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8"/>
                    <a:pt x="7" y="58"/>
                    <a:pt x="8" y="58"/>
                  </a:cubicBezTo>
                  <a:cubicBezTo>
                    <a:pt x="8" y="59"/>
                    <a:pt x="8" y="59"/>
                    <a:pt x="8" y="60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7" y="62"/>
                    <a:pt x="7" y="64"/>
                    <a:pt x="8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9" y="67"/>
                    <a:pt x="9" y="68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0"/>
                    <a:pt x="9" y="71"/>
                    <a:pt x="9" y="71"/>
                  </a:cubicBezTo>
                  <a:cubicBezTo>
                    <a:pt x="9" y="73"/>
                    <a:pt x="10" y="73"/>
                    <a:pt x="11" y="74"/>
                  </a:cubicBezTo>
                  <a:cubicBezTo>
                    <a:pt x="11" y="74"/>
                    <a:pt x="11" y="75"/>
                    <a:pt x="11" y="76"/>
                  </a:cubicBezTo>
                  <a:cubicBezTo>
                    <a:pt x="10" y="77"/>
                    <a:pt x="11" y="78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0" y="80"/>
                    <a:pt x="10" y="81"/>
                    <a:pt x="10" y="81"/>
                  </a:cubicBezTo>
                  <a:cubicBezTo>
                    <a:pt x="10" y="82"/>
                    <a:pt x="10" y="82"/>
                    <a:pt x="10" y="83"/>
                  </a:cubicBezTo>
                  <a:cubicBezTo>
                    <a:pt x="9" y="83"/>
                    <a:pt x="9" y="84"/>
                    <a:pt x="9" y="85"/>
                  </a:cubicBezTo>
                  <a:cubicBezTo>
                    <a:pt x="9" y="85"/>
                    <a:pt x="8" y="85"/>
                    <a:pt x="8" y="86"/>
                  </a:cubicBezTo>
                  <a:cubicBezTo>
                    <a:pt x="8" y="86"/>
                    <a:pt x="7" y="87"/>
                    <a:pt x="7" y="87"/>
                  </a:cubicBezTo>
                  <a:cubicBezTo>
                    <a:pt x="6" y="88"/>
                    <a:pt x="6" y="89"/>
                    <a:pt x="6" y="90"/>
                  </a:cubicBezTo>
                  <a:cubicBezTo>
                    <a:pt x="6" y="90"/>
                    <a:pt x="6" y="91"/>
                    <a:pt x="6" y="91"/>
                  </a:cubicBezTo>
                  <a:cubicBezTo>
                    <a:pt x="6" y="92"/>
                    <a:pt x="5" y="92"/>
                    <a:pt x="5" y="93"/>
                  </a:cubicBezTo>
                  <a:cubicBezTo>
                    <a:pt x="5" y="93"/>
                    <a:pt x="5" y="93"/>
                    <a:pt x="4" y="93"/>
                  </a:cubicBezTo>
                  <a:cubicBezTo>
                    <a:pt x="3" y="93"/>
                    <a:pt x="3" y="93"/>
                    <a:pt x="2" y="94"/>
                  </a:cubicBezTo>
                  <a:cubicBezTo>
                    <a:pt x="2" y="94"/>
                    <a:pt x="2" y="95"/>
                    <a:pt x="2" y="95"/>
                  </a:cubicBezTo>
                  <a:cubicBezTo>
                    <a:pt x="2" y="96"/>
                    <a:pt x="2" y="96"/>
                    <a:pt x="1" y="97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" y="98"/>
                    <a:pt x="1" y="98"/>
                    <a:pt x="0" y="99"/>
                  </a:cubicBezTo>
                  <a:cubicBezTo>
                    <a:pt x="0" y="100"/>
                    <a:pt x="1" y="100"/>
                    <a:pt x="1" y="101"/>
                  </a:cubicBezTo>
                  <a:cubicBezTo>
                    <a:pt x="1" y="101"/>
                    <a:pt x="1" y="101"/>
                    <a:pt x="1" y="102"/>
                  </a:cubicBezTo>
                  <a:cubicBezTo>
                    <a:pt x="0" y="103"/>
                    <a:pt x="1" y="104"/>
                    <a:pt x="1" y="105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7"/>
                    <a:pt x="1" y="108"/>
                    <a:pt x="2" y="108"/>
                  </a:cubicBezTo>
                  <a:cubicBezTo>
                    <a:pt x="2" y="109"/>
                    <a:pt x="3" y="110"/>
                    <a:pt x="4" y="110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5" y="111"/>
                    <a:pt x="5" y="111"/>
                    <a:pt x="5" y="112"/>
                  </a:cubicBezTo>
                  <a:cubicBezTo>
                    <a:pt x="5" y="113"/>
                    <a:pt x="6" y="113"/>
                    <a:pt x="5" y="114"/>
                  </a:cubicBezTo>
                  <a:cubicBezTo>
                    <a:pt x="5" y="114"/>
                    <a:pt x="5" y="114"/>
                    <a:pt x="5" y="115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4" y="117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4" y="121"/>
                    <a:pt x="4" y="121"/>
                    <a:pt x="4" y="122"/>
                  </a:cubicBezTo>
                  <a:cubicBezTo>
                    <a:pt x="4" y="122"/>
                    <a:pt x="5" y="123"/>
                    <a:pt x="5" y="123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5"/>
                    <a:pt x="5" y="126"/>
                    <a:pt x="6" y="127"/>
                  </a:cubicBezTo>
                  <a:cubicBezTo>
                    <a:pt x="6" y="128"/>
                    <a:pt x="7" y="129"/>
                    <a:pt x="8" y="130"/>
                  </a:cubicBezTo>
                  <a:cubicBezTo>
                    <a:pt x="8" y="130"/>
                    <a:pt x="8" y="130"/>
                    <a:pt x="9" y="130"/>
                  </a:cubicBezTo>
                  <a:cubicBezTo>
                    <a:pt x="9" y="131"/>
                    <a:pt x="9" y="131"/>
                    <a:pt x="10" y="132"/>
                  </a:cubicBezTo>
                  <a:cubicBezTo>
                    <a:pt x="10" y="132"/>
                    <a:pt x="10" y="132"/>
                    <a:pt x="10" y="132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0" y="134"/>
                    <a:pt x="11" y="134"/>
                    <a:pt x="11" y="134"/>
                  </a:cubicBezTo>
                  <a:cubicBezTo>
                    <a:pt x="11" y="135"/>
                    <a:pt x="12" y="135"/>
                    <a:pt x="13" y="135"/>
                  </a:cubicBezTo>
                  <a:cubicBezTo>
                    <a:pt x="13" y="135"/>
                    <a:pt x="14" y="136"/>
                    <a:pt x="14" y="136"/>
                  </a:cubicBezTo>
                  <a:cubicBezTo>
                    <a:pt x="15" y="137"/>
                    <a:pt x="16" y="137"/>
                    <a:pt x="17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20" y="137"/>
                    <a:pt x="21" y="136"/>
                    <a:pt x="22" y="136"/>
                  </a:cubicBezTo>
                  <a:cubicBezTo>
                    <a:pt x="22" y="136"/>
                    <a:pt x="22" y="136"/>
                    <a:pt x="22" y="136"/>
                  </a:cubicBezTo>
                  <a:cubicBezTo>
                    <a:pt x="23" y="135"/>
                    <a:pt x="24" y="134"/>
                    <a:pt x="25" y="134"/>
                  </a:cubicBezTo>
                  <a:cubicBezTo>
                    <a:pt x="26" y="134"/>
                    <a:pt x="26" y="134"/>
                    <a:pt x="26" y="134"/>
                  </a:cubicBezTo>
                  <a:cubicBezTo>
                    <a:pt x="27" y="134"/>
                    <a:pt x="28" y="134"/>
                    <a:pt x="29" y="134"/>
                  </a:cubicBezTo>
                  <a:cubicBezTo>
                    <a:pt x="31" y="134"/>
                    <a:pt x="32" y="132"/>
                    <a:pt x="33" y="131"/>
                  </a:cubicBezTo>
                  <a:cubicBezTo>
                    <a:pt x="33" y="131"/>
                    <a:pt x="33" y="131"/>
                    <a:pt x="34" y="131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4" y="131"/>
                    <a:pt x="35" y="130"/>
                    <a:pt x="35" y="130"/>
                  </a:cubicBezTo>
                  <a:cubicBezTo>
                    <a:pt x="36" y="129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3"/>
                    <a:pt x="36" y="121"/>
                    <a:pt x="37" y="119"/>
                  </a:cubicBezTo>
                  <a:cubicBezTo>
                    <a:pt x="37" y="118"/>
                    <a:pt x="37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39" y="113"/>
                  </a:cubicBezTo>
                  <a:cubicBezTo>
                    <a:pt x="39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1" y="107"/>
                  </a:cubicBezTo>
                  <a:cubicBezTo>
                    <a:pt x="41" y="107"/>
                    <a:pt x="41" y="106"/>
                    <a:pt x="41" y="105"/>
                  </a:cubicBezTo>
                  <a:cubicBezTo>
                    <a:pt x="41" y="104"/>
                    <a:pt x="41" y="103"/>
                    <a:pt x="41" y="102"/>
                  </a:cubicBezTo>
                  <a:cubicBezTo>
                    <a:pt x="42" y="101"/>
                    <a:pt x="42" y="101"/>
                    <a:pt x="42" y="100"/>
                  </a:cubicBezTo>
                  <a:cubicBezTo>
                    <a:pt x="42" y="100"/>
                    <a:pt x="43" y="99"/>
                    <a:pt x="43" y="99"/>
                  </a:cubicBezTo>
                  <a:cubicBezTo>
                    <a:pt x="43" y="99"/>
                    <a:pt x="43" y="98"/>
                    <a:pt x="44" y="98"/>
                  </a:cubicBezTo>
                  <a:cubicBezTo>
                    <a:pt x="44" y="96"/>
                    <a:pt x="44" y="95"/>
                    <a:pt x="44" y="94"/>
                  </a:cubicBezTo>
                  <a:cubicBezTo>
                    <a:pt x="44" y="93"/>
                    <a:pt x="44" y="92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6" y="90"/>
                    <a:pt x="46" y="90"/>
                    <a:pt x="46" y="89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46" y="87"/>
                    <a:pt x="46" y="86"/>
                    <a:pt x="46" y="86"/>
                  </a:cubicBezTo>
                  <a:cubicBezTo>
                    <a:pt x="46" y="85"/>
                    <a:pt x="47" y="85"/>
                    <a:pt x="47" y="84"/>
                  </a:cubicBezTo>
                  <a:cubicBezTo>
                    <a:pt x="47" y="83"/>
                    <a:pt x="47" y="82"/>
                    <a:pt x="47" y="81"/>
                  </a:cubicBezTo>
                  <a:cubicBezTo>
                    <a:pt x="48" y="81"/>
                    <a:pt x="48" y="81"/>
                    <a:pt x="48" y="80"/>
                  </a:cubicBezTo>
                  <a:cubicBezTo>
                    <a:pt x="48" y="80"/>
                    <a:pt x="49" y="79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7"/>
                    <a:pt x="50" y="76"/>
                    <a:pt x="50" y="74"/>
                  </a:cubicBezTo>
                  <a:cubicBezTo>
                    <a:pt x="50" y="72"/>
                    <a:pt x="51" y="70"/>
                    <a:pt x="51" y="68"/>
                  </a:cubicBezTo>
                  <a:cubicBezTo>
                    <a:pt x="52" y="67"/>
                    <a:pt x="52" y="66"/>
                    <a:pt x="52" y="65"/>
                  </a:cubicBezTo>
                  <a:cubicBezTo>
                    <a:pt x="52" y="64"/>
                    <a:pt x="52" y="63"/>
                    <a:pt x="53" y="62"/>
                  </a:cubicBezTo>
                  <a:cubicBezTo>
                    <a:pt x="53" y="62"/>
                    <a:pt x="53" y="61"/>
                    <a:pt x="54" y="60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8"/>
                    <a:pt x="55" y="57"/>
                    <a:pt x="55" y="56"/>
                  </a:cubicBezTo>
                  <a:cubicBezTo>
                    <a:pt x="55" y="55"/>
                    <a:pt x="55" y="54"/>
                    <a:pt x="54" y="53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0"/>
                    <a:pt x="56" y="49"/>
                    <a:pt x="56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6"/>
                    <a:pt x="56" y="46"/>
                  </a:cubicBezTo>
                  <a:cubicBezTo>
                    <a:pt x="56" y="46"/>
                    <a:pt x="57" y="46"/>
                    <a:pt x="57" y="45"/>
                  </a:cubicBezTo>
                  <a:cubicBezTo>
                    <a:pt x="58" y="43"/>
                    <a:pt x="57" y="42"/>
                    <a:pt x="57" y="41"/>
                  </a:cubicBezTo>
                  <a:cubicBezTo>
                    <a:pt x="56" y="41"/>
                    <a:pt x="56" y="40"/>
                    <a:pt x="56" y="40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7" y="40"/>
                    <a:pt x="57" y="41"/>
                    <a:pt x="58" y="41"/>
                  </a:cubicBezTo>
                  <a:cubicBezTo>
                    <a:pt x="59" y="41"/>
                    <a:pt x="60" y="41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1" y="38"/>
                    <a:pt x="61" y="38"/>
                    <a:pt x="61" y="37"/>
                  </a:cubicBezTo>
                  <a:cubicBezTo>
                    <a:pt x="61" y="37"/>
                    <a:pt x="61" y="36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3" y="34"/>
                    <a:pt x="63" y="33"/>
                    <a:pt x="63" y="33"/>
                  </a:cubicBezTo>
                  <a:cubicBezTo>
                    <a:pt x="63" y="31"/>
                    <a:pt x="63" y="30"/>
                    <a:pt x="62" y="30"/>
                  </a:cubicBezTo>
                  <a:lnTo>
                    <a:pt x="62" y="29"/>
                  </a:lnTo>
                  <a:close/>
                  <a:moveTo>
                    <a:pt x="10" y="69"/>
                  </a:moveTo>
                  <a:cubicBezTo>
                    <a:pt x="10" y="69"/>
                    <a:pt x="10" y="69"/>
                    <a:pt x="10" y="69"/>
                  </a:cubicBezTo>
                  <a:cubicBezTo>
                    <a:pt x="10" y="69"/>
                    <a:pt x="10" y="69"/>
                    <a:pt x="10" y="69"/>
                  </a:cubicBezTo>
                  <a:close/>
                  <a:moveTo>
                    <a:pt x="22" y="40"/>
                  </a:move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lose/>
                  <a:moveTo>
                    <a:pt x="37" y="115"/>
                  </a:moveTo>
                  <a:cubicBezTo>
                    <a:pt x="37" y="115"/>
                    <a:pt x="37" y="115"/>
                    <a:pt x="37" y="115"/>
                  </a:cubicBezTo>
                  <a:cubicBezTo>
                    <a:pt x="37" y="115"/>
                    <a:pt x="37" y="115"/>
                    <a:pt x="37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4381" y="3009"/>
              <a:ext cx="33" cy="26"/>
            </a:xfrm>
            <a:custGeom>
              <a:avLst/>
              <a:gdLst>
                <a:gd name="T0" fmla="*/ 9 w 14"/>
                <a:gd name="T1" fmla="*/ 6 h 11"/>
                <a:gd name="T2" fmla="*/ 7 w 14"/>
                <a:gd name="T3" fmla="*/ 3 h 11"/>
                <a:gd name="T4" fmla="*/ 7 w 14"/>
                <a:gd name="T5" fmla="*/ 2 h 11"/>
                <a:gd name="T6" fmla="*/ 3 w 14"/>
                <a:gd name="T7" fmla="*/ 0 h 11"/>
                <a:gd name="T8" fmla="*/ 1 w 14"/>
                <a:gd name="T9" fmla="*/ 1 h 11"/>
                <a:gd name="T10" fmla="*/ 2 w 14"/>
                <a:gd name="T11" fmla="*/ 5 h 11"/>
                <a:gd name="T12" fmla="*/ 2 w 14"/>
                <a:gd name="T13" fmla="*/ 6 h 11"/>
                <a:gd name="T14" fmla="*/ 5 w 14"/>
                <a:gd name="T15" fmla="*/ 8 h 11"/>
                <a:gd name="T16" fmla="*/ 14 w 14"/>
                <a:gd name="T17" fmla="*/ 11 h 11"/>
                <a:gd name="T18" fmla="*/ 9 w 14"/>
                <a:gd name="T19" fmla="*/ 7 h 11"/>
                <a:gd name="T20" fmla="*/ 9 w 14"/>
                <a:gd name="T2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1">
                  <a:moveTo>
                    <a:pt x="9" y="6"/>
                  </a:moveTo>
                  <a:cubicBezTo>
                    <a:pt x="9" y="4"/>
                    <a:pt x="8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3"/>
                    <a:pt x="1" y="4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3" y="7"/>
                    <a:pt x="4" y="8"/>
                    <a:pt x="5" y="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auto">
            <a:xfrm>
              <a:off x="4428" y="2990"/>
              <a:ext cx="14" cy="17"/>
            </a:xfrm>
            <a:custGeom>
              <a:avLst/>
              <a:gdLst>
                <a:gd name="T0" fmla="*/ 3 w 6"/>
                <a:gd name="T1" fmla="*/ 0 h 7"/>
                <a:gd name="T2" fmla="*/ 2 w 6"/>
                <a:gd name="T3" fmla="*/ 1 h 7"/>
                <a:gd name="T4" fmla="*/ 0 w 6"/>
                <a:gd name="T5" fmla="*/ 3 h 7"/>
                <a:gd name="T6" fmla="*/ 0 w 6"/>
                <a:gd name="T7" fmla="*/ 3 h 7"/>
                <a:gd name="T8" fmla="*/ 0 w 6"/>
                <a:gd name="T9" fmla="*/ 4 h 7"/>
                <a:gd name="T10" fmla="*/ 1 w 6"/>
                <a:gd name="T11" fmla="*/ 7 h 7"/>
                <a:gd name="T12" fmla="*/ 2 w 6"/>
                <a:gd name="T13" fmla="*/ 7 h 7"/>
                <a:gd name="T14" fmla="*/ 6 w 6"/>
                <a:gd name="T15" fmla="*/ 3 h 7"/>
                <a:gd name="T16" fmla="*/ 6 w 6"/>
                <a:gd name="T17" fmla="*/ 3 h 7"/>
                <a:gd name="T18" fmla="*/ 3 w 6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3" y="0"/>
                    <a:pt x="3" y="1"/>
                    <a:pt x="2" y="1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4" y="7"/>
                    <a:pt x="6" y="5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auto">
            <a:xfrm>
              <a:off x="6472" y="3743"/>
              <a:ext cx="19" cy="19"/>
            </a:xfrm>
            <a:custGeom>
              <a:avLst/>
              <a:gdLst>
                <a:gd name="T0" fmla="*/ 7 w 8"/>
                <a:gd name="T1" fmla="*/ 2 h 8"/>
                <a:gd name="T2" fmla="*/ 4 w 8"/>
                <a:gd name="T3" fmla="*/ 0 h 8"/>
                <a:gd name="T4" fmla="*/ 3 w 8"/>
                <a:gd name="T5" fmla="*/ 0 h 8"/>
                <a:gd name="T6" fmla="*/ 1 w 8"/>
                <a:gd name="T7" fmla="*/ 1 h 8"/>
                <a:gd name="T8" fmla="*/ 1 w 8"/>
                <a:gd name="T9" fmla="*/ 4 h 8"/>
                <a:gd name="T10" fmla="*/ 1 w 8"/>
                <a:gd name="T11" fmla="*/ 4 h 8"/>
                <a:gd name="T12" fmla="*/ 0 w 8"/>
                <a:gd name="T13" fmla="*/ 6 h 8"/>
                <a:gd name="T14" fmla="*/ 3 w 8"/>
                <a:gd name="T15" fmla="*/ 8 h 8"/>
                <a:gd name="T16" fmla="*/ 3 w 8"/>
                <a:gd name="T17" fmla="*/ 8 h 8"/>
                <a:gd name="T18" fmla="*/ 4 w 8"/>
                <a:gd name="T19" fmla="*/ 7 h 8"/>
                <a:gd name="T20" fmla="*/ 6 w 8"/>
                <a:gd name="T21" fmla="*/ 6 h 8"/>
                <a:gd name="T22" fmla="*/ 7 w 8"/>
                <a:gd name="T23" fmla="*/ 5 h 8"/>
                <a:gd name="T24" fmla="*/ 7 w 8"/>
                <a:gd name="T2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8">
                  <a:moveTo>
                    <a:pt x="7" y="2"/>
                  </a:moveTo>
                  <a:cubicBezTo>
                    <a:pt x="6" y="1"/>
                    <a:pt x="5" y="1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" y="7"/>
                    <a:pt x="1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7"/>
                    <a:pt x="4" y="7"/>
                  </a:cubicBezTo>
                  <a:cubicBezTo>
                    <a:pt x="5" y="7"/>
                    <a:pt x="6" y="7"/>
                    <a:pt x="6" y="6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8" y="3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0" name="Freeform 79"/>
            <p:cNvSpPr>
              <a:spLocks noEditPoints="1"/>
            </p:cNvSpPr>
            <p:nvPr/>
          </p:nvSpPr>
          <p:spPr bwMode="auto">
            <a:xfrm>
              <a:off x="6162" y="3464"/>
              <a:ext cx="343" cy="331"/>
            </a:xfrm>
            <a:custGeom>
              <a:avLst/>
              <a:gdLst>
                <a:gd name="T0" fmla="*/ 135 w 145"/>
                <a:gd name="T1" fmla="*/ 44 h 140"/>
                <a:gd name="T2" fmla="*/ 131 w 145"/>
                <a:gd name="T3" fmla="*/ 44 h 140"/>
                <a:gd name="T4" fmla="*/ 131 w 145"/>
                <a:gd name="T5" fmla="*/ 32 h 140"/>
                <a:gd name="T6" fmla="*/ 125 w 145"/>
                <a:gd name="T7" fmla="*/ 33 h 140"/>
                <a:gd name="T8" fmla="*/ 125 w 145"/>
                <a:gd name="T9" fmla="*/ 27 h 140"/>
                <a:gd name="T10" fmla="*/ 126 w 145"/>
                <a:gd name="T11" fmla="*/ 22 h 140"/>
                <a:gd name="T12" fmla="*/ 129 w 145"/>
                <a:gd name="T13" fmla="*/ 14 h 140"/>
                <a:gd name="T14" fmla="*/ 126 w 145"/>
                <a:gd name="T15" fmla="*/ 9 h 140"/>
                <a:gd name="T16" fmla="*/ 123 w 145"/>
                <a:gd name="T17" fmla="*/ 4 h 140"/>
                <a:gd name="T18" fmla="*/ 121 w 145"/>
                <a:gd name="T19" fmla="*/ 1 h 140"/>
                <a:gd name="T20" fmla="*/ 118 w 145"/>
                <a:gd name="T21" fmla="*/ 5 h 140"/>
                <a:gd name="T22" fmla="*/ 118 w 145"/>
                <a:gd name="T23" fmla="*/ 15 h 140"/>
                <a:gd name="T24" fmla="*/ 118 w 145"/>
                <a:gd name="T25" fmla="*/ 22 h 140"/>
                <a:gd name="T26" fmla="*/ 119 w 145"/>
                <a:gd name="T27" fmla="*/ 27 h 140"/>
                <a:gd name="T28" fmla="*/ 117 w 145"/>
                <a:gd name="T29" fmla="*/ 37 h 140"/>
                <a:gd name="T30" fmla="*/ 113 w 145"/>
                <a:gd name="T31" fmla="*/ 45 h 140"/>
                <a:gd name="T32" fmla="*/ 107 w 145"/>
                <a:gd name="T33" fmla="*/ 52 h 140"/>
                <a:gd name="T34" fmla="*/ 99 w 145"/>
                <a:gd name="T35" fmla="*/ 56 h 140"/>
                <a:gd name="T36" fmla="*/ 102 w 145"/>
                <a:gd name="T37" fmla="*/ 68 h 140"/>
                <a:gd name="T38" fmla="*/ 98 w 145"/>
                <a:gd name="T39" fmla="*/ 75 h 140"/>
                <a:gd name="T40" fmla="*/ 90 w 145"/>
                <a:gd name="T41" fmla="*/ 82 h 140"/>
                <a:gd name="T42" fmla="*/ 90 w 145"/>
                <a:gd name="T43" fmla="*/ 81 h 140"/>
                <a:gd name="T44" fmla="*/ 88 w 145"/>
                <a:gd name="T45" fmla="*/ 77 h 140"/>
                <a:gd name="T46" fmla="*/ 84 w 145"/>
                <a:gd name="T47" fmla="*/ 78 h 140"/>
                <a:gd name="T48" fmla="*/ 85 w 145"/>
                <a:gd name="T49" fmla="*/ 77 h 140"/>
                <a:gd name="T50" fmla="*/ 85 w 145"/>
                <a:gd name="T51" fmla="*/ 71 h 140"/>
                <a:gd name="T52" fmla="*/ 73 w 145"/>
                <a:gd name="T53" fmla="*/ 78 h 140"/>
                <a:gd name="T54" fmla="*/ 63 w 145"/>
                <a:gd name="T55" fmla="*/ 85 h 140"/>
                <a:gd name="T56" fmla="*/ 57 w 145"/>
                <a:gd name="T57" fmla="*/ 93 h 140"/>
                <a:gd name="T58" fmla="*/ 46 w 145"/>
                <a:gd name="T59" fmla="*/ 99 h 140"/>
                <a:gd name="T60" fmla="*/ 37 w 145"/>
                <a:gd name="T61" fmla="*/ 103 h 140"/>
                <a:gd name="T62" fmla="*/ 31 w 145"/>
                <a:gd name="T63" fmla="*/ 105 h 140"/>
                <a:gd name="T64" fmla="*/ 23 w 145"/>
                <a:gd name="T65" fmla="*/ 109 h 140"/>
                <a:gd name="T66" fmla="*/ 18 w 145"/>
                <a:gd name="T67" fmla="*/ 113 h 140"/>
                <a:gd name="T68" fmla="*/ 12 w 145"/>
                <a:gd name="T69" fmla="*/ 116 h 140"/>
                <a:gd name="T70" fmla="*/ 5 w 145"/>
                <a:gd name="T71" fmla="*/ 123 h 140"/>
                <a:gd name="T72" fmla="*/ 1 w 145"/>
                <a:gd name="T73" fmla="*/ 126 h 140"/>
                <a:gd name="T74" fmla="*/ 3 w 145"/>
                <a:gd name="T75" fmla="*/ 133 h 140"/>
                <a:gd name="T76" fmla="*/ 11 w 145"/>
                <a:gd name="T77" fmla="*/ 139 h 140"/>
                <a:gd name="T78" fmla="*/ 21 w 145"/>
                <a:gd name="T79" fmla="*/ 139 h 140"/>
                <a:gd name="T80" fmla="*/ 29 w 145"/>
                <a:gd name="T81" fmla="*/ 134 h 140"/>
                <a:gd name="T82" fmla="*/ 34 w 145"/>
                <a:gd name="T83" fmla="*/ 130 h 140"/>
                <a:gd name="T84" fmla="*/ 44 w 145"/>
                <a:gd name="T85" fmla="*/ 121 h 140"/>
                <a:gd name="T86" fmla="*/ 52 w 145"/>
                <a:gd name="T87" fmla="*/ 113 h 140"/>
                <a:gd name="T88" fmla="*/ 57 w 145"/>
                <a:gd name="T89" fmla="*/ 111 h 140"/>
                <a:gd name="T90" fmla="*/ 63 w 145"/>
                <a:gd name="T91" fmla="*/ 112 h 140"/>
                <a:gd name="T92" fmla="*/ 68 w 145"/>
                <a:gd name="T93" fmla="*/ 103 h 140"/>
                <a:gd name="T94" fmla="*/ 77 w 145"/>
                <a:gd name="T95" fmla="*/ 98 h 140"/>
                <a:gd name="T96" fmla="*/ 80 w 145"/>
                <a:gd name="T97" fmla="*/ 93 h 140"/>
                <a:gd name="T98" fmla="*/ 85 w 145"/>
                <a:gd name="T99" fmla="*/ 90 h 140"/>
                <a:gd name="T100" fmla="*/ 89 w 145"/>
                <a:gd name="T101" fmla="*/ 86 h 140"/>
                <a:gd name="T102" fmla="*/ 93 w 145"/>
                <a:gd name="T103" fmla="*/ 90 h 140"/>
                <a:gd name="T104" fmla="*/ 99 w 145"/>
                <a:gd name="T105" fmla="*/ 85 h 140"/>
                <a:gd name="T106" fmla="*/ 105 w 145"/>
                <a:gd name="T107" fmla="*/ 82 h 140"/>
                <a:gd name="T108" fmla="*/ 109 w 145"/>
                <a:gd name="T109" fmla="*/ 78 h 140"/>
                <a:gd name="T110" fmla="*/ 117 w 145"/>
                <a:gd name="T111" fmla="*/ 72 h 140"/>
                <a:gd name="T112" fmla="*/ 122 w 145"/>
                <a:gd name="T113" fmla="*/ 64 h 140"/>
                <a:gd name="T114" fmla="*/ 127 w 145"/>
                <a:gd name="T115" fmla="*/ 62 h 140"/>
                <a:gd name="T116" fmla="*/ 131 w 145"/>
                <a:gd name="T117" fmla="*/ 60 h 140"/>
                <a:gd name="T118" fmla="*/ 138 w 145"/>
                <a:gd name="T119" fmla="*/ 55 h 140"/>
                <a:gd name="T120" fmla="*/ 143 w 145"/>
                <a:gd name="T121" fmla="*/ 47 h 140"/>
                <a:gd name="T122" fmla="*/ 62 w 145"/>
                <a:gd name="T123" fmla="*/ 11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5" h="140">
                  <a:moveTo>
                    <a:pt x="143" y="41"/>
                  </a:moveTo>
                  <a:cubicBezTo>
                    <a:pt x="141" y="41"/>
                    <a:pt x="141" y="41"/>
                    <a:pt x="140" y="41"/>
                  </a:cubicBezTo>
                  <a:cubicBezTo>
                    <a:pt x="139" y="42"/>
                    <a:pt x="139" y="42"/>
                    <a:pt x="138" y="42"/>
                  </a:cubicBezTo>
                  <a:cubicBezTo>
                    <a:pt x="138" y="42"/>
                    <a:pt x="137" y="42"/>
                    <a:pt x="137" y="42"/>
                  </a:cubicBezTo>
                  <a:cubicBezTo>
                    <a:pt x="136" y="43"/>
                    <a:pt x="135" y="43"/>
                    <a:pt x="135" y="44"/>
                  </a:cubicBezTo>
                  <a:cubicBezTo>
                    <a:pt x="135" y="44"/>
                    <a:pt x="135" y="44"/>
                    <a:pt x="135" y="44"/>
                  </a:cubicBezTo>
                  <a:cubicBezTo>
                    <a:pt x="134" y="45"/>
                    <a:pt x="134" y="45"/>
                    <a:pt x="133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6"/>
                    <a:pt x="132" y="46"/>
                    <a:pt x="131" y="46"/>
                  </a:cubicBezTo>
                  <a:cubicBezTo>
                    <a:pt x="131" y="46"/>
                    <a:pt x="131" y="45"/>
                    <a:pt x="131" y="44"/>
                  </a:cubicBezTo>
                  <a:cubicBezTo>
                    <a:pt x="131" y="44"/>
                    <a:pt x="131" y="44"/>
                    <a:pt x="131" y="43"/>
                  </a:cubicBezTo>
                  <a:cubicBezTo>
                    <a:pt x="130" y="42"/>
                    <a:pt x="129" y="42"/>
                    <a:pt x="129" y="41"/>
                  </a:cubicBezTo>
                  <a:cubicBezTo>
                    <a:pt x="128" y="40"/>
                    <a:pt x="128" y="40"/>
                    <a:pt x="128" y="39"/>
                  </a:cubicBezTo>
                  <a:cubicBezTo>
                    <a:pt x="128" y="39"/>
                    <a:pt x="129" y="39"/>
                    <a:pt x="129" y="38"/>
                  </a:cubicBezTo>
                  <a:cubicBezTo>
                    <a:pt x="130" y="36"/>
                    <a:pt x="131" y="34"/>
                    <a:pt x="131" y="32"/>
                  </a:cubicBezTo>
                  <a:cubicBezTo>
                    <a:pt x="131" y="31"/>
                    <a:pt x="130" y="29"/>
                    <a:pt x="129" y="28"/>
                  </a:cubicBezTo>
                  <a:cubicBezTo>
                    <a:pt x="129" y="28"/>
                    <a:pt x="128" y="28"/>
                    <a:pt x="128" y="28"/>
                  </a:cubicBezTo>
                  <a:cubicBezTo>
                    <a:pt x="127" y="28"/>
                    <a:pt x="127" y="28"/>
                    <a:pt x="126" y="29"/>
                  </a:cubicBezTo>
                  <a:cubicBezTo>
                    <a:pt x="126" y="30"/>
                    <a:pt x="126" y="31"/>
                    <a:pt x="125" y="32"/>
                  </a:cubicBezTo>
                  <a:cubicBezTo>
                    <a:pt x="125" y="32"/>
                    <a:pt x="125" y="33"/>
                    <a:pt x="125" y="33"/>
                  </a:cubicBezTo>
                  <a:cubicBezTo>
                    <a:pt x="125" y="32"/>
                    <a:pt x="125" y="32"/>
                    <a:pt x="124" y="31"/>
                  </a:cubicBezTo>
                  <a:cubicBezTo>
                    <a:pt x="125" y="31"/>
                    <a:pt x="125" y="30"/>
                    <a:pt x="125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5" y="28"/>
                    <a:pt x="125" y="28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6" y="27"/>
                    <a:pt x="127" y="27"/>
                    <a:pt x="127" y="26"/>
                  </a:cubicBezTo>
                  <a:cubicBezTo>
                    <a:pt x="128" y="25"/>
                    <a:pt x="127" y="24"/>
                    <a:pt x="127" y="24"/>
                  </a:cubicBezTo>
                  <a:cubicBezTo>
                    <a:pt x="127" y="23"/>
                    <a:pt x="126" y="23"/>
                    <a:pt x="126" y="23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2"/>
                    <a:pt x="126" y="21"/>
                    <a:pt x="126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7" y="20"/>
                    <a:pt x="127" y="20"/>
                    <a:pt x="128" y="20"/>
                  </a:cubicBezTo>
                  <a:cubicBezTo>
                    <a:pt x="129" y="18"/>
                    <a:pt x="129" y="16"/>
                    <a:pt x="129" y="14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9" y="13"/>
                    <a:pt x="129" y="12"/>
                    <a:pt x="129" y="12"/>
                  </a:cubicBezTo>
                  <a:cubicBezTo>
                    <a:pt x="129" y="10"/>
                    <a:pt x="128" y="10"/>
                    <a:pt x="127" y="10"/>
                  </a:cubicBezTo>
                  <a:cubicBezTo>
                    <a:pt x="126" y="9"/>
                    <a:pt x="126" y="9"/>
                    <a:pt x="126" y="9"/>
                  </a:cubicBezTo>
                  <a:cubicBezTo>
                    <a:pt x="126" y="9"/>
                    <a:pt x="126" y="9"/>
                    <a:pt x="126" y="9"/>
                  </a:cubicBezTo>
                  <a:cubicBezTo>
                    <a:pt x="126" y="9"/>
                    <a:pt x="125" y="9"/>
                    <a:pt x="125" y="9"/>
                  </a:cubicBezTo>
                  <a:cubicBezTo>
                    <a:pt x="125" y="9"/>
                    <a:pt x="125" y="8"/>
                    <a:pt x="125" y="8"/>
                  </a:cubicBezTo>
                  <a:cubicBezTo>
                    <a:pt x="125" y="7"/>
                    <a:pt x="124" y="6"/>
                    <a:pt x="123" y="6"/>
                  </a:cubicBezTo>
                  <a:cubicBezTo>
                    <a:pt x="123" y="6"/>
                    <a:pt x="123" y="5"/>
                    <a:pt x="123" y="5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4" y="4"/>
                    <a:pt x="125" y="3"/>
                    <a:pt x="124" y="2"/>
                  </a:cubicBezTo>
                  <a:cubicBezTo>
                    <a:pt x="124" y="1"/>
                    <a:pt x="123" y="0"/>
                    <a:pt x="122" y="0"/>
                  </a:cubicBezTo>
                  <a:cubicBezTo>
                    <a:pt x="122" y="0"/>
                    <a:pt x="121" y="0"/>
                    <a:pt x="121" y="1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21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19" y="0"/>
                    <a:pt x="119" y="1"/>
                    <a:pt x="118" y="1"/>
                  </a:cubicBezTo>
                  <a:cubicBezTo>
                    <a:pt x="117" y="2"/>
                    <a:pt x="118" y="4"/>
                    <a:pt x="118" y="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9" y="6"/>
                    <a:pt x="119" y="7"/>
                    <a:pt x="119" y="8"/>
                  </a:cubicBezTo>
                  <a:cubicBezTo>
                    <a:pt x="119" y="8"/>
                    <a:pt x="119" y="8"/>
                    <a:pt x="119" y="9"/>
                  </a:cubicBezTo>
                  <a:cubicBezTo>
                    <a:pt x="118" y="9"/>
                    <a:pt x="118" y="9"/>
                    <a:pt x="118" y="10"/>
                  </a:cubicBezTo>
                  <a:cubicBezTo>
                    <a:pt x="117" y="10"/>
                    <a:pt x="116" y="13"/>
                    <a:pt x="118" y="15"/>
                  </a:cubicBezTo>
                  <a:cubicBezTo>
                    <a:pt x="118" y="15"/>
                    <a:pt x="118" y="15"/>
                    <a:pt x="119" y="15"/>
                  </a:cubicBezTo>
                  <a:cubicBezTo>
                    <a:pt x="119" y="15"/>
                    <a:pt x="119" y="15"/>
                    <a:pt x="119" y="15"/>
                  </a:cubicBezTo>
                  <a:cubicBezTo>
                    <a:pt x="119" y="16"/>
                    <a:pt x="118" y="17"/>
                    <a:pt x="118" y="18"/>
                  </a:cubicBezTo>
                  <a:cubicBezTo>
                    <a:pt x="118" y="19"/>
                    <a:pt x="118" y="20"/>
                    <a:pt x="118" y="21"/>
                  </a:cubicBezTo>
                  <a:cubicBezTo>
                    <a:pt x="118" y="21"/>
                    <a:pt x="118" y="22"/>
                    <a:pt x="118" y="22"/>
                  </a:cubicBezTo>
                  <a:cubicBezTo>
                    <a:pt x="119" y="22"/>
                    <a:pt x="118" y="22"/>
                    <a:pt x="118" y="22"/>
                  </a:cubicBezTo>
                  <a:cubicBezTo>
                    <a:pt x="118" y="23"/>
                    <a:pt x="118" y="24"/>
                    <a:pt x="119" y="25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19" y="26"/>
                    <a:pt x="119" y="27"/>
                    <a:pt x="119" y="27"/>
                  </a:cubicBezTo>
                  <a:cubicBezTo>
                    <a:pt x="118" y="28"/>
                    <a:pt x="118" y="29"/>
                    <a:pt x="118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31"/>
                    <a:pt x="118" y="32"/>
                    <a:pt x="118" y="33"/>
                  </a:cubicBezTo>
                  <a:cubicBezTo>
                    <a:pt x="118" y="33"/>
                    <a:pt x="117" y="33"/>
                    <a:pt x="117" y="34"/>
                  </a:cubicBezTo>
                  <a:cubicBezTo>
                    <a:pt x="116" y="35"/>
                    <a:pt x="117" y="36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6" y="38"/>
                    <a:pt x="116" y="38"/>
                    <a:pt x="115" y="39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1"/>
                    <a:pt x="114" y="41"/>
                    <a:pt x="114" y="42"/>
                  </a:cubicBezTo>
                  <a:cubicBezTo>
                    <a:pt x="113" y="42"/>
                    <a:pt x="112" y="43"/>
                    <a:pt x="113" y="45"/>
                  </a:cubicBezTo>
                  <a:cubicBezTo>
                    <a:pt x="112" y="45"/>
                    <a:pt x="112" y="45"/>
                    <a:pt x="111" y="45"/>
                  </a:cubicBezTo>
                  <a:cubicBezTo>
                    <a:pt x="110" y="46"/>
                    <a:pt x="110" y="47"/>
                    <a:pt x="109" y="48"/>
                  </a:cubicBezTo>
                  <a:cubicBezTo>
                    <a:pt x="109" y="49"/>
                    <a:pt x="109" y="49"/>
                    <a:pt x="109" y="50"/>
                  </a:cubicBezTo>
                  <a:cubicBezTo>
                    <a:pt x="108" y="50"/>
                    <a:pt x="108" y="50"/>
                    <a:pt x="108" y="51"/>
                  </a:cubicBezTo>
                  <a:cubicBezTo>
                    <a:pt x="107" y="51"/>
                    <a:pt x="107" y="52"/>
                    <a:pt x="107" y="52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5" y="54"/>
                    <a:pt x="104" y="54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2" y="55"/>
                    <a:pt x="101" y="55"/>
                    <a:pt x="99" y="56"/>
                  </a:cubicBezTo>
                  <a:cubicBezTo>
                    <a:pt x="97" y="57"/>
                    <a:pt x="97" y="60"/>
                    <a:pt x="97" y="62"/>
                  </a:cubicBezTo>
                  <a:cubicBezTo>
                    <a:pt x="98" y="63"/>
                    <a:pt x="99" y="64"/>
                    <a:pt x="99" y="64"/>
                  </a:cubicBezTo>
                  <a:cubicBezTo>
                    <a:pt x="100" y="64"/>
                    <a:pt x="100" y="64"/>
                    <a:pt x="100" y="65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0" y="67"/>
                    <a:pt x="101" y="67"/>
                    <a:pt x="102" y="68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2" y="68"/>
                    <a:pt x="102" y="69"/>
                    <a:pt x="102" y="69"/>
                  </a:cubicBezTo>
                  <a:cubicBezTo>
                    <a:pt x="102" y="70"/>
                    <a:pt x="101" y="72"/>
                    <a:pt x="100" y="73"/>
                  </a:cubicBezTo>
                  <a:cubicBezTo>
                    <a:pt x="100" y="73"/>
                    <a:pt x="100" y="73"/>
                    <a:pt x="100" y="74"/>
                  </a:cubicBezTo>
                  <a:cubicBezTo>
                    <a:pt x="99" y="74"/>
                    <a:pt x="99" y="74"/>
                    <a:pt x="98" y="75"/>
                  </a:cubicBezTo>
                  <a:cubicBezTo>
                    <a:pt x="98" y="75"/>
                    <a:pt x="97" y="76"/>
                    <a:pt x="97" y="76"/>
                  </a:cubicBezTo>
                  <a:cubicBezTo>
                    <a:pt x="97" y="76"/>
                    <a:pt x="97" y="77"/>
                    <a:pt x="96" y="77"/>
                  </a:cubicBezTo>
                  <a:cubicBezTo>
                    <a:pt x="96" y="78"/>
                    <a:pt x="95" y="78"/>
                    <a:pt x="94" y="79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2" y="80"/>
                    <a:pt x="91" y="81"/>
                    <a:pt x="90" y="82"/>
                  </a:cubicBezTo>
                  <a:cubicBezTo>
                    <a:pt x="90" y="82"/>
                    <a:pt x="90" y="82"/>
                    <a:pt x="89" y="82"/>
                  </a:cubicBezTo>
                  <a:cubicBezTo>
                    <a:pt x="89" y="82"/>
                    <a:pt x="89" y="82"/>
                    <a:pt x="89" y="81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1"/>
                    <a:pt x="91" y="81"/>
                    <a:pt x="92" y="79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1" y="77"/>
                    <a:pt x="91" y="77"/>
                    <a:pt x="90" y="77"/>
                  </a:cubicBezTo>
                  <a:cubicBezTo>
                    <a:pt x="90" y="77"/>
                    <a:pt x="89" y="77"/>
                    <a:pt x="88" y="77"/>
                  </a:cubicBezTo>
                  <a:cubicBezTo>
                    <a:pt x="88" y="77"/>
                    <a:pt x="87" y="77"/>
                    <a:pt x="87" y="77"/>
                  </a:cubicBezTo>
                  <a:cubicBezTo>
                    <a:pt x="86" y="77"/>
                    <a:pt x="86" y="77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4" y="78"/>
                    <a:pt x="84" y="78"/>
                  </a:cubicBezTo>
                  <a:cubicBezTo>
                    <a:pt x="84" y="78"/>
                    <a:pt x="84" y="78"/>
                    <a:pt x="83" y="79"/>
                  </a:cubicBezTo>
                  <a:cubicBezTo>
                    <a:pt x="83" y="79"/>
                    <a:pt x="83" y="78"/>
                    <a:pt x="83" y="78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4" y="78"/>
                    <a:pt x="84" y="78"/>
                  </a:cubicBezTo>
                  <a:cubicBezTo>
                    <a:pt x="84" y="78"/>
                    <a:pt x="84" y="77"/>
                    <a:pt x="85" y="77"/>
                  </a:cubicBezTo>
                  <a:cubicBezTo>
                    <a:pt x="85" y="77"/>
                    <a:pt x="86" y="76"/>
                    <a:pt x="85" y="75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74"/>
                    <a:pt x="86" y="73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4" y="70"/>
                    <a:pt x="81" y="71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7" y="73"/>
                    <a:pt x="76" y="74"/>
                    <a:pt x="75" y="75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7"/>
                    <a:pt x="73" y="77"/>
                    <a:pt x="73" y="78"/>
                  </a:cubicBezTo>
                  <a:cubicBezTo>
                    <a:pt x="72" y="78"/>
                    <a:pt x="72" y="79"/>
                    <a:pt x="71" y="80"/>
                  </a:cubicBezTo>
                  <a:cubicBezTo>
                    <a:pt x="70" y="81"/>
                    <a:pt x="70" y="81"/>
                    <a:pt x="70" y="81"/>
                  </a:cubicBezTo>
                  <a:cubicBezTo>
                    <a:pt x="69" y="82"/>
                    <a:pt x="69" y="82"/>
                    <a:pt x="68" y="82"/>
                  </a:cubicBezTo>
                  <a:cubicBezTo>
                    <a:pt x="67" y="82"/>
                    <a:pt x="67" y="82"/>
                    <a:pt x="66" y="83"/>
                  </a:cubicBezTo>
                  <a:cubicBezTo>
                    <a:pt x="65" y="83"/>
                    <a:pt x="64" y="84"/>
                    <a:pt x="63" y="85"/>
                  </a:cubicBezTo>
                  <a:cubicBezTo>
                    <a:pt x="63" y="86"/>
                    <a:pt x="62" y="87"/>
                    <a:pt x="61" y="87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0" y="89"/>
                    <a:pt x="60" y="89"/>
                    <a:pt x="59" y="90"/>
                  </a:cubicBezTo>
                  <a:cubicBezTo>
                    <a:pt x="59" y="90"/>
                    <a:pt x="58" y="91"/>
                    <a:pt x="58" y="91"/>
                  </a:cubicBezTo>
                  <a:cubicBezTo>
                    <a:pt x="57" y="92"/>
                    <a:pt x="57" y="92"/>
                    <a:pt x="57" y="93"/>
                  </a:cubicBezTo>
                  <a:cubicBezTo>
                    <a:pt x="56" y="93"/>
                    <a:pt x="56" y="94"/>
                    <a:pt x="55" y="94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3" y="95"/>
                    <a:pt x="52" y="96"/>
                    <a:pt x="5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7"/>
                    <a:pt x="46" y="97"/>
                    <a:pt x="46" y="99"/>
                  </a:cubicBezTo>
                  <a:cubicBezTo>
                    <a:pt x="46" y="99"/>
                    <a:pt x="47" y="100"/>
                    <a:pt x="47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4" y="100"/>
                    <a:pt x="42" y="100"/>
                    <a:pt x="41" y="101"/>
                  </a:cubicBezTo>
                  <a:cubicBezTo>
                    <a:pt x="40" y="102"/>
                    <a:pt x="39" y="103"/>
                    <a:pt x="37" y="103"/>
                  </a:cubicBezTo>
                  <a:cubicBezTo>
                    <a:pt x="37" y="104"/>
                    <a:pt x="36" y="104"/>
                    <a:pt x="36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4"/>
                    <a:pt x="34" y="105"/>
                    <a:pt x="33" y="105"/>
                  </a:cubicBezTo>
                  <a:cubicBezTo>
                    <a:pt x="33" y="105"/>
                    <a:pt x="32" y="105"/>
                    <a:pt x="31" y="105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0" y="105"/>
                    <a:pt x="30" y="105"/>
                    <a:pt x="29" y="106"/>
                  </a:cubicBezTo>
                  <a:cubicBezTo>
                    <a:pt x="28" y="106"/>
                    <a:pt x="28" y="106"/>
                    <a:pt x="27" y="107"/>
                  </a:cubicBezTo>
                  <a:cubicBezTo>
                    <a:pt x="27" y="107"/>
                    <a:pt x="27" y="107"/>
                    <a:pt x="26" y="10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5" y="108"/>
                    <a:pt x="24" y="108"/>
                    <a:pt x="23" y="109"/>
                  </a:cubicBezTo>
                  <a:cubicBezTo>
                    <a:pt x="23" y="109"/>
                    <a:pt x="23" y="110"/>
                    <a:pt x="23" y="110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2" y="111"/>
                    <a:pt x="22" y="111"/>
                  </a:cubicBezTo>
                  <a:cubicBezTo>
                    <a:pt x="22" y="111"/>
                    <a:pt x="20" y="111"/>
                    <a:pt x="20" y="113"/>
                  </a:cubicBezTo>
                  <a:cubicBezTo>
                    <a:pt x="19" y="113"/>
                    <a:pt x="18" y="113"/>
                    <a:pt x="18" y="113"/>
                  </a:cubicBezTo>
                  <a:cubicBezTo>
                    <a:pt x="17" y="113"/>
                    <a:pt x="17" y="114"/>
                    <a:pt x="17" y="114"/>
                  </a:cubicBezTo>
                  <a:cubicBezTo>
                    <a:pt x="17" y="114"/>
                    <a:pt x="16" y="114"/>
                    <a:pt x="15" y="114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4" y="115"/>
                    <a:pt x="14" y="115"/>
                  </a:cubicBezTo>
                  <a:cubicBezTo>
                    <a:pt x="13" y="115"/>
                    <a:pt x="13" y="115"/>
                    <a:pt x="12" y="116"/>
                  </a:cubicBezTo>
                  <a:cubicBezTo>
                    <a:pt x="12" y="116"/>
                    <a:pt x="12" y="117"/>
                    <a:pt x="12" y="117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0" y="119"/>
                    <a:pt x="9" y="120"/>
                    <a:pt x="9" y="121"/>
                  </a:cubicBezTo>
                  <a:cubicBezTo>
                    <a:pt x="8" y="120"/>
                    <a:pt x="8" y="120"/>
                    <a:pt x="6" y="120"/>
                  </a:cubicBezTo>
                  <a:cubicBezTo>
                    <a:pt x="5" y="121"/>
                    <a:pt x="5" y="122"/>
                    <a:pt x="5" y="123"/>
                  </a:cubicBezTo>
                  <a:cubicBezTo>
                    <a:pt x="5" y="123"/>
                    <a:pt x="5" y="124"/>
                    <a:pt x="5" y="124"/>
                  </a:cubicBezTo>
                  <a:cubicBezTo>
                    <a:pt x="4" y="124"/>
                    <a:pt x="4" y="125"/>
                    <a:pt x="4" y="125"/>
                  </a:cubicBezTo>
                  <a:cubicBezTo>
                    <a:pt x="4" y="125"/>
                    <a:pt x="3" y="125"/>
                    <a:pt x="3" y="125"/>
                  </a:cubicBezTo>
                  <a:cubicBezTo>
                    <a:pt x="3" y="125"/>
                    <a:pt x="3" y="125"/>
                    <a:pt x="3" y="125"/>
                  </a:cubicBezTo>
                  <a:cubicBezTo>
                    <a:pt x="2" y="125"/>
                    <a:pt x="1" y="126"/>
                    <a:pt x="1" y="126"/>
                  </a:cubicBezTo>
                  <a:cubicBezTo>
                    <a:pt x="0" y="127"/>
                    <a:pt x="0" y="128"/>
                    <a:pt x="0" y="128"/>
                  </a:cubicBezTo>
                  <a:cubicBezTo>
                    <a:pt x="0" y="129"/>
                    <a:pt x="1" y="129"/>
                    <a:pt x="2" y="129"/>
                  </a:cubicBezTo>
                  <a:cubicBezTo>
                    <a:pt x="1" y="129"/>
                    <a:pt x="1" y="130"/>
                    <a:pt x="0" y="130"/>
                  </a:cubicBezTo>
                  <a:cubicBezTo>
                    <a:pt x="0" y="131"/>
                    <a:pt x="0" y="132"/>
                    <a:pt x="0" y="133"/>
                  </a:cubicBezTo>
                  <a:cubicBezTo>
                    <a:pt x="1" y="133"/>
                    <a:pt x="1" y="134"/>
                    <a:pt x="3" y="133"/>
                  </a:cubicBezTo>
                  <a:cubicBezTo>
                    <a:pt x="3" y="133"/>
                    <a:pt x="4" y="133"/>
                    <a:pt x="4" y="133"/>
                  </a:cubicBezTo>
                  <a:cubicBezTo>
                    <a:pt x="4" y="133"/>
                    <a:pt x="5" y="133"/>
                    <a:pt x="6" y="133"/>
                  </a:cubicBezTo>
                  <a:cubicBezTo>
                    <a:pt x="6" y="134"/>
                    <a:pt x="7" y="135"/>
                    <a:pt x="8" y="135"/>
                  </a:cubicBezTo>
                  <a:cubicBezTo>
                    <a:pt x="7" y="136"/>
                    <a:pt x="7" y="137"/>
                    <a:pt x="7" y="138"/>
                  </a:cubicBezTo>
                  <a:cubicBezTo>
                    <a:pt x="8" y="139"/>
                    <a:pt x="9" y="139"/>
                    <a:pt x="11" y="139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3" y="140"/>
                    <a:pt x="14" y="140"/>
                    <a:pt x="15" y="140"/>
                  </a:cubicBezTo>
                  <a:cubicBezTo>
                    <a:pt x="15" y="140"/>
                    <a:pt x="15" y="140"/>
                    <a:pt x="15" y="140"/>
                  </a:cubicBezTo>
                  <a:cubicBezTo>
                    <a:pt x="17" y="140"/>
                    <a:pt x="19" y="139"/>
                    <a:pt x="21" y="139"/>
                  </a:cubicBezTo>
                  <a:cubicBezTo>
                    <a:pt x="21" y="138"/>
                    <a:pt x="22" y="138"/>
                    <a:pt x="22" y="138"/>
                  </a:cubicBezTo>
                  <a:cubicBezTo>
                    <a:pt x="23" y="138"/>
                    <a:pt x="23" y="138"/>
                    <a:pt x="24" y="138"/>
                  </a:cubicBezTo>
                  <a:cubicBezTo>
                    <a:pt x="24" y="137"/>
                    <a:pt x="24" y="137"/>
                    <a:pt x="24" y="137"/>
                  </a:cubicBezTo>
                  <a:cubicBezTo>
                    <a:pt x="25" y="137"/>
                    <a:pt x="26" y="137"/>
                    <a:pt x="27" y="136"/>
                  </a:cubicBezTo>
                  <a:cubicBezTo>
                    <a:pt x="28" y="136"/>
                    <a:pt x="28" y="135"/>
                    <a:pt x="29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29" y="134"/>
                    <a:pt x="29" y="134"/>
                    <a:pt x="30" y="134"/>
                  </a:cubicBezTo>
                  <a:cubicBezTo>
                    <a:pt x="31" y="134"/>
                    <a:pt x="33" y="133"/>
                    <a:pt x="33" y="131"/>
                  </a:cubicBezTo>
                  <a:cubicBezTo>
                    <a:pt x="33" y="131"/>
                    <a:pt x="33" y="131"/>
                    <a:pt x="33" y="13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35" y="130"/>
                    <a:pt x="36" y="129"/>
                    <a:pt x="36" y="128"/>
                  </a:cubicBezTo>
                  <a:cubicBezTo>
                    <a:pt x="37" y="128"/>
                    <a:pt x="37" y="128"/>
                    <a:pt x="37" y="127"/>
                  </a:cubicBezTo>
                  <a:cubicBezTo>
                    <a:pt x="38" y="127"/>
                    <a:pt x="39" y="126"/>
                    <a:pt x="39" y="125"/>
                  </a:cubicBezTo>
                  <a:cubicBezTo>
                    <a:pt x="40" y="124"/>
                    <a:pt x="40" y="124"/>
                    <a:pt x="41" y="123"/>
                  </a:cubicBezTo>
                  <a:cubicBezTo>
                    <a:pt x="42" y="123"/>
                    <a:pt x="43" y="122"/>
                    <a:pt x="44" y="121"/>
                  </a:cubicBezTo>
                  <a:cubicBezTo>
                    <a:pt x="44" y="120"/>
                    <a:pt x="45" y="120"/>
                    <a:pt x="45" y="119"/>
                  </a:cubicBezTo>
                  <a:cubicBezTo>
                    <a:pt x="46" y="118"/>
                    <a:pt x="47" y="117"/>
                    <a:pt x="48" y="116"/>
                  </a:cubicBezTo>
                  <a:cubicBezTo>
                    <a:pt x="48" y="115"/>
                    <a:pt x="49" y="114"/>
                    <a:pt x="50" y="114"/>
                  </a:cubicBezTo>
                  <a:cubicBezTo>
                    <a:pt x="50" y="113"/>
                    <a:pt x="50" y="113"/>
                    <a:pt x="51" y="113"/>
                  </a:cubicBezTo>
                  <a:cubicBezTo>
                    <a:pt x="51" y="113"/>
                    <a:pt x="52" y="113"/>
                    <a:pt x="52" y="113"/>
                  </a:cubicBezTo>
                  <a:cubicBezTo>
                    <a:pt x="53" y="113"/>
                    <a:pt x="53" y="113"/>
                    <a:pt x="54" y="112"/>
                  </a:cubicBezTo>
                  <a:cubicBezTo>
                    <a:pt x="54" y="112"/>
                    <a:pt x="54" y="112"/>
                    <a:pt x="55" y="112"/>
                  </a:cubicBezTo>
                  <a:cubicBezTo>
                    <a:pt x="55" y="112"/>
                    <a:pt x="55" y="111"/>
                    <a:pt x="56" y="111"/>
                  </a:cubicBezTo>
                  <a:cubicBezTo>
                    <a:pt x="56" y="111"/>
                    <a:pt x="56" y="111"/>
                    <a:pt x="5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11"/>
                    <a:pt x="58" y="110"/>
                    <a:pt x="58" y="110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59" y="112"/>
                    <a:pt x="60" y="112"/>
                    <a:pt x="61" y="112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3" y="112"/>
                    <a:pt x="63" y="112"/>
                    <a:pt x="63" y="111"/>
                  </a:cubicBezTo>
                  <a:cubicBezTo>
                    <a:pt x="65" y="111"/>
                    <a:pt x="65" y="110"/>
                    <a:pt x="65" y="109"/>
                  </a:cubicBezTo>
                  <a:cubicBezTo>
                    <a:pt x="65" y="108"/>
                    <a:pt x="65" y="108"/>
                    <a:pt x="65" y="107"/>
                  </a:cubicBezTo>
                  <a:cubicBezTo>
                    <a:pt x="65" y="106"/>
                    <a:pt x="65" y="105"/>
                    <a:pt x="66" y="105"/>
                  </a:cubicBezTo>
                  <a:cubicBezTo>
                    <a:pt x="66" y="104"/>
                    <a:pt x="67" y="103"/>
                    <a:pt x="68" y="103"/>
                  </a:cubicBezTo>
                  <a:cubicBezTo>
                    <a:pt x="69" y="102"/>
                    <a:pt x="70" y="102"/>
                    <a:pt x="70" y="102"/>
                  </a:cubicBezTo>
                  <a:cubicBezTo>
                    <a:pt x="71" y="102"/>
                    <a:pt x="73" y="101"/>
                    <a:pt x="74" y="100"/>
                  </a:cubicBezTo>
                  <a:cubicBezTo>
                    <a:pt x="74" y="100"/>
                    <a:pt x="75" y="100"/>
                    <a:pt x="75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6" y="99"/>
                    <a:pt x="77" y="98"/>
                  </a:cubicBezTo>
                  <a:cubicBezTo>
                    <a:pt x="77" y="97"/>
                    <a:pt x="77" y="97"/>
                    <a:pt x="77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6"/>
                    <a:pt x="77" y="96"/>
                    <a:pt x="78" y="96"/>
                  </a:cubicBezTo>
                  <a:cubicBezTo>
                    <a:pt x="78" y="96"/>
                    <a:pt x="79" y="96"/>
                    <a:pt x="79" y="96"/>
                  </a:cubicBezTo>
                  <a:cubicBezTo>
                    <a:pt x="81" y="95"/>
                    <a:pt x="81" y="93"/>
                    <a:pt x="80" y="93"/>
                  </a:cubicBezTo>
                  <a:cubicBezTo>
                    <a:pt x="80" y="93"/>
                    <a:pt x="81" y="92"/>
                    <a:pt x="82" y="92"/>
                  </a:cubicBezTo>
                  <a:cubicBezTo>
                    <a:pt x="82" y="92"/>
                    <a:pt x="82" y="92"/>
                    <a:pt x="83" y="92"/>
                  </a:cubicBezTo>
                  <a:cubicBezTo>
                    <a:pt x="83" y="92"/>
                    <a:pt x="84" y="91"/>
                    <a:pt x="84" y="91"/>
                  </a:cubicBezTo>
                  <a:cubicBezTo>
                    <a:pt x="84" y="91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5" y="90"/>
                    <a:pt x="86" y="90"/>
                    <a:pt x="86" y="89"/>
                  </a:cubicBezTo>
                  <a:cubicBezTo>
                    <a:pt x="86" y="89"/>
                    <a:pt x="87" y="89"/>
                    <a:pt x="87" y="89"/>
                  </a:cubicBezTo>
                  <a:cubicBezTo>
                    <a:pt x="89" y="88"/>
                    <a:pt x="88" y="87"/>
                    <a:pt x="88" y="86"/>
                  </a:cubicBezTo>
                  <a:cubicBezTo>
                    <a:pt x="88" y="86"/>
                    <a:pt x="88" y="86"/>
                    <a:pt x="88" y="86"/>
                  </a:cubicBezTo>
                  <a:cubicBezTo>
                    <a:pt x="88" y="86"/>
                    <a:pt x="88" y="86"/>
                    <a:pt x="89" y="86"/>
                  </a:cubicBezTo>
                  <a:cubicBezTo>
                    <a:pt x="89" y="85"/>
                    <a:pt x="90" y="85"/>
                    <a:pt x="90" y="84"/>
                  </a:cubicBezTo>
                  <a:cubicBezTo>
                    <a:pt x="91" y="85"/>
                    <a:pt x="92" y="85"/>
                    <a:pt x="93" y="85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93" y="86"/>
                    <a:pt x="93" y="86"/>
                    <a:pt x="93" y="8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96" y="88"/>
                    <a:pt x="96" y="88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9" y="87"/>
                    <a:pt x="99" y="87"/>
                    <a:pt x="100" y="86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6"/>
                    <a:pt x="100" y="86"/>
                    <a:pt x="100" y="86"/>
                  </a:cubicBezTo>
                  <a:cubicBezTo>
                    <a:pt x="101" y="86"/>
                    <a:pt x="101" y="85"/>
                    <a:pt x="101" y="85"/>
                  </a:cubicBezTo>
                  <a:cubicBezTo>
                    <a:pt x="102" y="85"/>
                    <a:pt x="102" y="85"/>
                    <a:pt x="103" y="85"/>
                  </a:cubicBezTo>
                  <a:cubicBezTo>
                    <a:pt x="104" y="84"/>
                    <a:pt x="105" y="83"/>
                    <a:pt x="105" y="82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06" y="82"/>
                    <a:pt x="106" y="81"/>
                    <a:pt x="107" y="80"/>
                  </a:cubicBezTo>
                  <a:cubicBezTo>
                    <a:pt x="107" y="80"/>
                    <a:pt x="107" y="80"/>
                    <a:pt x="107" y="80"/>
                  </a:cubicBezTo>
                  <a:cubicBezTo>
                    <a:pt x="107" y="80"/>
                    <a:pt x="108" y="80"/>
                    <a:pt x="108" y="79"/>
                  </a:cubicBezTo>
                  <a:cubicBezTo>
                    <a:pt x="108" y="79"/>
                    <a:pt x="109" y="78"/>
                    <a:pt x="109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7"/>
                    <a:pt x="111" y="77"/>
                    <a:pt x="112" y="76"/>
                  </a:cubicBezTo>
                  <a:cubicBezTo>
                    <a:pt x="112" y="76"/>
                    <a:pt x="112" y="76"/>
                    <a:pt x="113" y="76"/>
                  </a:cubicBezTo>
                  <a:cubicBezTo>
                    <a:pt x="113" y="76"/>
                    <a:pt x="114" y="75"/>
                    <a:pt x="114" y="75"/>
                  </a:cubicBezTo>
                  <a:cubicBezTo>
                    <a:pt x="116" y="74"/>
                    <a:pt x="116" y="73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1"/>
                    <a:pt x="117" y="70"/>
                    <a:pt x="118" y="7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20" y="69"/>
                    <a:pt x="122" y="68"/>
                    <a:pt x="122" y="66"/>
                  </a:cubicBezTo>
                  <a:cubicBezTo>
                    <a:pt x="122" y="66"/>
                    <a:pt x="122" y="65"/>
                    <a:pt x="122" y="64"/>
                  </a:cubicBezTo>
                  <a:cubicBezTo>
                    <a:pt x="122" y="64"/>
                    <a:pt x="122" y="64"/>
                    <a:pt x="122" y="63"/>
                  </a:cubicBezTo>
                  <a:cubicBezTo>
                    <a:pt x="122" y="63"/>
                    <a:pt x="123" y="63"/>
                    <a:pt x="124" y="62"/>
                  </a:cubicBezTo>
                  <a:cubicBezTo>
                    <a:pt x="124" y="62"/>
                    <a:pt x="124" y="62"/>
                    <a:pt x="125" y="62"/>
                  </a:cubicBezTo>
                  <a:cubicBezTo>
                    <a:pt x="125" y="62"/>
                    <a:pt x="125" y="62"/>
                    <a:pt x="126" y="62"/>
                  </a:cubicBezTo>
                  <a:cubicBezTo>
                    <a:pt x="126" y="62"/>
                    <a:pt x="126" y="62"/>
                    <a:pt x="127" y="62"/>
                  </a:cubicBezTo>
                  <a:cubicBezTo>
                    <a:pt x="127" y="62"/>
                    <a:pt x="127" y="63"/>
                    <a:pt x="128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9" y="63"/>
                    <a:pt x="130" y="62"/>
                    <a:pt x="130" y="62"/>
                  </a:cubicBezTo>
                  <a:cubicBezTo>
                    <a:pt x="131" y="61"/>
                    <a:pt x="131" y="61"/>
                    <a:pt x="131" y="60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8"/>
                    <a:pt x="133" y="58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4" y="58"/>
                    <a:pt x="134" y="58"/>
                    <a:pt x="134" y="58"/>
                  </a:cubicBezTo>
                  <a:cubicBezTo>
                    <a:pt x="135" y="57"/>
                    <a:pt x="137" y="56"/>
                    <a:pt x="138" y="55"/>
                  </a:cubicBezTo>
                  <a:cubicBezTo>
                    <a:pt x="140" y="54"/>
                    <a:pt x="140" y="53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50"/>
                    <a:pt x="141" y="50"/>
                    <a:pt x="141" y="50"/>
                  </a:cubicBezTo>
                  <a:cubicBezTo>
                    <a:pt x="142" y="49"/>
                    <a:pt x="142" y="48"/>
                    <a:pt x="143" y="47"/>
                  </a:cubicBezTo>
                  <a:cubicBezTo>
                    <a:pt x="143" y="47"/>
                    <a:pt x="143" y="47"/>
                    <a:pt x="143" y="47"/>
                  </a:cubicBezTo>
                  <a:cubicBezTo>
                    <a:pt x="144" y="47"/>
                    <a:pt x="145" y="46"/>
                    <a:pt x="145" y="44"/>
                  </a:cubicBezTo>
                  <a:cubicBezTo>
                    <a:pt x="145" y="43"/>
                    <a:pt x="143" y="42"/>
                    <a:pt x="143" y="41"/>
                  </a:cubicBezTo>
                  <a:close/>
                  <a:moveTo>
                    <a:pt x="62" y="112"/>
                  </a:moveTo>
                  <a:cubicBezTo>
                    <a:pt x="62" y="110"/>
                    <a:pt x="62" y="110"/>
                    <a:pt x="62" y="110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2" y="111"/>
                    <a:pt x="62" y="111"/>
                    <a:pt x="62" y="111"/>
                  </a:cubicBezTo>
                  <a:cubicBezTo>
                    <a:pt x="62" y="112"/>
                    <a:pt x="62" y="112"/>
                    <a:pt x="62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auto">
            <a:xfrm>
              <a:off x="5873" y="3551"/>
              <a:ext cx="17" cy="19"/>
            </a:xfrm>
            <a:custGeom>
              <a:avLst/>
              <a:gdLst>
                <a:gd name="T0" fmla="*/ 2 w 7"/>
                <a:gd name="T1" fmla="*/ 1 h 8"/>
                <a:gd name="T2" fmla="*/ 1 w 7"/>
                <a:gd name="T3" fmla="*/ 3 h 8"/>
                <a:gd name="T4" fmla="*/ 1 w 7"/>
                <a:gd name="T5" fmla="*/ 3 h 8"/>
                <a:gd name="T6" fmla="*/ 1 w 7"/>
                <a:gd name="T7" fmla="*/ 3 h 8"/>
                <a:gd name="T8" fmla="*/ 1 w 7"/>
                <a:gd name="T9" fmla="*/ 4 h 8"/>
                <a:gd name="T10" fmla="*/ 0 w 7"/>
                <a:gd name="T11" fmla="*/ 6 h 8"/>
                <a:gd name="T12" fmla="*/ 2 w 7"/>
                <a:gd name="T13" fmla="*/ 8 h 8"/>
                <a:gd name="T14" fmla="*/ 3 w 7"/>
                <a:gd name="T15" fmla="*/ 8 h 8"/>
                <a:gd name="T16" fmla="*/ 6 w 7"/>
                <a:gd name="T17" fmla="*/ 5 h 8"/>
                <a:gd name="T18" fmla="*/ 6 w 7"/>
                <a:gd name="T19" fmla="*/ 4 h 8"/>
                <a:gd name="T20" fmla="*/ 7 w 7"/>
                <a:gd name="T21" fmla="*/ 1 h 8"/>
                <a:gd name="T22" fmla="*/ 6 w 7"/>
                <a:gd name="T23" fmla="*/ 0 h 8"/>
                <a:gd name="T24" fmla="*/ 3 w 7"/>
                <a:gd name="T25" fmla="*/ 0 h 8"/>
                <a:gd name="T26" fmla="*/ 3 w 7"/>
                <a:gd name="T27" fmla="*/ 1 h 8"/>
                <a:gd name="T28" fmla="*/ 2 w 7"/>
                <a:gd name="T29" fmla="*/ 1 h 8"/>
                <a:gd name="T30" fmla="*/ 3 w 7"/>
                <a:gd name="T31" fmla="*/ 2 h 8"/>
                <a:gd name="T32" fmla="*/ 3 w 7"/>
                <a:gd name="T33" fmla="*/ 2 h 8"/>
                <a:gd name="T34" fmla="*/ 2 w 7"/>
                <a:gd name="T3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8">
                  <a:moveTo>
                    <a:pt x="2" y="1"/>
                  </a:move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auto">
            <a:xfrm>
              <a:off x="5864" y="3580"/>
              <a:ext cx="83" cy="90"/>
            </a:xfrm>
            <a:custGeom>
              <a:avLst/>
              <a:gdLst>
                <a:gd name="T0" fmla="*/ 31 w 35"/>
                <a:gd name="T1" fmla="*/ 3 h 38"/>
                <a:gd name="T2" fmla="*/ 29 w 35"/>
                <a:gd name="T3" fmla="*/ 4 h 38"/>
                <a:gd name="T4" fmla="*/ 26 w 35"/>
                <a:gd name="T5" fmla="*/ 5 h 38"/>
                <a:gd name="T6" fmla="*/ 25 w 35"/>
                <a:gd name="T7" fmla="*/ 6 h 38"/>
                <a:gd name="T8" fmla="*/ 21 w 35"/>
                <a:gd name="T9" fmla="*/ 6 h 38"/>
                <a:gd name="T10" fmla="*/ 19 w 35"/>
                <a:gd name="T11" fmla="*/ 6 h 38"/>
                <a:gd name="T12" fmla="*/ 17 w 35"/>
                <a:gd name="T13" fmla="*/ 6 h 38"/>
                <a:gd name="T14" fmla="*/ 15 w 35"/>
                <a:gd name="T15" fmla="*/ 4 h 38"/>
                <a:gd name="T16" fmla="*/ 11 w 35"/>
                <a:gd name="T17" fmla="*/ 1 h 38"/>
                <a:gd name="T18" fmla="*/ 8 w 35"/>
                <a:gd name="T19" fmla="*/ 0 h 38"/>
                <a:gd name="T20" fmla="*/ 5 w 35"/>
                <a:gd name="T21" fmla="*/ 3 h 38"/>
                <a:gd name="T22" fmla="*/ 4 w 35"/>
                <a:gd name="T23" fmla="*/ 6 h 38"/>
                <a:gd name="T24" fmla="*/ 3 w 35"/>
                <a:gd name="T25" fmla="*/ 9 h 38"/>
                <a:gd name="T26" fmla="*/ 3 w 35"/>
                <a:gd name="T27" fmla="*/ 14 h 38"/>
                <a:gd name="T28" fmla="*/ 2 w 35"/>
                <a:gd name="T29" fmla="*/ 18 h 38"/>
                <a:gd name="T30" fmla="*/ 3 w 35"/>
                <a:gd name="T31" fmla="*/ 21 h 38"/>
                <a:gd name="T32" fmla="*/ 1 w 35"/>
                <a:gd name="T33" fmla="*/ 23 h 38"/>
                <a:gd name="T34" fmla="*/ 1 w 35"/>
                <a:gd name="T35" fmla="*/ 31 h 38"/>
                <a:gd name="T36" fmla="*/ 2 w 35"/>
                <a:gd name="T37" fmla="*/ 32 h 38"/>
                <a:gd name="T38" fmla="*/ 1 w 35"/>
                <a:gd name="T39" fmla="*/ 35 h 38"/>
                <a:gd name="T40" fmla="*/ 4 w 35"/>
                <a:gd name="T41" fmla="*/ 36 h 38"/>
                <a:gd name="T42" fmla="*/ 5 w 35"/>
                <a:gd name="T43" fmla="*/ 36 h 38"/>
                <a:gd name="T44" fmla="*/ 5 w 35"/>
                <a:gd name="T45" fmla="*/ 37 h 38"/>
                <a:gd name="T46" fmla="*/ 6 w 35"/>
                <a:gd name="T47" fmla="*/ 36 h 38"/>
                <a:gd name="T48" fmla="*/ 6 w 35"/>
                <a:gd name="T49" fmla="*/ 38 h 38"/>
                <a:gd name="T50" fmla="*/ 10 w 35"/>
                <a:gd name="T51" fmla="*/ 35 h 38"/>
                <a:gd name="T52" fmla="*/ 14 w 35"/>
                <a:gd name="T53" fmla="*/ 32 h 38"/>
                <a:gd name="T54" fmla="*/ 15 w 35"/>
                <a:gd name="T55" fmla="*/ 33 h 38"/>
                <a:gd name="T56" fmla="*/ 20 w 35"/>
                <a:gd name="T57" fmla="*/ 29 h 38"/>
                <a:gd name="T58" fmla="*/ 21 w 35"/>
                <a:gd name="T59" fmla="*/ 28 h 38"/>
                <a:gd name="T60" fmla="*/ 23 w 35"/>
                <a:gd name="T61" fmla="*/ 25 h 38"/>
                <a:gd name="T62" fmla="*/ 24 w 35"/>
                <a:gd name="T63" fmla="*/ 22 h 38"/>
                <a:gd name="T64" fmla="*/ 25 w 35"/>
                <a:gd name="T65" fmla="*/ 21 h 38"/>
                <a:gd name="T66" fmla="*/ 26 w 35"/>
                <a:gd name="T67" fmla="*/ 24 h 38"/>
                <a:gd name="T68" fmla="*/ 29 w 35"/>
                <a:gd name="T69" fmla="*/ 20 h 38"/>
                <a:gd name="T70" fmla="*/ 29 w 35"/>
                <a:gd name="T71" fmla="*/ 19 h 38"/>
                <a:gd name="T72" fmla="*/ 30 w 35"/>
                <a:gd name="T73" fmla="*/ 17 h 38"/>
                <a:gd name="T74" fmla="*/ 31 w 35"/>
                <a:gd name="T75" fmla="*/ 15 h 38"/>
                <a:gd name="T76" fmla="*/ 32 w 35"/>
                <a:gd name="T77" fmla="*/ 12 h 38"/>
                <a:gd name="T78" fmla="*/ 33 w 35"/>
                <a:gd name="T79" fmla="*/ 11 h 38"/>
                <a:gd name="T80" fmla="*/ 34 w 35"/>
                <a:gd name="T81" fmla="*/ 9 h 38"/>
                <a:gd name="T82" fmla="*/ 32 w 35"/>
                <a:gd name="T83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" h="38">
                  <a:moveTo>
                    <a:pt x="32" y="4"/>
                  </a:moveTo>
                  <a:cubicBezTo>
                    <a:pt x="32" y="4"/>
                    <a:pt x="31" y="3"/>
                    <a:pt x="31" y="3"/>
                  </a:cubicBezTo>
                  <a:cubicBezTo>
                    <a:pt x="30" y="3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6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5"/>
                    <a:pt x="25" y="6"/>
                    <a:pt x="25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2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19" y="6"/>
                    <a:pt x="18" y="6"/>
                    <a:pt x="18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6" y="5"/>
                    <a:pt x="16" y="5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8"/>
                    <a:pt x="3" y="9"/>
                    <a:pt x="3" y="9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3" y="14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2" y="19"/>
                    <a:pt x="3" y="19"/>
                    <a:pt x="3" y="20"/>
                  </a:cubicBezTo>
                  <a:cubicBezTo>
                    <a:pt x="3" y="20"/>
                    <a:pt x="3" y="20"/>
                    <a:pt x="3" y="21"/>
                  </a:cubicBezTo>
                  <a:cubicBezTo>
                    <a:pt x="3" y="21"/>
                    <a:pt x="3" y="21"/>
                    <a:pt x="2" y="22"/>
                  </a:cubicBezTo>
                  <a:cubicBezTo>
                    <a:pt x="2" y="22"/>
                    <a:pt x="1" y="23"/>
                    <a:pt x="1" y="23"/>
                  </a:cubicBezTo>
                  <a:cubicBezTo>
                    <a:pt x="1" y="24"/>
                    <a:pt x="0" y="26"/>
                    <a:pt x="0" y="27"/>
                  </a:cubicBezTo>
                  <a:cubicBezTo>
                    <a:pt x="0" y="28"/>
                    <a:pt x="0" y="30"/>
                    <a:pt x="1" y="31"/>
                  </a:cubicBezTo>
                  <a:cubicBezTo>
                    <a:pt x="1" y="31"/>
                    <a:pt x="1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2" y="32"/>
                    <a:pt x="1" y="33"/>
                  </a:cubicBezTo>
                  <a:cubicBezTo>
                    <a:pt x="0" y="34"/>
                    <a:pt x="1" y="35"/>
                    <a:pt x="1" y="35"/>
                  </a:cubicBezTo>
                  <a:cubicBezTo>
                    <a:pt x="1" y="36"/>
                    <a:pt x="2" y="36"/>
                    <a:pt x="3" y="36"/>
                  </a:cubicBezTo>
                  <a:cubicBezTo>
                    <a:pt x="3" y="36"/>
                    <a:pt x="4" y="36"/>
                    <a:pt x="4" y="36"/>
                  </a:cubicBezTo>
                  <a:cubicBezTo>
                    <a:pt x="4" y="36"/>
                    <a:pt x="4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8" y="36"/>
                    <a:pt x="9" y="36"/>
                    <a:pt x="10" y="35"/>
                  </a:cubicBezTo>
                  <a:cubicBezTo>
                    <a:pt x="10" y="35"/>
                    <a:pt x="11" y="34"/>
                    <a:pt x="11" y="34"/>
                  </a:cubicBezTo>
                  <a:cubicBezTo>
                    <a:pt x="12" y="34"/>
                    <a:pt x="14" y="33"/>
                    <a:pt x="14" y="32"/>
                  </a:cubicBezTo>
                  <a:cubicBezTo>
                    <a:pt x="15" y="32"/>
                    <a:pt x="15" y="32"/>
                    <a:pt x="15" y="31"/>
                  </a:cubicBezTo>
                  <a:cubicBezTo>
                    <a:pt x="15" y="32"/>
                    <a:pt x="15" y="32"/>
                    <a:pt x="15" y="33"/>
                  </a:cubicBezTo>
                  <a:cubicBezTo>
                    <a:pt x="16" y="33"/>
                    <a:pt x="17" y="33"/>
                    <a:pt x="17" y="33"/>
                  </a:cubicBezTo>
                  <a:cubicBezTo>
                    <a:pt x="19" y="33"/>
                    <a:pt x="19" y="31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8"/>
                    <a:pt x="21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2" y="27"/>
                    <a:pt x="23" y="26"/>
                    <a:pt x="23" y="25"/>
                  </a:cubicBezTo>
                  <a:cubicBezTo>
                    <a:pt x="24" y="25"/>
                    <a:pt x="24" y="24"/>
                    <a:pt x="24" y="23"/>
                  </a:cubicBezTo>
                  <a:cubicBezTo>
                    <a:pt x="24" y="23"/>
                    <a:pt x="24" y="23"/>
                    <a:pt x="24" y="22"/>
                  </a:cubicBezTo>
                  <a:cubicBezTo>
                    <a:pt x="24" y="22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28" y="21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9"/>
                    <a:pt x="29" y="19"/>
                    <a:pt x="29" y="18"/>
                  </a:cubicBezTo>
                  <a:cubicBezTo>
                    <a:pt x="30" y="18"/>
                    <a:pt x="30" y="17"/>
                    <a:pt x="30" y="17"/>
                  </a:cubicBezTo>
                  <a:cubicBezTo>
                    <a:pt x="30" y="16"/>
                    <a:pt x="30" y="16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2" y="14"/>
                    <a:pt x="32" y="13"/>
                  </a:cubicBezTo>
                  <a:cubicBezTo>
                    <a:pt x="32" y="13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3" y="11"/>
                  </a:cubicBezTo>
                  <a:cubicBezTo>
                    <a:pt x="33" y="11"/>
                    <a:pt x="33" y="10"/>
                    <a:pt x="34" y="10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7"/>
                    <a:pt x="34" y="6"/>
                    <a:pt x="33" y="4"/>
                  </a:cubicBezTo>
                  <a:lnTo>
                    <a:pt x="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3" name="Freeform 82"/>
            <p:cNvSpPr>
              <a:spLocks noEditPoints="1"/>
            </p:cNvSpPr>
            <p:nvPr/>
          </p:nvSpPr>
          <p:spPr bwMode="auto">
            <a:xfrm>
              <a:off x="4556" y="3693"/>
              <a:ext cx="38" cy="36"/>
            </a:xfrm>
            <a:custGeom>
              <a:avLst/>
              <a:gdLst>
                <a:gd name="T0" fmla="*/ 15 w 16"/>
                <a:gd name="T1" fmla="*/ 5 h 15"/>
                <a:gd name="T2" fmla="*/ 14 w 16"/>
                <a:gd name="T3" fmla="*/ 5 h 15"/>
                <a:gd name="T4" fmla="*/ 10 w 16"/>
                <a:gd name="T5" fmla="*/ 7 h 15"/>
                <a:gd name="T6" fmla="*/ 9 w 16"/>
                <a:gd name="T7" fmla="*/ 7 h 15"/>
                <a:gd name="T8" fmla="*/ 9 w 16"/>
                <a:gd name="T9" fmla="*/ 7 h 15"/>
                <a:gd name="T10" fmla="*/ 8 w 16"/>
                <a:gd name="T11" fmla="*/ 5 h 15"/>
                <a:gd name="T12" fmla="*/ 8 w 16"/>
                <a:gd name="T13" fmla="*/ 5 h 15"/>
                <a:gd name="T14" fmla="*/ 8 w 16"/>
                <a:gd name="T15" fmla="*/ 3 h 15"/>
                <a:gd name="T16" fmla="*/ 7 w 16"/>
                <a:gd name="T17" fmla="*/ 3 h 15"/>
                <a:gd name="T18" fmla="*/ 7 w 16"/>
                <a:gd name="T19" fmla="*/ 2 h 15"/>
                <a:gd name="T20" fmla="*/ 5 w 16"/>
                <a:gd name="T21" fmla="*/ 1 h 15"/>
                <a:gd name="T22" fmla="*/ 3 w 16"/>
                <a:gd name="T23" fmla="*/ 1 h 15"/>
                <a:gd name="T24" fmla="*/ 1 w 16"/>
                <a:gd name="T25" fmla="*/ 7 h 15"/>
                <a:gd name="T26" fmla="*/ 1 w 16"/>
                <a:gd name="T27" fmla="*/ 8 h 15"/>
                <a:gd name="T28" fmla="*/ 1 w 16"/>
                <a:gd name="T29" fmla="*/ 10 h 15"/>
                <a:gd name="T30" fmla="*/ 1 w 16"/>
                <a:gd name="T31" fmla="*/ 11 h 15"/>
                <a:gd name="T32" fmla="*/ 0 w 16"/>
                <a:gd name="T33" fmla="*/ 14 h 15"/>
                <a:gd name="T34" fmla="*/ 1 w 16"/>
                <a:gd name="T35" fmla="*/ 15 h 15"/>
                <a:gd name="T36" fmla="*/ 2 w 16"/>
                <a:gd name="T37" fmla="*/ 15 h 15"/>
                <a:gd name="T38" fmla="*/ 4 w 16"/>
                <a:gd name="T39" fmla="*/ 14 h 15"/>
                <a:gd name="T40" fmla="*/ 6 w 16"/>
                <a:gd name="T41" fmla="*/ 15 h 15"/>
                <a:gd name="T42" fmla="*/ 6 w 16"/>
                <a:gd name="T43" fmla="*/ 15 h 15"/>
                <a:gd name="T44" fmla="*/ 8 w 16"/>
                <a:gd name="T45" fmla="*/ 14 h 15"/>
                <a:gd name="T46" fmla="*/ 8 w 16"/>
                <a:gd name="T47" fmla="*/ 14 h 15"/>
                <a:gd name="T48" fmla="*/ 8 w 16"/>
                <a:gd name="T49" fmla="*/ 14 h 15"/>
                <a:gd name="T50" fmla="*/ 11 w 16"/>
                <a:gd name="T51" fmla="*/ 15 h 15"/>
                <a:gd name="T52" fmla="*/ 12 w 16"/>
                <a:gd name="T53" fmla="*/ 15 h 15"/>
                <a:gd name="T54" fmla="*/ 13 w 16"/>
                <a:gd name="T55" fmla="*/ 12 h 15"/>
                <a:gd name="T56" fmla="*/ 12 w 16"/>
                <a:gd name="T57" fmla="*/ 12 h 15"/>
                <a:gd name="T58" fmla="*/ 13 w 16"/>
                <a:gd name="T59" fmla="*/ 12 h 15"/>
                <a:gd name="T60" fmla="*/ 14 w 16"/>
                <a:gd name="T61" fmla="*/ 12 h 15"/>
                <a:gd name="T62" fmla="*/ 16 w 16"/>
                <a:gd name="T63" fmla="*/ 7 h 15"/>
                <a:gd name="T64" fmla="*/ 15 w 16"/>
                <a:gd name="T65" fmla="*/ 5 h 15"/>
                <a:gd name="T66" fmla="*/ 11 w 16"/>
                <a:gd name="T67" fmla="*/ 11 h 15"/>
                <a:gd name="T68" fmla="*/ 11 w 16"/>
                <a:gd name="T69" fmla="*/ 11 h 15"/>
                <a:gd name="T70" fmla="*/ 11 w 16"/>
                <a:gd name="T71" fmla="*/ 12 h 15"/>
                <a:gd name="T72" fmla="*/ 11 w 16"/>
                <a:gd name="T73" fmla="*/ 11 h 15"/>
                <a:gd name="T74" fmla="*/ 11 w 16"/>
                <a:gd name="T75" fmla="*/ 11 h 15"/>
                <a:gd name="T76" fmla="*/ 11 w 16"/>
                <a:gd name="T77" fmla="*/ 11 h 15"/>
                <a:gd name="T78" fmla="*/ 11 w 16"/>
                <a:gd name="T79" fmla="*/ 11 h 15"/>
                <a:gd name="T80" fmla="*/ 12 w 16"/>
                <a:gd name="T81" fmla="*/ 11 h 15"/>
                <a:gd name="T82" fmla="*/ 11 w 16"/>
                <a:gd name="T8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" h="15">
                  <a:moveTo>
                    <a:pt x="15" y="5"/>
                  </a:move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0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1"/>
                    <a:pt x="5" y="1"/>
                  </a:cubicBezTo>
                  <a:cubicBezTo>
                    <a:pt x="5" y="1"/>
                    <a:pt x="4" y="0"/>
                    <a:pt x="3" y="1"/>
                  </a:cubicBezTo>
                  <a:cubicBezTo>
                    <a:pt x="1" y="3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4" y="14"/>
                    <a:pt x="4" y="14"/>
                  </a:cubicBezTo>
                  <a:cubicBezTo>
                    <a:pt x="4" y="14"/>
                    <a:pt x="5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7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5"/>
                    <a:pt x="11" y="15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3" y="14"/>
                    <a:pt x="13" y="13"/>
                    <a:pt x="13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1"/>
                    <a:pt x="16" y="7"/>
                    <a:pt x="16" y="7"/>
                  </a:cubicBezTo>
                  <a:cubicBezTo>
                    <a:pt x="16" y="6"/>
                    <a:pt x="15" y="5"/>
                    <a:pt x="15" y="5"/>
                  </a:cubicBezTo>
                  <a:close/>
                  <a:moveTo>
                    <a:pt x="11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11" y="12"/>
                    <a:pt x="11" y="12"/>
                  </a:cubicBezTo>
                  <a:lnTo>
                    <a:pt x="11" y="11"/>
                  </a:lnTo>
                  <a:close/>
                  <a:moveTo>
                    <a:pt x="11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2" y="11"/>
                  </a:cubicBezTo>
                  <a:lnTo>
                    <a:pt x="11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4" name="Freeform 83"/>
            <p:cNvSpPr>
              <a:spLocks noEditPoints="1"/>
            </p:cNvSpPr>
            <p:nvPr/>
          </p:nvSpPr>
          <p:spPr bwMode="auto">
            <a:xfrm>
              <a:off x="5426" y="2799"/>
              <a:ext cx="762" cy="750"/>
            </a:xfrm>
            <a:custGeom>
              <a:avLst/>
              <a:gdLst>
                <a:gd name="T0" fmla="*/ 316 w 322"/>
                <a:gd name="T1" fmla="*/ 198 h 317"/>
                <a:gd name="T2" fmla="*/ 320 w 322"/>
                <a:gd name="T3" fmla="*/ 171 h 317"/>
                <a:gd name="T4" fmla="*/ 311 w 322"/>
                <a:gd name="T5" fmla="*/ 145 h 317"/>
                <a:gd name="T6" fmla="*/ 308 w 322"/>
                <a:gd name="T7" fmla="*/ 129 h 317"/>
                <a:gd name="T8" fmla="*/ 305 w 322"/>
                <a:gd name="T9" fmla="*/ 114 h 317"/>
                <a:gd name="T10" fmla="*/ 297 w 322"/>
                <a:gd name="T11" fmla="*/ 100 h 317"/>
                <a:gd name="T12" fmla="*/ 289 w 322"/>
                <a:gd name="T13" fmla="*/ 84 h 317"/>
                <a:gd name="T14" fmla="*/ 289 w 322"/>
                <a:gd name="T15" fmla="*/ 61 h 317"/>
                <a:gd name="T16" fmla="*/ 287 w 322"/>
                <a:gd name="T17" fmla="*/ 45 h 317"/>
                <a:gd name="T18" fmla="*/ 277 w 322"/>
                <a:gd name="T19" fmla="*/ 36 h 317"/>
                <a:gd name="T20" fmla="*/ 273 w 322"/>
                <a:gd name="T21" fmla="*/ 12 h 317"/>
                <a:gd name="T22" fmla="*/ 265 w 322"/>
                <a:gd name="T23" fmla="*/ 10 h 317"/>
                <a:gd name="T24" fmla="*/ 257 w 322"/>
                <a:gd name="T25" fmla="*/ 32 h 317"/>
                <a:gd name="T26" fmla="*/ 253 w 322"/>
                <a:gd name="T27" fmla="*/ 59 h 317"/>
                <a:gd name="T28" fmla="*/ 242 w 322"/>
                <a:gd name="T29" fmla="*/ 75 h 317"/>
                <a:gd name="T30" fmla="*/ 226 w 322"/>
                <a:gd name="T31" fmla="*/ 62 h 317"/>
                <a:gd name="T32" fmla="*/ 211 w 322"/>
                <a:gd name="T33" fmla="*/ 47 h 317"/>
                <a:gd name="T34" fmla="*/ 217 w 322"/>
                <a:gd name="T35" fmla="*/ 29 h 317"/>
                <a:gd name="T36" fmla="*/ 218 w 322"/>
                <a:gd name="T37" fmla="*/ 15 h 317"/>
                <a:gd name="T38" fmla="*/ 201 w 322"/>
                <a:gd name="T39" fmla="*/ 11 h 317"/>
                <a:gd name="T40" fmla="*/ 182 w 322"/>
                <a:gd name="T41" fmla="*/ 6 h 317"/>
                <a:gd name="T42" fmla="*/ 182 w 322"/>
                <a:gd name="T43" fmla="*/ 14 h 317"/>
                <a:gd name="T44" fmla="*/ 167 w 322"/>
                <a:gd name="T45" fmla="*/ 28 h 317"/>
                <a:gd name="T46" fmla="*/ 158 w 322"/>
                <a:gd name="T47" fmla="*/ 43 h 317"/>
                <a:gd name="T48" fmla="*/ 148 w 322"/>
                <a:gd name="T49" fmla="*/ 38 h 317"/>
                <a:gd name="T50" fmla="*/ 132 w 322"/>
                <a:gd name="T51" fmla="*/ 34 h 317"/>
                <a:gd name="T52" fmla="*/ 124 w 322"/>
                <a:gd name="T53" fmla="*/ 44 h 317"/>
                <a:gd name="T54" fmla="*/ 109 w 322"/>
                <a:gd name="T55" fmla="*/ 56 h 317"/>
                <a:gd name="T56" fmla="*/ 97 w 322"/>
                <a:gd name="T57" fmla="*/ 74 h 317"/>
                <a:gd name="T58" fmla="*/ 84 w 322"/>
                <a:gd name="T59" fmla="*/ 89 h 317"/>
                <a:gd name="T60" fmla="*/ 62 w 322"/>
                <a:gd name="T61" fmla="*/ 97 h 317"/>
                <a:gd name="T62" fmla="*/ 39 w 322"/>
                <a:gd name="T63" fmla="*/ 106 h 317"/>
                <a:gd name="T64" fmla="*/ 19 w 322"/>
                <a:gd name="T65" fmla="*/ 125 h 317"/>
                <a:gd name="T66" fmla="*/ 15 w 322"/>
                <a:gd name="T67" fmla="*/ 150 h 317"/>
                <a:gd name="T68" fmla="*/ 12 w 322"/>
                <a:gd name="T69" fmla="*/ 176 h 317"/>
                <a:gd name="T70" fmla="*/ 12 w 322"/>
                <a:gd name="T71" fmla="*/ 214 h 317"/>
                <a:gd name="T72" fmla="*/ 7 w 322"/>
                <a:gd name="T73" fmla="*/ 235 h 317"/>
                <a:gd name="T74" fmla="*/ 5 w 322"/>
                <a:gd name="T75" fmla="*/ 248 h 317"/>
                <a:gd name="T76" fmla="*/ 17 w 322"/>
                <a:gd name="T77" fmla="*/ 255 h 317"/>
                <a:gd name="T78" fmla="*/ 37 w 322"/>
                <a:gd name="T79" fmla="*/ 248 h 317"/>
                <a:gd name="T80" fmla="*/ 56 w 322"/>
                <a:gd name="T81" fmla="*/ 245 h 317"/>
                <a:gd name="T82" fmla="*/ 76 w 322"/>
                <a:gd name="T83" fmla="*/ 237 h 317"/>
                <a:gd name="T84" fmla="*/ 106 w 322"/>
                <a:gd name="T85" fmla="*/ 228 h 317"/>
                <a:gd name="T86" fmla="*/ 136 w 322"/>
                <a:gd name="T87" fmla="*/ 225 h 317"/>
                <a:gd name="T88" fmla="*/ 150 w 322"/>
                <a:gd name="T89" fmla="*/ 236 h 317"/>
                <a:gd name="T90" fmla="*/ 150 w 322"/>
                <a:gd name="T91" fmla="*/ 258 h 317"/>
                <a:gd name="T92" fmla="*/ 161 w 322"/>
                <a:gd name="T93" fmla="*/ 257 h 317"/>
                <a:gd name="T94" fmla="*/ 172 w 322"/>
                <a:gd name="T95" fmla="*/ 250 h 317"/>
                <a:gd name="T96" fmla="*/ 161 w 322"/>
                <a:gd name="T97" fmla="*/ 267 h 317"/>
                <a:gd name="T98" fmla="*/ 168 w 322"/>
                <a:gd name="T99" fmla="*/ 272 h 317"/>
                <a:gd name="T100" fmla="*/ 162 w 322"/>
                <a:gd name="T101" fmla="*/ 277 h 317"/>
                <a:gd name="T102" fmla="*/ 175 w 322"/>
                <a:gd name="T103" fmla="*/ 287 h 317"/>
                <a:gd name="T104" fmla="*/ 192 w 322"/>
                <a:gd name="T105" fmla="*/ 309 h 317"/>
                <a:gd name="T106" fmla="*/ 209 w 322"/>
                <a:gd name="T107" fmla="*/ 309 h 317"/>
                <a:gd name="T108" fmla="*/ 218 w 322"/>
                <a:gd name="T109" fmla="*/ 313 h 317"/>
                <a:gd name="T110" fmla="*/ 240 w 322"/>
                <a:gd name="T111" fmla="*/ 304 h 317"/>
                <a:gd name="T112" fmla="*/ 254 w 322"/>
                <a:gd name="T113" fmla="*/ 290 h 317"/>
                <a:gd name="T114" fmla="*/ 266 w 322"/>
                <a:gd name="T115" fmla="*/ 274 h 317"/>
                <a:gd name="T116" fmla="*/ 281 w 322"/>
                <a:gd name="T117" fmla="*/ 255 h 317"/>
                <a:gd name="T118" fmla="*/ 295 w 322"/>
                <a:gd name="T119" fmla="*/ 240 h 317"/>
                <a:gd name="T120" fmla="*/ 308 w 322"/>
                <a:gd name="T121" fmla="*/ 218 h 317"/>
                <a:gd name="T122" fmla="*/ 171 w 322"/>
                <a:gd name="T123" fmla="*/ 22 h 317"/>
                <a:gd name="T124" fmla="*/ 109 w 322"/>
                <a:gd name="T125" fmla="*/ 5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2" h="317">
                  <a:moveTo>
                    <a:pt x="308" y="216"/>
                  </a:moveTo>
                  <a:cubicBezTo>
                    <a:pt x="308" y="216"/>
                    <a:pt x="308" y="216"/>
                    <a:pt x="308" y="216"/>
                  </a:cubicBezTo>
                  <a:cubicBezTo>
                    <a:pt x="309" y="216"/>
                    <a:pt x="309" y="216"/>
                    <a:pt x="309" y="216"/>
                  </a:cubicBezTo>
                  <a:cubicBezTo>
                    <a:pt x="309" y="216"/>
                    <a:pt x="310" y="215"/>
                    <a:pt x="310" y="214"/>
                  </a:cubicBezTo>
                  <a:cubicBezTo>
                    <a:pt x="310" y="214"/>
                    <a:pt x="310" y="213"/>
                    <a:pt x="310" y="213"/>
                  </a:cubicBezTo>
                  <a:cubicBezTo>
                    <a:pt x="311" y="213"/>
                    <a:pt x="311" y="213"/>
                    <a:pt x="311" y="212"/>
                  </a:cubicBezTo>
                  <a:cubicBezTo>
                    <a:pt x="311" y="212"/>
                    <a:pt x="311" y="211"/>
                    <a:pt x="311" y="211"/>
                  </a:cubicBezTo>
                  <a:cubicBezTo>
                    <a:pt x="311" y="210"/>
                    <a:pt x="312" y="210"/>
                    <a:pt x="312" y="209"/>
                  </a:cubicBezTo>
                  <a:cubicBezTo>
                    <a:pt x="312" y="208"/>
                    <a:pt x="312" y="208"/>
                    <a:pt x="313" y="208"/>
                  </a:cubicBezTo>
                  <a:cubicBezTo>
                    <a:pt x="313" y="207"/>
                    <a:pt x="314" y="207"/>
                    <a:pt x="314" y="207"/>
                  </a:cubicBezTo>
                  <a:cubicBezTo>
                    <a:pt x="315" y="205"/>
                    <a:pt x="315" y="204"/>
                    <a:pt x="315" y="203"/>
                  </a:cubicBezTo>
                  <a:cubicBezTo>
                    <a:pt x="316" y="203"/>
                    <a:pt x="316" y="203"/>
                    <a:pt x="316" y="203"/>
                  </a:cubicBezTo>
                  <a:cubicBezTo>
                    <a:pt x="316" y="202"/>
                    <a:pt x="316" y="202"/>
                    <a:pt x="316" y="201"/>
                  </a:cubicBezTo>
                  <a:cubicBezTo>
                    <a:pt x="316" y="201"/>
                    <a:pt x="316" y="201"/>
                    <a:pt x="316" y="201"/>
                  </a:cubicBezTo>
                  <a:cubicBezTo>
                    <a:pt x="316" y="200"/>
                    <a:pt x="317" y="200"/>
                    <a:pt x="317" y="199"/>
                  </a:cubicBezTo>
                  <a:cubicBezTo>
                    <a:pt x="317" y="198"/>
                    <a:pt x="316" y="198"/>
                    <a:pt x="316" y="198"/>
                  </a:cubicBezTo>
                  <a:cubicBezTo>
                    <a:pt x="316" y="198"/>
                    <a:pt x="316" y="197"/>
                    <a:pt x="316" y="197"/>
                  </a:cubicBezTo>
                  <a:cubicBezTo>
                    <a:pt x="316" y="197"/>
                    <a:pt x="316" y="196"/>
                    <a:pt x="316" y="195"/>
                  </a:cubicBezTo>
                  <a:cubicBezTo>
                    <a:pt x="317" y="194"/>
                    <a:pt x="317" y="192"/>
                    <a:pt x="317" y="191"/>
                  </a:cubicBezTo>
                  <a:cubicBezTo>
                    <a:pt x="317" y="190"/>
                    <a:pt x="317" y="190"/>
                    <a:pt x="317" y="190"/>
                  </a:cubicBezTo>
                  <a:cubicBezTo>
                    <a:pt x="317" y="189"/>
                    <a:pt x="317" y="188"/>
                    <a:pt x="317" y="187"/>
                  </a:cubicBezTo>
                  <a:cubicBezTo>
                    <a:pt x="317" y="186"/>
                    <a:pt x="317" y="186"/>
                    <a:pt x="317" y="186"/>
                  </a:cubicBezTo>
                  <a:cubicBezTo>
                    <a:pt x="317" y="186"/>
                    <a:pt x="317" y="186"/>
                    <a:pt x="317" y="186"/>
                  </a:cubicBezTo>
                  <a:cubicBezTo>
                    <a:pt x="317" y="185"/>
                    <a:pt x="318" y="185"/>
                    <a:pt x="318" y="185"/>
                  </a:cubicBezTo>
                  <a:cubicBezTo>
                    <a:pt x="319" y="183"/>
                    <a:pt x="320" y="181"/>
                    <a:pt x="320" y="179"/>
                  </a:cubicBezTo>
                  <a:cubicBezTo>
                    <a:pt x="320" y="178"/>
                    <a:pt x="320" y="178"/>
                    <a:pt x="320" y="178"/>
                  </a:cubicBezTo>
                  <a:cubicBezTo>
                    <a:pt x="320" y="178"/>
                    <a:pt x="321" y="177"/>
                    <a:pt x="321" y="176"/>
                  </a:cubicBezTo>
                  <a:cubicBezTo>
                    <a:pt x="321" y="176"/>
                    <a:pt x="321" y="175"/>
                    <a:pt x="321" y="175"/>
                  </a:cubicBezTo>
                  <a:cubicBezTo>
                    <a:pt x="321" y="175"/>
                    <a:pt x="322" y="174"/>
                    <a:pt x="321" y="173"/>
                  </a:cubicBezTo>
                  <a:cubicBezTo>
                    <a:pt x="321" y="172"/>
                    <a:pt x="321" y="172"/>
                    <a:pt x="320" y="172"/>
                  </a:cubicBezTo>
                  <a:cubicBezTo>
                    <a:pt x="320" y="172"/>
                    <a:pt x="320" y="171"/>
                    <a:pt x="320" y="171"/>
                  </a:cubicBezTo>
                  <a:cubicBezTo>
                    <a:pt x="320" y="171"/>
                    <a:pt x="320" y="171"/>
                    <a:pt x="320" y="171"/>
                  </a:cubicBezTo>
                  <a:cubicBezTo>
                    <a:pt x="320" y="170"/>
                    <a:pt x="320" y="170"/>
                    <a:pt x="321" y="169"/>
                  </a:cubicBezTo>
                  <a:cubicBezTo>
                    <a:pt x="321" y="169"/>
                    <a:pt x="321" y="168"/>
                    <a:pt x="321" y="167"/>
                  </a:cubicBezTo>
                  <a:cubicBezTo>
                    <a:pt x="321" y="166"/>
                    <a:pt x="321" y="166"/>
                    <a:pt x="321" y="165"/>
                  </a:cubicBezTo>
                  <a:cubicBezTo>
                    <a:pt x="321" y="165"/>
                    <a:pt x="320" y="164"/>
                    <a:pt x="320" y="164"/>
                  </a:cubicBezTo>
                  <a:cubicBezTo>
                    <a:pt x="321" y="163"/>
                    <a:pt x="321" y="163"/>
                    <a:pt x="321" y="163"/>
                  </a:cubicBezTo>
                  <a:cubicBezTo>
                    <a:pt x="321" y="162"/>
                    <a:pt x="321" y="161"/>
                    <a:pt x="320" y="160"/>
                  </a:cubicBezTo>
                  <a:cubicBezTo>
                    <a:pt x="320" y="159"/>
                    <a:pt x="320" y="158"/>
                    <a:pt x="320" y="158"/>
                  </a:cubicBezTo>
                  <a:cubicBezTo>
                    <a:pt x="319" y="157"/>
                    <a:pt x="319" y="157"/>
                    <a:pt x="319" y="156"/>
                  </a:cubicBezTo>
                  <a:cubicBezTo>
                    <a:pt x="319" y="156"/>
                    <a:pt x="319" y="156"/>
                    <a:pt x="319" y="155"/>
                  </a:cubicBezTo>
                  <a:cubicBezTo>
                    <a:pt x="319" y="154"/>
                    <a:pt x="319" y="154"/>
                    <a:pt x="318" y="153"/>
                  </a:cubicBezTo>
                  <a:cubicBezTo>
                    <a:pt x="318" y="152"/>
                    <a:pt x="317" y="151"/>
                    <a:pt x="315" y="150"/>
                  </a:cubicBezTo>
                  <a:cubicBezTo>
                    <a:pt x="315" y="149"/>
                    <a:pt x="314" y="149"/>
                    <a:pt x="314" y="149"/>
                  </a:cubicBezTo>
                  <a:cubicBezTo>
                    <a:pt x="314" y="148"/>
                    <a:pt x="314" y="148"/>
                    <a:pt x="314" y="148"/>
                  </a:cubicBezTo>
                  <a:cubicBezTo>
                    <a:pt x="314" y="147"/>
                    <a:pt x="314" y="147"/>
                    <a:pt x="313" y="146"/>
                  </a:cubicBezTo>
                  <a:cubicBezTo>
                    <a:pt x="312" y="145"/>
                    <a:pt x="312" y="145"/>
                    <a:pt x="311" y="145"/>
                  </a:cubicBezTo>
                  <a:cubicBezTo>
                    <a:pt x="311" y="145"/>
                    <a:pt x="311" y="145"/>
                    <a:pt x="311" y="145"/>
                  </a:cubicBezTo>
                  <a:cubicBezTo>
                    <a:pt x="311" y="144"/>
                    <a:pt x="311" y="144"/>
                    <a:pt x="311" y="144"/>
                  </a:cubicBezTo>
                  <a:cubicBezTo>
                    <a:pt x="312" y="144"/>
                    <a:pt x="312" y="144"/>
                    <a:pt x="312" y="144"/>
                  </a:cubicBezTo>
                  <a:cubicBezTo>
                    <a:pt x="313" y="143"/>
                    <a:pt x="313" y="142"/>
                    <a:pt x="313" y="141"/>
                  </a:cubicBezTo>
                  <a:cubicBezTo>
                    <a:pt x="313" y="141"/>
                    <a:pt x="313" y="141"/>
                    <a:pt x="313" y="141"/>
                  </a:cubicBezTo>
                  <a:cubicBezTo>
                    <a:pt x="313" y="140"/>
                    <a:pt x="313" y="140"/>
                    <a:pt x="314" y="140"/>
                  </a:cubicBezTo>
                  <a:cubicBezTo>
                    <a:pt x="314" y="139"/>
                    <a:pt x="314" y="138"/>
                    <a:pt x="314" y="137"/>
                  </a:cubicBezTo>
                  <a:cubicBezTo>
                    <a:pt x="314" y="137"/>
                    <a:pt x="314" y="136"/>
                    <a:pt x="314" y="136"/>
                  </a:cubicBezTo>
                  <a:cubicBezTo>
                    <a:pt x="314" y="136"/>
                    <a:pt x="314" y="135"/>
                    <a:pt x="314" y="135"/>
                  </a:cubicBezTo>
                  <a:cubicBezTo>
                    <a:pt x="314" y="135"/>
                    <a:pt x="314" y="135"/>
                    <a:pt x="314" y="134"/>
                  </a:cubicBezTo>
                  <a:cubicBezTo>
                    <a:pt x="314" y="133"/>
                    <a:pt x="313" y="132"/>
                    <a:pt x="312" y="132"/>
                  </a:cubicBezTo>
                  <a:cubicBezTo>
                    <a:pt x="312" y="132"/>
                    <a:pt x="312" y="132"/>
                    <a:pt x="312" y="132"/>
                  </a:cubicBezTo>
                  <a:cubicBezTo>
                    <a:pt x="311" y="132"/>
                    <a:pt x="311" y="132"/>
                    <a:pt x="310" y="132"/>
                  </a:cubicBezTo>
                  <a:cubicBezTo>
                    <a:pt x="310" y="132"/>
                    <a:pt x="310" y="132"/>
                    <a:pt x="310" y="132"/>
                  </a:cubicBezTo>
                  <a:cubicBezTo>
                    <a:pt x="310" y="132"/>
                    <a:pt x="310" y="132"/>
                    <a:pt x="310" y="132"/>
                  </a:cubicBezTo>
                  <a:cubicBezTo>
                    <a:pt x="310" y="131"/>
                    <a:pt x="310" y="131"/>
                    <a:pt x="310" y="130"/>
                  </a:cubicBezTo>
                  <a:cubicBezTo>
                    <a:pt x="309" y="129"/>
                    <a:pt x="309" y="129"/>
                    <a:pt x="308" y="129"/>
                  </a:cubicBezTo>
                  <a:cubicBezTo>
                    <a:pt x="307" y="129"/>
                    <a:pt x="306" y="130"/>
                    <a:pt x="305" y="131"/>
                  </a:cubicBezTo>
                  <a:cubicBezTo>
                    <a:pt x="305" y="131"/>
                    <a:pt x="305" y="130"/>
                    <a:pt x="305" y="130"/>
                  </a:cubicBezTo>
                  <a:cubicBezTo>
                    <a:pt x="305" y="130"/>
                    <a:pt x="305" y="130"/>
                    <a:pt x="305" y="130"/>
                  </a:cubicBezTo>
                  <a:cubicBezTo>
                    <a:pt x="305" y="130"/>
                    <a:pt x="305" y="130"/>
                    <a:pt x="305" y="130"/>
                  </a:cubicBezTo>
                  <a:cubicBezTo>
                    <a:pt x="305" y="130"/>
                    <a:pt x="305" y="129"/>
                    <a:pt x="305" y="129"/>
                  </a:cubicBezTo>
                  <a:cubicBezTo>
                    <a:pt x="306" y="129"/>
                    <a:pt x="306" y="128"/>
                    <a:pt x="306" y="128"/>
                  </a:cubicBezTo>
                  <a:cubicBezTo>
                    <a:pt x="306" y="127"/>
                    <a:pt x="306" y="127"/>
                    <a:pt x="306" y="127"/>
                  </a:cubicBezTo>
                  <a:cubicBezTo>
                    <a:pt x="306" y="127"/>
                    <a:pt x="306" y="126"/>
                    <a:pt x="306" y="126"/>
                  </a:cubicBezTo>
                  <a:cubicBezTo>
                    <a:pt x="307" y="126"/>
                    <a:pt x="308" y="124"/>
                    <a:pt x="307" y="123"/>
                  </a:cubicBezTo>
                  <a:cubicBezTo>
                    <a:pt x="307" y="122"/>
                    <a:pt x="307" y="122"/>
                    <a:pt x="306" y="122"/>
                  </a:cubicBezTo>
                  <a:cubicBezTo>
                    <a:pt x="306" y="122"/>
                    <a:pt x="306" y="121"/>
                    <a:pt x="306" y="121"/>
                  </a:cubicBezTo>
                  <a:cubicBezTo>
                    <a:pt x="306" y="121"/>
                    <a:pt x="306" y="120"/>
                    <a:pt x="306" y="120"/>
                  </a:cubicBezTo>
                  <a:cubicBezTo>
                    <a:pt x="306" y="120"/>
                    <a:pt x="306" y="119"/>
                    <a:pt x="306" y="119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6" y="118"/>
                    <a:pt x="305" y="117"/>
                    <a:pt x="305" y="116"/>
                  </a:cubicBezTo>
                  <a:cubicBezTo>
                    <a:pt x="305" y="115"/>
                    <a:pt x="305" y="115"/>
                    <a:pt x="305" y="114"/>
                  </a:cubicBezTo>
                  <a:cubicBezTo>
                    <a:pt x="305" y="114"/>
                    <a:pt x="305" y="114"/>
                    <a:pt x="305" y="114"/>
                  </a:cubicBezTo>
                  <a:cubicBezTo>
                    <a:pt x="305" y="113"/>
                    <a:pt x="305" y="113"/>
                    <a:pt x="304" y="112"/>
                  </a:cubicBezTo>
                  <a:cubicBezTo>
                    <a:pt x="304" y="112"/>
                    <a:pt x="304" y="112"/>
                    <a:pt x="304" y="112"/>
                  </a:cubicBezTo>
                  <a:cubicBezTo>
                    <a:pt x="305" y="112"/>
                    <a:pt x="305" y="111"/>
                    <a:pt x="305" y="111"/>
                  </a:cubicBezTo>
                  <a:cubicBezTo>
                    <a:pt x="305" y="110"/>
                    <a:pt x="305" y="109"/>
                    <a:pt x="304" y="108"/>
                  </a:cubicBezTo>
                  <a:cubicBezTo>
                    <a:pt x="304" y="108"/>
                    <a:pt x="304" y="108"/>
                    <a:pt x="304" y="108"/>
                  </a:cubicBezTo>
                  <a:cubicBezTo>
                    <a:pt x="303" y="106"/>
                    <a:pt x="303" y="106"/>
                    <a:pt x="302" y="105"/>
                  </a:cubicBezTo>
                  <a:cubicBezTo>
                    <a:pt x="301" y="105"/>
                    <a:pt x="301" y="105"/>
                    <a:pt x="301" y="104"/>
                  </a:cubicBezTo>
                  <a:cubicBezTo>
                    <a:pt x="301" y="104"/>
                    <a:pt x="301" y="104"/>
                    <a:pt x="301" y="103"/>
                  </a:cubicBezTo>
                  <a:cubicBezTo>
                    <a:pt x="300" y="103"/>
                    <a:pt x="300" y="102"/>
                    <a:pt x="300" y="102"/>
                  </a:cubicBezTo>
                  <a:cubicBezTo>
                    <a:pt x="300" y="102"/>
                    <a:pt x="300" y="102"/>
                    <a:pt x="300" y="102"/>
                  </a:cubicBezTo>
                  <a:cubicBezTo>
                    <a:pt x="299" y="101"/>
                    <a:pt x="299" y="100"/>
                    <a:pt x="298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99"/>
                  </a:cubicBezTo>
                  <a:cubicBezTo>
                    <a:pt x="297" y="99"/>
                    <a:pt x="297" y="97"/>
                    <a:pt x="296" y="97"/>
                  </a:cubicBezTo>
                  <a:cubicBezTo>
                    <a:pt x="295" y="96"/>
                    <a:pt x="295" y="96"/>
                    <a:pt x="294" y="96"/>
                  </a:cubicBezTo>
                  <a:cubicBezTo>
                    <a:pt x="294" y="96"/>
                    <a:pt x="294" y="96"/>
                    <a:pt x="294" y="96"/>
                  </a:cubicBezTo>
                  <a:cubicBezTo>
                    <a:pt x="293" y="95"/>
                    <a:pt x="293" y="95"/>
                    <a:pt x="293" y="95"/>
                  </a:cubicBezTo>
                  <a:cubicBezTo>
                    <a:pt x="293" y="95"/>
                    <a:pt x="293" y="94"/>
                    <a:pt x="292" y="94"/>
                  </a:cubicBezTo>
                  <a:cubicBezTo>
                    <a:pt x="292" y="94"/>
                    <a:pt x="291" y="93"/>
                    <a:pt x="291" y="93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0" y="93"/>
                    <a:pt x="290" y="92"/>
                    <a:pt x="290" y="92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0" y="91"/>
                    <a:pt x="290" y="91"/>
                    <a:pt x="290" y="90"/>
                  </a:cubicBezTo>
                  <a:cubicBezTo>
                    <a:pt x="291" y="90"/>
                    <a:pt x="291" y="88"/>
                    <a:pt x="290" y="87"/>
                  </a:cubicBezTo>
                  <a:cubicBezTo>
                    <a:pt x="290" y="86"/>
                    <a:pt x="290" y="86"/>
                    <a:pt x="289" y="86"/>
                  </a:cubicBezTo>
                  <a:cubicBezTo>
                    <a:pt x="289" y="86"/>
                    <a:pt x="289" y="85"/>
                    <a:pt x="289" y="85"/>
                  </a:cubicBezTo>
                  <a:cubicBezTo>
                    <a:pt x="290" y="85"/>
                    <a:pt x="290" y="84"/>
                    <a:pt x="289" y="84"/>
                  </a:cubicBezTo>
                  <a:cubicBezTo>
                    <a:pt x="289" y="83"/>
                    <a:pt x="289" y="83"/>
                    <a:pt x="289" y="83"/>
                  </a:cubicBezTo>
                  <a:cubicBezTo>
                    <a:pt x="289" y="83"/>
                    <a:pt x="289" y="83"/>
                    <a:pt x="289" y="82"/>
                  </a:cubicBezTo>
                  <a:cubicBezTo>
                    <a:pt x="290" y="82"/>
                    <a:pt x="290" y="82"/>
                    <a:pt x="290" y="81"/>
                  </a:cubicBezTo>
                  <a:cubicBezTo>
                    <a:pt x="291" y="81"/>
                    <a:pt x="290" y="80"/>
                    <a:pt x="290" y="79"/>
                  </a:cubicBezTo>
                  <a:cubicBezTo>
                    <a:pt x="290" y="79"/>
                    <a:pt x="290" y="79"/>
                    <a:pt x="290" y="79"/>
                  </a:cubicBezTo>
                  <a:cubicBezTo>
                    <a:pt x="290" y="79"/>
                    <a:pt x="291" y="79"/>
                    <a:pt x="291" y="78"/>
                  </a:cubicBezTo>
                  <a:cubicBezTo>
                    <a:pt x="291" y="77"/>
                    <a:pt x="291" y="76"/>
                    <a:pt x="291" y="76"/>
                  </a:cubicBezTo>
                  <a:cubicBezTo>
                    <a:pt x="291" y="75"/>
                    <a:pt x="290" y="74"/>
                    <a:pt x="290" y="72"/>
                  </a:cubicBezTo>
                  <a:cubicBezTo>
                    <a:pt x="290" y="72"/>
                    <a:pt x="290" y="71"/>
                    <a:pt x="290" y="70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90" y="69"/>
                    <a:pt x="289" y="68"/>
                    <a:pt x="289" y="67"/>
                  </a:cubicBezTo>
                  <a:cubicBezTo>
                    <a:pt x="289" y="67"/>
                    <a:pt x="288" y="67"/>
                    <a:pt x="288" y="66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66"/>
                    <a:pt x="288" y="65"/>
                    <a:pt x="288" y="65"/>
                  </a:cubicBezTo>
                  <a:cubicBezTo>
                    <a:pt x="288" y="65"/>
                    <a:pt x="289" y="64"/>
                    <a:pt x="289" y="63"/>
                  </a:cubicBezTo>
                  <a:cubicBezTo>
                    <a:pt x="289" y="62"/>
                    <a:pt x="289" y="62"/>
                    <a:pt x="289" y="61"/>
                  </a:cubicBezTo>
                  <a:cubicBezTo>
                    <a:pt x="288" y="61"/>
                    <a:pt x="288" y="61"/>
                    <a:pt x="288" y="61"/>
                  </a:cubicBezTo>
                  <a:cubicBezTo>
                    <a:pt x="289" y="61"/>
                    <a:pt x="289" y="61"/>
                    <a:pt x="289" y="61"/>
                  </a:cubicBezTo>
                  <a:cubicBezTo>
                    <a:pt x="289" y="61"/>
                    <a:pt x="289" y="60"/>
                    <a:pt x="289" y="60"/>
                  </a:cubicBezTo>
                  <a:cubicBezTo>
                    <a:pt x="289" y="59"/>
                    <a:pt x="289" y="58"/>
                    <a:pt x="289" y="57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6"/>
                    <a:pt x="289" y="56"/>
                    <a:pt x="289" y="56"/>
                  </a:cubicBezTo>
                  <a:cubicBezTo>
                    <a:pt x="289" y="55"/>
                    <a:pt x="288" y="54"/>
                    <a:pt x="287" y="54"/>
                  </a:cubicBezTo>
                  <a:cubicBezTo>
                    <a:pt x="286" y="53"/>
                    <a:pt x="286" y="53"/>
                    <a:pt x="286" y="53"/>
                  </a:cubicBezTo>
                  <a:cubicBezTo>
                    <a:pt x="288" y="53"/>
                    <a:pt x="288" y="53"/>
                    <a:pt x="288" y="53"/>
                  </a:cubicBezTo>
                  <a:cubicBezTo>
                    <a:pt x="288" y="53"/>
                    <a:pt x="288" y="53"/>
                    <a:pt x="289" y="53"/>
                  </a:cubicBezTo>
                  <a:cubicBezTo>
                    <a:pt x="290" y="51"/>
                    <a:pt x="289" y="50"/>
                    <a:pt x="289" y="50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89" y="49"/>
                    <a:pt x="290" y="48"/>
                    <a:pt x="289" y="48"/>
                  </a:cubicBezTo>
                  <a:cubicBezTo>
                    <a:pt x="289" y="47"/>
                    <a:pt x="288" y="46"/>
                    <a:pt x="287" y="46"/>
                  </a:cubicBezTo>
                  <a:cubicBezTo>
                    <a:pt x="287" y="46"/>
                    <a:pt x="287" y="46"/>
                    <a:pt x="287" y="46"/>
                  </a:cubicBezTo>
                  <a:cubicBezTo>
                    <a:pt x="287" y="46"/>
                    <a:pt x="287" y="46"/>
                    <a:pt x="287" y="45"/>
                  </a:cubicBezTo>
                  <a:cubicBezTo>
                    <a:pt x="286" y="45"/>
                    <a:pt x="286" y="44"/>
                    <a:pt x="285" y="43"/>
                  </a:cubicBezTo>
                  <a:cubicBezTo>
                    <a:pt x="285" y="43"/>
                    <a:pt x="285" y="43"/>
                    <a:pt x="285" y="43"/>
                  </a:cubicBezTo>
                  <a:cubicBezTo>
                    <a:pt x="285" y="43"/>
                    <a:pt x="285" y="43"/>
                    <a:pt x="285" y="43"/>
                  </a:cubicBezTo>
                  <a:cubicBezTo>
                    <a:pt x="285" y="42"/>
                    <a:pt x="285" y="41"/>
                    <a:pt x="285" y="40"/>
                  </a:cubicBezTo>
                  <a:cubicBezTo>
                    <a:pt x="284" y="39"/>
                    <a:pt x="284" y="38"/>
                    <a:pt x="283" y="38"/>
                  </a:cubicBezTo>
                  <a:cubicBezTo>
                    <a:pt x="282" y="37"/>
                    <a:pt x="280" y="38"/>
                    <a:pt x="280" y="39"/>
                  </a:cubicBezTo>
                  <a:cubicBezTo>
                    <a:pt x="280" y="40"/>
                    <a:pt x="280" y="40"/>
                    <a:pt x="280" y="40"/>
                  </a:cubicBezTo>
                  <a:cubicBezTo>
                    <a:pt x="280" y="40"/>
                    <a:pt x="280" y="40"/>
                    <a:pt x="280" y="40"/>
                  </a:cubicBezTo>
                  <a:cubicBezTo>
                    <a:pt x="280" y="39"/>
                    <a:pt x="280" y="39"/>
                    <a:pt x="280" y="39"/>
                  </a:cubicBezTo>
                  <a:cubicBezTo>
                    <a:pt x="279" y="39"/>
                    <a:pt x="278" y="40"/>
                    <a:pt x="278" y="41"/>
                  </a:cubicBezTo>
                  <a:cubicBezTo>
                    <a:pt x="277" y="41"/>
                    <a:pt x="277" y="41"/>
                    <a:pt x="277" y="41"/>
                  </a:cubicBezTo>
                  <a:cubicBezTo>
                    <a:pt x="277" y="41"/>
                    <a:pt x="277" y="41"/>
                    <a:pt x="277" y="41"/>
                  </a:cubicBezTo>
                  <a:cubicBezTo>
                    <a:pt x="277" y="41"/>
                    <a:pt x="277" y="41"/>
                    <a:pt x="277" y="40"/>
                  </a:cubicBezTo>
                  <a:cubicBezTo>
                    <a:pt x="278" y="40"/>
                    <a:pt x="278" y="40"/>
                    <a:pt x="278" y="40"/>
                  </a:cubicBezTo>
                  <a:cubicBezTo>
                    <a:pt x="278" y="39"/>
                    <a:pt x="278" y="38"/>
                    <a:pt x="278" y="37"/>
                  </a:cubicBezTo>
                  <a:cubicBezTo>
                    <a:pt x="278" y="36"/>
                    <a:pt x="277" y="36"/>
                    <a:pt x="277" y="36"/>
                  </a:cubicBezTo>
                  <a:cubicBezTo>
                    <a:pt x="277" y="35"/>
                    <a:pt x="277" y="35"/>
                    <a:pt x="277" y="35"/>
                  </a:cubicBezTo>
                  <a:cubicBezTo>
                    <a:pt x="277" y="35"/>
                    <a:pt x="277" y="34"/>
                    <a:pt x="277" y="33"/>
                  </a:cubicBezTo>
                  <a:cubicBezTo>
                    <a:pt x="278" y="33"/>
                    <a:pt x="278" y="32"/>
                    <a:pt x="278" y="31"/>
                  </a:cubicBezTo>
                  <a:cubicBezTo>
                    <a:pt x="278" y="29"/>
                    <a:pt x="278" y="28"/>
                    <a:pt x="278" y="27"/>
                  </a:cubicBezTo>
                  <a:cubicBezTo>
                    <a:pt x="278" y="27"/>
                    <a:pt x="279" y="26"/>
                    <a:pt x="278" y="25"/>
                  </a:cubicBezTo>
                  <a:cubicBezTo>
                    <a:pt x="278" y="24"/>
                    <a:pt x="277" y="24"/>
                    <a:pt x="277" y="24"/>
                  </a:cubicBezTo>
                  <a:cubicBezTo>
                    <a:pt x="277" y="22"/>
                    <a:pt x="276" y="20"/>
                    <a:pt x="275" y="18"/>
                  </a:cubicBezTo>
                  <a:cubicBezTo>
                    <a:pt x="275" y="18"/>
                    <a:pt x="275" y="18"/>
                    <a:pt x="275" y="18"/>
                  </a:cubicBezTo>
                  <a:cubicBezTo>
                    <a:pt x="275" y="18"/>
                    <a:pt x="275" y="18"/>
                    <a:pt x="276" y="18"/>
                  </a:cubicBezTo>
                  <a:cubicBezTo>
                    <a:pt x="276" y="17"/>
                    <a:pt x="276" y="16"/>
                    <a:pt x="276" y="16"/>
                  </a:cubicBezTo>
                  <a:cubicBezTo>
                    <a:pt x="276" y="15"/>
                    <a:pt x="275" y="14"/>
                    <a:pt x="274" y="14"/>
                  </a:cubicBezTo>
                  <a:cubicBezTo>
                    <a:pt x="274" y="14"/>
                    <a:pt x="274" y="13"/>
                    <a:pt x="274" y="13"/>
                  </a:cubicBezTo>
                  <a:cubicBezTo>
                    <a:pt x="274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2"/>
                  </a:cubicBezTo>
                  <a:cubicBezTo>
                    <a:pt x="273" y="12"/>
                    <a:pt x="273" y="12"/>
                    <a:pt x="273" y="12"/>
                  </a:cubicBezTo>
                  <a:cubicBezTo>
                    <a:pt x="274" y="11"/>
                    <a:pt x="274" y="9"/>
                    <a:pt x="274" y="8"/>
                  </a:cubicBezTo>
                  <a:cubicBezTo>
                    <a:pt x="274" y="7"/>
                    <a:pt x="273" y="5"/>
                    <a:pt x="272" y="4"/>
                  </a:cubicBezTo>
                  <a:cubicBezTo>
                    <a:pt x="272" y="4"/>
                    <a:pt x="272" y="4"/>
                    <a:pt x="272" y="3"/>
                  </a:cubicBezTo>
                  <a:cubicBezTo>
                    <a:pt x="272" y="3"/>
                    <a:pt x="272" y="2"/>
                    <a:pt x="272" y="2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71" y="0"/>
                    <a:pt x="270" y="0"/>
                    <a:pt x="270" y="1"/>
                  </a:cubicBezTo>
                  <a:cubicBezTo>
                    <a:pt x="269" y="1"/>
                    <a:pt x="269" y="2"/>
                    <a:pt x="268" y="2"/>
                  </a:cubicBezTo>
                  <a:cubicBezTo>
                    <a:pt x="268" y="2"/>
                    <a:pt x="268" y="2"/>
                    <a:pt x="268" y="2"/>
                  </a:cubicBezTo>
                  <a:cubicBezTo>
                    <a:pt x="268" y="2"/>
                    <a:pt x="268" y="2"/>
                    <a:pt x="268" y="2"/>
                  </a:cubicBezTo>
                  <a:cubicBezTo>
                    <a:pt x="267" y="2"/>
                    <a:pt x="267" y="2"/>
                    <a:pt x="267" y="2"/>
                  </a:cubicBezTo>
                  <a:cubicBezTo>
                    <a:pt x="267" y="2"/>
                    <a:pt x="267" y="2"/>
                    <a:pt x="267" y="2"/>
                  </a:cubicBezTo>
                  <a:cubicBezTo>
                    <a:pt x="266" y="3"/>
                    <a:pt x="266" y="4"/>
                    <a:pt x="266" y="5"/>
                  </a:cubicBezTo>
                  <a:cubicBezTo>
                    <a:pt x="266" y="7"/>
                    <a:pt x="266" y="8"/>
                    <a:pt x="265" y="9"/>
                  </a:cubicBezTo>
                  <a:cubicBezTo>
                    <a:pt x="265" y="10"/>
                    <a:pt x="265" y="10"/>
                    <a:pt x="265" y="10"/>
                  </a:cubicBezTo>
                  <a:cubicBezTo>
                    <a:pt x="265" y="10"/>
                    <a:pt x="264" y="11"/>
                    <a:pt x="264" y="12"/>
                  </a:cubicBezTo>
                  <a:cubicBezTo>
                    <a:pt x="264" y="13"/>
                    <a:pt x="264" y="13"/>
                    <a:pt x="264" y="13"/>
                  </a:cubicBezTo>
                  <a:cubicBezTo>
                    <a:pt x="264" y="13"/>
                    <a:pt x="264" y="13"/>
                    <a:pt x="264" y="13"/>
                  </a:cubicBezTo>
                  <a:cubicBezTo>
                    <a:pt x="264" y="13"/>
                    <a:pt x="264" y="13"/>
                    <a:pt x="264" y="13"/>
                  </a:cubicBezTo>
                  <a:cubicBezTo>
                    <a:pt x="263" y="13"/>
                    <a:pt x="262" y="14"/>
                    <a:pt x="262" y="15"/>
                  </a:cubicBezTo>
                  <a:cubicBezTo>
                    <a:pt x="261" y="16"/>
                    <a:pt x="261" y="16"/>
                    <a:pt x="261" y="17"/>
                  </a:cubicBezTo>
                  <a:cubicBezTo>
                    <a:pt x="261" y="17"/>
                    <a:pt x="261" y="17"/>
                    <a:pt x="261" y="18"/>
                  </a:cubicBezTo>
                  <a:cubicBezTo>
                    <a:pt x="261" y="18"/>
                    <a:pt x="261" y="18"/>
                    <a:pt x="261" y="19"/>
                  </a:cubicBezTo>
                  <a:cubicBezTo>
                    <a:pt x="261" y="19"/>
                    <a:pt x="260" y="20"/>
                    <a:pt x="260" y="21"/>
                  </a:cubicBezTo>
                  <a:cubicBezTo>
                    <a:pt x="260" y="22"/>
                    <a:pt x="261" y="22"/>
                    <a:pt x="261" y="23"/>
                  </a:cubicBezTo>
                  <a:cubicBezTo>
                    <a:pt x="259" y="23"/>
                    <a:pt x="259" y="25"/>
                    <a:pt x="259" y="26"/>
                  </a:cubicBezTo>
                  <a:cubicBezTo>
                    <a:pt x="259" y="26"/>
                    <a:pt x="259" y="26"/>
                    <a:pt x="259" y="26"/>
                  </a:cubicBezTo>
                  <a:cubicBezTo>
                    <a:pt x="258" y="27"/>
                    <a:pt x="258" y="28"/>
                    <a:pt x="258" y="29"/>
                  </a:cubicBezTo>
                  <a:cubicBezTo>
                    <a:pt x="258" y="29"/>
                    <a:pt x="259" y="29"/>
                    <a:pt x="259" y="30"/>
                  </a:cubicBezTo>
                  <a:cubicBezTo>
                    <a:pt x="259" y="30"/>
                    <a:pt x="259" y="30"/>
                    <a:pt x="259" y="30"/>
                  </a:cubicBezTo>
                  <a:cubicBezTo>
                    <a:pt x="258" y="30"/>
                    <a:pt x="257" y="31"/>
                    <a:pt x="257" y="32"/>
                  </a:cubicBezTo>
                  <a:cubicBezTo>
                    <a:pt x="257" y="32"/>
                    <a:pt x="257" y="32"/>
                    <a:pt x="257" y="32"/>
                  </a:cubicBezTo>
                  <a:cubicBezTo>
                    <a:pt x="257" y="33"/>
                    <a:pt x="256" y="35"/>
                    <a:pt x="257" y="37"/>
                  </a:cubicBezTo>
                  <a:cubicBezTo>
                    <a:pt x="257" y="37"/>
                    <a:pt x="257" y="38"/>
                    <a:pt x="257" y="38"/>
                  </a:cubicBezTo>
                  <a:cubicBezTo>
                    <a:pt x="257" y="39"/>
                    <a:pt x="257" y="39"/>
                    <a:pt x="257" y="39"/>
                  </a:cubicBezTo>
                  <a:cubicBezTo>
                    <a:pt x="257" y="40"/>
                    <a:pt x="257" y="40"/>
                    <a:pt x="257" y="41"/>
                  </a:cubicBezTo>
                  <a:cubicBezTo>
                    <a:pt x="256" y="42"/>
                    <a:pt x="257" y="44"/>
                    <a:pt x="257" y="45"/>
                  </a:cubicBezTo>
                  <a:cubicBezTo>
                    <a:pt x="257" y="46"/>
                    <a:pt x="257" y="47"/>
                    <a:pt x="257" y="47"/>
                  </a:cubicBezTo>
                  <a:cubicBezTo>
                    <a:pt x="257" y="48"/>
                    <a:pt x="257" y="48"/>
                    <a:pt x="257" y="48"/>
                  </a:cubicBezTo>
                  <a:cubicBezTo>
                    <a:pt x="256" y="49"/>
                    <a:pt x="256" y="49"/>
                    <a:pt x="256" y="50"/>
                  </a:cubicBezTo>
                  <a:cubicBezTo>
                    <a:pt x="256" y="50"/>
                    <a:pt x="256" y="50"/>
                    <a:pt x="256" y="50"/>
                  </a:cubicBezTo>
                  <a:cubicBezTo>
                    <a:pt x="256" y="50"/>
                    <a:pt x="256" y="50"/>
                    <a:pt x="256" y="50"/>
                  </a:cubicBezTo>
                  <a:cubicBezTo>
                    <a:pt x="255" y="51"/>
                    <a:pt x="255" y="51"/>
                    <a:pt x="254" y="52"/>
                  </a:cubicBezTo>
                  <a:cubicBezTo>
                    <a:pt x="254" y="53"/>
                    <a:pt x="254" y="54"/>
                    <a:pt x="254" y="54"/>
                  </a:cubicBezTo>
                  <a:cubicBezTo>
                    <a:pt x="254" y="55"/>
                    <a:pt x="254" y="55"/>
                    <a:pt x="254" y="55"/>
                  </a:cubicBezTo>
                  <a:cubicBezTo>
                    <a:pt x="253" y="56"/>
                    <a:pt x="253" y="56"/>
                    <a:pt x="253" y="57"/>
                  </a:cubicBezTo>
                  <a:cubicBezTo>
                    <a:pt x="253" y="58"/>
                    <a:pt x="253" y="58"/>
                    <a:pt x="253" y="59"/>
                  </a:cubicBezTo>
                  <a:cubicBezTo>
                    <a:pt x="253" y="59"/>
                    <a:pt x="253" y="60"/>
                    <a:pt x="252" y="60"/>
                  </a:cubicBezTo>
                  <a:cubicBezTo>
                    <a:pt x="252" y="61"/>
                    <a:pt x="252" y="61"/>
                    <a:pt x="252" y="61"/>
                  </a:cubicBezTo>
                  <a:cubicBezTo>
                    <a:pt x="251" y="62"/>
                    <a:pt x="251" y="63"/>
                    <a:pt x="251" y="63"/>
                  </a:cubicBezTo>
                  <a:cubicBezTo>
                    <a:pt x="251" y="64"/>
                    <a:pt x="250" y="64"/>
                    <a:pt x="250" y="65"/>
                  </a:cubicBezTo>
                  <a:cubicBezTo>
                    <a:pt x="250" y="65"/>
                    <a:pt x="250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7"/>
                    <a:pt x="248" y="67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1"/>
                    <a:pt x="246" y="71"/>
                  </a:cubicBezTo>
                  <a:cubicBezTo>
                    <a:pt x="246" y="72"/>
                    <a:pt x="246" y="73"/>
                    <a:pt x="245" y="73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4" y="74"/>
                    <a:pt x="243" y="74"/>
                    <a:pt x="243" y="75"/>
                  </a:cubicBezTo>
                  <a:cubicBezTo>
                    <a:pt x="243" y="75"/>
                    <a:pt x="243" y="75"/>
                    <a:pt x="242" y="75"/>
                  </a:cubicBezTo>
                  <a:cubicBezTo>
                    <a:pt x="242" y="75"/>
                    <a:pt x="242" y="75"/>
                    <a:pt x="241" y="75"/>
                  </a:cubicBezTo>
                  <a:cubicBezTo>
                    <a:pt x="241" y="75"/>
                    <a:pt x="241" y="75"/>
                    <a:pt x="241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39" y="74"/>
                    <a:pt x="239" y="74"/>
                    <a:pt x="238" y="74"/>
                  </a:cubicBezTo>
                  <a:cubicBezTo>
                    <a:pt x="238" y="74"/>
                    <a:pt x="238" y="73"/>
                    <a:pt x="238" y="73"/>
                  </a:cubicBezTo>
                  <a:cubicBezTo>
                    <a:pt x="237" y="73"/>
                    <a:pt x="237" y="73"/>
                    <a:pt x="237" y="72"/>
                  </a:cubicBezTo>
                  <a:cubicBezTo>
                    <a:pt x="237" y="72"/>
                    <a:pt x="237" y="72"/>
                    <a:pt x="236" y="72"/>
                  </a:cubicBezTo>
                  <a:cubicBezTo>
                    <a:pt x="236" y="71"/>
                    <a:pt x="236" y="71"/>
                    <a:pt x="236" y="71"/>
                  </a:cubicBezTo>
                  <a:cubicBezTo>
                    <a:pt x="236" y="71"/>
                    <a:pt x="235" y="70"/>
                    <a:pt x="235" y="70"/>
                  </a:cubicBezTo>
                  <a:cubicBezTo>
                    <a:pt x="235" y="70"/>
                    <a:pt x="235" y="69"/>
                    <a:pt x="235" y="69"/>
                  </a:cubicBezTo>
                  <a:cubicBezTo>
                    <a:pt x="235" y="67"/>
                    <a:pt x="234" y="67"/>
                    <a:pt x="233" y="66"/>
                  </a:cubicBezTo>
                  <a:cubicBezTo>
                    <a:pt x="232" y="65"/>
                    <a:pt x="231" y="65"/>
                    <a:pt x="229" y="65"/>
                  </a:cubicBezTo>
                  <a:cubicBezTo>
                    <a:pt x="229" y="65"/>
                    <a:pt x="228" y="64"/>
                    <a:pt x="228" y="64"/>
                  </a:cubicBezTo>
                  <a:cubicBezTo>
                    <a:pt x="227" y="64"/>
                    <a:pt x="227" y="64"/>
                    <a:pt x="227" y="63"/>
                  </a:cubicBezTo>
                  <a:cubicBezTo>
                    <a:pt x="227" y="63"/>
                    <a:pt x="227" y="63"/>
                    <a:pt x="226" y="62"/>
                  </a:cubicBezTo>
                  <a:cubicBezTo>
                    <a:pt x="226" y="62"/>
                    <a:pt x="226" y="61"/>
                    <a:pt x="226" y="61"/>
                  </a:cubicBezTo>
                  <a:cubicBezTo>
                    <a:pt x="225" y="60"/>
                    <a:pt x="224" y="59"/>
                    <a:pt x="223" y="59"/>
                  </a:cubicBezTo>
                  <a:cubicBezTo>
                    <a:pt x="222" y="59"/>
                    <a:pt x="222" y="58"/>
                    <a:pt x="222" y="58"/>
                  </a:cubicBezTo>
                  <a:cubicBezTo>
                    <a:pt x="221" y="57"/>
                    <a:pt x="221" y="56"/>
                    <a:pt x="220" y="55"/>
                  </a:cubicBezTo>
                  <a:cubicBezTo>
                    <a:pt x="219" y="55"/>
                    <a:pt x="219" y="55"/>
                    <a:pt x="219" y="55"/>
                  </a:cubicBezTo>
                  <a:cubicBezTo>
                    <a:pt x="219" y="55"/>
                    <a:pt x="218" y="55"/>
                    <a:pt x="218" y="55"/>
                  </a:cubicBezTo>
                  <a:cubicBezTo>
                    <a:pt x="218" y="55"/>
                    <a:pt x="218" y="54"/>
                    <a:pt x="217" y="54"/>
                  </a:cubicBezTo>
                  <a:cubicBezTo>
                    <a:pt x="217" y="54"/>
                    <a:pt x="217" y="53"/>
                    <a:pt x="217" y="53"/>
                  </a:cubicBezTo>
                  <a:cubicBezTo>
                    <a:pt x="216" y="53"/>
                    <a:pt x="216" y="53"/>
                    <a:pt x="216" y="52"/>
                  </a:cubicBezTo>
                  <a:cubicBezTo>
                    <a:pt x="216" y="52"/>
                    <a:pt x="215" y="52"/>
                    <a:pt x="215" y="52"/>
                  </a:cubicBezTo>
                  <a:cubicBezTo>
                    <a:pt x="215" y="52"/>
                    <a:pt x="215" y="51"/>
                    <a:pt x="215" y="51"/>
                  </a:cubicBezTo>
                  <a:cubicBezTo>
                    <a:pt x="215" y="51"/>
                    <a:pt x="215" y="51"/>
                    <a:pt x="215" y="51"/>
                  </a:cubicBezTo>
                  <a:cubicBezTo>
                    <a:pt x="214" y="49"/>
                    <a:pt x="213" y="49"/>
                    <a:pt x="212" y="48"/>
                  </a:cubicBezTo>
                  <a:cubicBezTo>
                    <a:pt x="212" y="48"/>
                    <a:pt x="211" y="48"/>
                    <a:pt x="211" y="47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211" y="47"/>
                    <a:pt x="211" y="47"/>
                    <a:pt x="211" y="47"/>
                  </a:cubicBezTo>
                  <a:cubicBezTo>
                    <a:pt x="211" y="46"/>
                    <a:pt x="211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4"/>
                    <a:pt x="210" y="44"/>
                    <a:pt x="210" y="44"/>
                  </a:cubicBezTo>
                  <a:cubicBezTo>
                    <a:pt x="211" y="44"/>
                    <a:pt x="211" y="43"/>
                    <a:pt x="211" y="43"/>
                  </a:cubicBezTo>
                  <a:cubicBezTo>
                    <a:pt x="211" y="43"/>
                    <a:pt x="212" y="43"/>
                    <a:pt x="212" y="42"/>
                  </a:cubicBezTo>
                  <a:cubicBezTo>
                    <a:pt x="212" y="42"/>
                    <a:pt x="212" y="42"/>
                    <a:pt x="213" y="42"/>
                  </a:cubicBezTo>
                  <a:cubicBezTo>
                    <a:pt x="213" y="41"/>
                    <a:pt x="214" y="40"/>
                    <a:pt x="214" y="40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15" y="38"/>
                    <a:pt x="215" y="38"/>
                    <a:pt x="215" y="36"/>
                  </a:cubicBezTo>
                  <a:cubicBezTo>
                    <a:pt x="215" y="35"/>
                    <a:pt x="215" y="35"/>
                    <a:pt x="216" y="35"/>
                  </a:cubicBezTo>
                  <a:cubicBezTo>
                    <a:pt x="216" y="34"/>
                    <a:pt x="217" y="33"/>
                    <a:pt x="216" y="32"/>
                  </a:cubicBezTo>
                  <a:cubicBezTo>
                    <a:pt x="216" y="32"/>
                    <a:pt x="216" y="31"/>
                    <a:pt x="215" y="31"/>
                  </a:cubicBezTo>
                  <a:cubicBezTo>
                    <a:pt x="215" y="31"/>
                    <a:pt x="215" y="31"/>
                    <a:pt x="215" y="31"/>
                  </a:cubicBezTo>
                  <a:cubicBezTo>
                    <a:pt x="215" y="31"/>
                    <a:pt x="216" y="30"/>
                    <a:pt x="216" y="30"/>
                  </a:cubicBezTo>
                  <a:cubicBezTo>
                    <a:pt x="216" y="29"/>
                    <a:pt x="216" y="29"/>
                    <a:pt x="217" y="29"/>
                  </a:cubicBezTo>
                  <a:cubicBezTo>
                    <a:pt x="217" y="29"/>
                    <a:pt x="217" y="29"/>
                    <a:pt x="217" y="29"/>
                  </a:cubicBezTo>
                  <a:cubicBezTo>
                    <a:pt x="217" y="30"/>
                    <a:pt x="218" y="30"/>
                    <a:pt x="218" y="30"/>
                  </a:cubicBezTo>
                  <a:cubicBezTo>
                    <a:pt x="219" y="30"/>
                    <a:pt x="220" y="29"/>
                    <a:pt x="220" y="29"/>
                  </a:cubicBezTo>
                  <a:cubicBezTo>
                    <a:pt x="220" y="28"/>
                    <a:pt x="220" y="28"/>
                    <a:pt x="221" y="28"/>
                  </a:cubicBezTo>
                  <a:cubicBezTo>
                    <a:pt x="221" y="27"/>
                    <a:pt x="221" y="27"/>
                    <a:pt x="221" y="27"/>
                  </a:cubicBezTo>
                  <a:cubicBezTo>
                    <a:pt x="222" y="26"/>
                    <a:pt x="222" y="26"/>
                    <a:pt x="222" y="25"/>
                  </a:cubicBezTo>
                  <a:cubicBezTo>
                    <a:pt x="222" y="24"/>
                    <a:pt x="222" y="24"/>
                    <a:pt x="222" y="23"/>
                  </a:cubicBezTo>
                  <a:cubicBezTo>
                    <a:pt x="222" y="23"/>
                    <a:pt x="223" y="22"/>
                    <a:pt x="223" y="22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23" y="20"/>
                    <a:pt x="223" y="20"/>
                    <a:pt x="223" y="20"/>
                  </a:cubicBezTo>
                  <a:cubicBezTo>
                    <a:pt x="224" y="21"/>
                    <a:pt x="224" y="21"/>
                    <a:pt x="224" y="21"/>
                  </a:cubicBezTo>
                  <a:cubicBezTo>
                    <a:pt x="224" y="20"/>
                    <a:pt x="226" y="19"/>
                    <a:pt x="225" y="17"/>
                  </a:cubicBezTo>
                  <a:cubicBezTo>
                    <a:pt x="225" y="16"/>
                    <a:pt x="224" y="16"/>
                    <a:pt x="223" y="15"/>
                  </a:cubicBezTo>
                  <a:cubicBezTo>
                    <a:pt x="223" y="15"/>
                    <a:pt x="223" y="15"/>
                    <a:pt x="223" y="15"/>
                  </a:cubicBezTo>
                  <a:cubicBezTo>
                    <a:pt x="223" y="14"/>
                    <a:pt x="223" y="13"/>
                    <a:pt x="223" y="13"/>
                  </a:cubicBezTo>
                  <a:cubicBezTo>
                    <a:pt x="222" y="12"/>
                    <a:pt x="221" y="12"/>
                    <a:pt x="220" y="13"/>
                  </a:cubicBezTo>
                  <a:cubicBezTo>
                    <a:pt x="219" y="14"/>
                    <a:pt x="218" y="14"/>
                    <a:pt x="218" y="15"/>
                  </a:cubicBezTo>
                  <a:cubicBezTo>
                    <a:pt x="218" y="15"/>
                    <a:pt x="218" y="15"/>
                    <a:pt x="217" y="14"/>
                  </a:cubicBezTo>
                  <a:cubicBezTo>
                    <a:pt x="217" y="14"/>
                    <a:pt x="217" y="14"/>
                    <a:pt x="217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13"/>
                    <a:pt x="215" y="13"/>
                    <a:pt x="215" y="13"/>
                  </a:cubicBezTo>
                  <a:cubicBezTo>
                    <a:pt x="214" y="13"/>
                    <a:pt x="213" y="14"/>
                    <a:pt x="212" y="14"/>
                  </a:cubicBezTo>
                  <a:cubicBezTo>
                    <a:pt x="212" y="15"/>
                    <a:pt x="211" y="15"/>
                    <a:pt x="211" y="15"/>
                  </a:cubicBezTo>
                  <a:cubicBezTo>
                    <a:pt x="210" y="15"/>
                    <a:pt x="210" y="15"/>
                    <a:pt x="209" y="14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8" y="14"/>
                    <a:pt x="208" y="13"/>
                    <a:pt x="208" y="13"/>
                  </a:cubicBezTo>
                  <a:cubicBezTo>
                    <a:pt x="207" y="12"/>
                    <a:pt x="206" y="13"/>
                    <a:pt x="205" y="13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3"/>
                    <a:pt x="205" y="13"/>
                    <a:pt x="204" y="13"/>
                  </a:cubicBezTo>
                  <a:cubicBezTo>
                    <a:pt x="204" y="13"/>
                    <a:pt x="203" y="13"/>
                    <a:pt x="203" y="13"/>
                  </a:cubicBezTo>
                  <a:cubicBezTo>
                    <a:pt x="203" y="13"/>
                    <a:pt x="202" y="12"/>
                    <a:pt x="202" y="12"/>
                  </a:cubicBezTo>
                  <a:cubicBezTo>
                    <a:pt x="202" y="12"/>
                    <a:pt x="202" y="11"/>
                    <a:pt x="201" y="11"/>
                  </a:cubicBezTo>
                  <a:cubicBezTo>
                    <a:pt x="200" y="10"/>
                    <a:pt x="199" y="11"/>
                    <a:pt x="199" y="11"/>
                  </a:cubicBezTo>
                  <a:cubicBezTo>
                    <a:pt x="199" y="11"/>
                    <a:pt x="198" y="11"/>
                    <a:pt x="198" y="11"/>
                  </a:cubicBezTo>
                  <a:cubicBezTo>
                    <a:pt x="198" y="11"/>
                    <a:pt x="198" y="11"/>
                    <a:pt x="198" y="11"/>
                  </a:cubicBezTo>
                  <a:cubicBezTo>
                    <a:pt x="198" y="11"/>
                    <a:pt x="197" y="10"/>
                    <a:pt x="196" y="10"/>
                  </a:cubicBezTo>
                  <a:cubicBezTo>
                    <a:pt x="196" y="10"/>
                    <a:pt x="196" y="10"/>
                    <a:pt x="196" y="10"/>
                  </a:cubicBezTo>
                  <a:cubicBezTo>
                    <a:pt x="196" y="10"/>
                    <a:pt x="196" y="10"/>
                    <a:pt x="195" y="10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195" y="9"/>
                    <a:pt x="195" y="9"/>
                    <a:pt x="195" y="9"/>
                  </a:cubicBezTo>
                  <a:cubicBezTo>
                    <a:pt x="195" y="8"/>
                    <a:pt x="195" y="7"/>
                    <a:pt x="194" y="7"/>
                  </a:cubicBezTo>
                  <a:cubicBezTo>
                    <a:pt x="193" y="7"/>
                    <a:pt x="193" y="7"/>
                    <a:pt x="192" y="7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2" y="7"/>
                    <a:pt x="192" y="6"/>
                    <a:pt x="191" y="6"/>
                  </a:cubicBezTo>
                  <a:cubicBezTo>
                    <a:pt x="191" y="5"/>
                    <a:pt x="189" y="4"/>
                    <a:pt x="188" y="4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6" y="3"/>
                    <a:pt x="185" y="4"/>
                    <a:pt x="183" y="4"/>
                  </a:cubicBezTo>
                  <a:cubicBezTo>
                    <a:pt x="183" y="5"/>
                    <a:pt x="182" y="5"/>
                    <a:pt x="182" y="6"/>
                  </a:cubicBezTo>
                  <a:cubicBezTo>
                    <a:pt x="182" y="7"/>
                    <a:pt x="183" y="8"/>
                    <a:pt x="184" y="8"/>
                  </a:cubicBezTo>
                  <a:cubicBezTo>
                    <a:pt x="184" y="9"/>
                    <a:pt x="184" y="9"/>
                    <a:pt x="184" y="10"/>
                  </a:cubicBezTo>
                  <a:cubicBezTo>
                    <a:pt x="185" y="10"/>
                    <a:pt x="185" y="10"/>
                    <a:pt x="185" y="10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7" y="11"/>
                    <a:pt x="187" y="11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9" y="12"/>
                    <a:pt x="188" y="13"/>
                    <a:pt x="189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8" y="13"/>
                    <a:pt x="187" y="13"/>
                    <a:pt x="187" y="13"/>
                  </a:cubicBezTo>
                  <a:cubicBezTo>
                    <a:pt x="187" y="13"/>
                    <a:pt x="186" y="14"/>
                    <a:pt x="186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84" y="14"/>
                    <a:pt x="183" y="14"/>
                    <a:pt x="182" y="14"/>
                  </a:cubicBezTo>
                  <a:cubicBezTo>
                    <a:pt x="182" y="14"/>
                    <a:pt x="182" y="14"/>
                    <a:pt x="182" y="14"/>
                  </a:cubicBezTo>
                  <a:cubicBezTo>
                    <a:pt x="182" y="14"/>
                    <a:pt x="182" y="14"/>
                    <a:pt x="182" y="14"/>
                  </a:cubicBezTo>
                  <a:cubicBezTo>
                    <a:pt x="182" y="14"/>
                    <a:pt x="182" y="14"/>
                    <a:pt x="181" y="13"/>
                  </a:cubicBezTo>
                  <a:cubicBezTo>
                    <a:pt x="180" y="12"/>
                    <a:pt x="178" y="12"/>
                    <a:pt x="177" y="14"/>
                  </a:cubicBezTo>
                  <a:cubicBezTo>
                    <a:pt x="177" y="14"/>
                    <a:pt x="176" y="14"/>
                    <a:pt x="175" y="14"/>
                  </a:cubicBezTo>
                  <a:cubicBezTo>
                    <a:pt x="175" y="14"/>
                    <a:pt x="175" y="15"/>
                    <a:pt x="175" y="15"/>
                  </a:cubicBezTo>
                  <a:cubicBezTo>
                    <a:pt x="174" y="16"/>
                    <a:pt x="175" y="16"/>
                    <a:pt x="175" y="17"/>
                  </a:cubicBezTo>
                  <a:cubicBezTo>
                    <a:pt x="174" y="16"/>
                    <a:pt x="174" y="16"/>
                    <a:pt x="173" y="16"/>
                  </a:cubicBezTo>
                  <a:cubicBezTo>
                    <a:pt x="173" y="16"/>
                    <a:pt x="172" y="16"/>
                    <a:pt x="172" y="17"/>
                  </a:cubicBezTo>
                  <a:cubicBezTo>
                    <a:pt x="171" y="18"/>
                    <a:pt x="171" y="18"/>
                    <a:pt x="171" y="19"/>
                  </a:cubicBezTo>
                  <a:cubicBezTo>
                    <a:pt x="171" y="19"/>
                    <a:pt x="170" y="20"/>
                    <a:pt x="170" y="21"/>
                  </a:cubicBezTo>
                  <a:cubicBezTo>
                    <a:pt x="169" y="21"/>
                    <a:pt x="169" y="21"/>
                    <a:pt x="169" y="22"/>
                  </a:cubicBezTo>
                  <a:cubicBezTo>
                    <a:pt x="167" y="22"/>
                    <a:pt x="167" y="24"/>
                    <a:pt x="168" y="26"/>
                  </a:cubicBezTo>
                  <a:cubicBezTo>
                    <a:pt x="168" y="26"/>
                    <a:pt x="169" y="27"/>
                    <a:pt x="169" y="27"/>
                  </a:cubicBezTo>
                  <a:cubicBezTo>
                    <a:pt x="169" y="27"/>
                    <a:pt x="169" y="27"/>
                    <a:pt x="169" y="27"/>
                  </a:cubicBezTo>
                  <a:cubicBezTo>
                    <a:pt x="168" y="27"/>
                    <a:pt x="167" y="27"/>
                    <a:pt x="167" y="28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67" y="28"/>
                    <a:pt x="166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4" y="28"/>
                    <a:pt x="163" y="29"/>
                    <a:pt x="163" y="29"/>
                  </a:cubicBezTo>
                  <a:cubicBezTo>
                    <a:pt x="163" y="30"/>
                    <a:pt x="163" y="30"/>
                    <a:pt x="163" y="31"/>
                  </a:cubicBezTo>
                  <a:cubicBezTo>
                    <a:pt x="161" y="31"/>
                    <a:pt x="161" y="33"/>
                    <a:pt x="161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1" y="34"/>
                    <a:pt x="161" y="34"/>
                    <a:pt x="161" y="34"/>
                  </a:cubicBezTo>
                  <a:cubicBezTo>
                    <a:pt x="161" y="34"/>
                    <a:pt x="161" y="35"/>
                    <a:pt x="160" y="35"/>
                  </a:cubicBezTo>
                  <a:cubicBezTo>
                    <a:pt x="160" y="36"/>
                    <a:pt x="159" y="37"/>
                    <a:pt x="159" y="38"/>
                  </a:cubicBezTo>
                  <a:cubicBezTo>
                    <a:pt x="158" y="38"/>
                    <a:pt x="158" y="40"/>
                    <a:pt x="159" y="41"/>
                  </a:cubicBezTo>
                  <a:cubicBezTo>
                    <a:pt x="160" y="42"/>
                    <a:pt x="160" y="42"/>
                    <a:pt x="161" y="42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61" y="42"/>
                    <a:pt x="161" y="43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0" y="42"/>
                    <a:pt x="159" y="42"/>
                    <a:pt x="158" y="43"/>
                  </a:cubicBezTo>
                  <a:cubicBezTo>
                    <a:pt x="158" y="43"/>
                    <a:pt x="158" y="43"/>
                    <a:pt x="157" y="43"/>
                  </a:cubicBezTo>
                  <a:cubicBezTo>
                    <a:pt x="156" y="42"/>
                    <a:pt x="155" y="42"/>
                    <a:pt x="154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3" y="42"/>
                    <a:pt x="152" y="42"/>
                    <a:pt x="152" y="43"/>
                  </a:cubicBezTo>
                  <a:cubicBezTo>
                    <a:pt x="151" y="43"/>
                    <a:pt x="151" y="44"/>
                    <a:pt x="152" y="44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1" y="45"/>
                    <a:pt x="150" y="46"/>
                    <a:pt x="150" y="47"/>
                  </a:cubicBezTo>
                  <a:cubicBezTo>
                    <a:pt x="150" y="47"/>
                    <a:pt x="149" y="47"/>
                    <a:pt x="149" y="47"/>
                  </a:cubicBezTo>
                  <a:cubicBezTo>
                    <a:pt x="150" y="47"/>
                    <a:pt x="150" y="46"/>
                    <a:pt x="150" y="46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50" y="44"/>
                    <a:pt x="150" y="44"/>
                  </a:cubicBezTo>
                  <a:cubicBezTo>
                    <a:pt x="150" y="44"/>
                    <a:pt x="150" y="44"/>
                    <a:pt x="150" y="44"/>
                  </a:cubicBezTo>
                  <a:cubicBezTo>
                    <a:pt x="150" y="44"/>
                    <a:pt x="151" y="43"/>
                    <a:pt x="151" y="41"/>
                  </a:cubicBezTo>
                  <a:cubicBezTo>
                    <a:pt x="151" y="40"/>
                    <a:pt x="150" y="40"/>
                    <a:pt x="149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8"/>
                    <a:pt x="148" y="38"/>
                  </a:cubicBezTo>
                  <a:cubicBezTo>
                    <a:pt x="148" y="38"/>
                    <a:pt x="148" y="37"/>
                    <a:pt x="148" y="36"/>
                  </a:cubicBezTo>
                  <a:cubicBezTo>
                    <a:pt x="148" y="36"/>
                    <a:pt x="148" y="35"/>
                    <a:pt x="147" y="35"/>
                  </a:cubicBezTo>
                  <a:cubicBezTo>
                    <a:pt x="147" y="35"/>
                    <a:pt x="147" y="34"/>
                    <a:pt x="147" y="34"/>
                  </a:cubicBezTo>
                  <a:cubicBezTo>
                    <a:pt x="147" y="34"/>
                    <a:pt x="147" y="34"/>
                    <a:pt x="147" y="34"/>
                  </a:cubicBezTo>
                  <a:cubicBezTo>
                    <a:pt x="147" y="33"/>
                    <a:pt x="146" y="32"/>
                    <a:pt x="145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3" y="32"/>
                  </a:cubicBezTo>
                  <a:cubicBezTo>
                    <a:pt x="143" y="31"/>
                    <a:pt x="143" y="31"/>
                    <a:pt x="142" y="30"/>
                  </a:cubicBezTo>
                  <a:cubicBezTo>
                    <a:pt x="141" y="29"/>
                    <a:pt x="140" y="30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8" y="32"/>
                    <a:pt x="138" y="32"/>
                  </a:cubicBezTo>
                  <a:cubicBezTo>
                    <a:pt x="137" y="32"/>
                    <a:pt x="137" y="32"/>
                    <a:pt x="137" y="33"/>
                  </a:cubicBezTo>
                  <a:cubicBezTo>
                    <a:pt x="137" y="32"/>
                    <a:pt x="136" y="32"/>
                    <a:pt x="136" y="31"/>
                  </a:cubicBezTo>
                  <a:cubicBezTo>
                    <a:pt x="136" y="31"/>
                    <a:pt x="135" y="31"/>
                    <a:pt x="134" y="31"/>
                  </a:cubicBezTo>
                  <a:cubicBezTo>
                    <a:pt x="134" y="31"/>
                    <a:pt x="133" y="31"/>
                    <a:pt x="133" y="32"/>
                  </a:cubicBezTo>
                  <a:cubicBezTo>
                    <a:pt x="132" y="32"/>
                    <a:pt x="132" y="33"/>
                    <a:pt x="132" y="34"/>
                  </a:cubicBezTo>
                  <a:cubicBezTo>
                    <a:pt x="132" y="35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7"/>
                    <a:pt x="134" y="37"/>
                    <a:pt x="134" y="38"/>
                  </a:cubicBezTo>
                  <a:cubicBezTo>
                    <a:pt x="133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5"/>
                    <a:pt x="131" y="34"/>
                    <a:pt x="130" y="34"/>
                  </a:cubicBezTo>
                  <a:cubicBezTo>
                    <a:pt x="129" y="34"/>
                    <a:pt x="129" y="35"/>
                    <a:pt x="128" y="36"/>
                  </a:cubicBezTo>
                  <a:cubicBezTo>
                    <a:pt x="128" y="36"/>
                    <a:pt x="128" y="37"/>
                    <a:pt x="128" y="37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7" y="38"/>
                  </a:cubicBezTo>
                  <a:cubicBezTo>
                    <a:pt x="126" y="39"/>
                    <a:pt x="125" y="39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4" y="40"/>
                    <a:pt x="124" y="41"/>
                  </a:cubicBezTo>
                  <a:cubicBezTo>
                    <a:pt x="123" y="41"/>
                    <a:pt x="123" y="42"/>
                    <a:pt x="123" y="42"/>
                  </a:cubicBezTo>
                  <a:cubicBezTo>
                    <a:pt x="123" y="43"/>
                    <a:pt x="124" y="44"/>
                    <a:pt x="124" y="44"/>
                  </a:cubicBezTo>
                  <a:cubicBezTo>
                    <a:pt x="124" y="44"/>
                    <a:pt x="123" y="44"/>
                    <a:pt x="122" y="45"/>
                  </a:cubicBezTo>
                  <a:cubicBezTo>
                    <a:pt x="121" y="45"/>
                    <a:pt x="121" y="46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0" y="47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8" y="48"/>
                    <a:pt x="116" y="48"/>
                    <a:pt x="116" y="52"/>
                  </a:cubicBezTo>
                  <a:cubicBezTo>
                    <a:pt x="116" y="53"/>
                    <a:pt x="116" y="54"/>
                    <a:pt x="117" y="55"/>
                  </a:cubicBezTo>
                  <a:cubicBezTo>
                    <a:pt x="117" y="55"/>
                    <a:pt x="116" y="56"/>
                    <a:pt x="116" y="57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7"/>
                    <a:pt x="115" y="57"/>
                    <a:pt x="114" y="56"/>
                  </a:cubicBezTo>
                  <a:cubicBezTo>
                    <a:pt x="114" y="56"/>
                    <a:pt x="114" y="56"/>
                    <a:pt x="113" y="56"/>
                  </a:cubicBezTo>
                  <a:cubicBezTo>
                    <a:pt x="113" y="55"/>
                    <a:pt x="113" y="55"/>
                    <a:pt x="112" y="55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0" y="54"/>
                    <a:pt x="110" y="55"/>
                    <a:pt x="109" y="56"/>
                  </a:cubicBezTo>
                  <a:cubicBezTo>
                    <a:pt x="109" y="56"/>
                    <a:pt x="109" y="56"/>
                    <a:pt x="109" y="57"/>
                  </a:cubicBezTo>
                  <a:cubicBezTo>
                    <a:pt x="109" y="56"/>
                    <a:pt x="109" y="56"/>
                    <a:pt x="108" y="56"/>
                  </a:cubicBezTo>
                  <a:cubicBezTo>
                    <a:pt x="108" y="56"/>
                    <a:pt x="107" y="55"/>
                    <a:pt x="107" y="55"/>
                  </a:cubicBezTo>
                  <a:cubicBezTo>
                    <a:pt x="105" y="55"/>
                    <a:pt x="104" y="57"/>
                    <a:pt x="103" y="57"/>
                  </a:cubicBezTo>
                  <a:cubicBezTo>
                    <a:pt x="103" y="57"/>
                    <a:pt x="103" y="58"/>
                    <a:pt x="103" y="58"/>
                  </a:cubicBezTo>
                  <a:cubicBezTo>
                    <a:pt x="103" y="58"/>
                    <a:pt x="102" y="58"/>
                    <a:pt x="102" y="59"/>
                  </a:cubicBezTo>
                  <a:cubicBezTo>
                    <a:pt x="102" y="60"/>
                    <a:pt x="102" y="60"/>
                    <a:pt x="102" y="61"/>
                  </a:cubicBezTo>
                  <a:cubicBezTo>
                    <a:pt x="101" y="61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99" y="63"/>
                    <a:pt x="98" y="63"/>
                    <a:pt x="97" y="64"/>
                  </a:cubicBezTo>
                  <a:cubicBezTo>
                    <a:pt x="97" y="65"/>
                    <a:pt x="97" y="66"/>
                    <a:pt x="98" y="67"/>
                  </a:cubicBezTo>
                  <a:cubicBezTo>
                    <a:pt x="98" y="67"/>
                    <a:pt x="98" y="67"/>
                    <a:pt x="98" y="67"/>
                  </a:cubicBezTo>
                  <a:cubicBezTo>
                    <a:pt x="97" y="67"/>
                    <a:pt x="96" y="68"/>
                    <a:pt x="96" y="70"/>
                  </a:cubicBezTo>
                  <a:cubicBezTo>
                    <a:pt x="97" y="71"/>
                    <a:pt x="97" y="72"/>
                    <a:pt x="97" y="72"/>
                  </a:cubicBezTo>
                  <a:cubicBezTo>
                    <a:pt x="98" y="73"/>
                    <a:pt x="98" y="73"/>
                    <a:pt x="98" y="74"/>
                  </a:cubicBezTo>
                  <a:cubicBezTo>
                    <a:pt x="98" y="74"/>
                    <a:pt x="98" y="74"/>
                    <a:pt x="97" y="74"/>
                  </a:cubicBezTo>
                  <a:cubicBezTo>
                    <a:pt x="97" y="74"/>
                    <a:pt x="97" y="75"/>
                    <a:pt x="97" y="75"/>
                  </a:cubicBezTo>
                  <a:cubicBezTo>
                    <a:pt x="96" y="75"/>
                    <a:pt x="96" y="76"/>
                    <a:pt x="96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7"/>
                    <a:pt x="95" y="77"/>
                    <a:pt x="94" y="77"/>
                  </a:cubicBezTo>
                  <a:cubicBezTo>
                    <a:pt x="94" y="77"/>
                    <a:pt x="94" y="77"/>
                    <a:pt x="93" y="78"/>
                  </a:cubicBezTo>
                  <a:cubicBezTo>
                    <a:pt x="93" y="78"/>
                    <a:pt x="93" y="79"/>
                    <a:pt x="92" y="79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92" y="81"/>
                    <a:pt x="91" y="81"/>
                    <a:pt x="91" y="82"/>
                  </a:cubicBezTo>
                  <a:cubicBezTo>
                    <a:pt x="90" y="82"/>
                    <a:pt x="90" y="83"/>
                    <a:pt x="89" y="84"/>
                  </a:cubicBezTo>
                  <a:cubicBezTo>
                    <a:pt x="89" y="84"/>
                    <a:pt x="89" y="85"/>
                    <a:pt x="89" y="85"/>
                  </a:cubicBezTo>
                  <a:cubicBezTo>
                    <a:pt x="89" y="86"/>
                    <a:pt x="88" y="86"/>
                    <a:pt x="88" y="86"/>
                  </a:cubicBezTo>
                  <a:cubicBezTo>
                    <a:pt x="88" y="87"/>
                    <a:pt x="87" y="87"/>
                    <a:pt x="87" y="87"/>
                  </a:cubicBezTo>
                  <a:cubicBezTo>
                    <a:pt x="86" y="87"/>
                    <a:pt x="86" y="88"/>
                    <a:pt x="86" y="88"/>
                  </a:cubicBezTo>
                  <a:cubicBezTo>
                    <a:pt x="85" y="88"/>
                    <a:pt x="85" y="89"/>
                    <a:pt x="84" y="89"/>
                  </a:cubicBezTo>
                  <a:cubicBezTo>
                    <a:pt x="83" y="90"/>
                    <a:pt x="83" y="90"/>
                    <a:pt x="83" y="90"/>
                  </a:cubicBezTo>
                  <a:cubicBezTo>
                    <a:pt x="83" y="90"/>
                    <a:pt x="82" y="90"/>
                    <a:pt x="82" y="91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81" y="91"/>
                    <a:pt x="80" y="91"/>
                    <a:pt x="80" y="92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8" y="93"/>
                    <a:pt x="78" y="93"/>
                    <a:pt x="77" y="93"/>
                  </a:cubicBezTo>
                  <a:cubicBezTo>
                    <a:pt x="75" y="92"/>
                    <a:pt x="74" y="93"/>
                    <a:pt x="73" y="94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1" y="94"/>
                    <a:pt x="70" y="93"/>
                    <a:pt x="69" y="93"/>
                  </a:cubicBezTo>
                  <a:cubicBezTo>
                    <a:pt x="68" y="94"/>
                    <a:pt x="68" y="94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6" y="95"/>
                    <a:pt x="66" y="96"/>
                    <a:pt x="66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3" y="97"/>
                    <a:pt x="63" y="97"/>
                    <a:pt x="62" y="97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1" y="96"/>
                    <a:pt x="59" y="96"/>
                    <a:pt x="58" y="98"/>
                  </a:cubicBezTo>
                  <a:cubicBezTo>
                    <a:pt x="58" y="98"/>
                    <a:pt x="57" y="99"/>
                    <a:pt x="56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5" y="99"/>
                    <a:pt x="54" y="99"/>
                    <a:pt x="53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52" y="99"/>
                    <a:pt x="51" y="98"/>
                    <a:pt x="50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49" y="98"/>
                    <a:pt x="47" y="100"/>
                    <a:pt x="46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42" y="103"/>
                    <a:pt x="42" y="103"/>
                    <a:pt x="41" y="104"/>
                  </a:cubicBezTo>
                  <a:cubicBezTo>
                    <a:pt x="40" y="104"/>
                    <a:pt x="40" y="105"/>
                    <a:pt x="40" y="105"/>
                  </a:cubicBezTo>
                  <a:cubicBezTo>
                    <a:pt x="40" y="105"/>
                    <a:pt x="39" y="106"/>
                    <a:pt x="39" y="106"/>
                  </a:cubicBezTo>
                  <a:cubicBezTo>
                    <a:pt x="39" y="106"/>
                    <a:pt x="39" y="106"/>
                    <a:pt x="38" y="106"/>
                  </a:cubicBezTo>
                  <a:cubicBezTo>
                    <a:pt x="38" y="106"/>
                    <a:pt x="37" y="106"/>
                    <a:pt x="36" y="106"/>
                  </a:cubicBezTo>
                  <a:cubicBezTo>
                    <a:pt x="35" y="106"/>
                    <a:pt x="35" y="107"/>
                    <a:pt x="35" y="10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09"/>
                    <a:pt x="34" y="109"/>
                    <a:pt x="33" y="109"/>
                  </a:cubicBezTo>
                  <a:cubicBezTo>
                    <a:pt x="33" y="109"/>
                    <a:pt x="32" y="109"/>
                    <a:pt x="32" y="109"/>
                  </a:cubicBezTo>
                  <a:cubicBezTo>
                    <a:pt x="31" y="109"/>
                    <a:pt x="30" y="110"/>
                    <a:pt x="29" y="111"/>
                  </a:cubicBezTo>
                  <a:cubicBezTo>
                    <a:pt x="29" y="111"/>
                    <a:pt x="29" y="112"/>
                    <a:pt x="28" y="112"/>
                  </a:cubicBezTo>
                  <a:cubicBezTo>
                    <a:pt x="28" y="112"/>
                    <a:pt x="28" y="112"/>
                    <a:pt x="28" y="111"/>
                  </a:cubicBezTo>
                  <a:cubicBezTo>
                    <a:pt x="27" y="110"/>
                    <a:pt x="26" y="110"/>
                    <a:pt x="24" y="111"/>
                  </a:cubicBezTo>
                  <a:cubicBezTo>
                    <a:pt x="23" y="112"/>
                    <a:pt x="22" y="113"/>
                    <a:pt x="22" y="114"/>
                  </a:cubicBezTo>
                  <a:cubicBezTo>
                    <a:pt x="22" y="115"/>
                    <a:pt x="22" y="115"/>
                    <a:pt x="21" y="116"/>
                  </a:cubicBezTo>
                  <a:cubicBezTo>
                    <a:pt x="20" y="117"/>
                    <a:pt x="20" y="119"/>
                    <a:pt x="21" y="121"/>
                  </a:cubicBezTo>
                  <a:cubicBezTo>
                    <a:pt x="21" y="122"/>
                    <a:pt x="21" y="122"/>
                    <a:pt x="21" y="123"/>
                  </a:cubicBezTo>
                  <a:cubicBezTo>
                    <a:pt x="21" y="123"/>
                    <a:pt x="21" y="123"/>
                    <a:pt x="20" y="123"/>
                  </a:cubicBezTo>
                  <a:cubicBezTo>
                    <a:pt x="20" y="124"/>
                    <a:pt x="20" y="124"/>
                    <a:pt x="19" y="125"/>
                  </a:cubicBezTo>
                  <a:cubicBezTo>
                    <a:pt x="19" y="126"/>
                    <a:pt x="19" y="127"/>
                    <a:pt x="19" y="127"/>
                  </a:cubicBezTo>
                  <a:cubicBezTo>
                    <a:pt x="19" y="128"/>
                    <a:pt x="19" y="128"/>
                    <a:pt x="19" y="129"/>
                  </a:cubicBezTo>
                  <a:cubicBezTo>
                    <a:pt x="19" y="129"/>
                    <a:pt x="18" y="129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6" y="131"/>
                    <a:pt x="15" y="132"/>
                    <a:pt x="15" y="133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4" y="136"/>
                    <a:pt x="13" y="138"/>
                    <a:pt x="14" y="140"/>
                  </a:cubicBezTo>
                  <a:cubicBezTo>
                    <a:pt x="14" y="140"/>
                    <a:pt x="14" y="141"/>
                    <a:pt x="14" y="14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3"/>
                    <a:pt x="14" y="143"/>
                  </a:cubicBezTo>
                  <a:cubicBezTo>
                    <a:pt x="14" y="143"/>
                    <a:pt x="14" y="143"/>
                    <a:pt x="14" y="144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5" y="146"/>
                    <a:pt x="15" y="146"/>
                    <a:pt x="15" y="147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5" y="148"/>
                    <a:pt x="15" y="149"/>
                    <a:pt x="15" y="150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5" y="150"/>
                    <a:pt x="14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cubicBezTo>
                    <a:pt x="13" y="150"/>
                    <a:pt x="12" y="150"/>
                    <a:pt x="12" y="151"/>
                  </a:cubicBezTo>
                  <a:cubicBezTo>
                    <a:pt x="11" y="151"/>
                    <a:pt x="11" y="152"/>
                    <a:pt x="11" y="153"/>
                  </a:cubicBezTo>
                  <a:cubicBezTo>
                    <a:pt x="11" y="154"/>
                    <a:pt x="11" y="154"/>
                    <a:pt x="11" y="154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0" y="155"/>
                    <a:pt x="9" y="156"/>
                    <a:pt x="8" y="157"/>
                  </a:cubicBezTo>
                  <a:cubicBezTo>
                    <a:pt x="8" y="158"/>
                    <a:pt x="9" y="159"/>
                    <a:pt x="9" y="160"/>
                  </a:cubicBezTo>
                  <a:cubicBezTo>
                    <a:pt x="9" y="160"/>
                    <a:pt x="9" y="161"/>
                    <a:pt x="9" y="161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9" y="163"/>
                    <a:pt x="10" y="164"/>
                    <a:pt x="10" y="165"/>
                  </a:cubicBezTo>
                  <a:cubicBezTo>
                    <a:pt x="11" y="166"/>
                    <a:pt x="11" y="166"/>
                    <a:pt x="11" y="166"/>
                  </a:cubicBezTo>
                  <a:cubicBezTo>
                    <a:pt x="12" y="168"/>
                    <a:pt x="12" y="169"/>
                    <a:pt x="12" y="171"/>
                  </a:cubicBezTo>
                  <a:cubicBezTo>
                    <a:pt x="12" y="172"/>
                    <a:pt x="12" y="174"/>
                    <a:pt x="12" y="175"/>
                  </a:cubicBezTo>
                  <a:cubicBezTo>
                    <a:pt x="12" y="176"/>
                    <a:pt x="12" y="176"/>
                    <a:pt x="12" y="176"/>
                  </a:cubicBezTo>
                  <a:cubicBezTo>
                    <a:pt x="12" y="177"/>
                    <a:pt x="12" y="178"/>
                    <a:pt x="12" y="179"/>
                  </a:cubicBezTo>
                  <a:cubicBezTo>
                    <a:pt x="12" y="180"/>
                    <a:pt x="12" y="180"/>
                    <a:pt x="12" y="181"/>
                  </a:cubicBezTo>
                  <a:cubicBezTo>
                    <a:pt x="13" y="181"/>
                    <a:pt x="13" y="181"/>
                    <a:pt x="13" y="181"/>
                  </a:cubicBezTo>
                  <a:cubicBezTo>
                    <a:pt x="13" y="182"/>
                    <a:pt x="13" y="182"/>
                    <a:pt x="13" y="183"/>
                  </a:cubicBezTo>
                  <a:cubicBezTo>
                    <a:pt x="13" y="183"/>
                    <a:pt x="13" y="184"/>
                    <a:pt x="13" y="184"/>
                  </a:cubicBezTo>
                  <a:cubicBezTo>
                    <a:pt x="13" y="187"/>
                    <a:pt x="13" y="189"/>
                    <a:pt x="14" y="191"/>
                  </a:cubicBezTo>
                  <a:cubicBezTo>
                    <a:pt x="14" y="192"/>
                    <a:pt x="14" y="193"/>
                    <a:pt x="13" y="195"/>
                  </a:cubicBezTo>
                  <a:cubicBezTo>
                    <a:pt x="13" y="195"/>
                    <a:pt x="13" y="196"/>
                    <a:pt x="13" y="196"/>
                  </a:cubicBezTo>
                  <a:cubicBezTo>
                    <a:pt x="12" y="198"/>
                    <a:pt x="12" y="200"/>
                    <a:pt x="12" y="202"/>
                  </a:cubicBezTo>
                  <a:cubicBezTo>
                    <a:pt x="12" y="202"/>
                    <a:pt x="12" y="203"/>
                    <a:pt x="12" y="203"/>
                  </a:cubicBezTo>
                  <a:cubicBezTo>
                    <a:pt x="12" y="204"/>
                    <a:pt x="12" y="204"/>
                    <a:pt x="12" y="205"/>
                  </a:cubicBezTo>
                  <a:cubicBezTo>
                    <a:pt x="12" y="206"/>
                    <a:pt x="12" y="206"/>
                    <a:pt x="12" y="206"/>
                  </a:cubicBezTo>
                  <a:cubicBezTo>
                    <a:pt x="12" y="207"/>
                    <a:pt x="13" y="208"/>
                    <a:pt x="13" y="210"/>
                  </a:cubicBezTo>
                  <a:cubicBezTo>
                    <a:pt x="13" y="210"/>
                    <a:pt x="13" y="211"/>
                    <a:pt x="13" y="211"/>
                  </a:cubicBezTo>
                  <a:cubicBezTo>
                    <a:pt x="13" y="211"/>
                    <a:pt x="13" y="212"/>
                    <a:pt x="13" y="212"/>
                  </a:cubicBezTo>
                  <a:cubicBezTo>
                    <a:pt x="13" y="212"/>
                    <a:pt x="12" y="213"/>
                    <a:pt x="12" y="214"/>
                  </a:cubicBezTo>
                  <a:cubicBezTo>
                    <a:pt x="12" y="215"/>
                    <a:pt x="13" y="216"/>
                    <a:pt x="13" y="217"/>
                  </a:cubicBezTo>
                  <a:cubicBezTo>
                    <a:pt x="14" y="218"/>
                    <a:pt x="14" y="218"/>
                    <a:pt x="14" y="219"/>
                  </a:cubicBezTo>
                  <a:cubicBezTo>
                    <a:pt x="14" y="219"/>
                    <a:pt x="13" y="220"/>
                    <a:pt x="13" y="221"/>
                  </a:cubicBezTo>
                  <a:cubicBezTo>
                    <a:pt x="12" y="221"/>
                    <a:pt x="12" y="222"/>
                    <a:pt x="11" y="223"/>
                  </a:cubicBezTo>
                  <a:cubicBezTo>
                    <a:pt x="11" y="224"/>
                    <a:pt x="11" y="225"/>
                    <a:pt x="11" y="225"/>
                  </a:cubicBezTo>
                  <a:cubicBezTo>
                    <a:pt x="11" y="225"/>
                    <a:pt x="11" y="226"/>
                    <a:pt x="11" y="226"/>
                  </a:cubicBezTo>
                  <a:cubicBezTo>
                    <a:pt x="10" y="226"/>
                    <a:pt x="10" y="226"/>
                    <a:pt x="10" y="227"/>
                  </a:cubicBezTo>
                  <a:cubicBezTo>
                    <a:pt x="9" y="228"/>
                    <a:pt x="9" y="229"/>
                    <a:pt x="9" y="229"/>
                  </a:cubicBezTo>
                  <a:cubicBezTo>
                    <a:pt x="9" y="229"/>
                    <a:pt x="9" y="230"/>
                    <a:pt x="9" y="230"/>
                  </a:cubicBezTo>
                  <a:cubicBezTo>
                    <a:pt x="9" y="230"/>
                    <a:pt x="9" y="230"/>
                    <a:pt x="9" y="230"/>
                  </a:cubicBezTo>
                  <a:cubicBezTo>
                    <a:pt x="9" y="231"/>
                    <a:pt x="9" y="231"/>
                    <a:pt x="9" y="231"/>
                  </a:cubicBezTo>
                  <a:cubicBezTo>
                    <a:pt x="9" y="232"/>
                    <a:pt x="9" y="232"/>
                    <a:pt x="9" y="233"/>
                  </a:cubicBezTo>
                  <a:cubicBezTo>
                    <a:pt x="9" y="233"/>
                    <a:pt x="9" y="233"/>
                    <a:pt x="9" y="233"/>
                  </a:cubicBezTo>
                  <a:cubicBezTo>
                    <a:pt x="9" y="233"/>
                    <a:pt x="9" y="233"/>
                    <a:pt x="9" y="233"/>
                  </a:cubicBezTo>
                  <a:cubicBezTo>
                    <a:pt x="8" y="233"/>
                    <a:pt x="7" y="234"/>
                    <a:pt x="7" y="235"/>
                  </a:cubicBezTo>
                  <a:cubicBezTo>
                    <a:pt x="7" y="235"/>
                    <a:pt x="7" y="235"/>
                    <a:pt x="7" y="235"/>
                  </a:cubicBezTo>
                  <a:cubicBezTo>
                    <a:pt x="7" y="235"/>
                    <a:pt x="6" y="235"/>
                    <a:pt x="6" y="236"/>
                  </a:cubicBezTo>
                  <a:cubicBezTo>
                    <a:pt x="6" y="236"/>
                    <a:pt x="6" y="236"/>
                    <a:pt x="6" y="236"/>
                  </a:cubicBezTo>
                  <a:cubicBezTo>
                    <a:pt x="6" y="236"/>
                    <a:pt x="5" y="236"/>
                    <a:pt x="5" y="236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3" y="236"/>
                    <a:pt x="2" y="237"/>
                    <a:pt x="2" y="238"/>
                  </a:cubicBezTo>
                  <a:cubicBezTo>
                    <a:pt x="2" y="238"/>
                    <a:pt x="2" y="238"/>
                    <a:pt x="2" y="238"/>
                  </a:cubicBezTo>
                  <a:cubicBezTo>
                    <a:pt x="1" y="239"/>
                    <a:pt x="1" y="239"/>
                    <a:pt x="1" y="240"/>
                  </a:cubicBezTo>
                  <a:cubicBezTo>
                    <a:pt x="1" y="241"/>
                    <a:pt x="1" y="241"/>
                    <a:pt x="1" y="242"/>
                  </a:cubicBezTo>
                  <a:cubicBezTo>
                    <a:pt x="1" y="243"/>
                    <a:pt x="1" y="243"/>
                    <a:pt x="1" y="243"/>
                  </a:cubicBezTo>
                  <a:cubicBezTo>
                    <a:pt x="1" y="243"/>
                    <a:pt x="1" y="244"/>
                    <a:pt x="1" y="245"/>
                  </a:cubicBezTo>
                  <a:cubicBezTo>
                    <a:pt x="1" y="245"/>
                    <a:pt x="0" y="246"/>
                    <a:pt x="1" y="247"/>
                  </a:cubicBezTo>
                  <a:cubicBezTo>
                    <a:pt x="1" y="248"/>
                    <a:pt x="1" y="248"/>
                    <a:pt x="1" y="248"/>
                  </a:cubicBezTo>
                  <a:cubicBezTo>
                    <a:pt x="2" y="248"/>
                    <a:pt x="2" y="248"/>
                    <a:pt x="2" y="248"/>
                  </a:cubicBezTo>
                  <a:cubicBezTo>
                    <a:pt x="3" y="248"/>
                    <a:pt x="4" y="247"/>
                    <a:pt x="4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247"/>
                    <a:pt x="5" y="247"/>
                    <a:pt x="5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5" y="249"/>
                    <a:pt x="6" y="249"/>
                    <a:pt x="6" y="249"/>
                  </a:cubicBezTo>
                  <a:cubicBezTo>
                    <a:pt x="6" y="249"/>
                    <a:pt x="6" y="249"/>
                    <a:pt x="6" y="249"/>
                  </a:cubicBezTo>
                  <a:cubicBezTo>
                    <a:pt x="6" y="250"/>
                    <a:pt x="6" y="250"/>
                    <a:pt x="6" y="250"/>
                  </a:cubicBezTo>
                  <a:cubicBezTo>
                    <a:pt x="6" y="250"/>
                    <a:pt x="6" y="251"/>
                    <a:pt x="7" y="251"/>
                  </a:cubicBezTo>
                  <a:cubicBezTo>
                    <a:pt x="7" y="252"/>
                    <a:pt x="7" y="252"/>
                    <a:pt x="8" y="252"/>
                  </a:cubicBezTo>
                  <a:cubicBezTo>
                    <a:pt x="8" y="252"/>
                    <a:pt x="8" y="252"/>
                    <a:pt x="9" y="253"/>
                  </a:cubicBezTo>
                  <a:cubicBezTo>
                    <a:pt x="9" y="253"/>
                    <a:pt x="9" y="253"/>
                    <a:pt x="9" y="253"/>
                  </a:cubicBezTo>
                  <a:cubicBezTo>
                    <a:pt x="9" y="254"/>
                    <a:pt x="10" y="254"/>
                    <a:pt x="10" y="254"/>
                  </a:cubicBezTo>
                  <a:cubicBezTo>
                    <a:pt x="11" y="255"/>
                    <a:pt x="11" y="255"/>
                    <a:pt x="12" y="255"/>
                  </a:cubicBezTo>
                  <a:cubicBezTo>
                    <a:pt x="13" y="255"/>
                    <a:pt x="13" y="255"/>
                    <a:pt x="13" y="255"/>
                  </a:cubicBezTo>
                  <a:cubicBezTo>
                    <a:pt x="13" y="255"/>
                    <a:pt x="13" y="255"/>
                    <a:pt x="14" y="255"/>
                  </a:cubicBezTo>
                  <a:cubicBezTo>
                    <a:pt x="14" y="255"/>
                    <a:pt x="14" y="255"/>
                    <a:pt x="14" y="255"/>
                  </a:cubicBezTo>
                  <a:cubicBezTo>
                    <a:pt x="14" y="255"/>
                    <a:pt x="15" y="256"/>
                    <a:pt x="16" y="256"/>
                  </a:cubicBezTo>
                  <a:cubicBezTo>
                    <a:pt x="16" y="256"/>
                    <a:pt x="16" y="256"/>
                    <a:pt x="16" y="256"/>
                  </a:cubicBezTo>
                  <a:cubicBezTo>
                    <a:pt x="17" y="255"/>
                    <a:pt x="17" y="255"/>
                    <a:pt x="17" y="255"/>
                  </a:cubicBezTo>
                  <a:cubicBezTo>
                    <a:pt x="17" y="255"/>
                    <a:pt x="17" y="255"/>
                    <a:pt x="17" y="255"/>
                  </a:cubicBezTo>
                  <a:cubicBezTo>
                    <a:pt x="18" y="255"/>
                    <a:pt x="18" y="255"/>
                    <a:pt x="18" y="256"/>
                  </a:cubicBezTo>
                  <a:cubicBezTo>
                    <a:pt x="18" y="256"/>
                    <a:pt x="19" y="256"/>
                    <a:pt x="20" y="256"/>
                  </a:cubicBezTo>
                  <a:cubicBezTo>
                    <a:pt x="21" y="256"/>
                    <a:pt x="22" y="256"/>
                    <a:pt x="22" y="255"/>
                  </a:cubicBezTo>
                  <a:cubicBezTo>
                    <a:pt x="23" y="255"/>
                    <a:pt x="23" y="255"/>
                    <a:pt x="23" y="255"/>
                  </a:cubicBezTo>
                  <a:cubicBezTo>
                    <a:pt x="24" y="255"/>
                    <a:pt x="24" y="254"/>
                    <a:pt x="25" y="254"/>
                  </a:cubicBezTo>
                  <a:cubicBezTo>
                    <a:pt x="25" y="254"/>
                    <a:pt x="25" y="254"/>
                    <a:pt x="25" y="254"/>
                  </a:cubicBezTo>
                  <a:cubicBezTo>
                    <a:pt x="26" y="254"/>
                    <a:pt x="26" y="253"/>
                    <a:pt x="26" y="253"/>
                  </a:cubicBezTo>
                  <a:cubicBezTo>
                    <a:pt x="27" y="253"/>
                    <a:pt x="27" y="253"/>
                    <a:pt x="28" y="253"/>
                  </a:cubicBezTo>
                  <a:cubicBezTo>
                    <a:pt x="28" y="252"/>
                    <a:pt x="28" y="252"/>
                    <a:pt x="28" y="252"/>
                  </a:cubicBezTo>
                  <a:cubicBezTo>
                    <a:pt x="29" y="252"/>
                    <a:pt x="30" y="251"/>
                    <a:pt x="30" y="251"/>
                  </a:cubicBezTo>
                  <a:cubicBezTo>
                    <a:pt x="30" y="251"/>
                    <a:pt x="30" y="250"/>
                    <a:pt x="30" y="250"/>
                  </a:cubicBezTo>
                  <a:cubicBezTo>
                    <a:pt x="31" y="250"/>
                    <a:pt x="31" y="251"/>
                    <a:pt x="31" y="251"/>
                  </a:cubicBezTo>
                  <a:cubicBezTo>
                    <a:pt x="32" y="251"/>
                    <a:pt x="34" y="251"/>
                    <a:pt x="35" y="250"/>
                  </a:cubicBezTo>
                  <a:cubicBezTo>
                    <a:pt x="35" y="250"/>
                    <a:pt x="35" y="250"/>
                    <a:pt x="35" y="250"/>
                  </a:cubicBezTo>
                  <a:cubicBezTo>
                    <a:pt x="36" y="250"/>
                    <a:pt x="37" y="249"/>
                    <a:pt x="37" y="248"/>
                  </a:cubicBezTo>
                  <a:cubicBezTo>
                    <a:pt x="38" y="247"/>
                    <a:pt x="38" y="247"/>
                    <a:pt x="38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38" y="246"/>
                    <a:pt x="39" y="246"/>
                    <a:pt x="39" y="246"/>
                  </a:cubicBezTo>
                  <a:cubicBezTo>
                    <a:pt x="40" y="246"/>
                    <a:pt x="40" y="245"/>
                    <a:pt x="40" y="245"/>
                  </a:cubicBezTo>
                  <a:cubicBezTo>
                    <a:pt x="41" y="245"/>
                    <a:pt x="41" y="244"/>
                    <a:pt x="41" y="244"/>
                  </a:cubicBezTo>
                  <a:cubicBezTo>
                    <a:pt x="41" y="244"/>
                    <a:pt x="41" y="244"/>
                    <a:pt x="42" y="244"/>
                  </a:cubicBezTo>
                  <a:cubicBezTo>
                    <a:pt x="42" y="244"/>
                    <a:pt x="42" y="244"/>
                    <a:pt x="43" y="245"/>
                  </a:cubicBezTo>
                  <a:cubicBezTo>
                    <a:pt x="43" y="244"/>
                    <a:pt x="43" y="244"/>
                    <a:pt x="43" y="244"/>
                  </a:cubicBezTo>
                  <a:cubicBezTo>
                    <a:pt x="44" y="244"/>
                    <a:pt x="45" y="244"/>
                    <a:pt x="45" y="244"/>
                  </a:cubicBezTo>
                  <a:cubicBezTo>
                    <a:pt x="46" y="244"/>
                    <a:pt x="46" y="244"/>
                    <a:pt x="47" y="244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48" y="243"/>
                    <a:pt x="49" y="243"/>
                    <a:pt x="50" y="244"/>
                  </a:cubicBezTo>
                  <a:cubicBezTo>
                    <a:pt x="51" y="244"/>
                    <a:pt x="52" y="244"/>
                    <a:pt x="54" y="244"/>
                  </a:cubicBezTo>
                  <a:cubicBezTo>
                    <a:pt x="55" y="244"/>
                    <a:pt x="55" y="244"/>
                    <a:pt x="55" y="244"/>
                  </a:cubicBezTo>
                  <a:cubicBezTo>
                    <a:pt x="55" y="244"/>
                    <a:pt x="55" y="244"/>
                    <a:pt x="55" y="245"/>
                  </a:cubicBezTo>
                  <a:cubicBezTo>
                    <a:pt x="56" y="245"/>
                    <a:pt x="56" y="245"/>
                    <a:pt x="56" y="245"/>
                  </a:cubicBezTo>
                  <a:cubicBezTo>
                    <a:pt x="56" y="246"/>
                    <a:pt x="57" y="246"/>
                    <a:pt x="58" y="246"/>
                  </a:cubicBezTo>
                  <a:cubicBezTo>
                    <a:pt x="59" y="246"/>
                    <a:pt x="59" y="246"/>
                    <a:pt x="60" y="246"/>
                  </a:cubicBezTo>
                  <a:cubicBezTo>
                    <a:pt x="60" y="246"/>
                    <a:pt x="60" y="246"/>
                    <a:pt x="60" y="246"/>
                  </a:cubicBezTo>
                  <a:cubicBezTo>
                    <a:pt x="61" y="245"/>
                    <a:pt x="62" y="246"/>
                    <a:pt x="63" y="246"/>
                  </a:cubicBezTo>
                  <a:cubicBezTo>
                    <a:pt x="64" y="247"/>
                    <a:pt x="65" y="246"/>
                    <a:pt x="66" y="246"/>
                  </a:cubicBezTo>
                  <a:cubicBezTo>
                    <a:pt x="66" y="246"/>
                    <a:pt x="66" y="246"/>
                    <a:pt x="66" y="246"/>
                  </a:cubicBezTo>
                  <a:cubicBezTo>
                    <a:pt x="67" y="246"/>
                    <a:pt x="67" y="246"/>
                    <a:pt x="67" y="246"/>
                  </a:cubicBezTo>
                  <a:cubicBezTo>
                    <a:pt x="68" y="246"/>
                    <a:pt x="69" y="246"/>
                    <a:pt x="69" y="245"/>
                  </a:cubicBezTo>
                  <a:cubicBezTo>
                    <a:pt x="70" y="245"/>
                    <a:pt x="70" y="244"/>
                    <a:pt x="70" y="243"/>
                  </a:cubicBezTo>
                  <a:cubicBezTo>
                    <a:pt x="71" y="243"/>
                    <a:pt x="71" y="243"/>
                    <a:pt x="71" y="243"/>
                  </a:cubicBezTo>
                  <a:cubicBezTo>
                    <a:pt x="71" y="242"/>
                    <a:pt x="72" y="242"/>
                    <a:pt x="72" y="241"/>
                  </a:cubicBezTo>
                  <a:cubicBezTo>
                    <a:pt x="73" y="241"/>
                    <a:pt x="73" y="240"/>
                    <a:pt x="73" y="240"/>
                  </a:cubicBezTo>
                  <a:cubicBezTo>
                    <a:pt x="73" y="240"/>
                    <a:pt x="74" y="240"/>
                    <a:pt x="74" y="239"/>
                  </a:cubicBezTo>
                  <a:cubicBezTo>
                    <a:pt x="75" y="239"/>
                    <a:pt x="75" y="238"/>
                    <a:pt x="75" y="238"/>
                  </a:cubicBezTo>
                  <a:cubicBezTo>
                    <a:pt x="76" y="238"/>
                    <a:pt x="76" y="237"/>
                    <a:pt x="76" y="237"/>
                  </a:cubicBezTo>
                  <a:cubicBezTo>
                    <a:pt x="76" y="237"/>
                    <a:pt x="76" y="237"/>
                    <a:pt x="76" y="237"/>
                  </a:cubicBezTo>
                  <a:cubicBezTo>
                    <a:pt x="77" y="237"/>
                    <a:pt x="77" y="236"/>
                    <a:pt x="77" y="236"/>
                  </a:cubicBezTo>
                  <a:cubicBezTo>
                    <a:pt x="77" y="236"/>
                    <a:pt x="78" y="235"/>
                    <a:pt x="79" y="235"/>
                  </a:cubicBezTo>
                  <a:cubicBezTo>
                    <a:pt x="79" y="235"/>
                    <a:pt x="79" y="235"/>
                    <a:pt x="80" y="235"/>
                  </a:cubicBezTo>
                  <a:cubicBezTo>
                    <a:pt x="80" y="235"/>
                    <a:pt x="81" y="235"/>
                    <a:pt x="81" y="235"/>
                  </a:cubicBezTo>
                  <a:cubicBezTo>
                    <a:pt x="83" y="234"/>
                    <a:pt x="85" y="233"/>
                    <a:pt x="87" y="232"/>
                  </a:cubicBezTo>
                  <a:cubicBezTo>
                    <a:pt x="88" y="231"/>
                    <a:pt x="88" y="231"/>
                    <a:pt x="89" y="231"/>
                  </a:cubicBezTo>
                  <a:cubicBezTo>
                    <a:pt x="90" y="230"/>
                    <a:pt x="91" y="230"/>
                    <a:pt x="92" y="229"/>
                  </a:cubicBezTo>
                  <a:cubicBezTo>
                    <a:pt x="93" y="228"/>
                    <a:pt x="94" y="229"/>
                    <a:pt x="96" y="230"/>
                  </a:cubicBezTo>
                  <a:cubicBezTo>
                    <a:pt x="96" y="230"/>
                    <a:pt x="96" y="230"/>
                    <a:pt x="96" y="230"/>
                  </a:cubicBezTo>
                  <a:cubicBezTo>
                    <a:pt x="97" y="230"/>
                    <a:pt x="98" y="231"/>
                    <a:pt x="99" y="231"/>
                  </a:cubicBezTo>
                  <a:cubicBezTo>
                    <a:pt x="99" y="231"/>
                    <a:pt x="99" y="231"/>
                    <a:pt x="99" y="231"/>
                  </a:cubicBezTo>
                  <a:cubicBezTo>
                    <a:pt x="100" y="230"/>
                    <a:pt x="101" y="230"/>
                    <a:pt x="101" y="230"/>
                  </a:cubicBezTo>
                  <a:cubicBezTo>
                    <a:pt x="101" y="230"/>
                    <a:pt x="101" y="229"/>
                    <a:pt x="102" y="229"/>
                  </a:cubicBezTo>
                  <a:cubicBezTo>
                    <a:pt x="102" y="229"/>
                    <a:pt x="103" y="229"/>
                    <a:pt x="104" y="229"/>
                  </a:cubicBezTo>
                  <a:cubicBezTo>
                    <a:pt x="104" y="229"/>
                    <a:pt x="104" y="229"/>
                    <a:pt x="104" y="229"/>
                  </a:cubicBezTo>
                  <a:cubicBezTo>
                    <a:pt x="105" y="229"/>
                    <a:pt x="106" y="229"/>
                    <a:pt x="106" y="228"/>
                  </a:cubicBezTo>
                  <a:cubicBezTo>
                    <a:pt x="107" y="228"/>
                    <a:pt x="107" y="228"/>
                    <a:pt x="107" y="228"/>
                  </a:cubicBezTo>
                  <a:cubicBezTo>
                    <a:pt x="107" y="228"/>
                    <a:pt x="108" y="228"/>
                    <a:pt x="108" y="228"/>
                  </a:cubicBezTo>
                  <a:cubicBezTo>
                    <a:pt x="109" y="228"/>
                    <a:pt x="109" y="228"/>
                    <a:pt x="110" y="228"/>
                  </a:cubicBezTo>
                  <a:cubicBezTo>
                    <a:pt x="111" y="227"/>
                    <a:pt x="112" y="227"/>
                    <a:pt x="113" y="226"/>
                  </a:cubicBezTo>
                  <a:cubicBezTo>
                    <a:pt x="113" y="226"/>
                    <a:pt x="113" y="226"/>
                    <a:pt x="113" y="226"/>
                  </a:cubicBezTo>
                  <a:cubicBezTo>
                    <a:pt x="114" y="225"/>
                    <a:pt x="115" y="225"/>
                    <a:pt x="116" y="225"/>
                  </a:cubicBezTo>
                  <a:cubicBezTo>
                    <a:pt x="116" y="225"/>
                    <a:pt x="117" y="225"/>
                    <a:pt x="119" y="225"/>
                  </a:cubicBezTo>
                  <a:cubicBezTo>
                    <a:pt x="119" y="224"/>
                    <a:pt x="120" y="224"/>
                    <a:pt x="121" y="224"/>
                  </a:cubicBezTo>
                  <a:cubicBezTo>
                    <a:pt x="122" y="223"/>
                    <a:pt x="123" y="223"/>
                    <a:pt x="124" y="223"/>
                  </a:cubicBezTo>
                  <a:cubicBezTo>
                    <a:pt x="124" y="223"/>
                    <a:pt x="125" y="223"/>
                    <a:pt x="125" y="224"/>
                  </a:cubicBezTo>
                  <a:cubicBezTo>
                    <a:pt x="126" y="224"/>
                    <a:pt x="128" y="225"/>
                    <a:pt x="129" y="224"/>
                  </a:cubicBezTo>
                  <a:cubicBezTo>
                    <a:pt x="130" y="224"/>
                    <a:pt x="130" y="224"/>
                    <a:pt x="130" y="224"/>
                  </a:cubicBezTo>
                  <a:cubicBezTo>
                    <a:pt x="131" y="224"/>
                    <a:pt x="131" y="223"/>
                    <a:pt x="132" y="223"/>
                  </a:cubicBezTo>
                  <a:cubicBezTo>
                    <a:pt x="133" y="223"/>
                    <a:pt x="134" y="224"/>
                    <a:pt x="134" y="224"/>
                  </a:cubicBezTo>
                  <a:cubicBezTo>
                    <a:pt x="135" y="224"/>
                    <a:pt x="135" y="224"/>
                    <a:pt x="135" y="225"/>
                  </a:cubicBezTo>
                  <a:cubicBezTo>
                    <a:pt x="135" y="225"/>
                    <a:pt x="135" y="225"/>
                    <a:pt x="136" y="225"/>
                  </a:cubicBezTo>
                  <a:cubicBezTo>
                    <a:pt x="136" y="226"/>
                    <a:pt x="136" y="227"/>
                    <a:pt x="137" y="227"/>
                  </a:cubicBezTo>
                  <a:cubicBezTo>
                    <a:pt x="137" y="227"/>
                    <a:pt x="138" y="228"/>
                    <a:pt x="138" y="228"/>
                  </a:cubicBezTo>
                  <a:cubicBezTo>
                    <a:pt x="138" y="228"/>
                    <a:pt x="138" y="228"/>
                    <a:pt x="138" y="228"/>
                  </a:cubicBezTo>
                  <a:cubicBezTo>
                    <a:pt x="138" y="229"/>
                    <a:pt x="139" y="231"/>
                    <a:pt x="141" y="231"/>
                  </a:cubicBezTo>
                  <a:cubicBezTo>
                    <a:pt x="141" y="231"/>
                    <a:pt x="141" y="231"/>
                    <a:pt x="141" y="231"/>
                  </a:cubicBezTo>
                  <a:cubicBezTo>
                    <a:pt x="141" y="231"/>
                    <a:pt x="142" y="230"/>
                    <a:pt x="142" y="230"/>
                  </a:cubicBezTo>
                  <a:cubicBezTo>
                    <a:pt x="143" y="230"/>
                    <a:pt x="143" y="230"/>
                    <a:pt x="143" y="230"/>
                  </a:cubicBezTo>
                  <a:cubicBezTo>
                    <a:pt x="143" y="230"/>
                    <a:pt x="143" y="230"/>
                    <a:pt x="143" y="230"/>
                  </a:cubicBezTo>
                  <a:cubicBezTo>
                    <a:pt x="143" y="230"/>
                    <a:pt x="144" y="230"/>
                    <a:pt x="144" y="231"/>
                  </a:cubicBezTo>
                  <a:cubicBezTo>
                    <a:pt x="144" y="231"/>
                    <a:pt x="144" y="231"/>
                    <a:pt x="144" y="231"/>
                  </a:cubicBezTo>
                  <a:cubicBezTo>
                    <a:pt x="145" y="232"/>
                    <a:pt x="147" y="233"/>
                    <a:pt x="149" y="232"/>
                  </a:cubicBezTo>
                  <a:cubicBezTo>
                    <a:pt x="149" y="232"/>
                    <a:pt x="149" y="233"/>
                    <a:pt x="149" y="233"/>
                  </a:cubicBezTo>
                  <a:cubicBezTo>
                    <a:pt x="148" y="234"/>
                    <a:pt x="148" y="234"/>
                    <a:pt x="149" y="235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49" y="237"/>
                    <a:pt x="149" y="238"/>
                    <a:pt x="149" y="239"/>
                  </a:cubicBezTo>
                  <a:cubicBezTo>
                    <a:pt x="149" y="239"/>
                    <a:pt x="149" y="239"/>
                    <a:pt x="149" y="240"/>
                  </a:cubicBezTo>
                  <a:cubicBezTo>
                    <a:pt x="149" y="240"/>
                    <a:pt x="149" y="241"/>
                    <a:pt x="150" y="242"/>
                  </a:cubicBezTo>
                  <a:cubicBezTo>
                    <a:pt x="150" y="243"/>
                    <a:pt x="151" y="243"/>
                    <a:pt x="151" y="243"/>
                  </a:cubicBezTo>
                  <a:cubicBezTo>
                    <a:pt x="152" y="243"/>
                    <a:pt x="152" y="243"/>
                    <a:pt x="152" y="243"/>
                  </a:cubicBezTo>
                  <a:cubicBezTo>
                    <a:pt x="152" y="243"/>
                    <a:pt x="153" y="244"/>
                    <a:pt x="153" y="244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2" y="245"/>
                    <a:pt x="152" y="246"/>
                    <a:pt x="152" y="246"/>
                  </a:cubicBezTo>
                  <a:cubicBezTo>
                    <a:pt x="152" y="247"/>
                    <a:pt x="152" y="248"/>
                    <a:pt x="153" y="249"/>
                  </a:cubicBezTo>
                  <a:cubicBezTo>
                    <a:pt x="153" y="249"/>
                    <a:pt x="153" y="249"/>
                    <a:pt x="153" y="249"/>
                  </a:cubicBezTo>
                  <a:cubicBezTo>
                    <a:pt x="153" y="250"/>
                    <a:pt x="153" y="250"/>
                    <a:pt x="153" y="250"/>
                  </a:cubicBezTo>
                  <a:cubicBezTo>
                    <a:pt x="153" y="251"/>
                    <a:pt x="153" y="251"/>
                    <a:pt x="153" y="251"/>
                  </a:cubicBezTo>
                  <a:cubicBezTo>
                    <a:pt x="153" y="252"/>
                    <a:pt x="153" y="252"/>
                    <a:pt x="153" y="252"/>
                  </a:cubicBezTo>
                  <a:cubicBezTo>
                    <a:pt x="152" y="253"/>
                    <a:pt x="152" y="254"/>
                    <a:pt x="152" y="254"/>
                  </a:cubicBezTo>
                  <a:cubicBezTo>
                    <a:pt x="152" y="255"/>
                    <a:pt x="152" y="255"/>
                    <a:pt x="152" y="255"/>
                  </a:cubicBezTo>
                  <a:cubicBezTo>
                    <a:pt x="150" y="256"/>
                    <a:pt x="150" y="257"/>
                    <a:pt x="150" y="258"/>
                  </a:cubicBezTo>
                  <a:cubicBezTo>
                    <a:pt x="151" y="259"/>
                    <a:pt x="151" y="260"/>
                    <a:pt x="152" y="260"/>
                  </a:cubicBezTo>
                  <a:cubicBezTo>
                    <a:pt x="152" y="260"/>
                    <a:pt x="152" y="260"/>
                    <a:pt x="152" y="260"/>
                  </a:cubicBezTo>
                  <a:cubicBezTo>
                    <a:pt x="152" y="260"/>
                    <a:pt x="152" y="261"/>
                    <a:pt x="152" y="261"/>
                  </a:cubicBezTo>
                  <a:cubicBezTo>
                    <a:pt x="152" y="262"/>
                    <a:pt x="153" y="262"/>
                    <a:pt x="153" y="263"/>
                  </a:cubicBezTo>
                  <a:cubicBezTo>
                    <a:pt x="153" y="263"/>
                    <a:pt x="154" y="263"/>
                    <a:pt x="154" y="263"/>
                  </a:cubicBezTo>
                  <a:cubicBezTo>
                    <a:pt x="154" y="263"/>
                    <a:pt x="155" y="264"/>
                    <a:pt x="156" y="264"/>
                  </a:cubicBezTo>
                  <a:cubicBezTo>
                    <a:pt x="156" y="264"/>
                    <a:pt x="156" y="264"/>
                    <a:pt x="156" y="264"/>
                  </a:cubicBezTo>
                  <a:cubicBezTo>
                    <a:pt x="157" y="263"/>
                    <a:pt x="158" y="262"/>
                    <a:pt x="158" y="262"/>
                  </a:cubicBezTo>
                  <a:cubicBezTo>
                    <a:pt x="159" y="261"/>
                    <a:pt x="159" y="260"/>
                    <a:pt x="159" y="260"/>
                  </a:cubicBezTo>
                  <a:cubicBezTo>
                    <a:pt x="159" y="260"/>
                    <a:pt x="159" y="259"/>
                    <a:pt x="159" y="259"/>
                  </a:cubicBezTo>
                  <a:cubicBezTo>
                    <a:pt x="159" y="259"/>
                    <a:pt x="158" y="259"/>
                    <a:pt x="158" y="259"/>
                  </a:cubicBezTo>
                  <a:cubicBezTo>
                    <a:pt x="158" y="258"/>
                    <a:pt x="158" y="258"/>
                    <a:pt x="158" y="258"/>
                  </a:cubicBezTo>
                  <a:cubicBezTo>
                    <a:pt x="159" y="259"/>
                    <a:pt x="159" y="259"/>
                    <a:pt x="159" y="259"/>
                  </a:cubicBezTo>
                  <a:cubicBezTo>
                    <a:pt x="159" y="259"/>
                    <a:pt x="159" y="259"/>
                    <a:pt x="159" y="259"/>
                  </a:cubicBezTo>
                  <a:cubicBezTo>
                    <a:pt x="159" y="259"/>
                    <a:pt x="160" y="259"/>
                    <a:pt x="161" y="258"/>
                  </a:cubicBezTo>
                  <a:cubicBezTo>
                    <a:pt x="161" y="258"/>
                    <a:pt x="161" y="257"/>
                    <a:pt x="161" y="257"/>
                  </a:cubicBezTo>
                  <a:cubicBezTo>
                    <a:pt x="162" y="257"/>
                    <a:pt x="162" y="257"/>
                    <a:pt x="162" y="256"/>
                  </a:cubicBezTo>
                  <a:cubicBezTo>
                    <a:pt x="163" y="256"/>
                    <a:pt x="163" y="255"/>
                    <a:pt x="164" y="255"/>
                  </a:cubicBezTo>
                  <a:cubicBezTo>
                    <a:pt x="164" y="254"/>
                    <a:pt x="164" y="254"/>
                    <a:pt x="164" y="254"/>
                  </a:cubicBezTo>
                  <a:cubicBezTo>
                    <a:pt x="165" y="254"/>
                    <a:pt x="165" y="253"/>
                    <a:pt x="166" y="253"/>
                  </a:cubicBezTo>
                  <a:cubicBezTo>
                    <a:pt x="167" y="253"/>
                    <a:pt x="168" y="252"/>
                    <a:pt x="169" y="251"/>
                  </a:cubicBezTo>
                  <a:cubicBezTo>
                    <a:pt x="169" y="251"/>
                    <a:pt x="169" y="251"/>
                    <a:pt x="169" y="251"/>
                  </a:cubicBezTo>
                  <a:cubicBezTo>
                    <a:pt x="169" y="251"/>
                    <a:pt x="169" y="251"/>
                    <a:pt x="169" y="251"/>
                  </a:cubicBezTo>
                  <a:cubicBezTo>
                    <a:pt x="169" y="251"/>
                    <a:pt x="170" y="251"/>
                    <a:pt x="170" y="251"/>
                  </a:cubicBezTo>
                  <a:cubicBezTo>
                    <a:pt x="170" y="251"/>
                    <a:pt x="170" y="251"/>
                    <a:pt x="170" y="251"/>
                  </a:cubicBezTo>
                  <a:cubicBezTo>
                    <a:pt x="171" y="250"/>
                    <a:pt x="172" y="250"/>
                    <a:pt x="172" y="249"/>
                  </a:cubicBezTo>
                  <a:cubicBezTo>
                    <a:pt x="173" y="249"/>
                    <a:pt x="173" y="248"/>
                    <a:pt x="173" y="248"/>
                  </a:cubicBezTo>
                  <a:cubicBezTo>
                    <a:pt x="172" y="247"/>
                    <a:pt x="172" y="247"/>
                    <a:pt x="172" y="247"/>
                  </a:cubicBezTo>
                  <a:cubicBezTo>
                    <a:pt x="173" y="248"/>
                    <a:pt x="173" y="248"/>
                    <a:pt x="173" y="248"/>
                  </a:cubicBezTo>
                  <a:cubicBezTo>
                    <a:pt x="173" y="248"/>
                    <a:pt x="174" y="248"/>
                    <a:pt x="174" y="248"/>
                  </a:cubicBezTo>
                  <a:cubicBezTo>
                    <a:pt x="174" y="248"/>
                    <a:pt x="173" y="249"/>
                    <a:pt x="173" y="249"/>
                  </a:cubicBezTo>
                  <a:cubicBezTo>
                    <a:pt x="173" y="249"/>
                    <a:pt x="172" y="250"/>
                    <a:pt x="172" y="250"/>
                  </a:cubicBezTo>
                  <a:cubicBezTo>
                    <a:pt x="172" y="250"/>
                    <a:pt x="172" y="250"/>
                    <a:pt x="171" y="251"/>
                  </a:cubicBezTo>
                  <a:cubicBezTo>
                    <a:pt x="171" y="251"/>
                    <a:pt x="170" y="251"/>
                    <a:pt x="170" y="252"/>
                  </a:cubicBezTo>
                  <a:cubicBezTo>
                    <a:pt x="170" y="252"/>
                    <a:pt x="169" y="253"/>
                    <a:pt x="169" y="254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69" y="254"/>
                    <a:pt x="169" y="255"/>
                    <a:pt x="169" y="255"/>
                  </a:cubicBezTo>
                  <a:cubicBezTo>
                    <a:pt x="168" y="255"/>
                    <a:pt x="168" y="256"/>
                    <a:pt x="167" y="257"/>
                  </a:cubicBezTo>
                  <a:cubicBezTo>
                    <a:pt x="167" y="258"/>
                    <a:pt x="168" y="258"/>
                    <a:pt x="168" y="259"/>
                  </a:cubicBezTo>
                  <a:cubicBezTo>
                    <a:pt x="168" y="259"/>
                    <a:pt x="168" y="259"/>
                    <a:pt x="168" y="259"/>
                  </a:cubicBezTo>
                  <a:cubicBezTo>
                    <a:pt x="168" y="259"/>
                    <a:pt x="167" y="260"/>
                    <a:pt x="167" y="261"/>
                  </a:cubicBezTo>
                  <a:cubicBezTo>
                    <a:pt x="167" y="261"/>
                    <a:pt x="167" y="261"/>
                    <a:pt x="166" y="261"/>
                  </a:cubicBezTo>
                  <a:cubicBezTo>
                    <a:pt x="166" y="261"/>
                    <a:pt x="165" y="261"/>
                    <a:pt x="165" y="261"/>
                  </a:cubicBezTo>
                  <a:cubicBezTo>
                    <a:pt x="164" y="261"/>
                    <a:pt x="163" y="262"/>
                    <a:pt x="163" y="262"/>
                  </a:cubicBezTo>
                  <a:cubicBezTo>
                    <a:pt x="163" y="262"/>
                    <a:pt x="163" y="263"/>
                    <a:pt x="163" y="263"/>
                  </a:cubicBezTo>
                  <a:cubicBezTo>
                    <a:pt x="162" y="263"/>
                    <a:pt x="162" y="263"/>
                    <a:pt x="162" y="263"/>
                  </a:cubicBezTo>
                  <a:cubicBezTo>
                    <a:pt x="162" y="263"/>
                    <a:pt x="161" y="264"/>
                    <a:pt x="161" y="265"/>
                  </a:cubicBezTo>
                  <a:cubicBezTo>
                    <a:pt x="160" y="265"/>
                    <a:pt x="161" y="266"/>
                    <a:pt x="161" y="267"/>
                  </a:cubicBezTo>
                  <a:cubicBezTo>
                    <a:pt x="161" y="267"/>
                    <a:pt x="162" y="268"/>
                    <a:pt x="162" y="268"/>
                  </a:cubicBezTo>
                  <a:cubicBezTo>
                    <a:pt x="163" y="268"/>
                    <a:pt x="163" y="268"/>
                    <a:pt x="164" y="267"/>
                  </a:cubicBezTo>
                  <a:cubicBezTo>
                    <a:pt x="164" y="267"/>
                    <a:pt x="164" y="267"/>
                    <a:pt x="165" y="267"/>
                  </a:cubicBezTo>
                  <a:cubicBezTo>
                    <a:pt x="165" y="267"/>
                    <a:pt x="165" y="267"/>
                    <a:pt x="165" y="267"/>
                  </a:cubicBezTo>
                  <a:cubicBezTo>
                    <a:pt x="166" y="267"/>
                    <a:pt x="166" y="267"/>
                    <a:pt x="167" y="267"/>
                  </a:cubicBezTo>
                  <a:cubicBezTo>
                    <a:pt x="168" y="267"/>
                    <a:pt x="168" y="267"/>
                    <a:pt x="168" y="267"/>
                  </a:cubicBezTo>
                  <a:cubicBezTo>
                    <a:pt x="170" y="267"/>
                    <a:pt x="171" y="264"/>
                    <a:pt x="172" y="263"/>
                  </a:cubicBezTo>
                  <a:cubicBezTo>
                    <a:pt x="172" y="262"/>
                    <a:pt x="172" y="262"/>
                    <a:pt x="172" y="261"/>
                  </a:cubicBezTo>
                  <a:cubicBezTo>
                    <a:pt x="173" y="261"/>
                    <a:pt x="173" y="260"/>
                    <a:pt x="174" y="259"/>
                  </a:cubicBezTo>
                  <a:cubicBezTo>
                    <a:pt x="174" y="259"/>
                    <a:pt x="174" y="259"/>
                    <a:pt x="174" y="260"/>
                  </a:cubicBezTo>
                  <a:cubicBezTo>
                    <a:pt x="174" y="260"/>
                    <a:pt x="174" y="260"/>
                    <a:pt x="174" y="261"/>
                  </a:cubicBezTo>
                  <a:cubicBezTo>
                    <a:pt x="174" y="261"/>
                    <a:pt x="174" y="262"/>
                    <a:pt x="174" y="263"/>
                  </a:cubicBezTo>
                  <a:cubicBezTo>
                    <a:pt x="174" y="264"/>
                    <a:pt x="173" y="266"/>
                    <a:pt x="172" y="267"/>
                  </a:cubicBezTo>
                  <a:cubicBezTo>
                    <a:pt x="172" y="267"/>
                    <a:pt x="171" y="267"/>
                    <a:pt x="171" y="267"/>
                  </a:cubicBezTo>
                  <a:cubicBezTo>
                    <a:pt x="170" y="268"/>
                    <a:pt x="168" y="269"/>
                    <a:pt x="168" y="270"/>
                  </a:cubicBezTo>
                  <a:cubicBezTo>
                    <a:pt x="168" y="271"/>
                    <a:pt x="168" y="271"/>
                    <a:pt x="168" y="272"/>
                  </a:cubicBezTo>
                  <a:cubicBezTo>
                    <a:pt x="168" y="272"/>
                    <a:pt x="168" y="272"/>
                    <a:pt x="167" y="272"/>
                  </a:cubicBezTo>
                  <a:cubicBezTo>
                    <a:pt x="167" y="272"/>
                    <a:pt x="167" y="272"/>
                    <a:pt x="167" y="272"/>
                  </a:cubicBezTo>
                  <a:cubicBezTo>
                    <a:pt x="167" y="272"/>
                    <a:pt x="167" y="272"/>
                    <a:pt x="167" y="271"/>
                  </a:cubicBezTo>
                  <a:cubicBezTo>
                    <a:pt x="167" y="271"/>
                    <a:pt x="167" y="269"/>
                    <a:pt x="165" y="269"/>
                  </a:cubicBezTo>
                  <a:cubicBezTo>
                    <a:pt x="163" y="268"/>
                    <a:pt x="162" y="269"/>
                    <a:pt x="161" y="270"/>
                  </a:cubicBezTo>
                  <a:cubicBezTo>
                    <a:pt x="160" y="270"/>
                    <a:pt x="160" y="270"/>
                    <a:pt x="160" y="270"/>
                  </a:cubicBezTo>
                  <a:cubicBezTo>
                    <a:pt x="160" y="270"/>
                    <a:pt x="160" y="270"/>
                    <a:pt x="160" y="270"/>
                  </a:cubicBezTo>
                  <a:cubicBezTo>
                    <a:pt x="160" y="270"/>
                    <a:pt x="159" y="270"/>
                    <a:pt x="159" y="270"/>
                  </a:cubicBezTo>
                  <a:cubicBezTo>
                    <a:pt x="159" y="270"/>
                    <a:pt x="159" y="270"/>
                    <a:pt x="158" y="270"/>
                  </a:cubicBezTo>
                  <a:cubicBezTo>
                    <a:pt x="156" y="270"/>
                    <a:pt x="155" y="271"/>
                    <a:pt x="155" y="273"/>
                  </a:cubicBezTo>
                  <a:cubicBezTo>
                    <a:pt x="154" y="275"/>
                    <a:pt x="154" y="276"/>
                    <a:pt x="155" y="277"/>
                  </a:cubicBezTo>
                  <a:cubicBezTo>
                    <a:pt x="156" y="278"/>
                    <a:pt x="157" y="278"/>
                    <a:pt x="157" y="278"/>
                  </a:cubicBezTo>
                  <a:cubicBezTo>
                    <a:pt x="158" y="278"/>
                    <a:pt x="159" y="277"/>
                    <a:pt x="160" y="277"/>
                  </a:cubicBezTo>
                  <a:cubicBezTo>
                    <a:pt x="160" y="277"/>
                    <a:pt x="161" y="276"/>
                    <a:pt x="161" y="276"/>
                  </a:cubicBezTo>
                  <a:cubicBezTo>
                    <a:pt x="161" y="276"/>
                    <a:pt x="161" y="276"/>
                    <a:pt x="161" y="276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3" y="277"/>
                    <a:pt x="164" y="277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6"/>
                    <a:pt x="166" y="276"/>
                    <a:pt x="166" y="276"/>
                  </a:cubicBezTo>
                  <a:cubicBezTo>
                    <a:pt x="168" y="276"/>
                    <a:pt x="169" y="276"/>
                    <a:pt x="170" y="275"/>
                  </a:cubicBezTo>
                  <a:cubicBezTo>
                    <a:pt x="170" y="274"/>
                    <a:pt x="170" y="274"/>
                    <a:pt x="170" y="273"/>
                  </a:cubicBezTo>
                  <a:cubicBezTo>
                    <a:pt x="170" y="273"/>
                    <a:pt x="170" y="273"/>
                    <a:pt x="170" y="273"/>
                  </a:cubicBezTo>
                  <a:cubicBezTo>
                    <a:pt x="171" y="273"/>
                    <a:pt x="172" y="273"/>
                    <a:pt x="172" y="273"/>
                  </a:cubicBezTo>
                  <a:cubicBezTo>
                    <a:pt x="172" y="273"/>
                    <a:pt x="173" y="272"/>
                    <a:pt x="173" y="272"/>
                  </a:cubicBezTo>
                  <a:cubicBezTo>
                    <a:pt x="173" y="272"/>
                    <a:pt x="174" y="272"/>
                    <a:pt x="175" y="272"/>
                  </a:cubicBezTo>
                  <a:cubicBezTo>
                    <a:pt x="175" y="272"/>
                    <a:pt x="175" y="272"/>
                    <a:pt x="175" y="273"/>
                  </a:cubicBezTo>
                  <a:cubicBezTo>
                    <a:pt x="175" y="273"/>
                    <a:pt x="175" y="273"/>
                    <a:pt x="175" y="273"/>
                  </a:cubicBezTo>
                  <a:cubicBezTo>
                    <a:pt x="175" y="274"/>
                    <a:pt x="175" y="275"/>
                    <a:pt x="176" y="275"/>
                  </a:cubicBezTo>
                  <a:cubicBezTo>
                    <a:pt x="176" y="277"/>
                    <a:pt x="177" y="279"/>
                    <a:pt x="177" y="281"/>
                  </a:cubicBezTo>
                  <a:cubicBezTo>
                    <a:pt x="177" y="282"/>
                    <a:pt x="176" y="282"/>
                    <a:pt x="176" y="283"/>
                  </a:cubicBezTo>
                  <a:cubicBezTo>
                    <a:pt x="176" y="283"/>
                    <a:pt x="176" y="284"/>
                    <a:pt x="175" y="284"/>
                  </a:cubicBezTo>
                  <a:cubicBezTo>
                    <a:pt x="175" y="285"/>
                    <a:pt x="175" y="286"/>
                    <a:pt x="175" y="287"/>
                  </a:cubicBezTo>
                  <a:cubicBezTo>
                    <a:pt x="174" y="287"/>
                    <a:pt x="174" y="288"/>
                    <a:pt x="174" y="288"/>
                  </a:cubicBezTo>
                  <a:cubicBezTo>
                    <a:pt x="174" y="289"/>
                    <a:pt x="174" y="289"/>
                    <a:pt x="174" y="289"/>
                  </a:cubicBezTo>
                  <a:cubicBezTo>
                    <a:pt x="174" y="290"/>
                    <a:pt x="173" y="291"/>
                    <a:pt x="174" y="293"/>
                  </a:cubicBezTo>
                  <a:cubicBezTo>
                    <a:pt x="174" y="293"/>
                    <a:pt x="174" y="294"/>
                    <a:pt x="174" y="295"/>
                  </a:cubicBezTo>
                  <a:cubicBezTo>
                    <a:pt x="175" y="297"/>
                    <a:pt x="175" y="301"/>
                    <a:pt x="178" y="302"/>
                  </a:cubicBezTo>
                  <a:cubicBezTo>
                    <a:pt x="179" y="303"/>
                    <a:pt x="179" y="303"/>
                    <a:pt x="179" y="304"/>
                  </a:cubicBezTo>
                  <a:cubicBezTo>
                    <a:pt x="180" y="305"/>
                    <a:pt x="182" y="306"/>
                    <a:pt x="183" y="306"/>
                  </a:cubicBezTo>
                  <a:cubicBezTo>
                    <a:pt x="183" y="305"/>
                    <a:pt x="184" y="305"/>
                    <a:pt x="184" y="305"/>
                  </a:cubicBezTo>
                  <a:cubicBezTo>
                    <a:pt x="184" y="305"/>
                    <a:pt x="185" y="305"/>
                    <a:pt x="185" y="305"/>
                  </a:cubicBezTo>
                  <a:cubicBezTo>
                    <a:pt x="185" y="305"/>
                    <a:pt x="186" y="305"/>
                    <a:pt x="186" y="305"/>
                  </a:cubicBezTo>
                  <a:cubicBezTo>
                    <a:pt x="187" y="306"/>
                    <a:pt x="187" y="306"/>
                    <a:pt x="188" y="306"/>
                  </a:cubicBezTo>
                  <a:cubicBezTo>
                    <a:pt x="188" y="306"/>
                    <a:pt x="189" y="306"/>
                    <a:pt x="189" y="306"/>
                  </a:cubicBezTo>
                  <a:cubicBezTo>
                    <a:pt x="189" y="306"/>
                    <a:pt x="189" y="307"/>
                    <a:pt x="189" y="307"/>
                  </a:cubicBezTo>
                  <a:cubicBezTo>
                    <a:pt x="190" y="308"/>
                    <a:pt x="190" y="308"/>
                    <a:pt x="191" y="308"/>
                  </a:cubicBezTo>
                  <a:cubicBezTo>
                    <a:pt x="191" y="308"/>
                    <a:pt x="191" y="308"/>
                    <a:pt x="192" y="309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2" y="310"/>
                    <a:pt x="193" y="312"/>
                    <a:pt x="195" y="312"/>
                  </a:cubicBezTo>
                  <a:cubicBezTo>
                    <a:pt x="195" y="312"/>
                    <a:pt x="195" y="312"/>
                    <a:pt x="196" y="311"/>
                  </a:cubicBezTo>
                  <a:cubicBezTo>
                    <a:pt x="196" y="311"/>
                    <a:pt x="197" y="311"/>
                    <a:pt x="197" y="311"/>
                  </a:cubicBezTo>
                  <a:cubicBezTo>
                    <a:pt x="197" y="310"/>
                    <a:pt x="197" y="310"/>
                    <a:pt x="197" y="310"/>
                  </a:cubicBezTo>
                  <a:cubicBezTo>
                    <a:pt x="198" y="310"/>
                    <a:pt x="198" y="309"/>
                    <a:pt x="199" y="309"/>
                  </a:cubicBezTo>
                  <a:cubicBezTo>
                    <a:pt x="200" y="308"/>
                    <a:pt x="200" y="307"/>
                    <a:pt x="201" y="307"/>
                  </a:cubicBezTo>
                  <a:cubicBezTo>
                    <a:pt x="201" y="307"/>
                    <a:pt x="201" y="307"/>
                    <a:pt x="201" y="307"/>
                  </a:cubicBezTo>
                  <a:cubicBezTo>
                    <a:pt x="202" y="307"/>
                    <a:pt x="204" y="307"/>
                    <a:pt x="205" y="305"/>
                  </a:cubicBezTo>
                  <a:cubicBezTo>
                    <a:pt x="205" y="305"/>
                    <a:pt x="205" y="304"/>
                    <a:pt x="205" y="303"/>
                  </a:cubicBezTo>
                  <a:cubicBezTo>
                    <a:pt x="205" y="303"/>
                    <a:pt x="206" y="302"/>
                    <a:pt x="207" y="302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08" y="302"/>
                    <a:pt x="208" y="303"/>
                    <a:pt x="208" y="303"/>
                  </a:cubicBezTo>
                  <a:cubicBezTo>
                    <a:pt x="208" y="303"/>
                    <a:pt x="207" y="303"/>
                    <a:pt x="207" y="303"/>
                  </a:cubicBezTo>
                  <a:cubicBezTo>
                    <a:pt x="206" y="304"/>
                    <a:pt x="205" y="305"/>
                    <a:pt x="205" y="306"/>
                  </a:cubicBezTo>
                  <a:cubicBezTo>
                    <a:pt x="205" y="307"/>
                    <a:pt x="207" y="308"/>
                    <a:pt x="209" y="307"/>
                  </a:cubicBezTo>
                  <a:cubicBezTo>
                    <a:pt x="209" y="308"/>
                    <a:pt x="209" y="308"/>
                    <a:pt x="209" y="309"/>
                  </a:cubicBezTo>
                  <a:cubicBezTo>
                    <a:pt x="209" y="309"/>
                    <a:pt x="209" y="309"/>
                    <a:pt x="210" y="310"/>
                  </a:cubicBezTo>
                  <a:cubicBezTo>
                    <a:pt x="210" y="310"/>
                    <a:pt x="210" y="310"/>
                    <a:pt x="210" y="310"/>
                  </a:cubicBezTo>
                  <a:cubicBezTo>
                    <a:pt x="209" y="311"/>
                    <a:pt x="209" y="311"/>
                    <a:pt x="209" y="312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11" y="313"/>
                    <a:pt x="211" y="313"/>
                    <a:pt x="211" y="313"/>
                  </a:cubicBezTo>
                  <a:cubicBezTo>
                    <a:pt x="211" y="313"/>
                    <a:pt x="211" y="313"/>
                    <a:pt x="211" y="313"/>
                  </a:cubicBezTo>
                  <a:cubicBezTo>
                    <a:pt x="212" y="314"/>
                    <a:pt x="212" y="314"/>
                    <a:pt x="212" y="314"/>
                  </a:cubicBezTo>
                  <a:cubicBezTo>
                    <a:pt x="212" y="314"/>
                    <a:pt x="212" y="314"/>
                    <a:pt x="212" y="315"/>
                  </a:cubicBezTo>
                  <a:cubicBezTo>
                    <a:pt x="213" y="317"/>
                    <a:pt x="213" y="317"/>
                    <a:pt x="214" y="317"/>
                  </a:cubicBezTo>
                  <a:cubicBezTo>
                    <a:pt x="215" y="317"/>
                    <a:pt x="215" y="317"/>
                    <a:pt x="215" y="317"/>
                  </a:cubicBezTo>
                  <a:cubicBezTo>
                    <a:pt x="217" y="316"/>
                    <a:pt x="216" y="314"/>
                    <a:pt x="216" y="313"/>
                  </a:cubicBezTo>
                  <a:cubicBezTo>
                    <a:pt x="216" y="313"/>
                    <a:pt x="216" y="313"/>
                    <a:pt x="216" y="313"/>
                  </a:cubicBezTo>
                  <a:cubicBezTo>
                    <a:pt x="216" y="313"/>
                    <a:pt x="216" y="313"/>
                    <a:pt x="216" y="313"/>
                  </a:cubicBezTo>
                  <a:cubicBezTo>
                    <a:pt x="217" y="312"/>
                    <a:pt x="217" y="312"/>
                    <a:pt x="217" y="312"/>
                  </a:cubicBezTo>
                  <a:cubicBezTo>
                    <a:pt x="217" y="312"/>
                    <a:pt x="217" y="312"/>
                    <a:pt x="217" y="312"/>
                  </a:cubicBezTo>
                  <a:cubicBezTo>
                    <a:pt x="217" y="312"/>
                    <a:pt x="218" y="313"/>
                    <a:pt x="218" y="313"/>
                  </a:cubicBezTo>
                  <a:cubicBezTo>
                    <a:pt x="218" y="313"/>
                    <a:pt x="218" y="313"/>
                    <a:pt x="218" y="313"/>
                  </a:cubicBezTo>
                  <a:cubicBezTo>
                    <a:pt x="220" y="313"/>
                    <a:pt x="220" y="312"/>
                    <a:pt x="221" y="311"/>
                  </a:cubicBezTo>
                  <a:cubicBezTo>
                    <a:pt x="221" y="310"/>
                    <a:pt x="222" y="310"/>
                    <a:pt x="223" y="310"/>
                  </a:cubicBezTo>
                  <a:cubicBezTo>
                    <a:pt x="223" y="310"/>
                    <a:pt x="223" y="309"/>
                    <a:pt x="224" y="309"/>
                  </a:cubicBezTo>
                  <a:cubicBezTo>
                    <a:pt x="225" y="309"/>
                    <a:pt x="226" y="308"/>
                    <a:pt x="227" y="307"/>
                  </a:cubicBezTo>
                  <a:cubicBezTo>
                    <a:pt x="228" y="307"/>
                    <a:pt x="229" y="306"/>
                    <a:pt x="229" y="305"/>
                  </a:cubicBezTo>
                  <a:cubicBezTo>
                    <a:pt x="230" y="305"/>
                    <a:pt x="230" y="304"/>
                    <a:pt x="231" y="304"/>
                  </a:cubicBezTo>
                  <a:cubicBezTo>
                    <a:pt x="231" y="304"/>
                    <a:pt x="231" y="304"/>
                    <a:pt x="231" y="304"/>
                  </a:cubicBezTo>
                  <a:cubicBezTo>
                    <a:pt x="231" y="304"/>
                    <a:pt x="232" y="304"/>
                    <a:pt x="231" y="303"/>
                  </a:cubicBezTo>
                  <a:cubicBezTo>
                    <a:pt x="231" y="303"/>
                    <a:pt x="232" y="304"/>
                    <a:pt x="232" y="304"/>
                  </a:cubicBezTo>
                  <a:cubicBezTo>
                    <a:pt x="232" y="304"/>
                    <a:pt x="232" y="304"/>
                    <a:pt x="232" y="304"/>
                  </a:cubicBezTo>
                  <a:cubicBezTo>
                    <a:pt x="234" y="304"/>
                    <a:pt x="235" y="304"/>
                    <a:pt x="236" y="304"/>
                  </a:cubicBezTo>
                  <a:cubicBezTo>
                    <a:pt x="236" y="304"/>
                    <a:pt x="236" y="304"/>
                    <a:pt x="237" y="304"/>
                  </a:cubicBezTo>
                  <a:cubicBezTo>
                    <a:pt x="237" y="304"/>
                    <a:pt x="238" y="304"/>
                    <a:pt x="238" y="304"/>
                  </a:cubicBezTo>
                  <a:cubicBezTo>
                    <a:pt x="239" y="304"/>
                    <a:pt x="239" y="304"/>
                    <a:pt x="239" y="304"/>
                  </a:cubicBezTo>
                  <a:cubicBezTo>
                    <a:pt x="239" y="304"/>
                    <a:pt x="240" y="303"/>
                    <a:pt x="240" y="304"/>
                  </a:cubicBezTo>
                  <a:cubicBezTo>
                    <a:pt x="240" y="304"/>
                    <a:pt x="241" y="304"/>
                    <a:pt x="242" y="304"/>
                  </a:cubicBezTo>
                  <a:cubicBezTo>
                    <a:pt x="242" y="304"/>
                    <a:pt x="243" y="304"/>
                    <a:pt x="243" y="304"/>
                  </a:cubicBezTo>
                  <a:cubicBezTo>
                    <a:pt x="244" y="304"/>
                    <a:pt x="244" y="304"/>
                    <a:pt x="244" y="304"/>
                  </a:cubicBezTo>
                  <a:cubicBezTo>
                    <a:pt x="244" y="303"/>
                    <a:pt x="244" y="303"/>
                    <a:pt x="244" y="303"/>
                  </a:cubicBezTo>
                  <a:cubicBezTo>
                    <a:pt x="245" y="303"/>
                    <a:pt x="245" y="303"/>
                    <a:pt x="245" y="303"/>
                  </a:cubicBezTo>
                  <a:cubicBezTo>
                    <a:pt x="245" y="303"/>
                    <a:pt x="245" y="302"/>
                    <a:pt x="245" y="302"/>
                  </a:cubicBezTo>
                  <a:cubicBezTo>
                    <a:pt x="246" y="302"/>
                    <a:pt x="246" y="302"/>
                    <a:pt x="246" y="302"/>
                  </a:cubicBezTo>
                  <a:cubicBezTo>
                    <a:pt x="246" y="302"/>
                    <a:pt x="247" y="302"/>
                    <a:pt x="247" y="301"/>
                  </a:cubicBezTo>
                  <a:cubicBezTo>
                    <a:pt x="247" y="301"/>
                    <a:pt x="247" y="301"/>
                    <a:pt x="247" y="301"/>
                  </a:cubicBezTo>
                  <a:cubicBezTo>
                    <a:pt x="248" y="301"/>
                    <a:pt x="248" y="301"/>
                    <a:pt x="248" y="301"/>
                  </a:cubicBezTo>
                  <a:cubicBezTo>
                    <a:pt x="249" y="300"/>
                    <a:pt x="250" y="299"/>
                    <a:pt x="250" y="297"/>
                  </a:cubicBezTo>
                  <a:cubicBezTo>
                    <a:pt x="250" y="296"/>
                    <a:pt x="250" y="296"/>
                    <a:pt x="250" y="295"/>
                  </a:cubicBezTo>
                  <a:cubicBezTo>
                    <a:pt x="250" y="295"/>
                    <a:pt x="250" y="295"/>
                    <a:pt x="250" y="295"/>
                  </a:cubicBezTo>
                  <a:cubicBezTo>
                    <a:pt x="250" y="295"/>
                    <a:pt x="251" y="294"/>
                    <a:pt x="251" y="294"/>
                  </a:cubicBezTo>
                  <a:cubicBezTo>
                    <a:pt x="252" y="293"/>
                    <a:pt x="252" y="293"/>
                    <a:pt x="253" y="292"/>
                  </a:cubicBezTo>
                  <a:cubicBezTo>
                    <a:pt x="253" y="292"/>
                    <a:pt x="254" y="291"/>
                    <a:pt x="254" y="290"/>
                  </a:cubicBezTo>
                  <a:cubicBezTo>
                    <a:pt x="254" y="290"/>
                    <a:pt x="254" y="290"/>
                    <a:pt x="254" y="289"/>
                  </a:cubicBezTo>
                  <a:cubicBezTo>
                    <a:pt x="254" y="289"/>
                    <a:pt x="255" y="289"/>
                    <a:pt x="256" y="288"/>
                  </a:cubicBezTo>
                  <a:cubicBezTo>
                    <a:pt x="256" y="288"/>
                    <a:pt x="258" y="287"/>
                    <a:pt x="258" y="285"/>
                  </a:cubicBezTo>
                  <a:cubicBezTo>
                    <a:pt x="258" y="285"/>
                    <a:pt x="258" y="285"/>
                    <a:pt x="257" y="285"/>
                  </a:cubicBezTo>
                  <a:cubicBezTo>
                    <a:pt x="257" y="284"/>
                    <a:pt x="257" y="284"/>
                    <a:pt x="257" y="284"/>
                  </a:cubicBezTo>
                  <a:cubicBezTo>
                    <a:pt x="258" y="284"/>
                    <a:pt x="258" y="284"/>
                    <a:pt x="258" y="283"/>
                  </a:cubicBezTo>
                  <a:cubicBezTo>
                    <a:pt x="258" y="283"/>
                    <a:pt x="259" y="283"/>
                    <a:pt x="259" y="282"/>
                  </a:cubicBezTo>
                  <a:cubicBezTo>
                    <a:pt x="259" y="282"/>
                    <a:pt x="259" y="281"/>
                    <a:pt x="259" y="281"/>
                  </a:cubicBezTo>
                  <a:cubicBezTo>
                    <a:pt x="259" y="281"/>
                    <a:pt x="260" y="281"/>
                    <a:pt x="260" y="280"/>
                  </a:cubicBezTo>
                  <a:cubicBezTo>
                    <a:pt x="260" y="280"/>
                    <a:pt x="260" y="280"/>
                    <a:pt x="260" y="280"/>
                  </a:cubicBezTo>
                  <a:cubicBezTo>
                    <a:pt x="261" y="280"/>
                    <a:pt x="262" y="280"/>
                    <a:pt x="262" y="278"/>
                  </a:cubicBezTo>
                  <a:cubicBezTo>
                    <a:pt x="263" y="278"/>
                    <a:pt x="263" y="278"/>
                    <a:pt x="263" y="277"/>
                  </a:cubicBezTo>
                  <a:cubicBezTo>
                    <a:pt x="263" y="277"/>
                    <a:pt x="263" y="277"/>
                    <a:pt x="263" y="277"/>
                  </a:cubicBezTo>
                  <a:cubicBezTo>
                    <a:pt x="264" y="276"/>
                    <a:pt x="265" y="275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8" y="274"/>
                    <a:pt x="269" y="272"/>
                    <a:pt x="270" y="271"/>
                  </a:cubicBezTo>
                  <a:cubicBezTo>
                    <a:pt x="270" y="270"/>
                    <a:pt x="270" y="270"/>
                    <a:pt x="270" y="269"/>
                  </a:cubicBezTo>
                  <a:cubicBezTo>
                    <a:pt x="270" y="269"/>
                    <a:pt x="270" y="269"/>
                    <a:pt x="270" y="269"/>
                  </a:cubicBezTo>
                  <a:cubicBezTo>
                    <a:pt x="270" y="268"/>
                    <a:pt x="271" y="267"/>
                    <a:pt x="272" y="266"/>
                  </a:cubicBezTo>
                  <a:cubicBezTo>
                    <a:pt x="272" y="266"/>
                    <a:pt x="273" y="265"/>
                    <a:pt x="273" y="265"/>
                  </a:cubicBezTo>
                  <a:cubicBezTo>
                    <a:pt x="273" y="265"/>
                    <a:pt x="273" y="265"/>
                    <a:pt x="273" y="264"/>
                  </a:cubicBezTo>
                  <a:cubicBezTo>
                    <a:pt x="275" y="263"/>
                    <a:pt x="275" y="263"/>
                    <a:pt x="275" y="263"/>
                  </a:cubicBezTo>
                  <a:cubicBezTo>
                    <a:pt x="276" y="262"/>
                    <a:pt x="277" y="261"/>
                    <a:pt x="277" y="259"/>
                  </a:cubicBezTo>
                  <a:cubicBezTo>
                    <a:pt x="278" y="259"/>
                    <a:pt x="278" y="258"/>
                    <a:pt x="278" y="258"/>
                  </a:cubicBezTo>
                  <a:cubicBezTo>
                    <a:pt x="278" y="257"/>
                    <a:pt x="278" y="257"/>
                    <a:pt x="278" y="257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78" y="257"/>
                    <a:pt x="278" y="257"/>
                    <a:pt x="278" y="257"/>
                  </a:cubicBezTo>
                  <a:cubicBezTo>
                    <a:pt x="278" y="257"/>
                    <a:pt x="277" y="257"/>
                    <a:pt x="277" y="257"/>
                  </a:cubicBezTo>
                  <a:cubicBezTo>
                    <a:pt x="278" y="257"/>
                    <a:pt x="279" y="257"/>
                    <a:pt x="280" y="256"/>
                  </a:cubicBezTo>
                  <a:cubicBezTo>
                    <a:pt x="280" y="256"/>
                    <a:pt x="281" y="255"/>
                    <a:pt x="281" y="255"/>
                  </a:cubicBezTo>
                  <a:cubicBezTo>
                    <a:pt x="281" y="255"/>
                    <a:pt x="281" y="255"/>
                    <a:pt x="281" y="255"/>
                  </a:cubicBezTo>
                  <a:cubicBezTo>
                    <a:pt x="281" y="255"/>
                    <a:pt x="281" y="254"/>
                    <a:pt x="282" y="254"/>
                  </a:cubicBezTo>
                  <a:cubicBezTo>
                    <a:pt x="282" y="254"/>
                    <a:pt x="282" y="254"/>
                    <a:pt x="282" y="254"/>
                  </a:cubicBezTo>
                  <a:cubicBezTo>
                    <a:pt x="283" y="253"/>
                    <a:pt x="283" y="252"/>
                    <a:pt x="283" y="252"/>
                  </a:cubicBezTo>
                  <a:cubicBezTo>
                    <a:pt x="283" y="252"/>
                    <a:pt x="283" y="252"/>
                    <a:pt x="283" y="251"/>
                  </a:cubicBezTo>
                  <a:cubicBezTo>
                    <a:pt x="284" y="251"/>
                    <a:pt x="284" y="251"/>
                    <a:pt x="284" y="251"/>
                  </a:cubicBezTo>
                  <a:cubicBezTo>
                    <a:pt x="284" y="251"/>
                    <a:pt x="285" y="251"/>
                    <a:pt x="285" y="251"/>
                  </a:cubicBezTo>
                  <a:cubicBezTo>
                    <a:pt x="286" y="250"/>
                    <a:pt x="286" y="249"/>
                    <a:pt x="286" y="249"/>
                  </a:cubicBezTo>
                  <a:cubicBezTo>
                    <a:pt x="286" y="248"/>
                    <a:pt x="287" y="248"/>
                    <a:pt x="287" y="248"/>
                  </a:cubicBezTo>
                  <a:cubicBezTo>
                    <a:pt x="287" y="248"/>
                    <a:pt x="288" y="248"/>
                    <a:pt x="288" y="247"/>
                  </a:cubicBezTo>
                  <a:cubicBezTo>
                    <a:pt x="289" y="247"/>
                    <a:pt x="289" y="247"/>
                    <a:pt x="290" y="246"/>
                  </a:cubicBezTo>
                  <a:cubicBezTo>
                    <a:pt x="292" y="246"/>
                    <a:pt x="292" y="244"/>
                    <a:pt x="292" y="243"/>
                  </a:cubicBezTo>
                  <a:cubicBezTo>
                    <a:pt x="293" y="243"/>
                    <a:pt x="293" y="243"/>
                    <a:pt x="293" y="243"/>
                  </a:cubicBezTo>
                  <a:cubicBezTo>
                    <a:pt x="295" y="243"/>
                    <a:pt x="295" y="241"/>
                    <a:pt x="295" y="240"/>
                  </a:cubicBezTo>
                  <a:cubicBezTo>
                    <a:pt x="295" y="240"/>
                    <a:pt x="295" y="240"/>
                    <a:pt x="295" y="240"/>
                  </a:cubicBezTo>
                  <a:cubicBezTo>
                    <a:pt x="295" y="240"/>
                    <a:pt x="295" y="240"/>
                    <a:pt x="295" y="240"/>
                  </a:cubicBezTo>
                  <a:cubicBezTo>
                    <a:pt x="296" y="240"/>
                    <a:pt x="297" y="239"/>
                    <a:pt x="297" y="238"/>
                  </a:cubicBezTo>
                  <a:cubicBezTo>
                    <a:pt x="297" y="238"/>
                    <a:pt x="297" y="237"/>
                    <a:pt x="297" y="237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97" y="237"/>
                    <a:pt x="298" y="236"/>
                  </a:cubicBezTo>
                  <a:cubicBezTo>
                    <a:pt x="298" y="236"/>
                    <a:pt x="298" y="235"/>
                    <a:pt x="298" y="235"/>
                  </a:cubicBezTo>
                  <a:cubicBezTo>
                    <a:pt x="299" y="235"/>
                    <a:pt x="300" y="235"/>
                    <a:pt x="300" y="234"/>
                  </a:cubicBezTo>
                  <a:cubicBezTo>
                    <a:pt x="301" y="234"/>
                    <a:pt x="301" y="234"/>
                    <a:pt x="301" y="234"/>
                  </a:cubicBezTo>
                  <a:cubicBezTo>
                    <a:pt x="301" y="233"/>
                    <a:pt x="302" y="232"/>
                    <a:pt x="302" y="231"/>
                  </a:cubicBezTo>
                  <a:cubicBezTo>
                    <a:pt x="302" y="230"/>
                    <a:pt x="302" y="230"/>
                    <a:pt x="302" y="229"/>
                  </a:cubicBezTo>
                  <a:cubicBezTo>
                    <a:pt x="302" y="229"/>
                    <a:pt x="302" y="228"/>
                    <a:pt x="302" y="228"/>
                  </a:cubicBezTo>
                  <a:cubicBezTo>
                    <a:pt x="302" y="227"/>
                    <a:pt x="303" y="226"/>
                    <a:pt x="304" y="225"/>
                  </a:cubicBezTo>
                  <a:cubicBezTo>
                    <a:pt x="304" y="224"/>
                    <a:pt x="304" y="224"/>
                    <a:pt x="304" y="224"/>
                  </a:cubicBezTo>
                  <a:cubicBezTo>
                    <a:pt x="305" y="223"/>
                    <a:pt x="305" y="223"/>
                    <a:pt x="305" y="223"/>
                  </a:cubicBezTo>
                  <a:cubicBezTo>
                    <a:pt x="305" y="222"/>
                    <a:pt x="306" y="222"/>
                    <a:pt x="306" y="222"/>
                  </a:cubicBezTo>
                  <a:cubicBezTo>
                    <a:pt x="306" y="221"/>
                    <a:pt x="307" y="220"/>
                    <a:pt x="307" y="219"/>
                  </a:cubicBezTo>
                  <a:cubicBezTo>
                    <a:pt x="308" y="219"/>
                    <a:pt x="308" y="218"/>
                    <a:pt x="308" y="218"/>
                  </a:cubicBezTo>
                  <a:cubicBezTo>
                    <a:pt x="308" y="217"/>
                    <a:pt x="308" y="217"/>
                    <a:pt x="309" y="217"/>
                  </a:cubicBezTo>
                  <a:lnTo>
                    <a:pt x="308" y="216"/>
                  </a:lnTo>
                  <a:close/>
                  <a:moveTo>
                    <a:pt x="16" y="156"/>
                  </a:moveTo>
                  <a:cubicBezTo>
                    <a:pt x="16" y="155"/>
                    <a:pt x="16" y="155"/>
                    <a:pt x="16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16" y="156"/>
                    <a:pt x="16" y="156"/>
                    <a:pt x="16" y="156"/>
                  </a:cubicBezTo>
                  <a:close/>
                  <a:moveTo>
                    <a:pt x="160" y="48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160" y="48"/>
                    <a:pt x="160" y="48"/>
                    <a:pt x="160" y="48"/>
                  </a:cubicBezTo>
                  <a:cubicBezTo>
                    <a:pt x="160" y="48"/>
                    <a:pt x="160" y="48"/>
                    <a:pt x="160" y="48"/>
                  </a:cubicBezTo>
                  <a:close/>
                  <a:moveTo>
                    <a:pt x="171" y="22"/>
                  </a:moveTo>
                  <a:cubicBezTo>
                    <a:pt x="171" y="22"/>
                    <a:pt x="171" y="22"/>
                    <a:pt x="171" y="22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22"/>
                    <a:pt x="171" y="22"/>
                    <a:pt x="171" y="22"/>
                  </a:cubicBezTo>
                  <a:close/>
                  <a:moveTo>
                    <a:pt x="109" y="58"/>
                  </a:move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9"/>
                    <a:pt x="108" y="60"/>
                    <a:pt x="109" y="62"/>
                  </a:cubicBezTo>
                  <a:cubicBezTo>
                    <a:pt x="109" y="63"/>
                    <a:pt x="110" y="63"/>
                    <a:pt x="110" y="64"/>
                  </a:cubicBezTo>
                  <a:cubicBezTo>
                    <a:pt x="110" y="64"/>
                    <a:pt x="109" y="64"/>
                    <a:pt x="109" y="64"/>
                  </a:cubicBezTo>
                  <a:cubicBezTo>
                    <a:pt x="109" y="64"/>
                    <a:pt x="109" y="64"/>
                    <a:pt x="109" y="65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64"/>
                    <a:pt x="108" y="63"/>
                    <a:pt x="108" y="63"/>
                  </a:cubicBezTo>
                  <a:cubicBezTo>
                    <a:pt x="108" y="63"/>
                    <a:pt x="108" y="63"/>
                    <a:pt x="108" y="62"/>
                  </a:cubicBezTo>
                  <a:cubicBezTo>
                    <a:pt x="108" y="61"/>
                    <a:pt x="108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8" y="60"/>
                    <a:pt x="109" y="59"/>
                    <a:pt x="109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auto">
            <a:xfrm>
              <a:off x="4608" y="3807"/>
              <a:ext cx="16" cy="14"/>
            </a:xfrm>
            <a:custGeom>
              <a:avLst/>
              <a:gdLst>
                <a:gd name="T0" fmla="*/ 5 w 7"/>
                <a:gd name="T1" fmla="*/ 2 h 6"/>
                <a:gd name="T2" fmla="*/ 4 w 7"/>
                <a:gd name="T3" fmla="*/ 1 h 6"/>
                <a:gd name="T4" fmla="*/ 4 w 7"/>
                <a:gd name="T5" fmla="*/ 1 h 6"/>
                <a:gd name="T6" fmla="*/ 2 w 7"/>
                <a:gd name="T7" fmla="*/ 0 h 6"/>
                <a:gd name="T8" fmla="*/ 1 w 7"/>
                <a:gd name="T9" fmla="*/ 2 h 6"/>
                <a:gd name="T10" fmla="*/ 1 w 7"/>
                <a:gd name="T11" fmla="*/ 5 h 6"/>
                <a:gd name="T12" fmla="*/ 4 w 7"/>
                <a:gd name="T13" fmla="*/ 6 h 6"/>
                <a:gd name="T14" fmla="*/ 4 w 7"/>
                <a:gd name="T15" fmla="*/ 6 h 6"/>
                <a:gd name="T16" fmla="*/ 7 w 7"/>
                <a:gd name="T17" fmla="*/ 5 h 6"/>
                <a:gd name="T18" fmla="*/ 7 w 7"/>
                <a:gd name="T19" fmla="*/ 3 h 6"/>
                <a:gd name="T20" fmla="*/ 5 w 7"/>
                <a:gd name="T2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5" y="2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1" y="4"/>
                    <a:pt x="1" y="5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6" y="6"/>
                    <a:pt x="7" y="5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2"/>
                    <a:pt x="6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1942" y="1857"/>
              <a:ext cx="15" cy="31"/>
            </a:xfrm>
            <a:custGeom>
              <a:avLst/>
              <a:gdLst>
                <a:gd name="T0" fmla="*/ 5 w 6"/>
                <a:gd name="T1" fmla="*/ 4 h 13"/>
                <a:gd name="T2" fmla="*/ 2 w 6"/>
                <a:gd name="T3" fmla="*/ 0 h 13"/>
                <a:gd name="T4" fmla="*/ 2 w 6"/>
                <a:gd name="T5" fmla="*/ 0 h 13"/>
                <a:gd name="T6" fmla="*/ 0 w 6"/>
                <a:gd name="T7" fmla="*/ 3 h 13"/>
                <a:gd name="T8" fmla="*/ 1 w 6"/>
                <a:gd name="T9" fmla="*/ 5 h 13"/>
                <a:gd name="T10" fmla="*/ 1 w 6"/>
                <a:gd name="T11" fmla="*/ 6 h 13"/>
                <a:gd name="T12" fmla="*/ 1 w 6"/>
                <a:gd name="T13" fmla="*/ 6 h 13"/>
                <a:gd name="T14" fmla="*/ 1 w 6"/>
                <a:gd name="T15" fmla="*/ 7 h 13"/>
                <a:gd name="T16" fmla="*/ 2 w 6"/>
                <a:gd name="T17" fmla="*/ 8 h 13"/>
                <a:gd name="T18" fmla="*/ 2 w 6"/>
                <a:gd name="T19" fmla="*/ 9 h 13"/>
                <a:gd name="T20" fmla="*/ 2 w 6"/>
                <a:gd name="T21" fmla="*/ 10 h 13"/>
                <a:gd name="T22" fmla="*/ 1 w 6"/>
                <a:gd name="T23" fmla="*/ 12 h 13"/>
                <a:gd name="T24" fmla="*/ 2 w 6"/>
                <a:gd name="T25" fmla="*/ 13 h 13"/>
                <a:gd name="T26" fmla="*/ 2 w 6"/>
                <a:gd name="T27" fmla="*/ 13 h 13"/>
                <a:gd name="T28" fmla="*/ 3 w 6"/>
                <a:gd name="T29" fmla="*/ 13 h 13"/>
                <a:gd name="T30" fmla="*/ 5 w 6"/>
                <a:gd name="T31" fmla="*/ 8 h 13"/>
                <a:gd name="T32" fmla="*/ 5 w 6"/>
                <a:gd name="T33" fmla="*/ 5 h 13"/>
                <a:gd name="T34" fmla="*/ 5 w 6"/>
                <a:gd name="T3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13">
                  <a:moveTo>
                    <a:pt x="5" y="4"/>
                  </a:moveTo>
                  <a:cubicBezTo>
                    <a:pt x="4" y="3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2" y="10"/>
                    <a:pt x="1" y="11"/>
                    <a:pt x="1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3"/>
                    <a:pt x="5" y="10"/>
                    <a:pt x="5" y="8"/>
                  </a:cubicBezTo>
                  <a:cubicBezTo>
                    <a:pt x="6" y="7"/>
                    <a:pt x="5" y="6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1763" y="1911"/>
              <a:ext cx="196" cy="104"/>
            </a:xfrm>
            <a:custGeom>
              <a:avLst/>
              <a:gdLst>
                <a:gd name="T0" fmla="*/ 62 w 83"/>
                <a:gd name="T1" fmla="*/ 42 h 44"/>
                <a:gd name="T2" fmla="*/ 65 w 83"/>
                <a:gd name="T3" fmla="*/ 43 h 44"/>
                <a:gd name="T4" fmla="*/ 69 w 83"/>
                <a:gd name="T5" fmla="*/ 43 h 44"/>
                <a:gd name="T6" fmla="*/ 73 w 83"/>
                <a:gd name="T7" fmla="*/ 43 h 44"/>
                <a:gd name="T8" fmla="*/ 77 w 83"/>
                <a:gd name="T9" fmla="*/ 43 h 44"/>
                <a:gd name="T10" fmla="*/ 77 w 83"/>
                <a:gd name="T11" fmla="*/ 43 h 44"/>
                <a:gd name="T12" fmla="*/ 81 w 83"/>
                <a:gd name="T13" fmla="*/ 42 h 44"/>
                <a:gd name="T14" fmla="*/ 80 w 83"/>
                <a:gd name="T15" fmla="*/ 36 h 44"/>
                <a:gd name="T16" fmla="*/ 77 w 83"/>
                <a:gd name="T17" fmla="*/ 33 h 44"/>
                <a:gd name="T18" fmla="*/ 72 w 83"/>
                <a:gd name="T19" fmla="*/ 31 h 44"/>
                <a:gd name="T20" fmla="*/ 68 w 83"/>
                <a:gd name="T21" fmla="*/ 27 h 44"/>
                <a:gd name="T22" fmla="*/ 64 w 83"/>
                <a:gd name="T23" fmla="*/ 26 h 44"/>
                <a:gd name="T24" fmla="*/ 63 w 83"/>
                <a:gd name="T25" fmla="*/ 25 h 44"/>
                <a:gd name="T26" fmla="*/ 62 w 83"/>
                <a:gd name="T27" fmla="*/ 22 h 44"/>
                <a:gd name="T28" fmla="*/ 58 w 83"/>
                <a:gd name="T29" fmla="*/ 19 h 44"/>
                <a:gd name="T30" fmla="*/ 56 w 83"/>
                <a:gd name="T31" fmla="*/ 17 h 44"/>
                <a:gd name="T32" fmla="*/ 54 w 83"/>
                <a:gd name="T33" fmla="*/ 13 h 44"/>
                <a:gd name="T34" fmla="*/ 48 w 83"/>
                <a:gd name="T35" fmla="*/ 9 h 44"/>
                <a:gd name="T36" fmla="*/ 42 w 83"/>
                <a:gd name="T37" fmla="*/ 5 h 44"/>
                <a:gd name="T38" fmla="*/ 39 w 83"/>
                <a:gd name="T39" fmla="*/ 3 h 44"/>
                <a:gd name="T40" fmla="*/ 38 w 83"/>
                <a:gd name="T41" fmla="*/ 3 h 44"/>
                <a:gd name="T42" fmla="*/ 35 w 83"/>
                <a:gd name="T43" fmla="*/ 1 h 44"/>
                <a:gd name="T44" fmla="*/ 33 w 83"/>
                <a:gd name="T45" fmla="*/ 1 h 44"/>
                <a:gd name="T46" fmla="*/ 29 w 83"/>
                <a:gd name="T47" fmla="*/ 0 h 44"/>
                <a:gd name="T48" fmla="*/ 27 w 83"/>
                <a:gd name="T49" fmla="*/ 1 h 44"/>
                <a:gd name="T50" fmla="*/ 23 w 83"/>
                <a:gd name="T51" fmla="*/ 2 h 44"/>
                <a:gd name="T52" fmla="*/ 16 w 83"/>
                <a:gd name="T53" fmla="*/ 3 h 44"/>
                <a:gd name="T54" fmla="*/ 13 w 83"/>
                <a:gd name="T55" fmla="*/ 4 h 44"/>
                <a:gd name="T56" fmla="*/ 8 w 83"/>
                <a:gd name="T57" fmla="*/ 8 h 44"/>
                <a:gd name="T58" fmla="*/ 4 w 83"/>
                <a:gd name="T59" fmla="*/ 11 h 44"/>
                <a:gd name="T60" fmla="*/ 2 w 83"/>
                <a:gd name="T61" fmla="*/ 12 h 44"/>
                <a:gd name="T62" fmla="*/ 0 w 83"/>
                <a:gd name="T63" fmla="*/ 14 h 44"/>
                <a:gd name="T64" fmla="*/ 3 w 83"/>
                <a:gd name="T65" fmla="*/ 17 h 44"/>
                <a:gd name="T66" fmla="*/ 3 w 83"/>
                <a:gd name="T67" fmla="*/ 18 h 44"/>
                <a:gd name="T68" fmla="*/ 7 w 83"/>
                <a:gd name="T69" fmla="*/ 16 h 44"/>
                <a:gd name="T70" fmla="*/ 10 w 83"/>
                <a:gd name="T71" fmla="*/ 15 h 44"/>
                <a:gd name="T72" fmla="*/ 20 w 83"/>
                <a:gd name="T73" fmla="*/ 10 h 44"/>
                <a:gd name="T74" fmla="*/ 21 w 83"/>
                <a:gd name="T75" fmla="*/ 8 h 44"/>
                <a:gd name="T76" fmla="*/ 24 w 83"/>
                <a:gd name="T77" fmla="*/ 9 h 44"/>
                <a:gd name="T78" fmla="*/ 24 w 83"/>
                <a:gd name="T79" fmla="*/ 10 h 44"/>
                <a:gd name="T80" fmla="*/ 25 w 83"/>
                <a:gd name="T81" fmla="*/ 13 h 44"/>
                <a:gd name="T82" fmla="*/ 27 w 83"/>
                <a:gd name="T83" fmla="*/ 16 h 44"/>
                <a:gd name="T84" fmla="*/ 31 w 83"/>
                <a:gd name="T85" fmla="*/ 17 h 44"/>
                <a:gd name="T86" fmla="*/ 37 w 83"/>
                <a:gd name="T87" fmla="*/ 18 h 44"/>
                <a:gd name="T88" fmla="*/ 40 w 83"/>
                <a:gd name="T89" fmla="*/ 22 h 44"/>
                <a:gd name="T90" fmla="*/ 42 w 83"/>
                <a:gd name="T91" fmla="*/ 23 h 44"/>
                <a:gd name="T92" fmla="*/ 46 w 83"/>
                <a:gd name="T93" fmla="*/ 24 h 44"/>
                <a:gd name="T94" fmla="*/ 47 w 83"/>
                <a:gd name="T95" fmla="*/ 25 h 44"/>
                <a:gd name="T96" fmla="*/ 47 w 83"/>
                <a:gd name="T97" fmla="*/ 27 h 44"/>
                <a:gd name="T98" fmla="*/ 56 w 83"/>
                <a:gd name="T99" fmla="*/ 33 h 44"/>
                <a:gd name="T100" fmla="*/ 56 w 83"/>
                <a:gd name="T101" fmla="*/ 37 h 44"/>
                <a:gd name="T102" fmla="*/ 51 w 83"/>
                <a:gd name="T103" fmla="*/ 41 h 44"/>
                <a:gd name="T104" fmla="*/ 50 w 83"/>
                <a:gd name="T105" fmla="*/ 44 h 44"/>
                <a:gd name="T106" fmla="*/ 54 w 83"/>
                <a:gd name="T107" fmla="*/ 43 h 44"/>
                <a:gd name="T108" fmla="*/ 55 w 83"/>
                <a:gd name="T109" fmla="*/ 43 h 44"/>
                <a:gd name="T110" fmla="*/ 59 w 83"/>
                <a:gd name="T111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44">
                  <a:moveTo>
                    <a:pt x="61" y="42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3" y="43"/>
                    <a:pt x="63" y="43"/>
                  </a:cubicBezTo>
                  <a:cubicBezTo>
                    <a:pt x="64" y="43"/>
                    <a:pt x="64" y="43"/>
                    <a:pt x="65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4"/>
                    <a:pt x="68" y="44"/>
                  </a:cubicBezTo>
                  <a:cubicBezTo>
                    <a:pt x="68" y="44"/>
                    <a:pt x="69" y="43"/>
                    <a:pt x="69" y="43"/>
                  </a:cubicBezTo>
                  <a:cubicBezTo>
                    <a:pt x="69" y="44"/>
                    <a:pt x="70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2" y="44"/>
                    <a:pt x="72" y="44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4" y="44"/>
                    <a:pt x="74" y="44"/>
                  </a:cubicBezTo>
                  <a:cubicBezTo>
                    <a:pt x="75" y="44"/>
                    <a:pt x="76" y="44"/>
                    <a:pt x="77" y="43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80" y="43"/>
                    <a:pt x="81" y="42"/>
                  </a:cubicBezTo>
                  <a:cubicBezTo>
                    <a:pt x="82" y="42"/>
                    <a:pt x="82" y="41"/>
                    <a:pt x="83" y="40"/>
                  </a:cubicBezTo>
                  <a:cubicBezTo>
                    <a:pt x="83" y="38"/>
                    <a:pt x="83" y="38"/>
                    <a:pt x="83" y="37"/>
                  </a:cubicBezTo>
                  <a:cubicBezTo>
                    <a:pt x="82" y="36"/>
                    <a:pt x="81" y="36"/>
                    <a:pt x="80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5"/>
                    <a:pt x="78" y="35"/>
                    <a:pt x="78" y="35"/>
                  </a:cubicBezTo>
                  <a:cubicBezTo>
                    <a:pt x="78" y="34"/>
                    <a:pt x="77" y="34"/>
                    <a:pt x="77" y="33"/>
                  </a:cubicBezTo>
                  <a:cubicBezTo>
                    <a:pt x="76" y="33"/>
                    <a:pt x="75" y="32"/>
                    <a:pt x="74" y="32"/>
                  </a:cubicBezTo>
                  <a:cubicBezTo>
                    <a:pt x="74" y="32"/>
                    <a:pt x="73" y="32"/>
                    <a:pt x="73" y="32"/>
                  </a:cubicBezTo>
                  <a:cubicBezTo>
                    <a:pt x="72" y="32"/>
                    <a:pt x="72" y="31"/>
                    <a:pt x="72" y="31"/>
                  </a:cubicBezTo>
                  <a:cubicBezTo>
                    <a:pt x="72" y="30"/>
                    <a:pt x="71" y="29"/>
                    <a:pt x="71" y="29"/>
                  </a:cubicBezTo>
                  <a:cubicBezTo>
                    <a:pt x="70" y="28"/>
                    <a:pt x="69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7" y="26"/>
                  </a:cubicBezTo>
                  <a:cubicBezTo>
                    <a:pt x="66" y="26"/>
                    <a:pt x="65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4"/>
                    <a:pt x="64" y="23"/>
                    <a:pt x="63" y="23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1"/>
                    <a:pt x="62" y="20"/>
                    <a:pt x="62" y="19"/>
                  </a:cubicBezTo>
                  <a:cubicBezTo>
                    <a:pt x="61" y="19"/>
                    <a:pt x="61" y="19"/>
                    <a:pt x="60" y="18"/>
                  </a:cubicBezTo>
                  <a:cubicBezTo>
                    <a:pt x="59" y="18"/>
                    <a:pt x="59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8"/>
                    <a:pt x="57" y="18"/>
                    <a:pt x="57" y="18"/>
                  </a:cubicBezTo>
                  <a:cubicBezTo>
                    <a:pt x="57" y="18"/>
                    <a:pt x="57" y="17"/>
                    <a:pt x="56" y="17"/>
                  </a:cubicBezTo>
                  <a:cubicBezTo>
                    <a:pt x="56" y="17"/>
                    <a:pt x="55" y="16"/>
                    <a:pt x="55" y="16"/>
                  </a:cubicBezTo>
                  <a:cubicBezTo>
                    <a:pt x="55" y="16"/>
                    <a:pt x="55" y="16"/>
                    <a:pt x="55" y="15"/>
                  </a:cubicBezTo>
                  <a:cubicBezTo>
                    <a:pt x="55" y="14"/>
                    <a:pt x="54" y="14"/>
                    <a:pt x="54" y="13"/>
                  </a:cubicBezTo>
                  <a:cubicBezTo>
                    <a:pt x="53" y="11"/>
                    <a:pt x="51" y="11"/>
                    <a:pt x="50" y="11"/>
                  </a:cubicBezTo>
                  <a:cubicBezTo>
                    <a:pt x="49" y="11"/>
                    <a:pt x="49" y="10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7" y="9"/>
                    <a:pt x="47" y="8"/>
                    <a:pt x="47" y="8"/>
                  </a:cubicBezTo>
                  <a:cubicBezTo>
                    <a:pt x="46" y="7"/>
                    <a:pt x="46" y="6"/>
                    <a:pt x="45" y="5"/>
                  </a:cubicBezTo>
                  <a:cubicBezTo>
                    <a:pt x="44" y="5"/>
                    <a:pt x="43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1" y="4"/>
                  </a:cubicBezTo>
                  <a:cubicBezTo>
                    <a:pt x="41" y="3"/>
                    <a:pt x="40" y="3"/>
                    <a:pt x="39" y="3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2"/>
                    <a:pt x="36" y="1"/>
                    <a:pt x="36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0" y="0"/>
                    <a:pt x="29" y="0"/>
                    <a:pt x="29" y="0"/>
                  </a:cubicBezTo>
                  <a:cubicBezTo>
                    <a:pt x="29" y="0"/>
                    <a:pt x="28" y="0"/>
                    <a:pt x="28" y="1"/>
                  </a:cubicBezTo>
                  <a:cubicBezTo>
                    <a:pt x="28" y="1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3" y="1"/>
                    <a:pt x="23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2"/>
                    <a:pt x="17" y="2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0" y="4"/>
                    <a:pt x="9" y="6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6" y="9"/>
                    <a:pt x="5" y="10"/>
                  </a:cubicBezTo>
                  <a:cubicBezTo>
                    <a:pt x="5" y="10"/>
                    <a:pt x="5" y="10"/>
                    <a:pt x="5" y="11"/>
                  </a:cubicBezTo>
                  <a:cubicBezTo>
                    <a:pt x="5" y="11"/>
                    <a:pt x="4" y="11"/>
                    <a:pt x="4" y="11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3"/>
                    <a:pt x="1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1" y="16"/>
                    <a:pt x="1" y="17"/>
                    <a:pt x="2" y="17"/>
                  </a:cubicBezTo>
                  <a:cubicBezTo>
                    <a:pt x="2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6"/>
                    <a:pt x="10" y="16"/>
                    <a:pt x="10" y="15"/>
                  </a:cubicBezTo>
                  <a:cubicBezTo>
                    <a:pt x="11" y="14"/>
                    <a:pt x="12" y="13"/>
                    <a:pt x="13" y="13"/>
                  </a:cubicBezTo>
                  <a:cubicBezTo>
                    <a:pt x="15" y="13"/>
                    <a:pt x="17" y="11"/>
                    <a:pt x="19" y="10"/>
                  </a:cubicBezTo>
                  <a:cubicBezTo>
                    <a:pt x="19" y="10"/>
                    <a:pt x="19" y="10"/>
                    <a:pt x="20" y="10"/>
                  </a:cubicBezTo>
                  <a:cubicBezTo>
                    <a:pt x="20" y="10"/>
                    <a:pt x="20" y="9"/>
                    <a:pt x="20" y="9"/>
                  </a:cubicBezTo>
                  <a:cubicBezTo>
                    <a:pt x="20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3" y="8"/>
                  </a:cubicBezTo>
                  <a:cubicBezTo>
                    <a:pt x="23" y="9"/>
                    <a:pt x="23" y="9"/>
                    <a:pt x="24" y="9"/>
                  </a:cubicBezTo>
                  <a:cubicBezTo>
                    <a:pt x="24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4" y="9"/>
                    <a:pt x="24" y="10"/>
                  </a:cubicBezTo>
                  <a:cubicBezTo>
                    <a:pt x="23" y="11"/>
                    <a:pt x="24" y="11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3"/>
                    <a:pt x="25" y="13"/>
                  </a:cubicBezTo>
                  <a:cubicBezTo>
                    <a:pt x="25" y="13"/>
                    <a:pt x="25" y="14"/>
                    <a:pt x="25" y="14"/>
                  </a:cubicBezTo>
                  <a:cubicBezTo>
                    <a:pt x="25" y="15"/>
                    <a:pt x="26" y="15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8"/>
                    <a:pt x="30" y="18"/>
                  </a:cubicBezTo>
                  <a:cubicBezTo>
                    <a:pt x="30" y="18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2" y="18"/>
                    <a:pt x="33" y="18"/>
                    <a:pt x="35" y="18"/>
                  </a:cubicBezTo>
                  <a:cubicBezTo>
                    <a:pt x="36" y="18"/>
                    <a:pt x="36" y="18"/>
                    <a:pt x="37" y="17"/>
                  </a:cubicBezTo>
                  <a:cubicBezTo>
                    <a:pt x="37" y="17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9"/>
                    <a:pt x="37" y="20"/>
                    <a:pt x="38" y="21"/>
                  </a:cubicBezTo>
                  <a:cubicBezTo>
                    <a:pt x="38" y="22"/>
                    <a:pt x="39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1" y="22"/>
                    <a:pt x="41" y="22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3" y="24"/>
                    <a:pt x="44" y="24"/>
                    <a:pt x="45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4"/>
                    <a:pt x="46" y="24"/>
                    <a:pt x="46" y="2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4"/>
                    <a:pt x="47" y="24"/>
                    <a:pt x="47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7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8" y="31"/>
                    <a:pt x="50" y="33"/>
                    <a:pt x="54" y="33"/>
                  </a:cubicBezTo>
                  <a:cubicBezTo>
                    <a:pt x="54" y="33"/>
                    <a:pt x="55" y="33"/>
                    <a:pt x="55" y="33"/>
                  </a:cubicBezTo>
                  <a:cubicBezTo>
                    <a:pt x="55" y="33"/>
                    <a:pt x="55" y="33"/>
                    <a:pt x="56" y="33"/>
                  </a:cubicBezTo>
                  <a:cubicBezTo>
                    <a:pt x="56" y="33"/>
                    <a:pt x="56" y="34"/>
                    <a:pt x="56" y="34"/>
                  </a:cubicBezTo>
                  <a:cubicBezTo>
                    <a:pt x="55" y="35"/>
                    <a:pt x="55" y="36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4" y="37"/>
                    <a:pt x="53" y="38"/>
                  </a:cubicBezTo>
                  <a:cubicBezTo>
                    <a:pt x="52" y="39"/>
                    <a:pt x="52" y="40"/>
                    <a:pt x="52" y="40"/>
                  </a:cubicBezTo>
                  <a:cubicBezTo>
                    <a:pt x="52" y="40"/>
                    <a:pt x="52" y="41"/>
                    <a:pt x="51" y="41"/>
                  </a:cubicBezTo>
                  <a:cubicBezTo>
                    <a:pt x="51" y="41"/>
                    <a:pt x="50" y="42"/>
                    <a:pt x="50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3" y="44"/>
                    <a:pt x="54" y="44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6" y="43"/>
                    <a:pt x="57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0" y="42"/>
                    <a:pt x="60" y="43"/>
                    <a:pt x="6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1789" y="1944"/>
              <a:ext cx="23" cy="24"/>
            </a:xfrm>
            <a:custGeom>
              <a:avLst/>
              <a:gdLst>
                <a:gd name="T0" fmla="*/ 1 w 10"/>
                <a:gd name="T1" fmla="*/ 7 h 10"/>
                <a:gd name="T2" fmla="*/ 1 w 10"/>
                <a:gd name="T3" fmla="*/ 8 h 10"/>
                <a:gd name="T4" fmla="*/ 1 w 10"/>
                <a:gd name="T5" fmla="*/ 9 h 10"/>
                <a:gd name="T6" fmla="*/ 4 w 10"/>
                <a:gd name="T7" fmla="*/ 10 h 10"/>
                <a:gd name="T8" fmla="*/ 5 w 10"/>
                <a:gd name="T9" fmla="*/ 10 h 10"/>
                <a:gd name="T10" fmla="*/ 6 w 10"/>
                <a:gd name="T11" fmla="*/ 10 h 10"/>
                <a:gd name="T12" fmla="*/ 9 w 10"/>
                <a:gd name="T13" fmla="*/ 9 h 10"/>
                <a:gd name="T14" fmla="*/ 10 w 10"/>
                <a:gd name="T15" fmla="*/ 6 h 10"/>
                <a:gd name="T16" fmla="*/ 8 w 10"/>
                <a:gd name="T17" fmla="*/ 1 h 10"/>
                <a:gd name="T18" fmla="*/ 6 w 10"/>
                <a:gd name="T19" fmla="*/ 0 h 10"/>
                <a:gd name="T20" fmla="*/ 5 w 10"/>
                <a:gd name="T21" fmla="*/ 1 h 10"/>
                <a:gd name="T22" fmla="*/ 4 w 10"/>
                <a:gd name="T23" fmla="*/ 2 h 10"/>
                <a:gd name="T24" fmla="*/ 3 w 10"/>
                <a:gd name="T25" fmla="*/ 3 h 10"/>
                <a:gd name="T26" fmla="*/ 3 w 10"/>
                <a:gd name="T27" fmla="*/ 5 h 10"/>
                <a:gd name="T28" fmla="*/ 2 w 10"/>
                <a:gd name="T29" fmla="*/ 5 h 10"/>
                <a:gd name="T30" fmla="*/ 1 w 10"/>
                <a:gd name="T3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0">
                  <a:moveTo>
                    <a:pt x="1" y="7"/>
                  </a:moveTo>
                  <a:cubicBezTo>
                    <a:pt x="0" y="7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10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6" y="10"/>
                    <a:pt x="7" y="10"/>
                    <a:pt x="9" y="9"/>
                  </a:cubicBezTo>
                  <a:cubicBezTo>
                    <a:pt x="10" y="8"/>
                    <a:pt x="10" y="7"/>
                    <a:pt x="10" y="6"/>
                  </a:cubicBezTo>
                  <a:cubicBezTo>
                    <a:pt x="10" y="5"/>
                    <a:pt x="9" y="3"/>
                    <a:pt x="8" y="1"/>
                  </a:cubicBezTo>
                  <a:cubicBezTo>
                    <a:pt x="8" y="1"/>
                    <a:pt x="8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2" y="4"/>
                    <a:pt x="3" y="4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1912" y="1821"/>
              <a:ext cx="21" cy="14"/>
            </a:xfrm>
            <a:custGeom>
              <a:avLst/>
              <a:gdLst>
                <a:gd name="T0" fmla="*/ 2 w 9"/>
                <a:gd name="T1" fmla="*/ 6 h 6"/>
                <a:gd name="T2" fmla="*/ 3 w 9"/>
                <a:gd name="T3" fmla="*/ 6 h 6"/>
                <a:gd name="T4" fmla="*/ 6 w 9"/>
                <a:gd name="T5" fmla="*/ 5 h 6"/>
                <a:gd name="T6" fmla="*/ 6 w 9"/>
                <a:gd name="T7" fmla="*/ 5 h 6"/>
                <a:gd name="T8" fmla="*/ 8 w 9"/>
                <a:gd name="T9" fmla="*/ 4 h 6"/>
                <a:gd name="T10" fmla="*/ 9 w 9"/>
                <a:gd name="T11" fmla="*/ 3 h 6"/>
                <a:gd name="T12" fmla="*/ 9 w 9"/>
                <a:gd name="T13" fmla="*/ 3 h 6"/>
                <a:gd name="T14" fmla="*/ 9 w 9"/>
                <a:gd name="T15" fmla="*/ 1 h 6"/>
                <a:gd name="T16" fmla="*/ 8 w 9"/>
                <a:gd name="T17" fmla="*/ 0 h 6"/>
                <a:gd name="T18" fmla="*/ 5 w 9"/>
                <a:gd name="T19" fmla="*/ 1 h 6"/>
                <a:gd name="T20" fmla="*/ 4 w 9"/>
                <a:gd name="T21" fmla="*/ 1 h 6"/>
                <a:gd name="T22" fmla="*/ 3 w 9"/>
                <a:gd name="T23" fmla="*/ 2 h 6"/>
                <a:gd name="T24" fmla="*/ 2 w 9"/>
                <a:gd name="T25" fmla="*/ 1 h 6"/>
                <a:gd name="T26" fmla="*/ 1 w 9"/>
                <a:gd name="T27" fmla="*/ 1 h 6"/>
                <a:gd name="T28" fmla="*/ 1 w 9"/>
                <a:gd name="T29" fmla="*/ 2 h 6"/>
                <a:gd name="T30" fmla="*/ 0 w 9"/>
                <a:gd name="T31" fmla="*/ 4 h 6"/>
                <a:gd name="T32" fmla="*/ 2 w 9"/>
                <a:gd name="T3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6">
                  <a:moveTo>
                    <a:pt x="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5" y="6"/>
                    <a:pt x="5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ubicBezTo>
                    <a:pt x="7" y="0"/>
                    <a:pt x="6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1947" y="1888"/>
              <a:ext cx="14" cy="21"/>
            </a:xfrm>
            <a:custGeom>
              <a:avLst/>
              <a:gdLst>
                <a:gd name="T0" fmla="*/ 5 w 6"/>
                <a:gd name="T1" fmla="*/ 2 h 9"/>
                <a:gd name="T2" fmla="*/ 5 w 6"/>
                <a:gd name="T3" fmla="*/ 1 h 9"/>
                <a:gd name="T4" fmla="*/ 4 w 6"/>
                <a:gd name="T5" fmla="*/ 0 h 9"/>
                <a:gd name="T6" fmla="*/ 3 w 6"/>
                <a:gd name="T7" fmla="*/ 0 h 9"/>
                <a:gd name="T8" fmla="*/ 2 w 6"/>
                <a:gd name="T9" fmla="*/ 1 h 9"/>
                <a:gd name="T10" fmla="*/ 2 w 6"/>
                <a:gd name="T11" fmla="*/ 3 h 9"/>
                <a:gd name="T12" fmla="*/ 2 w 6"/>
                <a:gd name="T13" fmla="*/ 4 h 9"/>
                <a:gd name="T14" fmla="*/ 2 w 6"/>
                <a:gd name="T15" fmla="*/ 5 h 9"/>
                <a:gd name="T16" fmla="*/ 2 w 6"/>
                <a:gd name="T17" fmla="*/ 5 h 9"/>
                <a:gd name="T18" fmla="*/ 0 w 6"/>
                <a:gd name="T19" fmla="*/ 7 h 9"/>
                <a:gd name="T20" fmla="*/ 2 w 6"/>
                <a:gd name="T21" fmla="*/ 8 h 9"/>
                <a:gd name="T22" fmla="*/ 2 w 6"/>
                <a:gd name="T23" fmla="*/ 9 h 9"/>
                <a:gd name="T24" fmla="*/ 5 w 6"/>
                <a:gd name="T25" fmla="*/ 8 h 9"/>
                <a:gd name="T26" fmla="*/ 6 w 6"/>
                <a:gd name="T27" fmla="*/ 5 h 9"/>
                <a:gd name="T28" fmla="*/ 5 w 6"/>
                <a:gd name="T2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9">
                  <a:moveTo>
                    <a:pt x="5" y="2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0" y="5"/>
                    <a:pt x="0" y="7"/>
                  </a:cubicBezTo>
                  <a:cubicBezTo>
                    <a:pt x="0" y="7"/>
                    <a:pt x="0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4" y="8"/>
                    <a:pt x="5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1905" y="1869"/>
              <a:ext cx="19" cy="42"/>
            </a:xfrm>
            <a:custGeom>
              <a:avLst/>
              <a:gdLst>
                <a:gd name="T0" fmla="*/ 2 w 8"/>
                <a:gd name="T1" fmla="*/ 4 h 18"/>
                <a:gd name="T2" fmla="*/ 1 w 8"/>
                <a:gd name="T3" fmla="*/ 5 h 18"/>
                <a:gd name="T4" fmla="*/ 0 w 8"/>
                <a:gd name="T5" fmla="*/ 7 h 18"/>
                <a:gd name="T6" fmla="*/ 1 w 8"/>
                <a:gd name="T7" fmla="*/ 9 h 18"/>
                <a:gd name="T8" fmla="*/ 3 w 8"/>
                <a:gd name="T9" fmla="*/ 9 h 18"/>
                <a:gd name="T10" fmla="*/ 3 w 8"/>
                <a:gd name="T11" fmla="*/ 10 h 18"/>
                <a:gd name="T12" fmla="*/ 3 w 8"/>
                <a:gd name="T13" fmla="*/ 11 h 18"/>
                <a:gd name="T14" fmla="*/ 3 w 8"/>
                <a:gd name="T15" fmla="*/ 12 h 18"/>
                <a:gd name="T16" fmla="*/ 2 w 8"/>
                <a:gd name="T17" fmla="*/ 13 h 18"/>
                <a:gd name="T18" fmla="*/ 2 w 8"/>
                <a:gd name="T19" fmla="*/ 14 h 18"/>
                <a:gd name="T20" fmla="*/ 2 w 8"/>
                <a:gd name="T21" fmla="*/ 14 h 18"/>
                <a:gd name="T22" fmla="*/ 2 w 8"/>
                <a:gd name="T23" fmla="*/ 15 h 18"/>
                <a:gd name="T24" fmla="*/ 2 w 8"/>
                <a:gd name="T25" fmla="*/ 18 h 18"/>
                <a:gd name="T26" fmla="*/ 4 w 8"/>
                <a:gd name="T27" fmla="*/ 18 h 18"/>
                <a:gd name="T28" fmla="*/ 4 w 8"/>
                <a:gd name="T29" fmla="*/ 18 h 18"/>
                <a:gd name="T30" fmla="*/ 6 w 8"/>
                <a:gd name="T31" fmla="*/ 16 h 18"/>
                <a:gd name="T32" fmla="*/ 6 w 8"/>
                <a:gd name="T33" fmla="*/ 16 h 18"/>
                <a:gd name="T34" fmla="*/ 7 w 8"/>
                <a:gd name="T35" fmla="*/ 15 h 18"/>
                <a:gd name="T36" fmla="*/ 7 w 8"/>
                <a:gd name="T37" fmla="*/ 10 h 18"/>
                <a:gd name="T38" fmla="*/ 6 w 8"/>
                <a:gd name="T39" fmla="*/ 10 h 18"/>
                <a:gd name="T40" fmla="*/ 7 w 8"/>
                <a:gd name="T41" fmla="*/ 6 h 18"/>
                <a:gd name="T42" fmla="*/ 8 w 8"/>
                <a:gd name="T43" fmla="*/ 5 h 18"/>
                <a:gd name="T44" fmla="*/ 7 w 8"/>
                <a:gd name="T45" fmla="*/ 2 h 18"/>
                <a:gd name="T46" fmla="*/ 3 w 8"/>
                <a:gd name="T47" fmla="*/ 1 h 18"/>
                <a:gd name="T48" fmla="*/ 3 w 8"/>
                <a:gd name="T49" fmla="*/ 3 h 18"/>
                <a:gd name="T50" fmla="*/ 2 w 8"/>
                <a:gd name="T5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18">
                  <a:moveTo>
                    <a:pt x="2" y="4"/>
                  </a:moveTo>
                  <a:cubicBezTo>
                    <a:pt x="2" y="4"/>
                    <a:pt x="1" y="4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3" y="18"/>
                    <a:pt x="3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6" y="17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7" y="16"/>
                    <a:pt x="7" y="15"/>
                  </a:cubicBezTo>
                  <a:cubicBezTo>
                    <a:pt x="7" y="14"/>
                    <a:pt x="8" y="12"/>
                    <a:pt x="7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4"/>
                    <a:pt x="8" y="3"/>
                    <a:pt x="7" y="2"/>
                  </a:cubicBezTo>
                  <a:cubicBezTo>
                    <a:pt x="6" y="0"/>
                    <a:pt x="4" y="0"/>
                    <a:pt x="3" y="1"/>
                  </a:cubicBezTo>
                  <a:cubicBezTo>
                    <a:pt x="3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1935" y="1819"/>
              <a:ext cx="17" cy="33"/>
            </a:xfrm>
            <a:custGeom>
              <a:avLst/>
              <a:gdLst>
                <a:gd name="T0" fmla="*/ 0 w 7"/>
                <a:gd name="T1" fmla="*/ 14 h 14"/>
                <a:gd name="T2" fmla="*/ 2 w 7"/>
                <a:gd name="T3" fmla="*/ 14 h 14"/>
                <a:gd name="T4" fmla="*/ 2 w 7"/>
                <a:gd name="T5" fmla="*/ 14 h 14"/>
                <a:gd name="T6" fmla="*/ 3 w 7"/>
                <a:gd name="T7" fmla="*/ 13 h 14"/>
                <a:gd name="T8" fmla="*/ 4 w 7"/>
                <a:gd name="T9" fmla="*/ 13 h 14"/>
                <a:gd name="T10" fmla="*/ 4 w 7"/>
                <a:gd name="T11" fmla="*/ 12 h 14"/>
                <a:gd name="T12" fmla="*/ 5 w 7"/>
                <a:gd name="T13" fmla="*/ 11 h 14"/>
                <a:gd name="T14" fmla="*/ 5 w 7"/>
                <a:gd name="T15" fmla="*/ 11 h 14"/>
                <a:gd name="T16" fmla="*/ 5 w 7"/>
                <a:gd name="T17" fmla="*/ 10 h 14"/>
                <a:gd name="T18" fmla="*/ 5 w 7"/>
                <a:gd name="T19" fmla="*/ 10 h 14"/>
                <a:gd name="T20" fmla="*/ 7 w 7"/>
                <a:gd name="T21" fmla="*/ 9 h 14"/>
                <a:gd name="T22" fmla="*/ 7 w 7"/>
                <a:gd name="T23" fmla="*/ 7 h 14"/>
                <a:gd name="T24" fmla="*/ 6 w 7"/>
                <a:gd name="T25" fmla="*/ 5 h 14"/>
                <a:gd name="T26" fmla="*/ 5 w 7"/>
                <a:gd name="T27" fmla="*/ 2 h 14"/>
                <a:gd name="T28" fmla="*/ 3 w 7"/>
                <a:gd name="T29" fmla="*/ 0 h 14"/>
                <a:gd name="T30" fmla="*/ 1 w 7"/>
                <a:gd name="T31" fmla="*/ 1 h 14"/>
                <a:gd name="T32" fmla="*/ 1 w 7"/>
                <a:gd name="T33" fmla="*/ 3 h 14"/>
                <a:gd name="T34" fmla="*/ 1 w 7"/>
                <a:gd name="T35" fmla="*/ 4 h 14"/>
                <a:gd name="T36" fmla="*/ 2 w 7"/>
                <a:gd name="T37" fmla="*/ 5 h 14"/>
                <a:gd name="T38" fmla="*/ 2 w 7"/>
                <a:gd name="T39" fmla="*/ 6 h 14"/>
                <a:gd name="T40" fmla="*/ 2 w 7"/>
                <a:gd name="T41" fmla="*/ 6 h 14"/>
                <a:gd name="T42" fmla="*/ 2 w 7"/>
                <a:gd name="T43" fmla="*/ 7 h 14"/>
                <a:gd name="T44" fmla="*/ 2 w 7"/>
                <a:gd name="T45" fmla="*/ 7 h 14"/>
                <a:gd name="T46" fmla="*/ 2 w 7"/>
                <a:gd name="T47" fmla="*/ 8 h 14"/>
                <a:gd name="T48" fmla="*/ 2 w 7"/>
                <a:gd name="T49" fmla="*/ 8 h 14"/>
                <a:gd name="T50" fmla="*/ 2 w 7"/>
                <a:gd name="T51" fmla="*/ 9 h 14"/>
                <a:gd name="T52" fmla="*/ 1 w 7"/>
                <a:gd name="T53" fmla="*/ 9 h 14"/>
                <a:gd name="T54" fmla="*/ 1 w 7"/>
                <a:gd name="T55" fmla="*/ 9 h 14"/>
                <a:gd name="T56" fmla="*/ 1 w 7"/>
                <a:gd name="T57" fmla="*/ 10 h 14"/>
                <a:gd name="T58" fmla="*/ 0 w 7"/>
                <a:gd name="T59" fmla="*/ 12 h 14"/>
                <a:gd name="T60" fmla="*/ 0 w 7"/>
                <a:gd name="T6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" h="14">
                  <a:moveTo>
                    <a:pt x="0" y="14"/>
                  </a:moveTo>
                  <a:cubicBezTo>
                    <a:pt x="1" y="14"/>
                    <a:pt x="1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3" y="14"/>
                    <a:pt x="3" y="14"/>
                    <a:pt x="3" y="13"/>
                  </a:cubicBezTo>
                  <a:cubicBezTo>
                    <a:pt x="3" y="13"/>
                    <a:pt x="4" y="13"/>
                    <a:pt x="4" y="13"/>
                  </a:cubicBezTo>
                  <a:cubicBezTo>
                    <a:pt x="4" y="13"/>
                    <a:pt x="4" y="12"/>
                    <a:pt x="4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2"/>
                    <a:pt x="0" y="13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auto">
            <a:xfrm>
              <a:off x="1950" y="1911"/>
              <a:ext cx="16" cy="31"/>
            </a:xfrm>
            <a:custGeom>
              <a:avLst/>
              <a:gdLst>
                <a:gd name="T0" fmla="*/ 4 w 7"/>
                <a:gd name="T1" fmla="*/ 13 h 13"/>
                <a:gd name="T2" fmla="*/ 5 w 7"/>
                <a:gd name="T3" fmla="*/ 13 h 13"/>
                <a:gd name="T4" fmla="*/ 6 w 7"/>
                <a:gd name="T5" fmla="*/ 12 h 13"/>
                <a:gd name="T6" fmla="*/ 5 w 7"/>
                <a:gd name="T7" fmla="*/ 9 h 13"/>
                <a:gd name="T8" fmla="*/ 5 w 7"/>
                <a:gd name="T9" fmla="*/ 8 h 13"/>
                <a:gd name="T10" fmla="*/ 5 w 7"/>
                <a:gd name="T11" fmla="*/ 8 h 13"/>
                <a:gd name="T12" fmla="*/ 5 w 7"/>
                <a:gd name="T13" fmla="*/ 4 h 13"/>
                <a:gd name="T14" fmla="*/ 4 w 7"/>
                <a:gd name="T15" fmla="*/ 2 h 13"/>
                <a:gd name="T16" fmla="*/ 2 w 7"/>
                <a:gd name="T17" fmla="*/ 0 h 13"/>
                <a:gd name="T18" fmla="*/ 1 w 7"/>
                <a:gd name="T19" fmla="*/ 2 h 13"/>
                <a:gd name="T20" fmla="*/ 1 w 7"/>
                <a:gd name="T21" fmla="*/ 4 h 13"/>
                <a:gd name="T22" fmla="*/ 1 w 7"/>
                <a:gd name="T23" fmla="*/ 7 h 13"/>
                <a:gd name="T24" fmla="*/ 0 w 7"/>
                <a:gd name="T25" fmla="*/ 9 h 13"/>
                <a:gd name="T26" fmla="*/ 2 w 7"/>
                <a:gd name="T27" fmla="*/ 11 h 13"/>
                <a:gd name="T28" fmla="*/ 3 w 7"/>
                <a:gd name="T29" fmla="*/ 11 h 13"/>
                <a:gd name="T30" fmla="*/ 4 w 7"/>
                <a:gd name="T31" fmla="*/ 12 h 13"/>
                <a:gd name="T32" fmla="*/ 5 w 7"/>
                <a:gd name="T33" fmla="*/ 11 h 13"/>
                <a:gd name="T34" fmla="*/ 5 w 7"/>
                <a:gd name="T35" fmla="*/ 11 h 13"/>
                <a:gd name="T36" fmla="*/ 4 w 7"/>
                <a:gd name="T3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" h="13">
                  <a:moveTo>
                    <a:pt x="4" y="13"/>
                  </a:moveTo>
                  <a:cubicBezTo>
                    <a:pt x="5" y="13"/>
                    <a:pt x="5" y="13"/>
                    <a:pt x="5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7" y="11"/>
                    <a:pt x="5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6"/>
                    <a:pt x="5" y="4"/>
                  </a:cubicBezTo>
                  <a:cubicBezTo>
                    <a:pt x="5" y="3"/>
                    <a:pt x="5" y="3"/>
                    <a:pt x="4" y="2"/>
                  </a:cubicBezTo>
                  <a:cubicBezTo>
                    <a:pt x="4" y="2"/>
                    <a:pt x="3" y="0"/>
                    <a:pt x="2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6"/>
                    <a:pt x="2" y="7"/>
                    <a:pt x="1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1" y="10"/>
                    <a:pt x="2" y="11"/>
                    <a:pt x="2" y="11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2"/>
                    <a:pt x="4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auto">
            <a:xfrm>
              <a:off x="1860" y="2041"/>
              <a:ext cx="45" cy="33"/>
            </a:xfrm>
            <a:custGeom>
              <a:avLst/>
              <a:gdLst>
                <a:gd name="T0" fmla="*/ 4 w 19"/>
                <a:gd name="T1" fmla="*/ 9 h 14"/>
                <a:gd name="T2" fmla="*/ 4 w 19"/>
                <a:gd name="T3" fmla="*/ 9 h 14"/>
                <a:gd name="T4" fmla="*/ 4 w 19"/>
                <a:gd name="T5" fmla="*/ 10 h 14"/>
                <a:gd name="T6" fmla="*/ 5 w 19"/>
                <a:gd name="T7" fmla="*/ 11 h 14"/>
                <a:gd name="T8" fmla="*/ 5 w 19"/>
                <a:gd name="T9" fmla="*/ 11 h 14"/>
                <a:gd name="T10" fmla="*/ 6 w 19"/>
                <a:gd name="T11" fmla="*/ 12 h 14"/>
                <a:gd name="T12" fmla="*/ 7 w 19"/>
                <a:gd name="T13" fmla="*/ 12 h 14"/>
                <a:gd name="T14" fmla="*/ 7 w 19"/>
                <a:gd name="T15" fmla="*/ 12 h 14"/>
                <a:gd name="T16" fmla="*/ 8 w 19"/>
                <a:gd name="T17" fmla="*/ 12 h 14"/>
                <a:gd name="T18" fmla="*/ 9 w 19"/>
                <a:gd name="T19" fmla="*/ 13 h 14"/>
                <a:gd name="T20" fmla="*/ 10 w 19"/>
                <a:gd name="T21" fmla="*/ 14 h 14"/>
                <a:gd name="T22" fmla="*/ 13 w 19"/>
                <a:gd name="T23" fmla="*/ 11 h 14"/>
                <a:gd name="T24" fmla="*/ 13 w 19"/>
                <a:gd name="T25" fmla="*/ 10 h 14"/>
                <a:gd name="T26" fmla="*/ 13 w 19"/>
                <a:gd name="T27" fmla="*/ 10 h 14"/>
                <a:gd name="T28" fmla="*/ 14 w 19"/>
                <a:gd name="T29" fmla="*/ 11 h 14"/>
                <a:gd name="T30" fmla="*/ 15 w 19"/>
                <a:gd name="T31" fmla="*/ 11 h 14"/>
                <a:gd name="T32" fmla="*/ 15 w 19"/>
                <a:gd name="T33" fmla="*/ 11 h 14"/>
                <a:gd name="T34" fmla="*/ 17 w 19"/>
                <a:gd name="T35" fmla="*/ 12 h 14"/>
                <a:gd name="T36" fmla="*/ 18 w 19"/>
                <a:gd name="T37" fmla="*/ 12 h 14"/>
                <a:gd name="T38" fmla="*/ 19 w 19"/>
                <a:gd name="T39" fmla="*/ 8 h 14"/>
                <a:gd name="T40" fmla="*/ 19 w 19"/>
                <a:gd name="T41" fmla="*/ 6 h 14"/>
                <a:gd name="T42" fmla="*/ 17 w 19"/>
                <a:gd name="T43" fmla="*/ 4 h 14"/>
                <a:gd name="T44" fmla="*/ 16 w 19"/>
                <a:gd name="T45" fmla="*/ 4 h 14"/>
                <a:gd name="T46" fmla="*/ 15 w 19"/>
                <a:gd name="T47" fmla="*/ 3 h 14"/>
                <a:gd name="T48" fmla="*/ 14 w 19"/>
                <a:gd name="T49" fmla="*/ 4 h 14"/>
                <a:gd name="T50" fmla="*/ 15 w 19"/>
                <a:gd name="T51" fmla="*/ 3 h 14"/>
                <a:gd name="T52" fmla="*/ 12 w 19"/>
                <a:gd name="T53" fmla="*/ 1 h 14"/>
                <a:gd name="T54" fmla="*/ 10 w 19"/>
                <a:gd name="T55" fmla="*/ 1 h 14"/>
                <a:gd name="T56" fmla="*/ 9 w 19"/>
                <a:gd name="T57" fmla="*/ 1 h 14"/>
                <a:gd name="T58" fmla="*/ 9 w 19"/>
                <a:gd name="T59" fmla="*/ 1 h 14"/>
                <a:gd name="T60" fmla="*/ 7 w 19"/>
                <a:gd name="T61" fmla="*/ 0 h 14"/>
                <a:gd name="T62" fmla="*/ 5 w 19"/>
                <a:gd name="T63" fmla="*/ 1 h 14"/>
                <a:gd name="T64" fmla="*/ 4 w 19"/>
                <a:gd name="T65" fmla="*/ 1 h 14"/>
                <a:gd name="T66" fmla="*/ 3 w 19"/>
                <a:gd name="T67" fmla="*/ 1 h 14"/>
                <a:gd name="T68" fmla="*/ 2 w 19"/>
                <a:gd name="T69" fmla="*/ 2 h 14"/>
                <a:gd name="T70" fmla="*/ 3 w 19"/>
                <a:gd name="T71" fmla="*/ 3 h 14"/>
                <a:gd name="T72" fmla="*/ 1 w 19"/>
                <a:gd name="T73" fmla="*/ 2 h 14"/>
                <a:gd name="T74" fmla="*/ 1 w 19"/>
                <a:gd name="T75" fmla="*/ 5 h 14"/>
                <a:gd name="T76" fmla="*/ 3 w 19"/>
                <a:gd name="T77" fmla="*/ 7 h 14"/>
                <a:gd name="T78" fmla="*/ 3 w 19"/>
                <a:gd name="T79" fmla="*/ 7 h 14"/>
                <a:gd name="T80" fmla="*/ 2 w 19"/>
                <a:gd name="T81" fmla="*/ 7 h 14"/>
                <a:gd name="T82" fmla="*/ 4 w 19"/>
                <a:gd name="T83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" h="14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2"/>
                    <a:pt x="6" y="12"/>
                  </a:cubicBezTo>
                  <a:cubicBezTo>
                    <a:pt x="6" y="12"/>
                    <a:pt x="6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1" y="14"/>
                    <a:pt x="12" y="13"/>
                    <a:pt x="13" y="11"/>
                  </a:cubicBezTo>
                  <a:cubicBezTo>
                    <a:pt x="13" y="11"/>
                    <a:pt x="13" y="11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4" y="10"/>
                    <a:pt x="14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2"/>
                    <a:pt x="17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1"/>
                    <a:pt x="19" y="9"/>
                    <a:pt x="19" y="8"/>
                  </a:cubicBezTo>
                  <a:cubicBezTo>
                    <a:pt x="19" y="8"/>
                    <a:pt x="19" y="7"/>
                    <a:pt x="19" y="6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6" y="4"/>
                    <a:pt x="15" y="3"/>
                    <a:pt x="15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2"/>
                    <a:pt x="14" y="1"/>
                    <a:pt x="12" y="1"/>
                  </a:cubicBezTo>
                  <a:cubicBezTo>
                    <a:pt x="11" y="1"/>
                    <a:pt x="11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0" y="4"/>
                    <a:pt x="1" y="5"/>
                  </a:cubicBezTo>
                  <a:cubicBezTo>
                    <a:pt x="1" y="6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5" name="Freeform 94"/>
            <p:cNvSpPr>
              <a:spLocks/>
            </p:cNvSpPr>
            <p:nvPr/>
          </p:nvSpPr>
          <p:spPr bwMode="auto">
            <a:xfrm>
              <a:off x="1935" y="2008"/>
              <a:ext cx="123" cy="71"/>
            </a:xfrm>
            <a:custGeom>
              <a:avLst/>
              <a:gdLst>
                <a:gd name="T0" fmla="*/ 3 w 52"/>
                <a:gd name="T1" fmla="*/ 21 h 30"/>
                <a:gd name="T2" fmla="*/ 5 w 52"/>
                <a:gd name="T3" fmla="*/ 24 h 30"/>
                <a:gd name="T4" fmla="*/ 9 w 52"/>
                <a:gd name="T5" fmla="*/ 21 h 30"/>
                <a:gd name="T6" fmla="*/ 11 w 52"/>
                <a:gd name="T7" fmla="*/ 22 h 30"/>
                <a:gd name="T8" fmla="*/ 12 w 52"/>
                <a:gd name="T9" fmla="*/ 22 h 30"/>
                <a:gd name="T10" fmla="*/ 19 w 52"/>
                <a:gd name="T11" fmla="*/ 23 h 30"/>
                <a:gd name="T12" fmla="*/ 21 w 52"/>
                <a:gd name="T13" fmla="*/ 25 h 30"/>
                <a:gd name="T14" fmla="*/ 21 w 52"/>
                <a:gd name="T15" fmla="*/ 27 h 30"/>
                <a:gd name="T16" fmla="*/ 24 w 52"/>
                <a:gd name="T17" fmla="*/ 30 h 30"/>
                <a:gd name="T18" fmla="*/ 26 w 52"/>
                <a:gd name="T19" fmla="*/ 26 h 30"/>
                <a:gd name="T20" fmla="*/ 28 w 52"/>
                <a:gd name="T21" fmla="*/ 24 h 30"/>
                <a:gd name="T22" fmla="*/ 29 w 52"/>
                <a:gd name="T23" fmla="*/ 22 h 30"/>
                <a:gd name="T24" fmla="*/ 30 w 52"/>
                <a:gd name="T25" fmla="*/ 21 h 30"/>
                <a:gd name="T26" fmla="*/ 34 w 52"/>
                <a:gd name="T27" fmla="*/ 23 h 30"/>
                <a:gd name="T28" fmla="*/ 36 w 52"/>
                <a:gd name="T29" fmla="*/ 23 h 30"/>
                <a:gd name="T30" fmla="*/ 37 w 52"/>
                <a:gd name="T31" fmla="*/ 22 h 30"/>
                <a:gd name="T32" fmla="*/ 38 w 52"/>
                <a:gd name="T33" fmla="*/ 21 h 30"/>
                <a:gd name="T34" fmla="*/ 39 w 52"/>
                <a:gd name="T35" fmla="*/ 19 h 30"/>
                <a:gd name="T36" fmla="*/ 43 w 52"/>
                <a:gd name="T37" fmla="*/ 20 h 30"/>
                <a:gd name="T38" fmla="*/ 45 w 52"/>
                <a:gd name="T39" fmla="*/ 21 h 30"/>
                <a:gd name="T40" fmla="*/ 49 w 52"/>
                <a:gd name="T41" fmla="*/ 22 h 30"/>
                <a:gd name="T42" fmla="*/ 51 w 52"/>
                <a:gd name="T43" fmla="*/ 20 h 30"/>
                <a:gd name="T44" fmla="*/ 52 w 52"/>
                <a:gd name="T45" fmla="*/ 18 h 30"/>
                <a:gd name="T46" fmla="*/ 51 w 52"/>
                <a:gd name="T47" fmla="*/ 15 h 30"/>
                <a:gd name="T48" fmla="*/ 50 w 52"/>
                <a:gd name="T49" fmla="*/ 15 h 30"/>
                <a:gd name="T50" fmla="*/ 46 w 52"/>
                <a:gd name="T51" fmla="*/ 11 h 30"/>
                <a:gd name="T52" fmla="*/ 46 w 52"/>
                <a:gd name="T53" fmla="*/ 9 h 30"/>
                <a:gd name="T54" fmla="*/ 42 w 52"/>
                <a:gd name="T55" fmla="*/ 7 h 30"/>
                <a:gd name="T56" fmla="*/ 41 w 52"/>
                <a:gd name="T57" fmla="*/ 5 h 30"/>
                <a:gd name="T58" fmla="*/ 37 w 52"/>
                <a:gd name="T59" fmla="*/ 3 h 30"/>
                <a:gd name="T60" fmla="*/ 31 w 52"/>
                <a:gd name="T61" fmla="*/ 2 h 30"/>
                <a:gd name="T62" fmla="*/ 31 w 52"/>
                <a:gd name="T63" fmla="*/ 2 h 30"/>
                <a:gd name="T64" fmla="*/ 25 w 52"/>
                <a:gd name="T65" fmla="*/ 2 h 30"/>
                <a:gd name="T66" fmla="*/ 24 w 52"/>
                <a:gd name="T67" fmla="*/ 3 h 30"/>
                <a:gd name="T68" fmla="*/ 23 w 52"/>
                <a:gd name="T69" fmla="*/ 3 h 30"/>
                <a:gd name="T70" fmla="*/ 22 w 52"/>
                <a:gd name="T71" fmla="*/ 2 h 30"/>
                <a:gd name="T72" fmla="*/ 17 w 52"/>
                <a:gd name="T73" fmla="*/ 1 h 30"/>
                <a:gd name="T74" fmla="*/ 16 w 52"/>
                <a:gd name="T75" fmla="*/ 1 h 30"/>
                <a:gd name="T76" fmla="*/ 14 w 52"/>
                <a:gd name="T77" fmla="*/ 1 h 30"/>
                <a:gd name="T78" fmla="*/ 11 w 52"/>
                <a:gd name="T79" fmla="*/ 5 h 30"/>
                <a:gd name="T80" fmla="*/ 14 w 52"/>
                <a:gd name="T81" fmla="*/ 6 h 30"/>
                <a:gd name="T82" fmla="*/ 14 w 52"/>
                <a:gd name="T83" fmla="*/ 9 h 30"/>
                <a:gd name="T84" fmla="*/ 14 w 52"/>
                <a:gd name="T85" fmla="*/ 9 h 30"/>
                <a:gd name="T86" fmla="*/ 12 w 52"/>
                <a:gd name="T87" fmla="*/ 13 h 30"/>
                <a:gd name="T88" fmla="*/ 14 w 52"/>
                <a:gd name="T89" fmla="*/ 17 h 30"/>
                <a:gd name="T90" fmla="*/ 13 w 52"/>
                <a:gd name="T91" fmla="*/ 16 h 30"/>
                <a:gd name="T92" fmla="*/ 11 w 52"/>
                <a:gd name="T93" fmla="*/ 16 h 30"/>
                <a:gd name="T94" fmla="*/ 8 w 52"/>
                <a:gd name="T95" fmla="*/ 15 h 30"/>
                <a:gd name="T96" fmla="*/ 6 w 52"/>
                <a:gd name="T97" fmla="*/ 15 h 30"/>
                <a:gd name="T98" fmla="*/ 3 w 52"/>
                <a:gd name="T99" fmla="*/ 13 h 30"/>
                <a:gd name="T100" fmla="*/ 0 w 52"/>
                <a:gd name="T101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2" h="30">
                  <a:moveTo>
                    <a:pt x="2" y="20"/>
                  </a:moveTo>
                  <a:cubicBezTo>
                    <a:pt x="2" y="20"/>
                    <a:pt x="2" y="21"/>
                    <a:pt x="3" y="2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4" y="23"/>
                    <a:pt x="5" y="24"/>
                    <a:pt x="5" y="24"/>
                  </a:cubicBezTo>
                  <a:cubicBezTo>
                    <a:pt x="6" y="24"/>
                    <a:pt x="7" y="23"/>
                    <a:pt x="8" y="22"/>
                  </a:cubicBezTo>
                  <a:cubicBezTo>
                    <a:pt x="8" y="21"/>
                    <a:pt x="9" y="21"/>
                    <a:pt x="9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3"/>
                    <a:pt x="15" y="23"/>
                    <a:pt x="15" y="22"/>
                  </a:cubicBezTo>
                  <a:cubicBezTo>
                    <a:pt x="17" y="22"/>
                    <a:pt x="18" y="23"/>
                    <a:pt x="19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1" y="26"/>
                    <a:pt x="21" y="26"/>
                  </a:cubicBezTo>
                  <a:cubicBezTo>
                    <a:pt x="21" y="26"/>
                    <a:pt x="21" y="26"/>
                    <a:pt x="21" y="27"/>
                  </a:cubicBezTo>
                  <a:cubicBezTo>
                    <a:pt x="22" y="28"/>
                    <a:pt x="22" y="29"/>
                    <a:pt x="23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5" y="30"/>
                    <a:pt x="26" y="28"/>
                    <a:pt x="26" y="27"/>
                  </a:cubicBezTo>
                  <a:cubicBezTo>
                    <a:pt x="26" y="27"/>
                    <a:pt x="26" y="27"/>
                    <a:pt x="26" y="26"/>
                  </a:cubicBezTo>
                  <a:cubicBezTo>
                    <a:pt x="27" y="26"/>
                    <a:pt x="27" y="25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3"/>
                    <a:pt x="28" y="23"/>
                  </a:cubicBezTo>
                  <a:cubicBezTo>
                    <a:pt x="29" y="23"/>
                    <a:pt x="29" y="23"/>
                    <a:pt x="29" y="22"/>
                  </a:cubicBezTo>
                  <a:cubicBezTo>
                    <a:pt x="29" y="22"/>
                    <a:pt x="29" y="22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2"/>
                    <a:pt x="31" y="22"/>
                    <a:pt x="31" y="23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4" y="23"/>
                    <a:pt x="34" y="23"/>
                    <a:pt x="35" y="23"/>
                  </a:cubicBezTo>
                  <a:cubicBezTo>
                    <a:pt x="35" y="23"/>
                    <a:pt x="36" y="23"/>
                    <a:pt x="36" y="23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8" y="21"/>
                    <a:pt x="38" y="21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19"/>
                    <a:pt x="39" y="19"/>
                  </a:cubicBezTo>
                  <a:cubicBezTo>
                    <a:pt x="39" y="20"/>
                    <a:pt x="39" y="21"/>
                    <a:pt x="40" y="21"/>
                  </a:cubicBezTo>
                  <a:cubicBezTo>
                    <a:pt x="41" y="21"/>
                    <a:pt x="42" y="21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4" y="20"/>
                    <a:pt x="44" y="20"/>
                    <a:pt x="45" y="21"/>
                  </a:cubicBezTo>
                  <a:cubicBezTo>
                    <a:pt x="45" y="21"/>
                    <a:pt x="45" y="22"/>
                    <a:pt x="46" y="22"/>
                  </a:cubicBezTo>
                  <a:cubicBezTo>
                    <a:pt x="47" y="23"/>
                    <a:pt x="48" y="22"/>
                    <a:pt x="49" y="22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1" y="21"/>
                    <a:pt x="51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8"/>
                    <a:pt x="52" y="18"/>
                  </a:cubicBezTo>
                  <a:cubicBezTo>
                    <a:pt x="52" y="17"/>
                    <a:pt x="52" y="16"/>
                    <a:pt x="51" y="16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0" y="15"/>
                    <a:pt x="50" y="15"/>
                  </a:cubicBezTo>
                  <a:cubicBezTo>
                    <a:pt x="50" y="14"/>
                    <a:pt x="49" y="14"/>
                    <a:pt x="49" y="14"/>
                  </a:cubicBezTo>
                  <a:cubicBezTo>
                    <a:pt x="49" y="13"/>
                    <a:pt x="48" y="12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7" y="10"/>
                    <a:pt x="46" y="9"/>
                    <a:pt x="46" y="9"/>
                  </a:cubicBezTo>
                  <a:cubicBezTo>
                    <a:pt x="45" y="7"/>
                    <a:pt x="44" y="7"/>
                    <a:pt x="43" y="7"/>
                  </a:cubicBezTo>
                  <a:cubicBezTo>
                    <a:pt x="43" y="7"/>
                    <a:pt x="42" y="7"/>
                    <a:pt x="42" y="7"/>
                  </a:cubicBezTo>
                  <a:cubicBezTo>
                    <a:pt x="42" y="7"/>
                    <a:pt x="42" y="7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3"/>
                    <a:pt x="39" y="3"/>
                    <a:pt x="38" y="3"/>
                  </a:cubicBezTo>
                  <a:cubicBezTo>
                    <a:pt x="38" y="3"/>
                    <a:pt x="37" y="3"/>
                    <a:pt x="37" y="3"/>
                  </a:cubicBezTo>
                  <a:cubicBezTo>
                    <a:pt x="36" y="3"/>
                    <a:pt x="36" y="3"/>
                    <a:pt x="35" y="2"/>
                  </a:cubicBezTo>
                  <a:cubicBezTo>
                    <a:pt x="34" y="1"/>
                    <a:pt x="32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0" y="1"/>
                    <a:pt x="29" y="0"/>
                  </a:cubicBezTo>
                  <a:cubicBezTo>
                    <a:pt x="27" y="0"/>
                    <a:pt x="26" y="1"/>
                    <a:pt x="25" y="2"/>
                  </a:cubicBezTo>
                  <a:cubicBezTo>
                    <a:pt x="25" y="2"/>
                    <a:pt x="24" y="2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1"/>
                    <a:pt x="19" y="1"/>
                  </a:cubicBezTo>
                  <a:cubicBezTo>
                    <a:pt x="19" y="1"/>
                    <a:pt x="18" y="1"/>
                    <a:pt x="17" y="1"/>
                  </a:cubicBezTo>
                  <a:cubicBezTo>
                    <a:pt x="17" y="1"/>
                    <a:pt x="17" y="2"/>
                    <a:pt x="17" y="2"/>
                  </a:cubicBezTo>
                  <a:cubicBezTo>
                    <a:pt x="17" y="2"/>
                    <a:pt x="16" y="1"/>
                    <a:pt x="16" y="1"/>
                  </a:cubicBezTo>
                  <a:cubicBezTo>
                    <a:pt x="15" y="1"/>
                    <a:pt x="15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0" y="3"/>
                    <a:pt x="10" y="4"/>
                    <a:pt x="11" y="5"/>
                  </a:cubicBezTo>
                  <a:cubicBezTo>
                    <a:pt x="11" y="5"/>
                    <a:pt x="12" y="6"/>
                    <a:pt x="13" y="6"/>
                  </a:cubicBezTo>
                  <a:cubicBezTo>
                    <a:pt x="13" y="6"/>
                    <a:pt x="14" y="6"/>
                    <a:pt x="14" y="6"/>
                  </a:cubicBezTo>
                  <a:cubicBezTo>
                    <a:pt x="14" y="6"/>
                    <a:pt x="14" y="6"/>
                    <a:pt x="15" y="6"/>
                  </a:cubicBezTo>
                  <a:cubicBezTo>
                    <a:pt x="14" y="7"/>
                    <a:pt x="14" y="7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1" y="14"/>
                    <a:pt x="12" y="15"/>
                    <a:pt x="12" y="15"/>
                  </a:cubicBezTo>
                  <a:cubicBezTo>
                    <a:pt x="13" y="16"/>
                    <a:pt x="13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3" y="17"/>
                    <a:pt x="13" y="16"/>
                  </a:cubicBezTo>
                  <a:cubicBezTo>
                    <a:pt x="13" y="16"/>
                    <a:pt x="12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4"/>
                    <a:pt x="7" y="14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ubicBezTo>
                    <a:pt x="5" y="14"/>
                    <a:pt x="4" y="13"/>
                    <a:pt x="3" y="13"/>
                  </a:cubicBezTo>
                  <a:cubicBezTo>
                    <a:pt x="2" y="13"/>
                    <a:pt x="1" y="13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0" y="19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2169" y="2148"/>
              <a:ext cx="15" cy="21"/>
            </a:xfrm>
            <a:custGeom>
              <a:avLst/>
              <a:gdLst>
                <a:gd name="T0" fmla="*/ 5 w 6"/>
                <a:gd name="T1" fmla="*/ 8 h 9"/>
                <a:gd name="T2" fmla="*/ 5 w 6"/>
                <a:gd name="T3" fmla="*/ 3 h 9"/>
                <a:gd name="T4" fmla="*/ 4 w 6"/>
                <a:gd name="T5" fmla="*/ 3 h 9"/>
                <a:gd name="T6" fmla="*/ 2 w 6"/>
                <a:gd name="T7" fmla="*/ 1 h 9"/>
                <a:gd name="T8" fmla="*/ 1 w 6"/>
                <a:gd name="T9" fmla="*/ 0 h 9"/>
                <a:gd name="T10" fmla="*/ 1 w 6"/>
                <a:gd name="T11" fmla="*/ 1 h 9"/>
                <a:gd name="T12" fmla="*/ 0 w 6"/>
                <a:gd name="T13" fmla="*/ 1 h 9"/>
                <a:gd name="T14" fmla="*/ 0 w 6"/>
                <a:gd name="T15" fmla="*/ 3 h 9"/>
                <a:gd name="T16" fmla="*/ 0 w 6"/>
                <a:gd name="T17" fmla="*/ 3 h 9"/>
                <a:gd name="T18" fmla="*/ 1 w 6"/>
                <a:gd name="T19" fmla="*/ 5 h 9"/>
                <a:gd name="T20" fmla="*/ 1 w 6"/>
                <a:gd name="T21" fmla="*/ 6 h 9"/>
                <a:gd name="T22" fmla="*/ 3 w 6"/>
                <a:gd name="T23" fmla="*/ 9 h 9"/>
                <a:gd name="T24" fmla="*/ 5 w 6"/>
                <a:gd name="T2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9">
                  <a:moveTo>
                    <a:pt x="5" y="8"/>
                  </a:moveTo>
                  <a:cubicBezTo>
                    <a:pt x="6" y="6"/>
                    <a:pt x="6" y="5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2"/>
                    <a:pt x="4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7"/>
                    <a:pt x="2" y="9"/>
                    <a:pt x="3" y="9"/>
                  </a:cubicBezTo>
                  <a:cubicBezTo>
                    <a:pt x="4" y="9"/>
                    <a:pt x="4" y="9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2167" y="2129"/>
              <a:ext cx="10" cy="16"/>
            </a:xfrm>
            <a:custGeom>
              <a:avLst/>
              <a:gdLst>
                <a:gd name="T0" fmla="*/ 2 w 4"/>
                <a:gd name="T1" fmla="*/ 7 h 7"/>
                <a:gd name="T2" fmla="*/ 4 w 4"/>
                <a:gd name="T3" fmla="*/ 5 h 7"/>
                <a:gd name="T4" fmla="*/ 3 w 4"/>
                <a:gd name="T5" fmla="*/ 1 h 7"/>
                <a:gd name="T6" fmla="*/ 2 w 4"/>
                <a:gd name="T7" fmla="*/ 0 h 7"/>
                <a:gd name="T8" fmla="*/ 2 w 4"/>
                <a:gd name="T9" fmla="*/ 0 h 7"/>
                <a:gd name="T10" fmla="*/ 0 w 4"/>
                <a:gd name="T11" fmla="*/ 2 h 7"/>
                <a:gd name="T12" fmla="*/ 0 w 4"/>
                <a:gd name="T13" fmla="*/ 3 h 7"/>
                <a:gd name="T14" fmla="*/ 0 w 4"/>
                <a:gd name="T15" fmla="*/ 4 h 7"/>
                <a:gd name="T16" fmla="*/ 0 w 4"/>
                <a:gd name="T17" fmla="*/ 6 h 7"/>
                <a:gd name="T18" fmla="*/ 2 w 4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7">
                  <a:moveTo>
                    <a:pt x="2" y="7"/>
                  </a:moveTo>
                  <a:cubicBezTo>
                    <a:pt x="3" y="7"/>
                    <a:pt x="4" y="6"/>
                    <a:pt x="4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6"/>
                    <a:pt x="1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2068" y="2048"/>
              <a:ext cx="40" cy="26"/>
            </a:xfrm>
            <a:custGeom>
              <a:avLst/>
              <a:gdLst>
                <a:gd name="T0" fmla="*/ 14 w 17"/>
                <a:gd name="T1" fmla="*/ 2 h 11"/>
                <a:gd name="T2" fmla="*/ 13 w 17"/>
                <a:gd name="T3" fmla="*/ 1 h 11"/>
                <a:gd name="T4" fmla="*/ 8 w 17"/>
                <a:gd name="T5" fmla="*/ 1 h 11"/>
                <a:gd name="T6" fmla="*/ 8 w 17"/>
                <a:gd name="T7" fmla="*/ 1 h 11"/>
                <a:gd name="T8" fmla="*/ 8 w 17"/>
                <a:gd name="T9" fmla="*/ 1 h 11"/>
                <a:gd name="T10" fmla="*/ 7 w 17"/>
                <a:gd name="T11" fmla="*/ 0 h 11"/>
                <a:gd name="T12" fmla="*/ 3 w 17"/>
                <a:gd name="T13" fmla="*/ 2 h 11"/>
                <a:gd name="T14" fmla="*/ 3 w 17"/>
                <a:gd name="T15" fmla="*/ 2 h 11"/>
                <a:gd name="T16" fmla="*/ 3 w 17"/>
                <a:gd name="T17" fmla="*/ 2 h 11"/>
                <a:gd name="T18" fmla="*/ 1 w 17"/>
                <a:gd name="T19" fmla="*/ 4 h 11"/>
                <a:gd name="T20" fmla="*/ 1 w 17"/>
                <a:gd name="T21" fmla="*/ 5 h 11"/>
                <a:gd name="T22" fmla="*/ 1 w 17"/>
                <a:gd name="T23" fmla="*/ 5 h 11"/>
                <a:gd name="T24" fmla="*/ 1 w 17"/>
                <a:gd name="T25" fmla="*/ 9 h 11"/>
                <a:gd name="T26" fmla="*/ 3 w 17"/>
                <a:gd name="T27" fmla="*/ 10 h 11"/>
                <a:gd name="T28" fmla="*/ 4 w 17"/>
                <a:gd name="T29" fmla="*/ 10 h 11"/>
                <a:gd name="T30" fmla="*/ 4 w 17"/>
                <a:gd name="T31" fmla="*/ 10 h 11"/>
                <a:gd name="T32" fmla="*/ 5 w 17"/>
                <a:gd name="T33" fmla="*/ 10 h 11"/>
                <a:gd name="T34" fmla="*/ 6 w 17"/>
                <a:gd name="T35" fmla="*/ 10 h 11"/>
                <a:gd name="T36" fmla="*/ 7 w 17"/>
                <a:gd name="T37" fmla="*/ 10 h 11"/>
                <a:gd name="T38" fmla="*/ 9 w 17"/>
                <a:gd name="T39" fmla="*/ 11 h 11"/>
                <a:gd name="T40" fmla="*/ 10 w 17"/>
                <a:gd name="T41" fmla="*/ 11 h 11"/>
                <a:gd name="T42" fmla="*/ 12 w 17"/>
                <a:gd name="T43" fmla="*/ 10 h 11"/>
                <a:gd name="T44" fmla="*/ 12 w 17"/>
                <a:gd name="T45" fmla="*/ 10 h 11"/>
                <a:gd name="T46" fmla="*/ 13 w 17"/>
                <a:gd name="T47" fmla="*/ 10 h 11"/>
                <a:gd name="T48" fmla="*/ 14 w 17"/>
                <a:gd name="T49" fmla="*/ 9 h 11"/>
                <a:gd name="T50" fmla="*/ 16 w 17"/>
                <a:gd name="T51" fmla="*/ 8 h 11"/>
                <a:gd name="T52" fmla="*/ 17 w 17"/>
                <a:gd name="T53" fmla="*/ 5 h 11"/>
                <a:gd name="T54" fmla="*/ 14 w 17"/>
                <a:gd name="T5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" h="11">
                  <a:moveTo>
                    <a:pt x="14" y="2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2" y="0"/>
                    <a:pt x="10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9"/>
                    <a:pt x="2" y="10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1" y="11"/>
                    <a:pt x="11" y="11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5" y="9"/>
                    <a:pt x="15" y="8"/>
                    <a:pt x="16" y="8"/>
                  </a:cubicBezTo>
                  <a:cubicBezTo>
                    <a:pt x="16" y="7"/>
                    <a:pt x="17" y="6"/>
                    <a:pt x="17" y="5"/>
                  </a:cubicBezTo>
                  <a:cubicBezTo>
                    <a:pt x="17" y="3"/>
                    <a:pt x="15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2162" y="2108"/>
              <a:ext cx="22" cy="16"/>
            </a:xfrm>
            <a:custGeom>
              <a:avLst/>
              <a:gdLst>
                <a:gd name="T0" fmla="*/ 6 w 9"/>
                <a:gd name="T1" fmla="*/ 6 h 7"/>
                <a:gd name="T2" fmla="*/ 8 w 9"/>
                <a:gd name="T3" fmla="*/ 5 h 7"/>
                <a:gd name="T4" fmla="*/ 7 w 9"/>
                <a:gd name="T5" fmla="*/ 2 h 7"/>
                <a:gd name="T6" fmla="*/ 7 w 9"/>
                <a:gd name="T7" fmla="*/ 2 h 7"/>
                <a:gd name="T8" fmla="*/ 5 w 9"/>
                <a:gd name="T9" fmla="*/ 0 h 7"/>
                <a:gd name="T10" fmla="*/ 3 w 9"/>
                <a:gd name="T11" fmla="*/ 1 h 7"/>
                <a:gd name="T12" fmla="*/ 2 w 9"/>
                <a:gd name="T13" fmla="*/ 0 h 7"/>
                <a:gd name="T14" fmla="*/ 0 w 9"/>
                <a:gd name="T15" fmla="*/ 2 h 7"/>
                <a:gd name="T16" fmla="*/ 1 w 9"/>
                <a:gd name="T17" fmla="*/ 5 h 7"/>
                <a:gd name="T18" fmla="*/ 4 w 9"/>
                <a:gd name="T19" fmla="*/ 7 h 7"/>
                <a:gd name="T20" fmla="*/ 6 w 9"/>
                <a:gd name="T2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7">
                  <a:moveTo>
                    <a:pt x="6" y="6"/>
                  </a:moveTo>
                  <a:cubicBezTo>
                    <a:pt x="7" y="6"/>
                    <a:pt x="8" y="5"/>
                    <a:pt x="8" y="5"/>
                  </a:cubicBezTo>
                  <a:cubicBezTo>
                    <a:pt x="8" y="4"/>
                    <a:pt x="9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4" y="0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1" y="5"/>
                    <a:pt x="1" y="5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5" y="7"/>
                    <a:pt x="6" y="6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2167" y="2169"/>
              <a:ext cx="14" cy="19"/>
            </a:xfrm>
            <a:custGeom>
              <a:avLst/>
              <a:gdLst>
                <a:gd name="T0" fmla="*/ 2 w 6"/>
                <a:gd name="T1" fmla="*/ 8 h 8"/>
                <a:gd name="T2" fmla="*/ 3 w 6"/>
                <a:gd name="T3" fmla="*/ 8 h 8"/>
                <a:gd name="T4" fmla="*/ 4 w 6"/>
                <a:gd name="T5" fmla="*/ 5 h 8"/>
                <a:gd name="T6" fmla="*/ 5 w 6"/>
                <a:gd name="T7" fmla="*/ 3 h 8"/>
                <a:gd name="T8" fmla="*/ 5 w 6"/>
                <a:gd name="T9" fmla="*/ 3 h 8"/>
                <a:gd name="T10" fmla="*/ 4 w 6"/>
                <a:gd name="T11" fmla="*/ 0 h 8"/>
                <a:gd name="T12" fmla="*/ 4 w 6"/>
                <a:gd name="T13" fmla="*/ 0 h 8"/>
                <a:gd name="T14" fmla="*/ 3 w 6"/>
                <a:gd name="T15" fmla="*/ 0 h 8"/>
                <a:gd name="T16" fmla="*/ 1 w 6"/>
                <a:gd name="T17" fmla="*/ 1 h 8"/>
                <a:gd name="T18" fmla="*/ 1 w 6"/>
                <a:gd name="T19" fmla="*/ 4 h 8"/>
                <a:gd name="T20" fmla="*/ 1 w 6"/>
                <a:gd name="T21" fmla="*/ 5 h 8"/>
                <a:gd name="T22" fmla="*/ 1 w 6"/>
                <a:gd name="T23" fmla="*/ 7 h 8"/>
                <a:gd name="T24" fmla="*/ 2 w 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cubicBezTo>
                    <a:pt x="2" y="8"/>
                    <a:pt x="3" y="8"/>
                    <a:pt x="3" y="8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0" y="7"/>
                    <a:pt x="1" y="7"/>
                  </a:cubicBezTo>
                  <a:cubicBezTo>
                    <a:pt x="1" y="8"/>
                    <a:pt x="2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1" name="Freeform 100"/>
            <p:cNvSpPr>
              <a:spLocks/>
            </p:cNvSpPr>
            <p:nvPr/>
          </p:nvSpPr>
          <p:spPr bwMode="auto">
            <a:xfrm>
              <a:off x="2155" y="2188"/>
              <a:ext cx="12" cy="31"/>
            </a:xfrm>
            <a:custGeom>
              <a:avLst/>
              <a:gdLst>
                <a:gd name="T0" fmla="*/ 2 w 5"/>
                <a:gd name="T1" fmla="*/ 6 h 13"/>
                <a:gd name="T2" fmla="*/ 2 w 5"/>
                <a:gd name="T3" fmla="*/ 6 h 13"/>
                <a:gd name="T4" fmla="*/ 5 w 5"/>
                <a:gd name="T5" fmla="*/ 13 h 13"/>
                <a:gd name="T6" fmla="*/ 5 w 5"/>
                <a:gd name="T7" fmla="*/ 5 h 13"/>
                <a:gd name="T8" fmla="*/ 5 w 5"/>
                <a:gd name="T9" fmla="*/ 3 h 13"/>
                <a:gd name="T10" fmla="*/ 2 w 5"/>
                <a:gd name="T11" fmla="*/ 0 h 13"/>
                <a:gd name="T12" fmla="*/ 0 w 5"/>
                <a:gd name="T13" fmla="*/ 2 h 13"/>
                <a:gd name="T14" fmla="*/ 1 w 5"/>
                <a:gd name="T15" fmla="*/ 4 h 13"/>
                <a:gd name="T16" fmla="*/ 2 w 5"/>
                <a:gd name="T17" fmla="*/ 4 h 13"/>
                <a:gd name="T18" fmla="*/ 2 w 5"/>
                <a:gd name="T19" fmla="*/ 4 h 13"/>
                <a:gd name="T20" fmla="*/ 2 w 5"/>
                <a:gd name="T2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3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2" name="Freeform 101"/>
            <p:cNvSpPr>
              <a:spLocks/>
            </p:cNvSpPr>
            <p:nvPr/>
          </p:nvSpPr>
          <p:spPr bwMode="auto">
            <a:xfrm>
              <a:off x="2143" y="2219"/>
              <a:ext cx="12" cy="14"/>
            </a:xfrm>
            <a:custGeom>
              <a:avLst/>
              <a:gdLst>
                <a:gd name="T0" fmla="*/ 3 w 5"/>
                <a:gd name="T1" fmla="*/ 0 h 6"/>
                <a:gd name="T2" fmla="*/ 0 w 5"/>
                <a:gd name="T3" fmla="*/ 4 h 6"/>
                <a:gd name="T4" fmla="*/ 1 w 5"/>
                <a:gd name="T5" fmla="*/ 6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  <a:gd name="T12" fmla="*/ 3 w 5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3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2531" y="3954"/>
              <a:ext cx="17" cy="11"/>
            </a:xfrm>
            <a:custGeom>
              <a:avLst/>
              <a:gdLst>
                <a:gd name="T0" fmla="*/ 4 w 7"/>
                <a:gd name="T1" fmla="*/ 0 h 5"/>
                <a:gd name="T2" fmla="*/ 0 w 7"/>
                <a:gd name="T3" fmla="*/ 3 h 5"/>
                <a:gd name="T4" fmla="*/ 2 w 7"/>
                <a:gd name="T5" fmla="*/ 5 h 5"/>
                <a:gd name="T6" fmla="*/ 4 w 7"/>
                <a:gd name="T7" fmla="*/ 5 h 5"/>
                <a:gd name="T8" fmla="*/ 5 w 7"/>
                <a:gd name="T9" fmla="*/ 4 h 5"/>
                <a:gd name="T10" fmla="*/ 6 w 7"/>
                <a:gd name="T11" fmla="*/ 4 h 5"/>
                <a:gd name="T12" fmla="*/ 7 w 7"/>
                <a:gd name="T13" fmla="*/ 2 h 5"/>
                <a:gd name="T14" fmla="*/ 4 w 7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4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4859" y="2297"/>
              <a:ext cx="49" cy="97"/>
            </a:xfrm>
            <a:custGeom>
              <a:avLst/>
              <a:gdLst>
                <a:gd name="T0" fmla="*/ 20 w 21"/>
                <a:gd name="T1" fmla="*/ 25 h 41"/>
                <a:gd name="T2" fmla="*/ 20 w 21"/>
                <a:gd name="T3" fmla="*/ 24 h 41"/>
                <a:gd name="T4" fmla="*/ 20 w 21"/>
                <a:gd name="T5" fmla="*/ 22 h 41"/>
                <a:gd name="T6" fmla="*/ 19 w 21"/>
                <a:gd name="T7" fmla="*/ 22 h 41"/>
                <a:gd name="T8" fmla="*/ 19 w 21"/>
                <a:gd name="T9" fmla="*/ 21 h 41"/>
                <a:gd name="T10" fmla="*/ 18 w 21"/>
                <a:gd name="T11" fmla="*/ 20 h 41"/>
                <a:gd name="T12" fmla="*/ 18 w 21"/>
                <a:gd name="T13" fmla="*/ 19 h 41"/>
                <a:gd name="T14" fmla="*/ 17 w 21"/>
                <a:gd name="T15" fmla="*/ 16 h 41"/>
                <a:gd name="T16" fmla="*/ 17 w 21"/>
                <a:gd name="T17" fmla="*/ 16 h 41"/>
                <a:gd name="T18" fmla="*/ 16 w 21"/>
                <a:gd name="T19" fmla="*/ 15 h 41"/>
                <a:gd name="T20" fmla="*/ 16 w 21"/>
                <a:gd name="T21" fmla="*/ 14 h 41"/>
                <a:gd name="T22" fmla="*/ 15 w 21"/>
                <a:gd name="T23" fmla="*/ 12 h 41"/>
                <a:gd name="T24" fmla="*/ 14 w 21"/>
                <a:gd name="T25" fmla="*/ 10 h 41"/>
                <a:gd name="T26" fmla="*/ 11 w 21"/>
                <a:gd name="T27" fmla="*/ 5 h 41"/>
                <a:gd name="T28" fmla="*/ 10 w 21"/>
                <a:gd name="T29" fmla="*/ 4 h 41"/>
                <a:gd name="T30" fmla="*/ 9 w 21"/>
                <a:gd name="T31" fmla="*/ 3 h 41"/>
                <a:gd name="T32" fmla="*/ 9 w 21"/>
                <a:gd name="T33" fmla="*/ 3 h 41"/>
                <a:gd name="T34" fmla="*/ 6 w 21"/>
                <a:gd name="T35" fmla="*/ 1 h 41"/>
                <a:gd name="T36" fmla="*/ 5 w 21"/>
                <a:gd name="T37" fmla="*/ 0 h 41"/>
                <a:gd name="T38" fmla="*/ 3 w 21"/>
                <a:gd name="T39" fmla="*/ 3 h 41"/>
                <a:gd name="T40" fmla="*/ 3 w 21"/>
                <a:gd name="T41" fmla="*/ 4 h 41"/>
                <a:gd name="T42" fmla="*/ 2 w 21"/>
                <a:gd name="T43" fmla="*/ 5 h 41"/>
                <a:gd name="T44" fmla="*/ 3 w 21"/>
                <a:gd name="T45" fmla="*/ 6 h 41"/>
                <a:gd name="T46" fmla="*/ 3 w 21"/>
                <a:gd name="T47" fmla="*/ 7 h 41"/>
                <a:gd name="T48" fmla="*/ 3 w 21"/>
                <a:gd name="T49" fmla="*/ 8 h 41"/>
                <a:gd name="T50" fmla="*/ 4 w 21"/>
                <a:gd name="T51" fmla="*/ 9 h 41"/>
                <a:gd name="T52" fmla="*/ 3 w 21"/>
                <a:gd name="T53" fmla="*/ 8 h 41"/>
                <a:gd name="T54" fmla="*/ 2 w 21"/>
                <a:gd name="T55" fmla="*/ 11 h 41"/>
                <a:gd name="T56" fmla="*/ 2 w 21"/>
                <a:gd name="T57" fmla="*/ 13 h 41"/>
                <a:gd name="T58" fmla="*/ 2 w 21"/>
                <a:gd name="T59" fmla="*/ 13 h 41"/>
                <a:gd name="T60" fmla="*/ 2 w 21"/>
                <a:gd name="T61" fmla="*/ 16 h 41"/>
                <a:gd name="T62" fmla="*/ 2 w 21"/>
                <a:gd name="T63" fmla="*/ 16 h 41"/>
                <a:gd name="T64" fmla="*/ 1 w 21"/>
                <a:gd name="T65" fmla="*/ 17 h 41"/>
                <a:gd name="T66" fmla="*/ 1 w 21"/>
                <a:gd name="T67" fmla="*/ 21 h 41"/>
                <a:gd name="T68" fmla="*/ 2 w 21"/>
                <a:gd name="T69" fmla="*/ 22 h 41"/>
                <a:gd name="T70" fmla="*/ 2 w 21"/>
                <a:gd name="T71" fmla="*/ 23 h 41"/>
                <a:gd name="T72" fmla="*/ 2 w 21"/>
                <a:gd name="T73" fmla="*/ 25 h 41"/>
                <a:gd name="T74" fmla="*/ 2 w 21"/>
                <a:gd name="T75" fmla="*/ 26 h 41"/>
                <a:gd name="T76" fmla="*/ 3 w 21"/>
                <a:gd name="T77" fmla="*/ 28 h 41"/>
                <a:gd name="T78" fmla="*/ 3 w 21"/>
                <a:gd name="T79" fmla="*/ 29 h 41"/>
                <a:gd name="T80" fmla="*/ 3 w 21"/>
                <a:gd name="T81" fmla="*/ 30 h 41"/>
                <a:gd name="T82" fmla="*/ 3 w 21"/>
                <a:gd name="T83" fmla="*/ 32 h 41"/>
                <a:gd name="T84" fmla="*/ 4 w 21"/>
                <a:gd name="T85" fmla="*/ 34 h 41"/>
                <a:gd name="T86" fmla="*/ 5 w 21"/>
                <a:gd name="T87" fmla="*/ 38 h 41"/>
                <a:gd name="T88" fmla="*/ 5 w 21"/>
                <a:gd name="T89" fmla="*/ 38 h 41"/>
                <a:gd name="T90" fmla="*/ 9 w 21"/>
                <a:gd name="T91" fmla="*/ 41 h 41"/>
                <a:gd name="T92" fmla="*/ 10 w 21"/>
                <a:gd name="T93" fmla="*/ 41 h 41"/>
                <a:gd name="T94" fmla="*/ 13 w 21"/>
                <a:gd name="T95" fmla="*/ 40 h 41"/>
                <a:gd name="T96" fmla="*/ 14 w 21"/>
                <a:gd name="T97" fmla="*/ 39 h 41"/>
                <a:gd name="T98" fmla="*/ 17 w 21"/>
                <a:gd name="T99" fmla="*/ 37 h 41"/>
                <a:gd name="T100" fmla="*/ 20 w 21"/>
                <a:gd name="T101" fmla="*/ 34 h 41"/>
                <a:gd name="T102" fmla="*/ 21 w 21"/>
                <a:gd name="T103" fmla="*/ 32 h 41"/>
                <a:gd name="T104" fmla="*/ 21 w 21"/>
                <a:gd name="T105" fmla="*/ 31 h 41"/>
                <a:gd name="T106" fmla="*/ 21 w 21"/>
                <a:gd name="T107" fmla="*/ 29 h 41"/>
                <a:gd name="T108" fmla="*/ 21 w 21"/>
                <a:gd name="T109" fmla="*/ 28 h 41"/>
                <a:gd name="T110" fmla="*/ 21 w 21"/>
                <a:gd name="T111" fmla="*/ 27 h 41"/>
                <a:gd name="T112" fmla="*/ 20 w 21"/>
                <a:gd name="T113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" h="41">
                  <a:moveTo>
                    <a:pt x="20" y="25"/>
                  </a:moveTo>
                  <a:cubicBezTo>
                    <a:pt x="20" y="25"/>
                    <a:pt x="20" y="24"/>
                    <a:pt x="20" y="24"/>
                  </a:cubicBezTo>
                  <a:cubicBezTo>
                    <a:pt x="20" y="23"/>
                    <a:pt x="20" y="23"/>
                    <a:pt x="20" y="22"/>
                  </a:cubicBezTo>
                  <a:cubicBezTo>
                    <a:pt x="20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7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4"/>
                  </a:cubicBezTo>
                  <a:cubicBezTo>
                    <a:pt x="16" y="13"/>
                    <a:pt x="15" y="13"/>
                    <a:pt x="15" y="12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4" y="9"/>
                    <a:pt x="13" y="7"/>
                    <a:pt x="11" y="5"/>
                  </a:cubicBezTo>
                  <a:cubicBezTo>
                    <a:pt x="11" y="5"/>
                    <a:pt x="11" y="5"/>
                    <a:pt x="10" y="4"/>
                  </a:cubicBezTo>
                  <a:cubicBezTo>
                    <a:pt x="10" y="4"/>
                    <a:pt x="9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3" y="0"/>
                    <a:pt x="3" y="2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5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8"/>
                    <a:pt x="1" y="20"/>
                    <a:pt x="1" y="21"/>
                  </a:cubicBezTo>
                  <a:cubicBezTo>
                    <a:pt x="1" y="21"/>
                    <a:pt x="1" y="21"/>
                    <a:pt x="2" y="22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2" y="25"/>
                    <a:pt x="2" y="2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7"/>
                    <a:pt x="2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30"/>
                  </a:cubicBezTo>
                  <a:cubicBezTo>
                    <a:pt x="3" y="30"/>
                    <a:pt x="3" y="31"/>
                    <a:pt x="3" y="32"/>
                  </a:cubicBezTo>
                  <a:cubicBezTo>
                    <a:pt x="4" y="33"/>
                    <a:pt x="4" y="33"/>
                    <a:pt x="4" y="34"/>
                  </a:cubicBezTo>
                  <a:cubicBezTo>
                    <a:pt x="4" y="36"/>
                    <a:pt x="4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6" y="40"/>
                    <a:pt x="8" y="41"/>
                    <a:pt x="9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1" y="41"/>
                    <a:pt x="12" y="40"/>
                    <a:pt x="13" y="40"/>
                  </a:cubicBezTo>
                  <a:cubicBezTo>
                    <a:pt x="13" y="39"/>
                    <a:pt x="13" y="39"/>
                    <a:pt x="14" y="39"/>
                  </a:cubicBezTo>
                  <a:cubicBezTo>
                    <a:pt x="15" y="38"/>
                    <a:pt x="16" y="38"/>
                    <a:pt x="17" y="37"/>
                  </a:cubicBezTo>
                  <a:cubicBezTo>
                    <a:pt x="19" y="37"/>
                    <a:pt x="20" y="35"/>
                    <a:pt x="20" y="34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0"/>
                    <a:pt x="21" y="30"/>
                    <a:pt x="21" y="29"/>
                  </a:cubicBezTo>
                  <a:cubicBezTo>
                    <a:pt x="21" y="29"/>
                    <a:pt x="21" y="29"/>
                    <a:pt x="21" y="28"/>
                  </a:cubicBezTo>
                  <a:cubicBezTo>
                    <a:pt x="21" y="28"/>
                    <a:pt x="21" y="28"/>
                    <a:pt x="21" y="27"/>
                  </a:cubicBezTo>
                  <a:cubicBezTo>
                    <a:pt x="21" y="27"/>
                    <a:pt x="21" y="26"/>
                    <a:pt x="2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3877" y="1675"/>
              <a:ext cx="21" cy="18"/>
            </a:xfrm>
            <a:custGeom>
              <a:avLst/>
              <a:gdLst>
                <a:gd name="T0" fmla="*/ 2 w 9"/>
                <a:gd name="T1" fmla="*/ 8 h 8"/>
                <a:gd name="T2" fmla="*/ 3 w 9"/>
                <a:gd name="T3" fmla="*/ 8 h 8"/>
                <a:gd name="T4" fmla="*/ 5 w 9"/>
                <a:gd name="T5" fmla="*/ 7 h 8"/>
                <a:gd name="T6" fmla="*/ 5 w 9"/>
                <a:gd name="T7" fmla="*/ 7 h 8"/>
                <a:gd name="T8" fmla="*/ 6 w 9"/>
                <a:gd name="T9" fmla="*/ 5 h 8"/>
                <a:gd name="T10" fmla="*/ 7 w 9"/>
                <a:gd name="T11" fmla="*/ 4 h 8"/>
                <a:gd name="T12" fmla="*/ 9 w 9"/>
                <a:gd name="T13" fmla="*/ 3 h 8"/>
                <a:gd name="T14" fmla="*/ 9 w 9"/>
                <a:gd name="T15" fmla="*/ 1 h 8"/>
                <a:gd name="T16" fmla="*/ 6 w 9"/>
                <a:gd name="T17" fmla="*/ 0 h 8"/>
                <a:gd name="T18" fmla="*/ 6 w 9"/>
                <a:gd name="T19" fmla="*/ 0 h 8"/>
                <a:gd name="T20" fmla="*/ 5 w 9"/>
                <a:gd name="T21" fmla="*/ 0 h 8"/>
                <a:gd name="T22" fmla="*/ 4 w 9"/>
                <a:gd name="T23" fmla="*/ 0 h 8"/>
                <a:gd name="T24" fmla="*/ 2 w 9"/>
                <a:gd name="T25" fmla="*/ 2 h 8"/>
                <a:gd name="T26" fmla="*/ 2 w 9"/>
                <a:gd name="T27" fmla="*/ 4 h 8"/>
                <a:gd name="T28" fmla="*/ 1 w 9"/>
                <a:gd name="T29" fmla="*/ 4 h 8"/>
                <a:gd name="T30" fmla="*/ 0 w 9"/>
                <a:gd name="T31" fmla="*/ 6 h 8"/>
                <a:gd name="T32" fmla="*/ 0 w 9"/>
                <a:gd name="T33" fmla="*/ 6 h 8"/>
                <a:gd name="T34" fmla="*/ 2 w 9"/>
                <a:gd name="T3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8">
                  <a:moveTo>
                    <a:pt x="2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6"/>
                    <a:pt x="6" y="5"/>
                  </a:cubicBezTo>
                  <a:cubicBezTo>
                    <a:pt x="6" y="5"/>
                    <a:pt x="7" y="5"/>
                    <a:pt x="7" y="4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6" name="Freeform 105"/>
            <p:cNvSpPr>
              <a:spLocks noEditPoints="1"/>
            </p:cNvSpPr>
            <p:nvPr/>
          </p:nvSpPr>
          <p:spPr bwMode="auto">
            <a:xfrm>
              <a:off x="3548" y="1506"/>
              <a:ext cx="45" cy="107"/>
            </a:xfrm>
            <a:custGeom>
              <a:avLst/>
              <a:gdLst>
                <a:gd name="T0" fmla="*/ 6 w 19"/>
                <a:gd name="T1" fmla="*/ 45 h 45"/>
                <a:gd name="T2" fmla="*/ 9 w 19"/>
                <a:gd name="T3" fmla="*/ 43 h 45"/>
                <a:gd name="T4" fmla="*/ 10 w 19"/>
                <a:gd name="T5" fmla="*/ 43 h 45"/>
                <a:gd name="T6" fmla="*/ 13 w 19"/>
                <a:gd name="T7" fmla="*/ 39 h 45"/>
                <a:gd name="T8" fmla="*/ 14 w 19"/>
                <a:gd name="T9" fmla="*/ 37 h 45"/>
                <a:gd name="T10" fmla="*/ 15 w 19"/>
                <a:gd name="T11" fmla="*/ 33 h 45"/>
                <a:gd name="T12" fmla="*/ 15 w 19"/>
                <a:gd name="T13" fmla="*/ 31 h 45"/>
                <a:gd name="T14" fmla="*/ 16 w 19"/>
                <a:gd name="T15" fmla="*/ 28 h 45"/>
                <a:gd name="T16" fmla="*/ 16 w 19"/>
                <a:gd name="T17" fmla="*/ 25 h 45"/>
                <a:gd name="T18" fmla="*/ 15 w 19"/>
                <a:gd name="T19" fmla="*/ 20 h 45"/>
                <a:gd name="T20" fmla="*/ 15 w 19"/>
                <a:gd name="T21" fmla="*/ 17 h 45"/>
                <a:gd name="T22" fmla="*/ 16 w 19"/>
                <a:gd name="T23" fmla="*/ 14 h 45"/>
                <a:gd name="T24" fmla="*/ 18 w 19"/>
                <a:gd name="T25" fmla="*/ 10 h 45"/>
                <a:gd name="T26" fmla="*/ 18 w 19"/>
                <a:gd name="T27" fmla="*/ 2 h 45"/>
                <a:gd name="T28" fmla="*/ 18 w 19"/>
                <a:gd name="T29" fmla="*/ 1 h 45"/>
                <a:gd name="T30" fmla="*/ 16 w 19"/>
                <a:gd name="T31" fmla="*/ 1 h 45"/>
                <a:gd name="T32" fmla="*/ 13 w 19"/>
                <a:gd name="T33" fmla="*/ 3 h 45"/>
                <a:gd name="T34" fmla="*/ 9 w 19"/>
                <a:gd name="T35" fmla="*/ 6 h 45"/>
                <a:gd name="T36" fmla="*/ 8 w 19"/>
                <a:gd name="T37" fmla="*/ 8 h 45"/>
                <a:gd name="T38" fmla="*/ 8 w 19"/>
                <a:gd name="T39" fmla="*/ 14 h 45"/>
                <a:gd name="T40" fmla="*/ 10 w 19"/>
                <a:gd name="T41" fmla="*/ 18 h 45"/>
                <a:gd name="T42" fmla="*/ 9 w 19"/>
                <a:gd name="T43" fmla="*/ 20 h 45"/>
                <a:gd name="T44" fmla="*/ 7 w 19"/>
                <a:gd name="T45" fmla="*/ 22 h 45"/>
                <a:gd name="T46" fmla="*/ 5 w 19"/>
                <a:gd name="T47" fmla="*/ 21 h 45"/>
                <a:gd name="T48" fmla="*/ 3 w 19"/>
                <a:gd name="T49" fmla="*/ 22 h 45"/>
                <a:gd name="T50" fmla="*/ 3 w 19"/>
                <a:gd name="T51" fmla="*/ 24 h 45"/>
                <a:gd name="T52" fmla="*/ 3 w 19"/>
                <a:gd name="T53" fmla="*/ 25 h 45"/>
                <a:gd name="T54" fmla="*/ 3 w 19"/>
                <a:gd name="T55" fmla="*/ 28 h 45"/>
                <a:gd name="T56" fmla="*/ 3 w 19"/>
                <a:gd name="T57" fmla="*/ 30 h 45"/>
                <a:gd name="T58" fmla="*/ 3 w 19"/>
                <a:gd name="T59" fmla="*/ 31 h 45"/>
                <a:gd name="T60" fmla="*/ 3 w 19"/>
                <a:gd name="T61" fmla="*/ 34 h 45"/>
                <a:gd name="T62" fmla="*/ 3 w 19"/>
                <a:gd name="T63" fmla="*/ 35 h 45"/>
                <a:gd name="T64" fmla="*/ 2 w 19"/>
                <a:gd name="T65" fmla="*/ 36 h 45"/>
                <a:gd name="T66" fmla="*/ 1 w 19"/>
                <a:gd name="T67" fmla="*/ 43 h 45"/>
                <a:gd name="T68" fmla="*/ 8 w 19"/>
                <a:gd name="T69" fmla="*/ 42 h 45"/>
                <a:gd name="T70" fmla="*/ 8 w 19"/>
                <a:gd name="T71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" h="45">
                  <a:moveTo>
                    <a:pt x="5" y="45"/>
                  </a:moveTo>
                  <a:cubicBezTo>
                    <a:pt x="5" y="45"/>
                    <a:pt x="6" y="45"/>
                    <a:pt x="6" y="45"/>
                  </a:cubicBezTo>
                  <a:cubicBezTo>
                    <a:pt x="8" y="45"/>
                    <a:pt x="8" y="44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1" y="43"/>
                    <a:pt x="12" y="43"/>
                    <a:pt x="13" y="41"/>
                  </a:cubicBezTo>
                  <a:cubicBezTo>
                    <a:pt x="13" y="40"/>
                    <a:pt x="13" y="39"/>
                    <a:pt x="13" y="39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5" y="35"/>
                    <a:pt x="15" y="34"/>
                    <a:pt x="15" y="3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6" y="29"/>
                    <a:pt x="16" y="29"/>
                    <a:pt x="16" y="28"/>
                  </a:cubicBezTo>
                  <a:cubicBezTo>
                    <a:pt x="16" y="27"/>
                    <a:pt x="16" y="26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4"/>
                    <a:pt x="16" y="24"/>
                    <a:pt x="16" y="23"/>
                  </a:cubicBezTo>
                  <a:cubicBezTo>
                    <a:pt x="16" y="22"/>
                    <a:pt x="16" y="21"/>
                    <a:pt x="15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4" y="19"/>
                    <a:pt x="14" y="18"/>
                    <a:pt x="15" y="17"/>
                  </a:cubicBezTo>
                  <a:cubicBezTo>
                    <a:pt x="15" y="16"/>
                    <a:pt x="15" y="16"/>
                    <a:pt x="15" y="15"/>
                  </a:cubicBezTo>
                  <a:cubicBezTo>
                    <a:pt x="15" y="15"/>
                    <a:pt x="15" y="14"/>
                    <a:pt x="16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7" y="12"/>
                    <a:pt x="18" y="11"/>
                    <a:pt x="18" y="10"/>
                  </a:cubicBezTo>
                  <a:cubicBezTo>
                    <a:pt x="19" y="9"/>
                    <a:pt x="19" y="7"/>
                    <a:pt x="18" y="6"/>
                  </a:cubicBezTo>
                  <a:cubicBezTo>
                    <a:pt x="18" y="5"/>
                    <a:pt x="18" y="3"/>
                    <a:pt x="18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1"/>
                    <a:pt x="15" y="1"/>
                    <a:pt x="14" y="2"/>
                  </a:cubicBezTo>
                  <a:cubicBezTo>
                    <a:pt x="14" y="2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4"/>
                    <a:pt x="9" y="4"/>
                    <a:pt x="9" y="6"/>
                  </a:cubicBezTo>
                  <a:cubicBezTo>
                    <a:pt x="8" y="6"/>
                    <a:pt x="8" y="7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7" y="12"/>
                    <a:pt x="8" y="13"/>
                    <a:pt x="8" y="14"/>
                  </a:cubicBezTo>
                  <a:cubicBezTo>
                    <a:pt x="9" y="14"/>
                    <a:pt x="9" y="15"/>
                    <a:pt x="9" y="15"/>
                  </a:cubicBezTo>
                  <a:cubicBezTo>
                    <a:pt x="9" y="16"/>
                    <a:pt x="9" y="17"/>
                    <a:pt x="10" y="18"/>
                  </a:cubicBezTo>
                  <a:cubicBezTo>
                    <a:pt x="11" y="18"/>
                    <a:pt x="11" y="19"/>
                    <a:pt x="12" y="19"/>
                  </a:cubicBezTo>
                  <a:cubicBezTo>
                    <a:pt x="11" y="19"/>
                    <a:pt x="10" y="20"/>
                    <a:pt x="9" y="20"/>
                  </a:cubicBezTo>
                  <a:cubicBezTo>
                    <a:pt x="9" y="21"/>
                    <a:pt x="8" y="21"/>
                    <a:pt x="8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2"/>
                    <a:pt x="6" y="22"/>
                  </a:cubicBezTo>
                  <a:cubicBezTo>
                    <a:pt x="6" y="22"/>
                    <a:pt x="6" y="22"/>
                    <a:pt x="5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27"/>
                    <a:pt x="3" y="27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2" y="32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7"/>
                    <a:pt x="1" y="37"/>
                  </a:cubicBezTo>
                  <a:cubicBezTo>
                    <a:pt x="1" y="39"/>
                    <a:pt x="0" y="41"/>
                    <a:pt x="1" y="43"/>
                  </a:cubicBezTo>
                  <a:cubicBezTo>
                    <a:pt x="1" y="45"/>
                    <a:pt x="3" y="45"/>
                    <a:pt x="5" y="45"/>
                  </a:cubicBezTo>
                  <a:close/>
                  <a:moveTo>
                    <a:pt x="8" y="42"/>
                  </a:move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auto">
            <a:xfrm>
              <a:off x="3960" y="1693"/>
              <a:ext cx="47" cy="36"/>
            </a:xfrm>
            <a:custGeom>
              <a:avLst/>
              <a:gdLst>
                <a:gd name="T0" fmla="*/ 2 w 20"/>
                <a:gd name="T1" fmla="*/ 13 h 15"/>
                <a:gd name="T2" fmla="*/ 4 w 20"/>
                <a:gd name="T3" fmla="*/ 13 h 15"/>
                <a:gd name="T4" fmla="*/ 5 w 20"/>
                <a:gd name="T5" fmla="*/ 13 h 15"/>
                <a:gd name="T6" fmla="*/ 6 w 20"/>
                <a:gd name="T7" fmla="*/ 13 h 15"/>
                <a:gd name="T8" fmla="*/ 6 w 20"/>
                <a:gd name="T9" fmla="*/ 14 h 15"/>
                <a:gd name="T10" fmla="*/ 8 w 20"/>
                <a:gd name="T11" fmla="*/ 15 h 15"/>
                <a:gd name="T12" fmla="*/ 10 w 20"/>
                <a:gd name="T13" fmla="*/ 13 h 15"/>
                <a:gd name="T14" fmla="*/ 10 w 20"/>
                <a:gd name="T15" fmla="*/ 12 h 15"/>
                <a:gd name="T16" fmla="*/ 12 w 20"/>
                <a:gd name="T17" fmla="*/ 12 h 15"/>
                <a:gd name="T18" fmla="*/ 14 w 20"/>
                <a:gd name="T19" fmla="*/ 11 h 15"/>
                <a:gd name="T20" fmla="*/ 14 w 20"/>
                <a:gd name="T21" fmla="*/ 11 h 15"/>
                <a:gd name="T22" fmla="*/ 17 w 20"/>
                <a:gd name="T23" fmla="*/ 9 h 15"/>
                <a:gd name="T24" fmla="*/ 16 w 20"/>
                <a:gd name="T25" fmla="*/ 7 h 15"/>
                <a:gd name="T26" fmla="*/ 16 w 20"/>
                <a:gd name="T27" fmla="*/ 7 h 15"/>
                <a:gd name="T28" fmla="*/ 17 w 20"/>
                <a:gd name="T29" fmla="*/ 6 h 15"/>
                <a:gd name="T30" fmla="*/ 18 w 20"/>
                <a:gd name="T31" fmla="*/ 5 h 15"/>
                <a:gd name="T32" fmla="*/ 20 w 20"/>
                <a:gd name="T33" fmla="*/ 2 h 15"/>
                <a:gd name="T34" fmla="*/ 19 w 20"/>
                <a:gd name="T35" fmla="*/ 1 h 15"/>
                <a:gd name="T36" fmla="*/ 15 w 20"/>
                <a:gd name="T37" fmla="*/ 2 h 15"/>
                <a:gd name="T38" fmla="*/ 15 w 20"/>
                <a:gd name="T39" fmla="*/ 2 h 15"/>
                <a:gd name="T40" fmla="*/ 14 w 20"/>
                <a:gd name="T41" fmla="*/ 3 h 15"/>
                <a:gd name="T42" fmla="*/ 13 w 20"/>
                <a:gd name="T43" fmla="*/ 3 h 15"/>
                <a:gd name="T44" fmla="*/ 9 w 20"/>
                <a:gd name="T45" fmla="*/ 3 h 15"/>
                <a:gd name="T46" fmla="*/ 5 w 20"/>
                <a:gd name="T47" fmla="*/ 4 h 15"/>
                <a:gd name="T48" fmla="*/ 5 w 20"/>
                <a:gd name="T49" fmla="*/ 5 h 15"/>
                <a:gd name="T50" fmla="*/ 5 w 20"/>
                <a:gd name="T51" fmla="*/ 6 h 15"/>
                <a:gd name="T52" fmla="*/ 4 w 20"/>
                <a:gd name="T53" fmla="*/ 6 h 15"/>
                <a:gd name="T54" fmla="*/ 2 w 20"/>
                <a:gd name="T55" fmla="*/ 6 h 15"/>
                <a:gd name="T56" fmla="*/ 0 w 20"/>
                <a:gd name="T57" fmla="*/ 9 h 15"/>
                <a:gd name="T58" fmla="*/ 2 w 20"/>
                <a:gd name="T5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" h="15">
                  <a:moveTo>
                    <a:pt x="2" y="13"/>
                  </a:moveTo>
                  <a:cubicBezTo>
                    <a:pt x="2" y="13"/>
                    <a:pt x="3" y="13"/>
                    <a:pt x="4" y="13"/>
                  </a:cubicBezTo>
                  <a:cubicBezTo>
                    <a:pt x="4" y="13"/>
                    <a:pt x="4" y="13"/>
                    <a:pt x="5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5"/>
                    <a:pt x="8" y="15"/>
                  </a:cubicBezTo>
                  <a:cubicBezTo>
                    <a:pt x="9" y="15"/>
                    <a:pt x="9" y="14"/>
                    <a:pt x="10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1" y="12"/>
                    <a:pt x="12" y="12"/>
                    <a:pt x="12" y="12"/>
                  </a:cubicBezTo>
                  <a:cubicBezTo>
                    <a:pt x="13" y="11"/>
                    <a:pt x="13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6" y="11"/>
                    <a:pt x="17" y="10"/>
                    <a:pt x="17" y="9"/>
                  </a:cubicBezTo>
                  <a:cubicBezTo>
                    <a:pt x="17" y="8"/>
                    <a:pt x="17" y="8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8" y="6"/>
                    <a:pt x="18" y="5"/>
                  </a:cubicBezTo>
                  <a:cubicBezTo>
                    <a:pt x="19" y="4"/>
                    <a:pt x="20" y="3"/>
                    <a:pt x="20" y="2"/>
                  </a:cubicBezTo>
                  <a:cubicBezTo>
                    <a:pt x="20" y="2"/>
                    <a:pt x="20" y="1"/>
                    <a:pt x="19" y="1"/>
                  </a:cubicBezTo>
                  <a:cubicBezTo>
                    <a:pt x="18" y="0"/>
                    <a:pt x="17" y="1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4" y="3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2" y="4"/>
                    <a:pt x="11" y="4"/>
                    <a:pt x="9" y="3"/>
                  </a:cubicBezTo>
                  <a:cubicBezTo>
                    <a:pt x="8" y="3"/>
                    <a:pt x="6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1" y="6"/>
                    <a:pt x="0" y="7"/>
                    <a:pt x="0" y="9"/>
                  </a:cubicBezTo>
                  <a:cubicBezTo>
                    <a:pt x="0" y="11"/>
                    <a:pt x="1" y="12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auto">
            <a:xfrm>
              <a:off x="3842" y="1585"/>
              <a:ext cx="11" cy="14"/>
            </a:xfrm>
            <a:custGeom>
              <a:avLst/>
              <a:gdLst>
                <a:gd name="T0" fmla="*/ 2 w 5"/>
                <a:gd name="T1" fmla="*/ 6 h 6"/>
                <a:gd name="T2" fmla="*/ 2 w 5"/>
                <a:gd name="T3" fmla="*/ 6 h 6"/>
                <a:gd name="T4" fmla="*/ 4 w 5"/>
                <a:gd name="T5" fmla="*/ 5 h 6"/>
                <a:gd name="T6" fmla="*/ 5 w 5"/>
                <a:gd name="T7" fmla="*/ 4 h 6"/>
                <a:gd name="T8" fmla="*/ 3 w 5"/>
                <a:gd name="T9" fmla="*/ 3 h 6"/>
                <a:gd name="T10" fmla="*/ 5 w 5"/>
                <a:gd name="T11" fmla="*/ 3 h 6"/>
                <a:gd name="T12" fmla="*/ 5 w 5"/>
                <a:gd name="T13" fmla="*/ 2 h 6"/>
                <a:gd name="T14" fmla="*/ 2 w 5"/>
                <a:gd name="T15" fmla="*/ 0 h 6"/>
                <a:gd name="T16" fmla="*/ 1 w 5"/>
                <a:gd name="T17" fmla="*/ 1 h 6"/>
                <a:gd name="T18" fmla="*/ 0 w 5"/>
                <a:gd name="T19" fmla="*/ 3 h 6"/>
                <a:gd name="T20" fmla="*/ 1 w 5"/>
                <a:gd name="T21" fmla="*/ 5 h 6"/>
                <a:gd name="T22" fmla="*/ 2 w 5"/>
                <a:gd name="T2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0"/>
                    <a:pt x="3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4"/>
                    <a:pt x="0" y="4"/>
                    <a:pt x="1" y="5"/>
                  </a:cubicBezTo>
                  <a:cubicBezTo>
                    <a:pt x="1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3808" y="1691"/>
              <a:ext cx="53" cy="31"/>
            </a:xfrm>
            <a:custGeom>
              <a:avLst/>
              <a:gdLst>
                <a:gd name="T0" fmla="*/ 1 w 22"/>
                <a:gd name="T1" fmla="*/ 6 h 13"/>
                <a:gd name="T2" fmla="*/ 3 w 22"/>
                <a:gd name="T3" fmla="*/ 9 h 13"/>
                <a:gd name="T4" fmla="*/ 4 w 22"/>
                <a:gd name="T5" fmla="*/ 9 h 13"/>
                <a:gd name="T6" fmla="*/ 5 w 22"/>
                <a:gd name="T7" fmla="*/ 9 h 13"/>
                <a:gd name="T8" fmla="*/ 5 w 22"/>
                <a:gd name="T9" fmla="*/ 9 h 13"/>
                <a:gd name="T10" fmla="*/ 6 w 22"/>
                <a:gd name="T11" fmla="*/ 9 h 13"/>
                <a:gd name="T12" fmla="*/ 8 w 22"/>
                <a:gd name="T13" fmla="*/ 10 h 13"/>
                <a:gd name="T14" fmla="*/ 8 w 22"/>
                <a:gd name="T15" fmla="*/ 10 h 13"/>
                <a:gd name="T16" fmla="*/ 10 w 22"/>
                <a:gd name="T17" fmla="*/ 12 h 13"/>
                <a:gd name="T18" fmla="*/ 11 w 22"/>
                <a:gd name="T19" fmla="*/ 13 h 13"/>
                <a:gd name="T20" fmla="*/ 13 w 22"/>
                <a:gd name="T21" fmla="*/ 12 h 13"/>
                <a:gd name="T22" fmla="*/ 14 w 22"/>
                <a:gd name="T23" fmla="*/ 12 h 13"/>
                <a:gd name="T24" fmla="*/ 16 w 22"/>
                <a:gd name="T25" fmla="*/ 11 h 13"/>
                <a:gd name="T26" fmla="*/ 17 w 22"/>
                <a:gd name="T27" fmla="*/ 11 h 13"/>
                <a:gd name="T28" fmla="*/ 17 w 22"/>
                <a:gd name="T29" fmla="*/ 10 h 13"/>
                <a:gd name="T30" fmla="*/ 18 w 22"/>
                <a:gd name="T31" fmla="*/ 10 h 13"/>
                <a:gd name="T32" fmla="*/ 18 w 22"/>
                <a:gd name="T33" fmla="*/ 10 h 13"/>
                <a:gd name="T34" fmla="*/ 20 w 22"/>
                <a:gd name="T35" fmla="*/ 10 h 13"/>
                <a:gd name="T36" fmla="*/ 21 w 22"/>
                <a:gd name="T37" fmla="*/ 8 h 13"/>
                <a:gd name="T38" fmla="*/ 20 w 22"/>
                <a:gd name="T39" fmla="*/ 8 h 13"/>
                <a:gd name="T40" fmla="*/ 21 w 22"/>
                <a:gd name="T41" fmla="*/ 8 h 13"/>
                <a:gd name="T42" fmla="*/ 21 w 22"/>
                <a:gd name="T43" fmla="*/ 6 h 13"/>
                <a:gd name="T44" fmla="*/ 21 w 22"/>
                <a:gd name="T45" fmla="*/ 5 h 13"/>
                <a:gd name="T46" fmla="*/ 21 w 22"/>
                <a:gd name="T47" fmla="*/ 5 h 13"/>
                <a:gd name="T48" fmla="*/ 17 w 22"/>
                <a:gd name="T49" fmla="*/ 6 h 13"/>
                <a:gd name="T50" fmla="*/ 17 w 22"/>
                <a:gd name="T51" fmla="*/ 5 h 13"/>
                <a:gd name="T52" fmla="*/ 15 w 22"/>
                <a:gd name="T53" fmla="*/ 4 h 13"/>
                <a:gd name="T54" fmla="*/ 14 w 22"/>
                <a:gd name="T55" fmla="*/ 4 h 13"/>
                <a:gd name="T56" fmla="*/ 13 w 22"/>
                <a:gd name="T57" fmla="*/ 4 h 13"/>
                <a:gd name="T58" fmla="*/ 11 w 22"/>
                <a:gd name="T59" fmla="*/ 3 h 13"/>
                <a:gd name="T60" fmla="*/ 10 w 22"/>
                <a:gd name="T61" fmla="*/ 3 h 13"/>
                <a:gd name="T62" fmla="*/ 8 w 22"/>
                <a:gd name="T63" fmla="*/ 4 h 13"/>
                <a:gd name="T64" fmla="*/ 8 w 22"/>
                <a:gd name="T65" fmla="*/ 5 h 13"/>
                <a:gd name="T66" fmla="*/ 7 w 22"/>
                <a:gd name="T67" fmla="*/ 4 h 13"/>
                <a:gd name="T68" fmla="*/ 7 w 22"/>
                <a:gd name="T69" fmla="*/ 3 h 13"/>
                <a:gd name="T70" fmla="*/ 7 w 22"/>
                <a:gd name="T71" fmla="*/ 2 h 13"/>
                <a:gd name="T72" fmla="*/ 6 w 22"/>
                <a:gd name="T73" fmla="*/ 2 h 13"/>
                <a:gd name="T74" fmla="*/ 5 w 22"/>
                <a:gd name="T75" fmla="*/ 1 h 13"/>
                <a:gd name="T76" fmla="*/ 4 w 22"/>
                <a:gd name="T77" fmla="*/ 1 h 13"/>
                <a:gd name="T78" fmla="*/ 3 w 22"/>
                <a:gd name="T79" fmla="*/ 0 h 13"/>
                <a:gd name="T80" fmla="*/ 2 w 22"/>
                <a:gd name="T81" fmla="*/ 1 h 13"/>
                <a:gd name="T82" fmla="*/ 1 w 22"/>
                <a:gd name="T83" fmla="*/ 1 h 13"/>
                <a:gd name="T84" fmla="*/ 0 w 22"/>
                <a:gd name="T85" fmla="*/ 2 h 13"/>
                <a:gd name="T86" fmla="*/ 0 w 22"/>
                <a:gd name="T87" fmla="*/ 2 h 13"/>
                <a:gd name="T88" fmla="*/ 0 w 22"/>
                <a:gd name="T89" fmla="*/ 3 h 13"/>
                <a:gd name="T90" fmla="*/ 0 w 22"/>
                <a:gd name="T91" fmla="*/ 6 h 13"/>
                <a:gd name="T92" fmla="*/ 1 w 22"/>
                <a:gd name="T9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" h="13">
                  <a:moveTo>
                    <a:pt x="1" y="6"/>
                  </a:moveTo>
                  <a:cubicBezTo>
                    <a:pt x="1" y="7"/>
                    <a:pt x="1" y="8"/>
                    <a:pt x="3" y="9"/>
                  </a:cubicBezTo>
                  <a:cubicBezTo>
                    <a:pt x="3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9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9" y="12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2" y="13"/>
                    <a:pt x="13" y="12"/>
                    <a:pt x="13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1"/>
                    <a:pt x="15" y="11"/>
                    <a:pt x="16" y="11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7" y="11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9" y="11"/>
                    <a:pt x="20" y="10"/>
                  </a:cubicBezTo>
                  <a:cubicBezTo>
                    <a:pt x="21" y="10"/>
                    <a:pt x="21" y="9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2" y="7"/>
                    <a:pt x="21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5"/>
                    <a:pt x="18" y="5"/>
                    <a:pt x="17" y="6"/>
                  </a:cubicBezTo>
                  <a:cubicBezTo>
                    <a:pt x="17" y="6"/>
                    <a:pt x="17" y="6"/>
                    <a:pt x="17" y="5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2" y="3"/>
                    <a:pt x="11" y="3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2441" y="1234"/>
              <a:ext cx="43" cy="38"/>
            </a:xfrm>
            <a:custGeom>
              <a:avLst/>
              <a:gdLst>
                <a:gd name="T0" fmla="*/ 14 w 18"/>
                <a:gd name="T1" fmla="*/ 5 h 16"/>
                <a:gd name="T2" fmla="*/ 10 w 18"/>
                <a:gd name="T3" fmla="*/ 3 h 16"/>
                <a:gd name="T4" fmla="*/ 8 w 18"/>
                <a:gd name="T5" fmla="*/ 2 h 16"/>
                <a:gd name="T6" fmla="*/ 4 w 18"/>
                <a:gd name="T7" fmla="*/ 0 h 16"/>
                <a:gd name="T8" fmla="*/ 1 w 18"/>
                <a:gd name="T9" fmla="*/ 1 h 16"/>
                <a:gd name="T10" fmla="*/ 1 w 18"/>
                <a:gd name="T11" fmla="*/ 4 h 16"/>
                <a:gd name="T12" fmla="*/ 2 w 18"/>
                <a:gd name="T13" fmla="*/ 6 h 16"/>
                <a:gd name="T14" fmla="*/ 3 w 18"/>
                <a:gd name="T15" fmla="*/ 7 h 16"/>
                <a:gd name="T16" fmla="*/ 4 w 18"/>
                <a:gd name="T17" fmla="*/ 8 h 16"/>
                <a:gd name="T18" fmla="*/ 4 w 18"/>
                <a:gd name="T19" fmla="*/ 9 h 16"/>
                <a:gd name="T20" fmla="*/ 7 w 18"/>
                <a:gd name="T21" fmla="*/ 12 h 16"/>
                <a:gd name="T22" fmla="*/ 8 w 18"/>
                <a:gd name="T23" fmla="*/ 13 h 16"/>
                <a:gd name="T24" fmla="*/ 9 w 18"/>
                <a:gd name="T25" fmla="*/ 13 h 16"/>
                <a:gd name="T26" fmla="*/ 9 w 18"/>
                <a:gd name="T27" fmla="*/ 13 h 16"/>
                <a:gd name="T28" fmla="*/ 10 w 18"/>
                <a:gd name="T29" fmla="*/ 14 h 16"/>
                <a:gd name="T30" fmla="*/ 11 w 18"/>
                <a:gd name="T31" fmla="*/ 15 h 16"/>
                <a:gd name="T32" fmla="*/ 12 w 18"/>
                <a:gd name="T33" fmla="*/ 15 h 16"/>
                <a:gd name="T34" fmla="*/ 13 w 18"/>
                <a:gd name="T35" fmla="*/ 14 h 16"/>
                <a:gd name="T36" fmla="*/ 13 w 18"/>
                <a:gd name="T37" fmla="*/ 14 h 16"/>
                <a:gd name="T38" fmla="*/ 13 w 18"/>
                <a:gd name="T39" fmla="*/ 15 h 16"/>
                <a:gd name="T40" fmla="*/ 14 w 18"/>
                <a:gd name="T41" fmla="*/ 16 h 16"/>
                <a:gd name="T42" fmla="*/ 16 w 18"/>
                <a:gd name="T43" fmla="*/ 16 h 16"/>
                <a:gd name="T44" fmla="*/ 16 w 18"/>
                <a:gd name="T45" fmla="*/ 16 h 16"/>
                <a:gd name="T46" fmla="*/ 17 w 18"/>
                <a:gd name="T47" fmla="*/ 16 h 16"/>
                <a:gd name="T48" fmla="*/ 18 w 18"/>
                <a:gd name="T49" fmla="*/ 12 h 16"/>
                <a:gd name="T50" fmla="*/ 14 w 18"/>
                <a:gd name="T5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16">
                  <a:moveTo>
                    <a:pt x="14" y="5"/>
                  </a:moveTo>
                  <a:cubicBezTo>
                    <a:pt x="13" y="4"/>
                    <a:pt x="12" y="4"/>
                    <a:pt x="10" y="3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2"/>
                    <a:pt x="0" y="3"/>
                    <a:pt x="1" y="4"/>
                  </a:cubicBezTo>
                  <a:cubicBezTo>
                    <a:pt x="1" y="5"/>
                    <a:pt x="2" y="5"/>
                    <a:pt x="2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1"/>
                    <a:pt x="6" y="12"/>
                    <a:pt x="7" y="12"/>
                  </a:cubicBezTo>
                  <a:cubicBezTo>
                    <a:pt x="7" y="12"/>
                    <a:pt x="7" y="12"/>
                    <a:pt x="8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0" y="14"/>
                    <a:pt x="10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6"/>
                    <a:pt x="14" y="16"/>
                  </a:cubicBezTo>
                  <a:cubicBezTo>
                    <a:pt x="14" y="16"/>
                    <a:pt x="15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7" y="16"/>
                    <a:pt x="17" y="16"/>
                  </a:cubicBezTo>
                  <a:cubicBezTo>
                    <a:pt x="18" y="15"/>
                    <a:pt x="18" y="13"/>
                    <a:pt x="18" y="12"/>
                  </a:cubicBezTo>
                  <a:cubicBezTo>
                    <a:pt x="17" y="9"/>
                    <a:pt x="16" y="7"/>
                    <a:pt x="1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1462" y="936"/>
              <a:ext cx="57" cy="71"/>
            </a:xfrm>
            <a:custGeom>
              <a:avLst/>
              <a:gdLst>
                <a:gd name="T0" fmla="*/ 1 w 24"/>
                <a:gd name="T1" fmla="*/ 25 h 30"/>
                <a:gd name="T2" fmla="*/ 2 w 24"/>
                <a:gd name="T3" fmla="*/ 29 h 30"/>
                <a:gd name="T4" fmla="*/ 2 w 24"/>
                <a:gd name="T5" fmla="*/ 28 h 30"/>
                <a:gd name="T6" fmla="*/ 3 w 24"/>
                <a:gd name="T7" fmla="*/ 29 h 30"/>
                <a:gd name="T8" fmla="*/ 3 w 24"/>
                <a:gd name="T9" fmla="*/ 29 h 30"/>
                <a:gd name="T10" fmla="*/ 6 w 24"/>
                <a:gd name="T11" fmla="*/ 28 h 30"/>
                <a:gd name="T12" fmla="*/ 6 w 24"/>
                <a:gd name="T13" fmla="*/ 26 h 30"/>
                <a:gd name="T14" fmla="*/ 6 w 24"/>
                <a:gd name="T15" fmla="*/ 25 h 30"/>
                <a:gd name="T16" fmla="*/ 6 w 24"/>
                <a:gd name="T17" fmla="*/ 22 h 30"/>
                <a:gd name="T18" fmla="*/ 7 w 24"/>
                <a:gd name="T19" fmla="*/ 21 h 30"/>
                <a:gd name="T20" fmla="*/ 8 w 24"/>
                <a:gd name="T21" fmla="*/ 18 h 30"/>
                <a:gd name="T22" fmla="*/ 9 w 24"/>
                <a:gd name="T23" fmla="*/ 18 h 30"/>
                <a:gd name="T24" fmla="*/ 12 w 24"/>
                <a:gd name="T25" fmla="*/ 17 h 30"/>
                <a:gd name="T26" fmla="*/ 12 w 24"/>
                <a:gd name="T27" fmla="*/ 15 h 30"/>
                <a:gd name="T28" fmla="*/ 14 w 24"/>
                <a:gd name="T29" fmla="*/ 14 h 30"/>
                <a:gd name="T30" fmla="*/ 13 w 24"/>
                <a:gd name="T31" fmla="*/ 13 h 30"/>
                <a:gd name="T32" fmla="*/ 16 w 24"/>
                <a:gd name="T33" fmla="*/ 10 h 30"/>
                <a:gd name="T34" fmla="*/ 18 w 24"/>
                <a:gd name="T35" fmla="*/ 10 h 30"/>
                <a:gd name="T36" fmla="*/ 19 w 24"/>
                <a:gd name="T37" fmla="*/ 8 h 30"/>
                <a:gd name="T38" fmla="*/ 23 w 24"/>
                <a:gd name="T39" fmla="*/ 7 h 30"/>
                <a:gd name="T40" fmla="*/ 21 w 24"/>
                <a:gd name="T41" fmla="*/ 3 h 30"/>
                <a:gd name="T42" fmla="*/ 20 w 24"/>
                <a:gd name="T43" fmla="*/ 4 h 30"/>
                <a:gd name="T44" fmla="*/ 17 w 24"/>
                <a:gd name="T45" fmla="*/ 3 h 30"/>
                <a:gd name="T46" fmla="*/ 16 w 24"/>
                <a:gd name="T47" fmla="*/ 3 h 30"/>
                <a:gd name="T48" fmla="*/ 13 w 24"/>
                <a:gd name="T49" fmla="*/ 0 h 30"/>
                <a:gd name="T50" fmla="*/ 11 w 24"/>
                <a:gd name="T51" fmla="*/ 2 h 30"/>
                <a:gd name="T52" fmla="*/ 7 w 24"/>
                <a:gd name="T53" fmla="*/ 7 h 30"/>
                <a:gd name="T54" fmla="*/ 6 w 24"/>
                <a:gd name="T55" fmla="*/ 8 h 30"/>
                <a:gd name="T56" fmla="*/ 5 w 24"/>
                <a:gd name="T57" fmla="*/ 11 h 30"/>
                <a:gd name="T58" fmla="*/ 5 w 24"/>
                <a:gd name="T59" fmla="*/ 14 h 30"/>
                <a:gd name="T60" fmla="*/ 2 w 24"/>
                <a:gd name="T61" fmla="*/ 14 h 30"/>
                <a:gd name="T62" fmla="*/ 3 w 24"/>
                <a:gd name="T63" fmla="*/ 20 h 30"/>
                <a:gd name="T64" fmla="*/ 2 w 24"/>
                <a:gd name="T65" fmla="*/ 23 h 30"/>
                <a:gd name="T66" fmla="*/ 1 w 24"/>
                <a:gd name="T6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30">
                  <a:moveTo>
                    <a:pt x="1" y="24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2" y="29"/>
                    <a:pt x="2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30"/>
                    <a:pt x="4" y="30"/>
                  </a:cubicBezTo>
                  <a:cubicBezTo>
                    <a:pt x="5" y="30"/>
                    <a:pt x="6" y="29"/>
                    <a:pt x="6" y="28"/>
                  </a:cubicBezTo>
                  <a:cubicBezTo>
                    <a:pt x="6" y="27"/>
                    <a:pt x="6" y="27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6"/>
                    <a:pt x="5" y="26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4"/>
                  </a:cubicBezTo>
                  <a:cubicBezTo>
                    <a:pt x="6" y="24"/>
                    <a:pt x="6" y="23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7" y="22"/>
                    <a:pt x="7" y="21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10" y="19"/>
                    <a:pt x="10" y="19"/>
                  </a:cubicBezTo>
                  <a:cubicBezTo>
                    <a:pt x="11" y="19"/>
                    <a:pt x="12" y="18"/>
                    <a:pt x="12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5"/>
                  </a:cubicBezTo>
                  <a:cubicBezTo>
                    <a:pt x="12" y="15"/>
                    <a:pt x="12" y="15"/>
                    <a:pt x="12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2"/>
                    <a:pt x="14" y="12"/>
                  </a:cubicBezTo>
                  <a:cubicBezTo>
                    <a:pt x="14" y="12"/>
                    <a:pt x="15" y="11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8" y="10"/>
                    <a:pt x="18" y="1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20" y="8"/>
                    <a:pt x="21" y="8"/>
                  </a:cubicBezTo>
                  <a:cubicBezTo>
                    <a:pt x="21" y="8"/>
                    <a:pt x="22" y="7"/>
                    <a:pt x="23" y="7"/>
                  </a:cubicBezTo>
                  <a:cubicBezTo>
                    <a:pt x="23" y="6"/>
                    <a:pt x="24" y="5"/>
                    <a:pt x="23" y="4"/>
                  </a:cubicBezTo>
                  <a:cubicBezTo>
                    <a:pt x="23" y="4"/>
                    <a:pt x="22" y="3"/>
                    <a:pt x="21" y="3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8" y="3"/>
                    <a:pt x="18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2"/>
                    <a:pt x="15" y="1"/>
                  </a:cubicBezTo>
                  <a:cubicBezTo>
                    <a:pt x="15" y="1"/>
                    <a:pt x="14" y="0"/>
                    <a:pt x="13" y="0"/>
                  </a:cubicBezTo>
                  <a:cubicBezTo>
                    <a:pt x="13" y="0"/>
                    <a:pt x="12" y="1"/>
                    <a:pt x="12" y="1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3"/>
                    <a:pt x="6" y="4"/>
                    <a:pt x="7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" y="9"/>
                    <a:pt x="5" y="10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5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4" y="14"/>
                    <a:pt x="3" y="14"/>
                    <a:pt x="3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3" y="20"/>
                  </a:cubicBezTo>
                  <a:cubicBezTo>
                    <a:pt x="2" y="21"/>
                    <a:pt x="2" y="22"/>
                    <a:pt x="2" y="2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6155" y="3786"/>
              <a:ext cx="23" cy="21"/>
            </a:xfrm>
            <a:custGeom>
              <a:avLst/>
              <a:gdLst>
                <a:gd name="T0" fmla="*/ 10 w 10"/>
                <a:gd name="T1" fmla="*/ 2 h 9"/>
                <a:gd name="T2" fmla="*/ 8 w 10"/>
                <a:gd name="T3" fmla="*/ 0 h 9"/>
                <a:gd name="T4" fmla="*/ 8 w 10"/>
                <a:gd name="T5" fmla="*/ 0 h 9"/>
                <a:gd name="T6" fmla="*/ 5 w 10"/>
                <a:gd name="T7" fmla="*/ 3 h 9"/>
                <a:gd name="T8" fmla="*/ 3 w 10"/>
                <a:gd name="T9" fmla="*/ 4 h 9"/>
                <a:gd name="T10" fmla="*/ 3 w 10"/>
                <a:gd name="T11" fmla="*/ 4 h 9"/>
                <a:gd name="T12" fmla="*/ 0 w 10"/>
                <a:gd name="T13" fmla="*/ 6 h 9"/>
                <a:gd name="T14" fmla="*/ 0 w 10"/>
                <a:gd name="T15" fmla="*/ 8 h 9"/>
                <a:gd name="T16" fmla="*/ 1 w 10"/>
                <a:gd name="T17" fmla="*/ 9 h 9"/>
                <a:gd name="T18" fmla="*/ 2 w 10"/>
                <a:gd name="T19" fmla="*/ 9 h 9"/>
                <a:gd name="T20" fmla="*/ 3 w 10"/>
                <a:gd name="T21" fmla="*/ 8 h 9"/>
                <a:gd name="T22" fmla="*/ 3 w 10"/>
                <a:gd name="T23" fmla="*/ 8 h 9"/>
                <a:gd name="T24" fmla="*/ 4 w 10"/>
                <a:gd name="T25" fmla="*/ 8 h 9"/>
                <a:gd name="T26" fmla="*/ 5 w 10"/>
                <a:gd name="T27" fmla="*/ 8 h 9"/>
                <a:gd name="T28" fmla="*/ 8 w 10"/>
                <a:gd name="T29" fmla="*/ 7 h 9"/>
                <a:gd name="T30" fmla="*/ 9 w 10"/>
                <a:gd name="T31" fmla="*/ 5 h 9"/>
                <a:gd name="T32" fmla="*/ 9 w 10"/>
                <a:gd name="T33" fmla="*/ 5 h 9"/>
                <a:gd name="T34" fmla="*/ 9 w 10"/>
                <a:gd name="T35" fmla="*/ 5 h 9"/>
                <a:gd name="T36" fmla="*/ 10 w 10"/>
                <a:gd name="T3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10" y="1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3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5"/>
                    <a:pt x="1" y="5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8" y="8"/>
                    <a:pt x="8" y="7"/>
                  </a:cubicBezTo>
                  <a:cubicBezTo>
                    <a:pt x="9" y="7"/>
                    <a:pt x="9" y="6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4"/>
                    <a:pt x="10" y="3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1311" y="529"/>
              <a:ext cx="38" cy="33"/>
            </a:xfrm>
            <a:custGeom>
              <a:avLst/>
              <a:gdLst>
                <a:gd name="T0" fmla="*/ 4 w 16"/>
                <a:gd name="T1" fmla="*/ 8 h 14"/>
                <a:gd name="T2" fmla="*/ 6 w 16"/>
                <a:gd name="T3" fmla="*/ 8 h 14"/>
                <a:gd name="T4" fmla="*/ 8 w 16"/>
                <a:gd name="T5" fmla="*/ 8 h 14"/>
                <a:gd name="T6" fmla="*/ 8 w 16"/>
                <a:gd name="T7" fmla="*/ 10 h 14"/>
                <a:gd name="T8" fmla="*/ 9 w 16"/>
                <a:gd name="T9" fmla="*/ 12 h 14"/>
                <a:gd name="T10" fmla="*/ 12 w 16"/>
                <a:gd name="T11" fmla="*/ 14 h 14"/>
                <a:gd name="T12" fmla="*/ 15 w 16"/>
                <a:gd name="T13" fmla="*/ 13 h 14"/>
                <a:gd name="T14" fmla="*/ 15 w 16"/>
                <a:gd name="T15" fmla="*/ 8 h 14"/>
                <a:gd name="T16" fmla="*/ 14 w 16"/>
                <a:gd name="T17" fmla="*/ 8 h 14"/>
                <a:gd name="T18" fmla="*/ 14 w 16"/>
                <a:gd name="T19" fmla="*/ 6 h 14"/>
                <a:gd name="T20" fmla="*/ 14 w 16"/>
                <a:gd name="T21" fmla="*/ 4 h 14"/>
                <a:gd name="T22" fmla="*/ 13 w 16"/>
                <a:gd name="T23" fmla="*/ 4 h 14"/>
                <a:gd name="T24" fmla="*/ 12 w 16"/>
                <a:gd name="T25" fmla="*/ 3 h 14"/>
                <a:gd name="T26" fmla="*/ 11 w 16"/>
                <a:gd name="T27" fmla="*/ 3 h 14"/>
                <a:gd name="T28" fmla="*/ 11 w 16"/>
                <a:gd name="T29" fmla="*/ 3 h 14"/>
                <a:gd name="T30" fmla="*/ 10 w 16"/>
                <a:gd name="T31" fmla="*/ 2 h 14"/>
                <a:gd name="T32" fmla="*/ 7 w 16"/>
                <a:gd name="T33" fmla="*/ 0 h 14"/>
                <a:gd name="T34" fmla="*/ 1 w 16"/>
                <a:gd name="T35" fmla="*/ 2 h 14"/>
                <a:gd name="T36" fmla="*/ 0 w 16"/>
                <a:gd name="T37" fmla="*/ 5 h 14"/>
                <a:gd name="T38" fmla="*/ 4 w 16"/>
                <a:gd name="T3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4">
                  <a:moveTo>
                    <a:pt x="4" y="8"/>
                  </a:move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7" y="8"/>
                    <a:pt x="8" y="8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8" y="10"/>
                    <a:pt x="9" y="11"/>
                    <a:pt x="9" y="12"/>
                  </a:cubicBezTo>
                  <a:cubicBezTo>
                    <a:pt x="10" y="13"/>
                    <a:pt x="11" y="14"/>
                    <a:pt x="12" y="14"/>
                  </a:cubicBezTo>
                  <a:cubicBezTo>
                    <a:pt x="13" y="14"/>
                    <a:pt x="14" y="13"/>
                    <a:pt x="15" y="13"/>
                  </a:cubicBezTo>
                  <a:cubicBezTo>
                    <a:pt x="16" y="11"/>
                    <a:pt x="15" y="10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3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2"/>
                    <a:pt x="10" y="2"/>
                  </a:cubicBezTo>
                  <a:cubicBezTo>
                    <a:pt x="10" y="2"/>
                    <a:pt x="9" y="0"/>
                    <a:pt x="7" y="0"/>
                  </a:cubicBezTo>
                  <a:cubicBezTo>
                    <a:pt x="5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7"/>
                    <a:pt x="2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4" name="Freeform 113"/>
            <p:cNvSpPr>
              <a:spLocks/>
            </p:cNvSpPr>
            <p:nvPr/>
          </p:nvSpPr>
          <p:spPr bwMode="auto">
            <a:xfrm>
              <a:off x="970" y="811"/>
              <a:ext cx="71" cy="30"/>
            </a:xfrm>
            <a:custGeom>
              <a:avLst/>
              <a:gdLst>
                <a:gd name="T0" fmla="*/ 27 w 30"/>
                <a:gd name="T1" fmla="*/ 0 h 13"/>
                <a:gd name="T2" fmla="*/ 24 w 30"/>
                <a:gd name="T3" fmla="*/ 0 h 13"/>
                <a:gd name="T4" fmla="*/ 23 w 30"/>
                <a:gd name="T5" fmla="*/ 2 h 13"/>
                <a:gd name="T6" fmla="*/ 22 w 30"/>
                <a:gd name="T7" fmla="*/ 3 h 13"/>
                <a:gd name="T8" fmla="*/ 23 w 30"/>
                <a:gd name="T9" fmla="*/ 4 h 13"/>
                <a:gd name="T10" fmla="*/ 23 w 30"/>
                <a:gd name="T11" fmla="*/ 4 h 13"/>
                <a:gd name="T12" fmla="*/ 22 w 30"/>
                <a:gd name="T13" fmla="*/ 3 h 13"/>
                <a:gd name="T14" fmla="*/ 20 w 30"/>
                <a:gd name="T15" fmla="*/ 4 h 13"/>
                <a:gd name="T16" fmla="*/ 19 w 30"/>
                <a:gd name="T17" fmla="*/ 5 h 13"/>
                <a:gd name="T18" fmla="*/ 18 w 30"/>
                <a:gd name="T19" fmla="*/ 6 h 13"/>
                <a:gd name="T20" fmla="*/ 17 w 30"/>
                <a:gd name="T21" fmla="*/ 6 h 13"/>
                <a:gd name="T22" fmla="*/ 15 w 30"/>
                <a:gd name="T23" fmla="*/ 6 h 13"/>
                <a:gd name="T24" fmla="*/ 15 w 30"/>
                <a:gd name="T25" fmla="*/ 6 h 13"/>
                <a:gd name="T26" fmla="*/ 14 w 30"/>
                <a:gd name="T27" fmla="*/ 3 h 13"/>
                <a:gd name="T28" fmla="*/ 10 w 30"/>
                <a:gd name="T29" fmla="*/ 3 h 13"/>
                <a:gd name="T30" fmla="*/ 6 w 30"/>
                <a:gd name="T31" fmla="*/ 5 h 13"/>
                <a:gd name="T32" fmla="*/ 3 w 30"/>
                <a:gd name="T33" fmla="*/ 6 h 13"/>
                <a:gd name="T34" fmla="*/ 2 w 30"/>
                <a:gd name="T35" fmla="*/ 7 h 13"/>
                <a:gd name="T36" fmla="*/ 0 w 30"/>
                <a:gd name="T37" fmla="*/ 9 h 13"/>
                <a:gd name="T38" fmla="*/ 1 w 30"/>
                <a:gd name="T39" fmla="*/ 12 h 13"/>
                <a:gd name="T40" fmla="*/ 3 w 30"/>
                <a:gd name="T41" fmla="*/ 13 h 13"/>
                <a:gd name="T42" fmla="*/ 5 w 30"/>
                <a:gd name="T43" fmla="*/ 12 h 13"/>
                <a:gd name="T44" fmla="*/ 6 w 30"/>
                <a:gd name="T45" fmla="*/ 11 h 13"/>
                <a:gd name="T46" fmla="*/ 8 w 30"/>
                <a:gd name="T47" fmla="*/ 10 h 13"/>
                <a:gd name="T48" fmla="*/ 13 w 30"/>
                <a:gd name="T49" fmla="*/ 8 h 13"/>
                <a:gd name="T50" fmla="*/ 13 w 30"/>
                <a:gd name="T51" fmla="*/ 8 h 13"/>
                <a:gd name="T52" fmla="*/ 15 w 30"/>
                <a:gd name="T53" fmla="*/ 10 h 13"/>
                <a:gd name="T54" fmla="*/ 17 w 30"/>
                <a:gd name="T55" fmla="*/ 11 h 13"/>
                <a:gd name="T56" fmla="*/ 19 w 30"/>
                <a:gd name="T57" fmla="*/ 11 h 13"/>
                <a:gd name="T58" fmla="*/ 19 w 30"/>
                <a:gd name="T59" fmla="*/ 11 h 13"/>
                <a:gd name="T60" fmla="*/ 21 w 30"/>
                <a:gd name="T61" fmla="*/ 10 h 13"/>
                <a:gd name="T62" fmla="*/ 22 w 30"/>
                <a:gd name="T63" fmla="*/ 10 h 13"/>
                <a:gd name="T64" fmla="*/ 22 w 30"/>
                <a:gd name="T65" fmla="*/ 10 h 13"/>
                <a:gd name="T66" fmla="*/ 26 w 30"/>
                <a:gd name="T67" fmla="*/ 9 h 13"/>
                <a:gd name="T68" fmla="*/ 26 w 30"/>
                <a:gd name="T69" fmla="*/ 8 h 13"/>
                <a:gd name="T70" fmla="*/ 27 w 30"/>
                <a:gd name="T71" fmla="*/ 8 h 13"/>
                <a:gd name="T72" fmla="*/ 28 w 30"/>
                <a:gd name="T73" fmla="*/ 7 h 13"/>
                <a:gd name="T74" fmla="*/ 30 w 30"/>
                <a:gd name="T75" fmla="*/ 6 h 13"/>
                <a:gd name="T76" fmla="*/ 30 w 30"/>
                <a:gd name="T77" fmla="*/ 6 h 13"/>
                <a:gd name="T78" fmla="*/ 30 w 30"/>
                <a:gd name="T79" fmla="*/ 4 h 13"/>
                <a:gd name="T80" fmla="*/ 30 w 30"/>
                <a:gd name="T81" fmla="*/ 2 h 13"/>
                <a:gd name="T82" fmla="*/ 27 w 30"/>
                <a:gd name="T8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" h="13">
                  <a:moveTo>
                    <a:pt x="27" y="0"/>
                  </a:moveTo>
                  <a:cubicBezTo>
                    <a:pt x="26" y="0"/>
                    <a:pt x="25" y="0"/>
                    <a:pt x="24" y="0"/>
                  </a:cubicBezTo>
                  <a:cubicBezTo>
                    <a:pt x="23" y="1"/>
                    <a:pt x="23" y="1"/>
                    <a:pt x="23" y="2"/>
                  </a:cubicBezTo>
                  <a:cubicBezTo>
                    <a:pt x="23" y="2"/>
                    <a:pt x="22" y="2"/>
                    <a:pt x="22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3"/>
                    <a:pt x="20" y="4"/>
                    <a:pt x="20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19" y="5"/>
                    <a:pt x="18" y="5"/>
                    <a:pt x="18" y="6"/>
                  </a:cubicBezTo>
                  <a:cubicBezTo>
                    <a:pt x="18" y="6"/>
                    <a:pt x="18" y="6"/>
                    <a:pt x="17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5"/>
                    <a:pt x="15" y="4"/>
                    <a:pt x="14" y="3"/>
                  </a:cubicBezTo>
                  <a:cubicBezTo>
                    <a:pt x="13" y="2"/>
                    <a:pt x="11" y="3"/>
                    <a:pt x="10" y="3"/>
                  </a:cubicBezTo>
                  <a:cubicBezTo>
                    <a:pt x="9" y="4"/>
                    <a:pt x="7" y="4"/>
                    <a:pt x="6" y="5"/>
                  </a:cubicBezTo>
                  <a:cubicBezTo>
                    <a:pt x="5" y="5"/>
                    <a:pt x="4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0" y="7"/>
                    <a:pt x="0" y="9"/>
                  </a:cubicBezTo>
                  <a:cubicBezTo>
                    <a:pt x="0" y="10"/>
                    <a:pt x="0" y="12"/>
                    <a:pt x="1" y="12"/>
                  </a:cubicBezTo>
                  <a:cubicBezTo>
                    <a:pt x="2" y="13"/>
                    <a:pt x="2" y="13"/>
                    <a:pt x="3" y="13"/>
                  </a:cubicBezTo>
                  <a:cubicBezTo>
                    <a:pt x="4" y="13"/>
                    <a:pt x="5" y="12"/>
                    <a:pt x="5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0"/>
                    <a:pt x="8" y="10"/>
                  </a:cubicBezTo>
                  <a:cubicBezTo>
                    <a:pt x="9" y="9"/>
                    <a:pt x="11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9"/>
                    <a:pt x="14" y="10"/>
                    <a:pt x="15" y="10"/>
                  </a:cubicBezTo>
                  <a:cubicBezTo>
                    <a:pt x="15" y="11"/>
                    <a:pt x="16" y="11"/>
                    <a:pt x="17" y="11"/>
                  </a:cubicBezTo>
                  <a:cubicBezTo>
                    <a:pt x="17" y="11"/>
                    <a:pt x="18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11"/>
                    <a:pt x="20" y="10"/>
                    <a:pt x="21" y="10"/>
                  </a:cubicBezTo>
                  <a:cubicBezTo>
                    <a:pt x="21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10"/>
                    <a:pt x="25" y="10"/>
                    <a:pt x="26" y="9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8" y="7"/>
                    <a:pt x="28" y="7"/>
                  </a:cubicBezTo>
                  <a:cubicBezTo>
                    <a:pt x="29" y="6"/>
                    <a:pt x="29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2"/>
                  </a:cubicBezTo>
                  <a:cubicBezTo>
                    <a:pt x="29" y="1"/>
                    <a:pt x="28" y="0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1368" y="737"/>
              <a:ext cx="28" cy="22"/>
            </a:xfrm>
            <a:custGeom>
              <a:avLst/>
              <a:gdLst>
                <a:gd name="T0" fmla="*/ 9 w 12"/>
                <a:gd name="T1" fmla="*/ 9 h 9"/>
                <a:gd name="T2" fmla="*/ 10 w 12"/>
                <a:gd name="T3" fmla="*/ 8 h 9"/>
                <a:gd name="T4" fmla="*/ 11 w 12"/>
                <a:gd name="T5" fmla="*/ 6 h 9"/>
                <a:gd name="T6" fmla="*/ 11 w 12"/>
                <a:gd name="T7" fmla="*/ 6 h 9"/>
                <a:gd name="T8" fmla="*/ 11 w 12"/>
                <a:gd name="T9" fmla="*/ 5 h 9"/>
                <a:gd name="T10" fmla="*/ 10 w 12"/>
                <a:gd name="T11" fmla="*/ 3 h 9"/>
                <a:gd name="T12" fmla="*/ 10 w 12"/>
                <a:gd name="T13" fmla="*/ 2 h 9"/>
                <a:gd name="T14" fmla="*/ 9 w 12"/>
                <a:gd name="T15" fmla="*/ 2 h 9"/>
                <a:gd name="T16" fmla="*/ 9 w 12"/>
                <a:gd name="T17" fmla="*/ 1 h 9"/>
                <a:gd name="T18" fmla="*/ 7 w 12"/>
                <a:gd name="T19" fmla="*/ 1 h 9"/>
                <a:gd name="T20" fmla="*/ 5 w 12"/>
                <a:gd name="T21" fmla="*/ 1 h 9"/>
                <a:gd name="T22" fmla="*/ 4 w 12"/>
                <a:gd name="T23" fmla="*/ 1 h 9"/>
                <a:gd name="T24" fmla="*/ 2 w 12"/>
                <a:gd name="T25" fmla="*/ 2 h 9"/>
                <a:gd name="T26" fmla="*/ 2 w 12"/>
                <a:gd name="T27" fmla="*/ 2 h 9"/>
                <a:gd name="T28" fmla="*/ 2 w 12"/>
                <a:gd name="T29" fmla="*/ 3 h 9"/>
                <a:gd name="T30" fmla="*/ 1 w 12"/>
                <a:gd name="T31" fmla="*/ 4 h 9"/>
                <a:gd name="T32" fmla="*/ 0 w 12"/>
                <a:gd name="T33" fmla="*/ 5 h 9"/>
                <a:gd name="T34" fmla="*/ 0 w 12"/>
                <a:gd name="T35" fmla="*/ 6 h 9"/>
                <a:gd name="T36" fmla="*/ 1 w 12"/>
                <a:gd name="T37" fmla="*/ 9 h 9"/>
                <a:gd name="T38" fmla="*/ 2 w 12"/>
                <a:gd name="T39" fmla="*/ 9 h 9"/>
                <a:gd name="T40" fmla="*/ 4 w 12"/>
                <a:gd name="T41" fmla="*/ 9 h 9"/>
                <a:gd name="T42" fmla="*/ 4 w 12"/>
                <a:gd name="T43" fmla="*/ 9 h 9"/>
                <a:gd name="T44" fmla="*/ 4 w 12"/>
                <a:gd name="T45" fmla="*/ 9 h 9"/>
                <a:gd name="T46" fmla="*/ 5 w 12"/>
                <a:gd name="T47" fmla="*/ 8 h 9"/>
                <a:gd name="T48" fmla="*/ 5 w 12"/>
                <a:gd name="T49" fmla="*/ 8 h 9"/>
                <a:gd name="T50" fmla="*/ 6 w 12"/>
                <a:gd name="T51" fmla="*/ 9 h 9"/>
                <a:gd name="T52" fmla="*/ 8 w 12"/>
                <a:gd name="T53" fmla="*/ 9 h 9"/>
                <a:gd name="T54" fmla="*/ 7 w 12"/>
                <a:gd name="T55" fmla="*/ 8 h 9"/>
                <a:gd name="T56" fmla="*/ 8 w 12"/>
                <a:gd name="T57" fmla="*/ 9 h 9"/>
                <a:gd name="T58" fmla="*/ 9 w 12"/>
                <a:gd name="T5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" h="9">
                  <a:moveTo>
                    <a:pt x="9" y="9"/>
                  </a:moveTo>
                  <a:cubicBezTo>
                    <a:pt x="9" y="9"/>
                    <a:pt x="10" y="8"/>
                    <a:pt x="10" y="8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4"/>
                    <a:pt x="12" y="3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7" y="9"/>
                    <a:pt x="8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6" name="Freeform 115"/>
            <p:cNvSpPr>
              <a:spLocks noEditPoints="1"/>
            </p:cNvSpPr>
            <p:nvPr/>
          </p:nvSpPr>
          <p:spPr bwMode="auto">
            <a:xfrm>
              <a:off x="2718" y="387"/>
              <a:ext cx="45" cy="40"/>
            </a:xfrm>
            <a:custGeom>
              <a:avLst/>
              <a:gdLst>
                <a:gd name="T0" fmla="*/ 1 w 19"/>
                <a:gd name="T1" fmla="*/ 13 h 17"/>
                <a:gd name="T2" fmla="*/ 1 w 19"/>
                <a:gd name="T3" fmla="*/ 14 h 17"/>
                <a:gd name="T4" fmla="*/ 1 w 19"/>
                <a:gd name="T5" fmla="*/ 17 h 17"/>
                <a:gd name="T6" fmla="*/ 3 w 19"/>
                <a:gd name="T7" fmla="*/ 17 h 17"/>
                <a:gd name="T8" fmla="*/ 4 w 19"/>
                <a:gd name="T9" fmla="*/ 17 h 17"/>
                <a:gd name="T10" fmla="*/ 5 w 19"/>
                <a:gd name="T11" fmla="*/ 17 h 17"/>
                <a:gd name="T12" fmla="*/ 7 w 19"/>
                <a:gd name="T13" fmla="*/ 17 h 17"/>
                <a:gd name="T14" fmla="*/ 9 w 19"/>
                <a:gd name="T15" fmla="*/ 17 h 17"/>
                <a:gd name="T16" fmla="*/ 9 w 19"/>
                <a:gd name="T17" fmla="*/ 17 h 17"/>
                <a:gd name="T18" fmla="*/ 11 w 19"/>
                <a:gd name="T19" fmla="*/ 16 h 17"/>
                <a:gd name="T20" fmla="*/ 12 w 19"/>
                <a:gd name="T21" fmla="*/ 16 h 17"/>
                <a:gd name="T22" fmla="*/ 14 w 19"/>
                <a:gd name="T23" fmla="*/ 13 h 17"/>
                <a:gd name="T24" fmla="*/ 14 w 19"/>
                <a:gd name="T25" fmla="*/ 13 h 17"/>
                <a:gd name="T26" fmla="*/ 14 w 19"/>
                <a:gd name="T27" fmla="*/ 13 h 17"/>
                <a:gd name="T28" fmla="*/ 14 w 19"/>
                <a:gd name="T29" fmla="*/ 13 h 17"/>
                <a:gd name="T30" fmla="*/ 18 w 19"/>
                <a:gd name="T31" fmla="*/ 12 h 17"/>
                <a:gd name="T32" fmla="*/ 18 w 19"/>
                <a:gd name="T33" fmla="*/ 9 h 17"/>
                <a:gd name="T34" fmla="*/ 18 w 19"/>
                <a:gd name="T35" fmla="*/ 8 h 17"/>
                <a:gd name="T36" fmla="*/ 18 w 19"/>
                <a:gd name="T37" fmla="*/ 8 h 17"/>
                <a:gd name="T38" fmla="*/ 18 w 19"/>
                <a:gd name="T39" fmla="*/ 7 h 17"/>
                <a:gd name="T40" fmla="*/ 18 w 19"/>
                <a:gd name="T41" fmla="*/ 5 h 17"/>
                <a:gd name="T42" fmla="*/ 17 w 19"/>
                <a:gd name="T43" fmla="*/ 3 h 17"/>
                <a:gd name="T44" fmla="*/ 16 w 19"/>
                <a:gd name="T45" fmla="*/ 3 h 17"/>
                <a:gd name="T46" fmla="*/ 14 w 19"/>
                <a:gd name="T47" fmla="*/ 0 h 17"/>
                <a:gd name="T48" fmla="*/ 11 w 19"/>
                <a:gd name="T49" fmla="*/ 0 h 17"/>
                <a:gd name="T50" fmla="*/ 10 w 19"/>
                <a:gd name="T51" fmla="*/ 0 h 17"/>
                <a:gd name="T52" fmla="*/ 9 w 19"/>
                <a:gd name="T53" fmla="*/ 2 h 17"/>
                <a:gd name="T54" fmla="*/ 9 w 19"/>
                <a:gd name="T55" fmla="*/ 3 h 17"/>
                <a:gd name="T56" fmla="*/ 8 w 19"/>
                <a:gd name="T57" fmla="*/ 3 h 17"/>
                <a:gd name="T58" fmla="*/ 7 w 19"/>
                <a:gd name="T59" fmla="*/ 4 h 17"/>
                <a:gd name="T60" fmla="*/ 5 w 19"/>
                <a:gd name="T61" fmla="*/ 6 h 17"/>
                <a:gd name="T62" fmla="*/ 5 w 19"/>
                <a:gd name="T63" fmla="*/ 7 h 17"/>
                <a:gd name="T64" fmla="*/ 5 w 19"/>
                <a:gd name="T65" fmla="*/ 10 h 17"/>
                <a:gd name="T66" fmla="*/ 5 w 19"/>
                <a:gd name="T67" fmla="*/ 11 h 17"/>
                <a:gd name="T68" fmla="*/ 4 w 19"/>
                <a:gd name="T69" fmla="*/ 10 h 17"/>
                <a:gd name="T70" fmla="*/ 1 w 19"/>
                <a:gd name="T71" fmla="*/ 13 h 17"/>
                <a:gd name="T72" fmla="*/ 14 w 19"/>
                <a:gd name="T73" fmla="*/ 13 h 17"/>
                <a:gd name="T74" fmla="*/ 14 w 19"/>
                <a:gd name="T75" fmla="*/ 11 h 17"/>
                <a:gd name="T76" fmla="*/ 14 w 19"/>
                <a:gd name="T77" fmla="*/ 12 h 17"/>
                <a:gd name="T78" fmla="*/ 14 w 19"/>
                <a:gd name="T7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" h="17">
                  <a:moveTo>
                    <a:pt x="1" y="13"/>
                  </a:moveTo>
                  <a:cubicBezTo>
                    <a:pt x="1" y="13"/>
                    <a:pt x="1" y="14"/>
                    <a:pt x="1" y="14"/>
                  </a:cubicBezTo>
                  <a:cubicBezTo>
                    <a:pt x="0" y="15"/>
                    <a:pt x="1" y="16"/>
                    <a:pt x="1" y="17"/>
                  </a:cubicBezTo>
                  <a:cubicBezTo>
                    <a:pt x="1" y="17"/>
                    <a:pt x="2" y="17"/>
                    <a:pt x="3" y="17"/>
                  </a:cubicBezTo>
                  <a:cubicBezTo>
                    <a:pt x="3" y="17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0" y="17"/>
                    <a:pt x="11" y="16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4" y="15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7" y="13"/>
                    <a:pt x="18" y="12"/>
                  </a:cubicBezTo>
                  <a:cubicBezTo>
                    <a:pt x="19" y="12"/>
                    <a:pt x="19" y="10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7"/>
                    <a:pt x="18" y="7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18" y="5"/>
                    <a:pt x="17" y="4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1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3"/>
                    <a:pt x="7" y="3"/>
                    <a:pt x="7" y="4"/>
                  </a:cubicBezTo>
                  <a:cubicBezTo>
                    <a:pt x="6" y="4"/>
                    <a:pt x="5" y="5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8"/>
                    <a:pt x="4" y="9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4" y="10"/>
                    <a:pt x="4" y="10"/>
                  </a:cubicBezTo>
                  <a:cubicBezTo>
                    <a:pt x="2" y="10"/>
                    <a:pt x="1" y="11"/>
                    <a:pt x="1" y="13"/>
                  </a:cubicBezTo>
                  <a:close/>
                  <a:moveTo>
                    <a:pt x="14" y="13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3"/>
                    <a:pt x="1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7" name="Freeform 116"/>
            <p:cNvSpPr>
              <a:spLocks noEditPoints="1"/>
            </p:cNvSpPr>
            <p:nvPr/>
          </p:nvSpPr>
          <p:spPr bwMode="auto">
            <a:xfrm>
              <a:off x="2475" y="512"/>
              <a:ext cx="104" cy="81"/>
            </a:xfrm>
            <a:custGeom>
              <a:avLst/>
              <a:gdLst>
                <a:gd name="T0" fmla="*/ 34 w 44"/>
                <a:gd name="T1" fmla="*/ 12 h 34"/>
                <a:gd name="T2" fmla="*/ 38 w 44"/>
                <a:gd name="T3" fmla="*/ 9 h 34"/>
                <a:gd name="T4" fmla="*/ 38 w 44"/>
                <a:gd name="T5" fmla="*/ 9 h 34"/>
                <a:gd name="T6" fmla="*/ 43 w 44"/>
                <a:gd name="T7" fmla="*/ 5 h 34"/>
                <a:gd name="T8" fmla="*/ 40 w 44"/>
                <a:gd name="T9" fmla="*/ 3 h 34"/>
                <a:gd name="T10" fmla="*/ 38 w 44"/>
                <a:gd name="T11" fmla="*/ 3 h 34"/>
                <a:gd name="T12" fmla="*/ 36 w 44"/>
                <a:gd name="T13" fmla="*/ 3 h 34"/>
                <a:gd name="T14" fmla="*/ 34 w 44"/>
                <a:gd name="T15" fmla="*/ 3 h 34"/>
                <a:gd name="T16" fmla="*/ 32 w 44"/>
                <a:gd name="T17" fmla="*/ 2 h 34"/>
                <a:gd name="T18" fmla="*/ 28 w 44"/>
                <a:gd name="T19" fmla="*/ 0 h 34"/>
                <a:gd name="T20" fmla="*/ 22 w 44"/>
                <a:gd name="T21" fmla="*/ 2 h 34"/>
                <a:gd name="T22" fmla="*/ 18 w 44"/>
                <a:gd name="T23" fmla="*/ 5 h 34"/>
                <a:gd name="T24" fmla="*/ 19 w 44"/>
                <a:gd name="T25" fmla="*/ 9 h 34"/>
                <a:gd name="T26" fmla="*/ 18 w 44"/>
                <a:gd name="T27" fmla="*/ 11 h 34"/>
                <a:gd name="T28" fmla="*/ 14 w 44"/>
                <a:gd name="T29" fmla="*/ 13 h 34"/>
                <a:gd name="T30" fmla="*/ 13 w 44"/>
                <a:gd name="T31" fmla="*/ 15 h 34"/>
                <a:gd name="T32" fmla="*/ 12 w 44"/>
                <a:gd name="T33" fmla="*/ 14 h 34"/>
                <a:gd name="T34" fmla="*/ 10 w 44"/>
                <a:gd name="T35" fmla="*/ 14 h 34"/>
                <a:gd name="T36" fmla="*/ 10 w 44"/>
                <a:gd name="T37" fmla="*/ 13 h 34"/>
                <a:gd name="T38" fmla="*/ 7 w 44"/>
                <a:gd name="T39" fmla="*/ 9 h 34"/>
                <a:gd name="T40" fmla="*/ 2 w 44"/>
                <a:gd name="T41" fmla="*/ 11 h 34"/>
                <a:gd name="T42" fmla="*/ 1 w 44"/>
                <a:gd name="T43" fmla="*/ 17 h 34"/>
                <a:gd name="T44" fmla="*/ 2 w 44"/>
                <a:gd name="T45" fmla="*/ 20 h 34"/>
                <a:gd name="T46" fmla="*/ 3 w 44"/>
                <a:gd name="T47" fmla="*/ 21 h 34"/>
                <a:gd name="T48" fmla="*/ 2 w 44"/>
                <a:gd name="T49" fmla="*/ 24 h 34"/>
                <a:gd name="T50" fmla="*/ 3 w 44"/>
                <a:gd name="T51" fmla="*/ 27 h 34"/>
                <a:gd name="T52" fmla="*/ 1 w 44"/>
                <a:gd name="T53" fmla="*/ 29 h 34"/>
                <a:gd name="T54" fmla="*/ 0 w 44"/>
                <a:gd name="T55" fmla="*/ 32 h 34"/>
                <a:gd name="T56" fmla="*/ 3 w 44"/>
                <a:gd name="T57" fmla="*/ 34 h 34"/>
                <a:gd name="T58" fmla="*/ 6 w 44"/>
                <a:gd name="T59" fmla="*/ 33 h 34"/>
                <a:gd name="T60" fmla="*/ 7 w 44"/>
                <a:gd name="T61" fmla="*/ 32 h 34"/>
                <a:gd name="T62" fmla="*/ 10 w 44"/>
                <a:gd name="T63" fmla="*/ 30 h 34"/>
                <a:gd name="T64" fmla="*/ 14 w 44"/>
                <a:gd name="T65" fmla="*/ 31 h 34"/>
                <a:gd name="T66" fmla="*/ 16 w 44"/>
                <a:gd name="T67" fmla="*/ 31 h 34"/>
                <a:gd name="T68" fmla="*/ 17 w 44"/>
                <a:gd name="T69" fmla="*/ 30 h 34"/>
                <a:gd name="T70" fmla="*/ 21 w 44"/>
                <a:gd name="T71" fmla="*/ 29 h 34"/>
                <a:gd name="T72" fmla="*/ 22 w 44"/>
                <a:gd name="T73" fmla="*/ 27 h 34"/>
                <a:gd name="T74" fmla="*/ 25 w 44"/>
                <a:gd name="T75" fmla="*/ 25 h 34"/>
                <a:gd name="T76" fmla="*/ 26 w 44"/>
                <a:gd name="T77" fmla="*/ 24 h 34"/>
                <a:gd name="T78" fmla="*/ 29 w 44"/>
                <a:gd name="T79" fmla="*/ 22 h 34"/>
                <a:gd name="T80" fmla="*/ 28 w 44"/>
                <a:gd name="T81" fmla="*/ 21 h 34"/>
                <a:gd name="T82" fmla="*/ 30 w 44"/>
                <a:gd name="T83" fmla="*/ 21 h 34"/>
                <a:gd name="T84" fmla="*/ 31 w 44"/>
                <a:gd name="T85" fmla="*/ 18 h 34"/>
                <a:gd name="T86" fmla="*/ 32 w 44"/>
                <a:gd name="T87" fmla="*/ 17 h 34"/>
                <a:gd name="T88" fmla="*/ 31 w 44"/>
                <a:gd name="T89" fmla="*/ 13 h 34"/>
                <a:gd name="T90" fmla="*/ 34 w 44"/>
                <a:gd name="T91" fmla="*/ 12 h 34"/>
                <a:gd name="T92" fmla="*/ 22 w 44"/>
                <a:gd name="T93" fmla="*/ 9 h 34"/>
                <a:gd name="T94" fmla="*/ 22 w 44"/>
                <a:gd name="T95" fmla="*/ 9 h 34"/>
                <a:gd name="T96" fmla="*/ 21 w 44"/>
                <a:gd name="T97" fmla="*/ 9 h 34"/>
                <a:gd name="T98" fmla="*/ 21 w 44"/>
                <a:gd name="T99" fmla="*/ 9 h 34"/>
                <a:gd name="T100" fmla="*/ 3 w 44"/>
                <a:gd name="T101" fmla="*/ 33 h 34"/>
                <a:gd name="T102" fmla="*/ 3 w 44"/>
                <a:gd name="T103" fmla="*/ 33 h 34"/>
                <a:gd name="T104" fmla="*/ 3 w 44"/>
                <a:gd name="T105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" h="34">
                  <a:moveTo>
                    <a:pt x="34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5" y="12"/>
                    <a:pt x="36" y="12"/>
                    <a:pt x="37" y="11"/>
                  </a:cubicBezTo>
                  <a:cubicBezTo>
                    <a:pt x="37" y="11"/>
                    <a:pt x="37" y="10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40" y="9"/>
                    <a:pt x="42" y="9"/>
                    <a:pt x="43" y="8"/>
                  </a:cubicBezTo>
                  <a:cubicBezTo>
                    <a:pt x="43" y="7"/>
                    <a:pt x="44" y="6"/>
                    <a:pt x="43" y="5"/>
                  </a:cubicBezTo>
                  <a:cubicBezTo>
                    <a:pt x="43" y="5"/>
                    <a:pt x="43" y="4"/>
                    <a:pt x="42" y="4"/>
                  </a:cubicBezTo>
                  <a:cubicBezTo>
                    <a:pt x="42" y="3"/>
                    <a:pt x="41" y="3"/>
                    <a:pt x="4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8" y="3"/>
                  </a:cubicBezTo>
                  <a:cubicBezTo>
                    <a:pt x="38" y="3"/>
                    <a:pt x="37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4" y="3"/>
                    <a:pt x="34" y="3"/>
                    <a:pt x="33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1" y="1"/>
                    <a:pt x="30" y="2"/>
                    <a:pt x="29" y="1"/>
                  </a:cubicBezTo>
                  <a:cubicBezTo>
                    <a:pt x="29" y="1"/>
                    <a:pt x="28" y="1"/>
                    <a:pt x="28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3" y="1"/>
                    <a:pt x="22" y="1"/>
                    <a:pt x="22" y="2"/>
                  </a:cubicBezTo>
                  <a:cubicBezTo>
                    <a:pt x="21" y="3"/>
                    <a:pt x="21" y="4"/>
                    <a:pt x="21" y="4"/>
                  </a:cubicBezTo>
                  <a:cubicBezTo>
                    <a:pt x="20" y="4"/>
                    <a:pt x="19" y="4"/>
                    <a:pt x="18" y="5"/>
                  </a:cubicBezTo>
                  <a:cubicBezTo>
                    <a:pt x="18" y="5"/>
                    <a:pt x="17" y="6"/>
                    <a:pt x="18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10"/>
                    <a:pt x="18" y="10"/>
                  </a:cubicBezTo>
                  <a:cubicBezTo>
                    <a:pt x="18" y="10"/>
                    <a:pt x="18" y="11"/>
                    <a:pt x="18" y="11"/>
                  </a:cubicBezTo>
                  <a:cubicBezTo>
                    <a:pt x="17" y="11"/>
                    <a:pt x="16" y="11"/>
                    <a:pt x="16" y="12"/>
                  </a:cubicBezTo>
                  <a:cubicBezTo>
                    <a:pt x="15" y="12"/>
                    <a:pt x="14" y="12"/>
                    <a:pt x="14" y="13"/>
                  </a:cubicBezTo>
                  <a:cubicBezTo>
                    <a:pt x="14" y="14"/>
                    <a:pt x="14" y="14"/>
                    <a:pt x="14" y="15"/>
                  </a:cubicBezTo>
                  <a:cubicBezTo>
                    <a:pt x="14" y="15"/>
                    <a:pt x="14" y="15"/>
                    <a:pt x="13" y="15"/>
                  </a:cubicBezTo>
                  <a:cubicBezTo>
                    <a:pt x="13" y="14"/>
                    <a:pt x="13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1"/>
                    <a:pt x="10" y="11"/>
                  </a:cubicBezTo>
                  <a:cubicBezTo>
                    <a:pt x="10" y="10"/>
                    <a:pt x="10" y="9"/>
                    <a:pt x="7" y="9"/>
                  </a:cubicBezTo>
                  <a:cubicBezTo>
                    <a:pt x="7" y="9"/>
                    <a:pt x="6" y="9"/>
                    <a:pt x="5" y="9"/>
                  </a:cubicBezTo>
                  <a:cubicBezTo>
                    <a:pt x="4" y="9"/>
                    <a:pt x="3" y="10"/>
                    <a:pt x="2" y="11"/>
                  </a:cubicBezTo>
                  <a:cubicBezTo>
                    <a:pt x="1" y="13"/>
                    <a:pt x="1" y="14"/>
                    <a:pt x="1" y="15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9"/>
                    <a:pt x="1" y="20"/>
                    <a:pt x="2" y="20"/>
                  </a:cubicBezTo>
                  <a:cubicBezTo>
                    <a:pt x="3" y="20"/>
                    <a:pt x="3" y="2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2"/>
                    <a:pt x="3" y="23"/>
                  </a:cubicBezTo>
                  <a:cubicBezTo>
                    <a:pt x="3" y="23"/>
                    <a:pt x="3" y="23"/>
                    <a:pt x="2" y="24"/>
                  </a:cubicBezTo>
                  <a:cubicBezTo>
                    <a:pt x="2" y="25"/>
                    <a:pt x="2" y="26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2" y="27"/>
                    <a:pt x="2" y="28"/>
                  </a:cubicBezTo>
                  <a:cubicBezTo>
                    <a:pt x="2" y="28"/>
                    <a:pt x="1" y="28"/>
                    <a:pt x="1" y="29"/>
                  </a:cubicBezTo>
                  <a:cubicBezTo>
                    <a:pt x="1" y="29"/>
                    <a:pt x="0" y="30"/>
                    <a:pt x="0" y="31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3" y="34"/>
                    <a:pt x="4" y="34"/>
                    <a:pt x="4" y="34"/>
                  </a:cubicBezTo>
                  <a:cubicBezTo>
                    <a:pt x="5" y="34"/>
                    <a:pt x="5" y="33"/>
                    <a:pt x="6" y="33"/>
                  </a:cubicBezTo>
                  <a:cubicBezTo>
                    <a:pt x="6" y="33"/>
                    <a:pt x="6" y="32"/>
                    <a:pt x="6" y="32"/>
                  </a:cubicBezTo>
                  <a:cubicBezTo>
                    <a:pt x="6" y="32"/>
                    <a:pt x="6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8" y="32"/>
                    <a:pt x="9" y="31"/>
                    <a:pt x="10" y="30"/>
                  </a:cubicBezTo>
                  <a:cubicBezTo>
                    <a:pt x="10" y="31"/>
                    <a:pt x="10" y="31"/>
                    <a:pt x="11" y="31"/>
                  </a:cubicBezTo>
                  <a:cubicBezTo>
                    <a:pt x="12" y="31"/>
                    <a:pt x="13" y="31"/>
                    <a:pt x="14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1"/>
                    <a:pt x="16" y="31"/>
                  </a:cubicBezTo>
                  <a:cubicBezTo>
                    <a:pt x="16" y="30"/>
                    <a:pt x="16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8" y="31"/>
                    <a:pt x="19" y="31"/>
                    <a:pt x="20" y="31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2" y="29"/>
                    <a:pt x="22" y="28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7"/>
                    <a:pt x="23" y="27"/>
                    <a:pt x="24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4"/>
                    <a:pt x="28" y="23"/>
                  </a:cubicBezTo>
                  <a:cubicBezTo>
                    <a:pt x="29" y="23"/>
                    <a:pt x="29" y="22"/>
                    <a:pt x="29" y="22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1" y="21"/>
                    <a:pt x="31" y="20"/>
                  </a:cubicBezTo>
                  <a:cubicBezTo>
                    <a:pt x="31" y="20"/>
                    <a:pt x="31" y="19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2" y="17"/>
                    <a:pt x="32" y="17"/>
                  </a:cubicBezTo>
                  <a:cubicBezTo>
                    <a:pt x="32" y="17"/>
                    <a:pt x="33" y="16"/>
                    <a:pt x="33" y="15"/>
                  </a:cubicBezTo>
                  <a:cubicBezTo>
                    <a:pt x="32" y="14"/>
                    <a:pt x="32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3" y="12"/>
                    <a:pt x="34" y="12"/>
                  </a:cubicBezTo>
                  <a:close/>
                  <a:moveTo>
                    <a:pt x="22" y="9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lose/>
                  <a:moveTo>
                    <a:pt x="21" y="9"/>
                  </a:move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lnTo>
                    <a:pt x="21" y="9"/>
                  </a:lnTo>
                  <a:close/>
                  <a:moveTo>
                    <a:pt x="3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lose/>
                  <a:moveTo>
                    <a:pt x="3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8" name="Freeform 117"/>
            <p:cNvSpPr>
              <a:spLocks/>
            </p:cNvSpPr>
            <p:nvPr/>
          </p:nvSpPr>
          <p:spPr bwMode="auto">
            <a:xfrm>
              <a:off x="2404" y="846"/>
              <a:ext cx="47" cy="40"/>
            </a:xfrm>
            <a:custGeom>
              <a:avLst/>
              <a:gdLst>
                <a:gd name="T0" fmla="*/ 10 w 20"/>
                <a:gd name="T1" fmla="*/ 10 h 17"/>
                <a:gd name="T2" fmla="*/ 12 w 20"/>
                <a:gd name="T3" fmla="*/ 9 h 17"/>
                <a:gd name="T4" fmla="*/ 12 w 20"/>
                <a:gd name="T5" fmla="*/ 9 h 17"/>
                <a:gd name="T6" fmla="*/ 19 w 20"/>
                <a:gd name="T7" fmla="*/ 5 h 17"/>
                <a:gd name="T8" fmla="*/ 20 w 20"/>
                <a:gd name="T9" fmla="*/ 2 h 17"/>
                <a:gd name="T10" fmla="*/ 19 w 20"/>
                <a:gd name="T11" fmla="*/ 0 h 17"/>
                <a:gd name="T12" fmla="*/ 14 w 20"/>
                <a:gd name="T13" fmla="*/ 1 h 17"/>
                <a:gd name="T14" fmla="*/ 12 w 20"/>
                <a:gd name="T15" fmla="*/ 1 h 17"/>
                <a:gd name="T16" fmla="*/ 10 w 20"/>
                <a:gd name="T17" fmla="*/ 0 h 17"/>
                <a:gd name="T18" fmla="*/ 8 w 20"/>
                <a:gd name="T19" fmla="*/ 1 h 17"/>
                <a:gd name="T20" fmla="*/ 8 w 20"/>
                <a:gd name="T21" fmla="*/ 2 h 17"/>
                <a:gd name="T22" fmla="*/ 7 w 20"/>
                <a:gd name="T23" fmla="*/ 3 h 17"/>
                <a:gd name="T24" fmla="*/ 6 w 20"/>
                <a:gd name="T25" fmla="*/ 4 h 17"/>
                <a:gd name="T26" fmla="*/ 5 w 20"/>
                <a:gd name="T27" fmla="*/ 4 h 17"/>
                <a:gd name="T28" fmla="*/ 4 w 20"/>
                <a:gd name="T29" fmla="*/ 6 h 17"/>
                <a:gd name="T30" fmla="*/ 3 w 20"/>
                <a:gd name="T31" fmla="*/ 6 h 17"/>
                <a:gd name="T32" fmla="*/ 3 w 20"/>
                <a:gd name="T33" fmla="*/ 7 h 17"/>
                <a:gd name="T34" fmla="*/ 3 w 20"/>
                <a:gd name="T35" fmla="*/ 7 h 17"/>
                <a:gd name="T36" fmla="*/ 2 w 20"/>
                <a:gd name="T37" fmla="*/ 8 h 17"/>
                <a:gd name="T38" fmla="*/ 2 w 20"/>
                <a:gd name="T39" fmla="*/ 8 h 17"/>
                <a:gd name="T40" fmla="*/ 1 w 20"/>
                <a:gd name="T41" fmla="*/ 9 h 17"/>
                <a:gd name="T42" fmla="*/ 0 w 20"/>
                <a:gd name="T43" fmla="*/ 11 h 17"/>
                <a:gd name="T44" fmla="*/ 0 w 20"/>
                <a:gd name="T45" fmla="*/ 17 h 17"/>
                <a:gd name="T46" fmla="*/ 3 w 20"/>
                <a:gd name="T47" fmla="*/ 12 h 17"/>
                <a:gd name="T48" fmla="*/ 3 w 20"/>
                <a:gd name="T49" fmla="*/ 12 h 17"/>
                <a:gd name="T50" fmla="*/ 3 w 20"/>
                <a:gd name="T51" fmla="*/ 11 h 17"/>
                <a:gd name="T52" fmla="*/ 4 w 20"/>
                <a:gd name="T53" fmla="*/ 11 h 17"/>
                <a:gd name="T54" fmla="*/ 4 w 20"/>
                <a:gd name="T55" fmla="*/ 11 h 17"/>
                <a:gd name="T56" fmla="*/ 5 w 20"/>
                <a:gd name="T57" fmla="*/ 11 h 17"/>
                <a:gd name="T58" fmla="*/ 6 w 20"/>
                <a:gd name="T59" fmla="*/ 12 h 17"/>
                <a:gd name="T60" fmla="*/ 8 w 20"/>
                <a:gd name="T61" fmla="*/ 11 h 17"/>
                <a:gd name="T62" fmla="*/ 9 w 20"/>
                <a:gd name="T63" fmla="*/ 10 h 17"/>
                <a:gd name="T64" fmla="*/ 9 w 20"/>
                <a:gd name="T65" fmla="*/ 9 h 17"/>
                <a:gd name="T66" fmla="*/ 9 w 20"/>
                <a:gd name="T67" fmla="*/ 9 h 17"/>
                <a:gd name="T68" fmla="*/ 10 w 20"/>
                <a:gd name="T6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" h="17">
                  <a:moveTo>
                    <a:pt x="10" y="10"/>
                  </a:moveTo>
                  <a:cubicBezTo>
                    <a:pt x="10" y="10"/>
                    <a:pt x="11" y="10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6" y="9"/>
                    <a:pt x="18" y="7"/>
                    <a:pt x="19" y="5"/>
                  </a:cubicBezTo>
                  <a:cubicBezTo>
                    <a:pt x="20" y="4"/>
                    <a:pt x="20" y="3"/>
                    <a:pt x="20" y="2"/>
                  </a:cubicBezTo>
                  <a:cubicBezTo>
                    <a:pt x="20" y="1"/>
                    <a:pt x="19" y="0"/>
                    <a:pt x="19" y="0"/>
                  </a:cubicBezTo>
                  <a:cubicBezTo>
                    <a:pt x="17" y="0"/>
                    <a:pt x="15" y="0"/>
                    <a:pt x="14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3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6" y="12"/>
                    <a:pt x="6" y="12"/>
                  </a:cubicBezTo>
                  <a:cubicBezTo>
                    <a:pt x="7" y="12"/>
                    <a:pt x="7" y="12"/>
                    <a:pt x="8" y="11"/>
                  </a:cubicBezTo>
                  <a:cubicBezTo>
                    <a:pt x="9" y="11"/>
                    <a:pt x="9" y="11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1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9" name="Freeform 118"/>
            <p:cNvSpPr>
              <a:spLocks noEditPoints="1"/>
            </p:cNvSpPr>
            <p:nvPr/>
          </p:nvSpPr>
          <p:spPr bwMode="auto">
            <a:xfrm>
              <a:off x="2382" y="370"/>
              <a:ext cx="190" cy="102"/>
            </a:xfrm>
            <a:custGeom>
              <a:avLst/>
              <a:gdLst>
                <a:gd name="T0" fmla="*/ 8 w 80"/>
                <a:gd name="T1" fmla="*/ 13 h 43"/>
                <a:gd name="T2" fmla="*/ 13 w 80"/>
                <a:gd name="T3" fmla="*/ 15 h 43"/>
                <a:gd name="T4" fmla="*/ 20 w 80"/>
                <a:gd name="T5" fmla="*/ 16 h 43"/>
                <a:gd name="T6" fmla="*/ 23 w 80"/>
                <a:gd name="T7" fmla="*/ 17 h 43"/>
                <a:gd name="T8" fmla="*/ 28 w 80"/>
                <a:gd name="T9" fmla="*/ 13 h 43"/>
                <a:gd name="T10" fmla="*/ 31 w 80"/>
                <a:gd name="T11" fmla="*/ 12 h 43"/>
                <a:gd name="T12" fmla="*/ 31 w 80"/>
                <a:gd name="T13" fmla="*/ 19 h 43"/>
                <a:gd name="T14" fmla="*/ 24 w 80"/>
                <a:gd name="T15" fmla="*/ 19 h 43"/>
                <a:gd name="T16" fmla="*/ 17 w 80"/>
                <a:gd name="T17" fmla="*/ 23 h 43"/>
                <a:gd name="T18" fmla="*/ 16 w 80"/>
                <a:gd name="T19" fmla="*/ 29 h 43"/>
                <a:gd name="T20" fmla="*/ 21 w 80"/>
                <a:gd name="T21" fmla="*/ 32 h 43"/>
                <a:gd name="T22" fmla="*/ 27 w 80"/>
                <a:gd name="T23" fmla="*/ 31 h 43"/>
                <a:gd name="T24" fmla="*/ 34 w 80"/>
                <a:gd name="T25" fmla="*/ 33 h 43"/>
                <a:gd name="T26" fmla="*/ 36 w 80"/>
                <a:gd name="T27" fmla="*/ 34 h 43"/>
                <a:gd name="T28" fmla="*/ 33 w 80"/>
                <a:gd name="T29" fmla="*/ 34 h 43"/>
                <a:gd name="T30" fmla="*/ 29 w 80"/>
                <a:gd name="T31" fmla="*/ 33 h 43"/>
                <a:gd name="T32" fmla="*/ 24 w 80"/>
                <a:gd name="T33" fmla="*/ 34 h 43"/>
                <a:gd name="T34" fmla="*/ 21 w 80"/>
                <a:gd name="T35" fmla="*/ 34 h 43"/>
                <a:gd name="T36" fmla="*/ 28 w 80"/>
                <a:gd name="T37" fmla="*/ 42 h 43"/>
                <a:gd name="T38" fmla="*/ 34 w 80"/>
                <a:gd name="T39" fmla="*/ 42 h 43"/>
                <a:gd name="T40" fmla="*/ 37 w 80"/>
                <a:gd name="T41" fmla="*/ 41 h 43"/>
                <a:gd name="T42" fmla="*/ 43 w 80"/>
                <a:gd name="T43" fmla="*/ 41 h 43"/>
                <a:gd name="T44" fmla="*/ 47 w 80"/>
                <a:gd name="T45" fmla="*/ 41 h 43"/>
                <a:gd name="T46" fmla="*/ 51 w 80"/>
                <a:gd name="T47" fmla="*/ 42 h 43"/>
                <a:gd name="T48" fmla="*/ 55 w 80"/>
                <a:gd name="T49" fmla="*/ 43 h 43"/>
                <a:gd name="T50" fmla="*/ 58 w 80"/>
                <a:gd name="T51" fmla="*/ 42 h 43"/>
                <a:gd name="T52" fmla="*/ 63 w 80"/>
                <a:gd name="T53" fmla="*/ 41 h 43"/>
                <a:gd name="T54" fmla="*/ 68 w 80"/>
                <a:gd name="T55" fmla="*/ 38 h 43"/>
                <a:gd name="T56" fmla="*/ 73 w 80"/>
                <a:gd name="T57" fmla="*/ 37 h 43"/>
                <a:gd name="T58" fmla="*/ 74 w 80"/>
                <a:gd name="T59" fmla="*/ 28 h 43"/>
                <a:gd name="T60" fmla="*/ 72 w 80"/>
                <a:gd name="T61" fmla="*/ 28 h 43"/>
                <a:gd name="T62" fmla="*/ 77 w 80"/>
                <a:gd name="T63" fmla="*/ 23 h 43"/>
                <a:gd name="T64" fmla="*/ 73 w 80"/>
                <a:gd name="T65" fmla="*/ 18 h 43"/>
                <a:gd name="T66" fmla="*/ 66 w 80"/>
                <a:gd name="T67" fmla="*/ 20 h 43"/>
                <a:gd name="T68" fmla="*/ 62 w 80"/>
                <a:gd name="T69" fmla="*/ 24 h 43"/>
                <a:gd name="T70" fmla="*/ 57 w 80"/>
                <a:gd name="T71" fmla="*/ 26 h 43"/>
                <a:gd name="T72" fmla="*/ 58 w 80"/>
                <a:gd name="T73" fmla="*/ 32 h 43"/>
                <a:gd name="T74" fmla="*/ 56 w 80"/>
                <a:gd name="T75" fmla="*/ 33 h 43"/>
                <a:gd name="T76" fmla="*/ 51 w 80"/>
                <a:gd name="T77" fmla="*/ 30 h 43"/>
                <a:gd name="T78" fmla="*/ 50 w 80"/>
                <a:gd name="T79" fmla="*/ 25 h 43"/>
                <a:gd name="T80" fmla="*/ 51 w 80"/>
                <a:gd name="T81" fmla="*/ 19 h 43"/>
                <a:gd name="T82" fmla="*/ 47 w 80"/>
                <a:gd name="T83" fmla="*/ 13 h 43"/>
                <a:gd name="T84" fmla="*/ 51 w 80"/>
                <a:gd name="T85" fmla="*/ 11 h 43"/>
                <a:gd name="T86" fmla="*/ 58 w 80"/>
                <a:gd name="T87" fmla="*/ 7 h 43"/>
                <a:gd name="T88" fmla="*/ 53 w 80"/>
                <a:gd name="T89" fmla="*/ 3 h 43"/>
                <a:gd name="T90" fmla="*/ 45 w 80"/>
                <a:gd name="T91" fmla="*/ 1 h 43"/>
                <a:gd name="T92" fmla="*/ 36 w 80"/>
                <a:gd name="T93" fmla="*/ 1 h 43"/>
                <a:gd name="T94" fmla="*/ 22 w 80"/>
                <a:gd name="T95" fmla="*/ 5 h 43"/>
                <a:gd name="T96" fmla="*/ 5 w 80"/>
                <a:gd name="T97" fmla="*/ 8 h 43"/>
                <a:gd name="T98" fmla="*/ 38 w 80"/>
                <a:gd name="T99" fmla="*/ 34 h 43"/>
                <a:gd name="T100" fmla="*/ 37 w 80"/>
                <a:gd name="T101" fmla="*/ 15 h 43"/>
                <a:gd name="T102" fmla="*/ 40 w 80"/>
                <a:gd name="T103" fmla="*/ 15 h 43"/>
                <a:gd name="T104" fmla="*/ 37 w 80"/>
                <a:gd name="T105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43">
                  <a:moveTo>
                    <a:pt x="3" y="9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7" y="12"/>
                    <a:pt x="8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9" y="13"/>
                    <a:pt x="9" y="14"/>
                  </a:cubicBezTo>
                  <a:cubicBezTo>
                    <a:pt x="9" y="14"/>
                    <a:pt x="9" y="14"/>
                    <a:pt x="10" y="15"/>
                  </a:cubicBezTo>
                  <a:cubicBezTo>
                    <a:pt x="11" y="15"/>
                    <a:pt x="12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6"/>
                    <a:pt x="13" y="16"/>
                    <a:pt x="14" y="17"/>
                  </a:cubicBezTo>
                  <a:cubicBezTo>
                    <a:pt x="15" y="17"/>
                    <a:pt x="15" y="17"/>
                    <a:pt x="17" y="17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7"/>
                    <a:pt x="21" y="17"/>
                    <a:pt x="21" y="17"/>
                  </a:cubicBezTo>
                  <a:cubicBezTo>
                    <a:pt x="22" y="17"/>
                    <a:pt x="22" y="17"/>
                    <a:pt x="23" y="17"/>
                  </a:cubicBezTo>
                  <a:cubicBezTo>
                    <a:pt x="23" y="17"/>
                    <a:pt x="24" y="16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4"/>
                    <a:pt x="26" y="14"/>
                  </a:cubicBezTo>
                  <a:cubicBezTo>
                    <a:pt x="27" y="14"/>
                    <a:pt x="27" y="14"/>
                    <a:pt x="28" y="13"/>
                  </a:cubicBezTo>
                  <a:cubicBezTo>
                    <a:pt x="29" y="13"/>
                    <a:pt x="30" y="12"/>
                    <a:pt x="31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4"/>
                    <a:pt x="31" y="15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7"/>
                    <a:pt x="30" y="18"/>
                  </a:cubicBezTo>
                  <a:cubicBezTo>
                    <a:pt x="30" y="19"/>
                    <a:pt x="31" y="19"/>
                    <a:pt x="31" y="19"/>
                  </a:cubicBezTo>
                  <a:cubicBezTo>
                    <a:pt x="31" y="19"/>
                    <a:pt x="31" y="19"/>
                    <a:pt x="30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8" y="19"/>
                    <a:pt x="28" y="19"/>
                  </a:cubicBezTo>
                  <a:cubicBezTo>
                    <a:pt x="27" y="19"/>
                    <a:pt x="25" y="19"/>
                    <a:pt x="24" y="19"/>
                  </a:cubicBezTo>
                  <a:cubicBezTo>
                    <a:pt x="23" y="20"/>
                    <a:pt x="22" y="21"/>
                    <a:pt x="22" y="21"/>
                  </a:cubicBezTo>
                  <a:cubicBezTo>
                    <a:pt x="22" y="22"/>
                    <a:pt x="22" y="22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0" y="23"/>
                    <a:pt x="18" y="23"/>
                    <a:pt x="17" y="23"/>
                  </a:cubicBezTo>
                  <a:cubicBezTo>
                    <a:pt x="16" y="23"/>
                    <a:pt x="14" y="24"/>
                    <a:pt x="14" y="25"/>
                  </a:cubicBezTo>
                  <a:cubicBezTo>
                    <a:pt x="13" y="26"/>
                    <a:pt x="13" y="27"/>
                    <a:pt x="14" y="27"/>
                  </a:cubicBezTo>
                  <a:cubicBezTo>
                    <a:pt x="14" y="28"/>
                    <a:pt x="15" y="28"/>
                    <a:pt x="15" y="28"/>
                  </a:cubicBezTo>
                  <a:cubicBezTo>
                    <a:pt x="15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30"/>
                    <a:pt x="17" y="30"/>
                    <a:pt x="17" y="31"/>
                  </a:cubicBezTo>
                  <a:cubicBezTo>
                    <a:pt x="18" y="31"/>
                    <a:pt x="20" y="31"/>
                    <a:pt x="20" y="30"/>
                  </a:cubicBezTo>
                  <a:cubicBezTo>
                    <a:pt x="20" y="31"/>
                    <a:pt x="21" y="32"/>
                    <a:pt x="21" y="32"/>
                  </a:cubicBezTo>
                  <a:cubicBezTo>
                    <a:pt x="21" y="32"/>
                    <a:pt x="22" y="33"/>
                    <a:pt x="23" y="33"/>
                  </a:cubicBezTo>
                  <a:cubicBezTo>
                    <a:pt x="23" y="33"/>
                    <a:pt x="24" y="33"/>
                    <a:pt x="24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2"/>
                    <a:pt x="27" y="31"/>
                    <a:pt x="27" y="31"/>
                  </a:cubicBezTo>
                  <a:cubicBezTo>
                    <a:pt x="28" y="31"/>
                    <a:pt x="28" y="31"/>
                    <a:pt x="29" y="31"/>
                  </a:cubicBezTo>
                  <a:cubicBezTo>
                    <a:pt x="29" y="31"/>
                    <a:pt x="30" y="31"/>
                    <a:pt x="31" y="30"/>
                  </a:cubicBezTo>
                  <a:cubicBezTo>
                    <a:pt x="30" y="31"/>
                    <a:pt x="30" y="32"/>
                    <a:pt x="31" y="33"/>
                  </a:cubicBezTo>
                  <a:cubicBezTo>
                    <a:pt x="32" y="33"/>
                    <a:pt x="33" y="33"/>
                    <a:pt x="34" y="33"/>
                  </a:cubicBezTo>
                  <a:cubicBezTo>
                    <a:pt x="34" y="33"/>
                    <a:pt x="35" y="33"/>
                    <a:pt x="35" y="33"/>
                  </a:cubicBezTo>
                  <a:cubicBezTo>
                    <a:pt x="35" y="33"/>
                    <a:pt x="35" y="33"/>
                    <a:pt x="36" y="33"/>
                  </a:cubicBezTo>
                  <a:cubicBezTo>
                    <a:pt x="36" y="33"/>
                    <a:pt x="36" y="34"/>
                    <a:pt x="37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4"/>
                    <a:pt x="33" y="34"/>
                    <a:pt x="33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2" y="34"/>
                    <a:pt x="32" y="33"/>
                    <a:pt x="31" y="33"/>
                  </a:cubicBezTo>
                  <a:cubicBezTo>
                    <a:pt x="31" y="33"/>
                    <a:pt x="30" y="33"/>
                    <a:pt x="30" y="33"/>
                  </a:cubicBezTo>
                  <a:cubicBezTo>
                    <a:pt x="30" y="33"/>
                    <a:pt x="29" y="33"/>
                    <a:pt x="29" y="33"/>
                  </a:cubicBezTo>
                  <a:cubicBezTo>
                    <a:pt x="29" y="33"/>
                    <a:pt x="29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6" y="33"/>
                    <a:pt x="26" y="33"/>
                    <a:pt x="25" y="33"/>
                  </a:cubicBezTo>
                  <a:cubicBezTo>
                    <a:pt x="25" y="34"/>
                    <a:pt x="25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3" y="34"/>
                    <a:pt x="23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1" y="34"/>
                    <a:pt x="21" y="34"/>
                  </a:cubicBezTo>
                  <a:cubicBezTo>
                    <a:pt x="19" y="34"/>
                    <a:pt x="18" y="37"/>
                    <a:pt x="18" y="39"/>
                  </a:cubicBezTo>
                  <a:cubicBezTo>
                    <a:pt x="18" y="41"/>
                    <a:pt x="20" y="43"/>
                    <a:pt x="23" y="43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2"/>
                    <a:pt x="27" y="42"/>
                    <a:pt x="28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30" y="42"/>
                    <a:pt x="30" y="43"/>
                  </a:cubicBezTo>
                  <a:cubicBezTo>
                    <a:pt x="31" y="43"/>
                    <a:pt x="32" y="43"/>
                    <a:pt x="33" y="43"/>
                  </a:cubicBezTo>
                  <a:cubicBezTo>
                    <a:pt x="33" y="43"/>
                    <a:pt x="34" y="43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5" y="42"/>
                    <a:pt x="35" y="42"/>
                    <a:pt x="36" y="42"/>
                  </a:cubicBezTo>
                  <a:cubicBezTo>
                    <a:pt x="36" y="42"/>
                    <a:pt x="36" y="41"/>
                    <a:pt x="36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7" y="42"/>
                    <a:pt x="37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9" y="42"/>
                    <a:pt x="39" y="42"/>
                    <a:pt x="40" y="42"/>
                  </a:cubicBezTo>
                  <a:cubicBezTo>
                    <a:pt x="42" y="41"/>
                    <a:pt x="42" y="41"/>
                    <a:pt x="43" y="41"/>
                  </a:cubicBezTo>
                  <a:cubicBezTo>
                    <a:pt x="43" y="42"/>
                    <a:pt x="43" y="42"/>
                    <a:pt x="44" y="42"/>
                  </a:cubicBezTo>
                  <a:cubicBezTo>
                    <a:pt x="44" y="42"/>
                    <a:pt x="45" y="42"/>
                    <a:pt x="46" y="41"/>
                  </a:cubicBezTo>
                  <a:cubicBezTo>
                    <a:pt x="46" y="41"/>
                    <a:pt x="46" y="41"/>
                    <a:pt x="47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2"/>
                    <a:pt x="50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3"/>
                    <a:pt x="52" y="43"/>
                    <a:pt x="52" y="43"/>
                  </a:cubicBezTo>
                  <a:cubicBezTo>
                    <a:pt x="53" y="43"/>
                    <a:pt x="53" y="43"/>
                    <a:pt x="54" y="43"/>
                  </a:cubicBezTo>
                  <a:cubicBezTo>
                    <a:pt x="54" y="43"/>
                    <a:pt x="55" y="43"/>
                    <a:pt x="55" y="43"/>
                  </a:cubicBezTo>
                  <a:cubicBezTo>
                    <a:pt x="55" y="43"/>
                    <a:pt x="55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7" y="43"/>
                    <a:pt x="57" y="43"/>
                    <a:pt x="58" y="43"/>
                  </a:cubicBezTo>
                  <a:cubicBezTo>
                    <a:pt x="58" y="43"/>
                    <a:pt x="58" y="43"/>
                    <a:pt x="58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0" y="43"/>
                    <a:pt x="61" y="43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4" y="41"/>
                    <a:pt x="64" y="42"/>
                    <a:pt x="64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1"/>
                    <a:pt x="66" y="41"/>
                    <a:pt x="66" y="41"/>
                  </a:cubicBezTo>
                  <a:cubicBezTo>
                    <a:pt x="67" y="40"/>
                    <a:pt x="68" y="39"/>
                    <a:pt x="68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70" y="38"/>
                    <a:pt x="70" y="38"/>
                  </a:cubicBezTo>
                  <a:cubicBezTo>
                    <a:pt x="71" y="38"/>
                    <a:pt x="71" y="37"/>
                    <a:pt x="72" y="37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5" y="36"/>
                    <a:pt x="78" y="35"/>
                    <a:pt x="79" y="32"/>
                  </a:cubicBezTo>
                  <a:cubicBezTo>
                    <a:pt x="80" y="31"/>
                    <a:pt x="79" y="30"/>
                    <a:pt x="79" y="29"/>
                  </a:cubicBezTo>
                  <a:cubicBezTo>
                    <a:pt x="78" y="28"/>
                    <a:pt x="76" y="28"/>
                    <a:pt x="75" y="28"/>
                  </a:cubicBezTo>
                  <a:cubicBezTo>
                    <a:pt x="75" y="28"/>
                    <a:pt x="74" y="28"/>
                    <a:pt x="74" y="28"/>
                  </a:cubicBezTo>
                  <a:cubicBezTo>
                    <a:pt x="73" y="28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29"/>
                  </a:cubicBezTo>
                  <a:cubicBezTo>
                    <a:pt x="72" y="29"/>
                    <a:pt x="72" y="28"/>
                    <a:pt x="72" y="28"/>
                  </a:cubicBezTo>
                  <a:cubicBezTo>
                    <a:pt x="73" y="27"/>
                    <a:pt x="73" y="27"/>
                    <a:pt x="74" y="26"/>
                  </a:cubicBezTo>
                  <a:cubicBezTo>
                    <a:pt x="74" y="26"/>
                    <a:pt x="74" y="26"/>
                    <a:pt x="75" y="26"/>
                  </a:cubicBezTo>
                  <a:cubicBezTo>
                    <a:pt x="75" y="25"/>
                    <a:pt x="76" y="24"/>
                    <a:pt x="77" y="23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8" y="22"/>
                    <a:pt x="79" y="22"/>
                    <a:pt x="79" y="20"/>
                  </a:cubicBezTo>
                  <a:cubicBezTo>
                    <a:pt x="79" y="20"/>
                    <a:pt x="79" y="19"/>
                    <a:pt x="79" y="18"/>
                  </a:cubicBezTo>
                  <a:cubicBezTo>
                    <a:pt x="78" y="18"/>
                    <a:pt x="77" y="17"/>
                    <a:pt x="76" y="17"/>
                  </a:cubicBezTo>
                  <a:cubicBezTo>
                    <a:pt x="75" y="17"/>
                    <a:pt x="74" y="18"/>
                    <a:pt x="73" y="18"/>
                  </a:cubicBezTo>
                  <a:cubicBezTo>
                    <a:pt x="73" y="18"/>
                    <a:pt x="72" y="19"/>
                    <a:pt x="71" y="19"/>
                  </a:cubicBezTo>
                  <a:cubicBezTo>
                    <a:pt x="71" y="19"/>
                    <a:pt x="70" y="20"/>
                    <a:pt x="70" y="20"/>
                  </a:cubicBezTo>
                  <a:cubicBezTo>
                    <a:pt x="69" y="20"/>
                    <a:pt x="68" y="20"/>
                    <a:pt x="66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20"/>
                    <a:pt x="65" y="20"/>
                    <a:pt x="65" y="20"/>
                  </a:cubicBezTo>
                  <a:cubicBezTo>
                    <a:pt x="64" y="20"/>
                    <a:pt x="63" y="20"/>
                    <a:pt x="62" y="21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2" y="24"/>
                    <a:pt x="62" y="24"/>
                  </a:cubicBezTo>
                  <a:cubicBezTo>
                    <a:pt x="62" y="25"/>
                    <a:pt x="62" y="26"/>
                    <a:pt x="62" y="26"/>
                  </a:cubicBezTo>
                  <a:cubicBezTo>
                    <a:pt x="62" y="26"/>
                    <a:pt x="62" y="27"/>
                    <a:pt x="61" y="27"/>
                  </a:cubicBezTo>
                  <a:cubicBezTo>
                    <a:pt x="61" y="27"/>
                    <a:pt x="60" y="27"/>
                    <a:pt x="59" y="26"/>
                  </a:cubicBezTo>
                  <a:cubicBezTo>
                    <a:pt x="59" y="26"/>
                    <a:pt x="58" y="26"/>
                    <a:pt x="57" y="26"/>
                  </a:cubicBezTo>
                  <a:cubicBezTo>
                    <a:pt x="55" y="26"/>
                    <a:pt x="55" y="27"/>
                    <a:pt x="54" y="28"/>
                  </a:cubicBezTo>
                  <a:cubicBezTo>
                    <a:pt x="54" y="28"/>
                    <a:pt x="54" y="29"/>
                    <a:pt x="54" y="30"/>
                  </a:cubicBezTo>
                  <a:cubicBezTo>
                    <a:pt x="54" y="30"/>
                    <a:pt x="55" y="31"/>
                    <a:pt x="56" y="31"/>
                  </a:cubicBezTo>
                  <a:cubicBezTo>
                    <a:pt x="57" y="31"/>
                    <a:pt x="57" y="31"/>
                    <a:pt x="58" y="32"/>
                  </a:cubicBezTo>
                  <a:cubicBezTo>
                    <a:pt x="58" y="32"/>
                    <a:pt x="58" y="32"/>
                    <a:pt x="57" y="32"/>
                  </a:cubicBezTo>
                  <a:cubicBezTo>
                    <a:pt x="57" y="32"/>
                    <a:pt x="57" y="32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4" y="31"/>
                    <a:pt x="52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0"/>
                  </a:cubicBezTo>
                  <a:cubicBezTo>
                    <a:pt x="50" y="30"/>
                    <a:pt x="50" y="29"/>
                    <a:pt x="49" y="29"/>
                  </a:cubicBezTo>
                  <a:cubicBezTo>
                    <a:pt x="49" y="28"/>
                    <a:pt x="49" y="28"/>
                    <a:pt x="49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9" y="26"/>
                    <a:pt x="50" y="26"/>
                    <a:pt x="50" y="25"/>
                  </a:cubicBezTo>
                  <a:cubicBezTo>
                    <a:pt x="51" y="25"/>
                    <a:pt x="51" y="24"/>
                    <a:pt x="51" y="23"/>
                  </a:cubicBezTo>
                  <a:cubicBezTo>
                    <a:pt x="51" y="23"/>
                    <a:pt x="51" y="23"/>
                    <a:pt x="51" y="22"/>
                  </a:cubicBezTo>
                  <a:cubicBezTo>
                    <a:pt x="52" y="21"/>
                    <a:pt x="52" y="20"/>
                    <a:pt x="52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7"/>
                    <a:pt x="51" y="17"/>
                    <a:pt x="50" y="16"/>
                  </a:cubicBezTo>
                  <a:cubicBezTo>
                    <a:pt x="50" y="16"/>
                    <a:pt x="50" y="16"/>
                    <a:pt x="50" y="15"/>
                  </a:cubicBezTo>
                  <a:cubicBezTo>
                    <a:pt x="50" y="15"/>
                    <a:pt x="49" y="14"/>
                    <a:pt x="48" y="14"/>
                  </a:cubicBezTo>
                  <a:cubicBezTo>
                    <a:pt x="48" y="13"/>
                    <a:pt x="47" y="13"/>
                    <a:pt x="47" y="13"/>
                  </a:cubicBezTo>
                  <a:cubicBezTo>
                    <a:pt x="47" y="13"/>
                    <a:pt x="48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2"/>
                    <a:pt x="51" y="11"/>
                    <a:pt x="51" y="11"/>
                  </a:cubicBezTo>
                  <a:cubicBezTo>
                    <a:pt x="51" y="10"/>
                    <a:pt x="52" y="10"/>
                    <a:pt x="52" y="9"/>
                  </a:cubicBezTo>
                  <a:cubicBezTo>
                    <a:pt x="53" y="9"/>
                    <a:pt x="53" y="9"/>
                    <a:pt x="54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7" y="9"/>
                    <a:pt x="58" y="7"/>
                  </a:cubicBezTo>
                  <a:cubicBezTo>
                    <a:pt x="59" y="6"/>
                    <a:pt x="59" y="4"/>
                    <a:pt x="59" y="3"/>
                  </a:cubicBezTo>
                  <a:cubicBezTo>
                    <a:pt x="58" y="1"/>
                    <a:pt x="57" y="1"/>
                    <a:pt x="56" y="1"/>
                  </a:cubicBezTo>
                  <a:cubicBezTo>
                    <a:pt x="55" y="1"/>
                    <a:pt x="54" y="2"/>
                    <a:pt x="54" y="3"/>
                  </a:cubicBezTo>
                  <a:cubicBezTo>
                    <a:pt x="54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2"/>
                    <a:pt x="52" y="1"/>
                    <a:pt x="50" y="0"/>
                  </a:cubicBezTo>
                  <a:cubicBezTo>
                    <a:pt x="49" y="0"/>
                    <a:pt x="47" y="0"/>
                    <a:pt x="45" y="1"/>
                  </a:cubicBezTo>
                  <a:cubicBezTo>
                    <a:pt x="44" y="1"/>
                    <a:pt x="44" y="1"/>
                    <a:pt x="43" y="1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7" y="1"/>
                    <a:pt x="36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1"/>
                    <a:pt x="31" y="1"/>
                    <a:pt x="29" y="2"/>
                  </a:cubicBezTo>
                  <a:cubicBezTo>
                    <a:pt x="28" y="2"/>
                    <a:pt x="28" y="3"/>
                    <a:pt x="27" y="3"/>
                  </a:cubicBezTo>
                  <a:cubicBezTo>
                    <a:pt x="25" y="4"/>
                    <a:pt x="24" y="4"/>
                    <a:pt x="22" y="5"/>
                  </a:cubicBezTo>
                  <a:cubicBezTo>
                    <a:pt x="19" y="5"/>
                    <a:pt x="17" y="6"/>
                    <a:pt x="15" y="6"/>
                  </a:cubicBezTo>
                  <a:cubicBezTo>
                    <a:pt x="14" y="6"/>
                    <a:pt x="14" y="6"/>
                    <a:pt x="13" y="6"/>
                  </a:cubicBezTo>
                  <a:cubicBezTo>
                    <a:pt x="11" y="6"/>
                    <a:pt x="9" y="6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3" y="9"/>
                    <a:pt x="3" y="9"/>
                  </a:cubicBezTo>
                  <a:close/>
                  <a:moveTo>
                    <a:pt x="38" y="34"/>
                  </a:moveTo>
                  <a:cubicBezTo>
                    <a:pt x="38" y="35"/>
                    <a:pt x="38" y="35"/>
                    <a:pt x="38" y="35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lose/>
                  <a:moveTo>
                    <a:pt x="37" y="15"/>
                  </a:moveTo>
                  <a:cubicBezTo>
                    <a:pt x="37" y="14"/>
                    <a:pt x="38" y="14"/>
                    <a:pt x="38" y="14"/>
                  </a:cubicBezTo>
                  <a:cubicBezTo>
                    <a:pt x="39" y="14"/>
                    <a:pt x="40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5"/>
                    <a:pt x="40" y="15"/>
                  </a:cubicBezTo>
                  <a:cubicBezTo>
                    <a:pt x="39" y="16"/>
                    <a:pt x="39" y="17"/>
                    <a:pt x="40" y="18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7" y="16"/>
                    <a:pt x="37" y="15"/>
                    <a:pt x="36" y="15"/>
                  </a:cubicBezTo>
                  <a:cubicBezTo>
                    <a:pt x="36" y="15"/>
                    <a:pt x="37" y="15"/>
                    <a:pt x="37" y="15"/>
                  </a:cubicBezTo>
                  <a:close/>
                  <a:moveTo>
                    <a:pt x="70" y="31"/>
                  </a:moveTo>
                  <a:cubicBezTo>
                    <a:pt x="70" y="31"/>
                    <a:pt x="70" y="31"/>
                    <a:pt x="70" y="31"/>
                  </a:cubicBezTo>
                  <a:cubicBezTo>
                    <a:pt x="70" y="31"/>
                    <a:pt x="70" y="31"/>
                    <a:pt x="7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0" name="Freeform 119"/>
            <p:cNvSpPr>
              <a:spLocks noEditPoints="1"/>
            </p:cNvSpPr>
            <p:nvPr/>
          </p:nvSpPr>
          <p:spPr bwMode="auto">
            <a:xfrm>
              <a:off x="2543" y="370"/>
              <a:ext cx="57" cy="31"/>
            </a:xfrm>
            <a:custGeom>
              <a:avLst/>
              <a:gdLst>
                <a:gd name="T0" fmla="*/ 3 w 24"/>
                <a:gd name="T1" fmla="*/ 13 h 13"/>
                <a:gd name="T2" fmla="*/ 3 w 24"/>
                <a:gd name="T3" fmla="*/ 13 h 13"/>
                <a:gd name="T4" fmla="*/ 6 w 24"/>
                <a:gd name="T5" fmla="*/ 13 h 13"/>
                <a:gd name="T6" fmla="*/ 7 w 24"/>
                <a:gd name="T7" fmla="*/ 12 h 13"/>
                <a:gd name="T8" fmla="*/ 8 w 24"/>
                <a:gd name="T9" fmla="*/ 12 h 13"/>
                <a:gd name="T10" fmla="*/ 11 w 24"/>
                <a:gd name="T11" fmla="*/ 13 h 13"/>
                <a:gd name="T12" fmla="*/ 12 w 24"/>
                <a:gd name="T13" fmla="*/ 13 h 13"/>
                <a:gd name="T14" fmla="*/ 13 w 24"/>
                <a:gd name="T15" fmla="*/ 13 h 13"/>
                <a:gd name="T16" fmla="*/ 16 w 24"/>
                <a:gd name="T17" fmla="*/ 11 h 13"/>
                <a:gd name="T18" fmla="*/ 16 w 24"/>
                <a:gd name="T19" fmla="*/ 11 h 13"/>
                <a:gd name="T20" fmla="*/ 18 w 24"/>
                <a:gd name="T21" fmla="*/ 9 h 13"/>
                <a:gd name="T22" fmla="*/ 18 w 24"/>
                <a:gd name="T23" fmla="*/ 9 h 13"/>
                <a:gd name="T24" fmla="*/ 19 w 24"/>
                <a:gd name="T25" fmla="*/ 9 h 13"/>
                <a:gd name="T26" fmla="*/ 23 w 24"/>
                <a:gd name="T27" fmla="*/ 8 h 13"/>
                <a:gd name="T28" fmla="*/ 24 w 24"/>
                <a:gd name="T29" fmla="*/ 6 h 13"/>
                <a:gd name="T30" fmla="*/ 23 w 24"/>
                <a:gd name="T31" fmla="*/ 4 h 13"/>
                <a:gd name="T32" fmla="*/ 20 w 24"/>
                <a:gd name="T33" fmla="*/ 4 h 13"/>
                <a:gd name="T34" fmla="*/ 19 w 24"/>
                <a:gd name="T35" fmla="*/ 4 h 13"/>
                <a:gd name="T36" fmla="*/ 18 w 24"/>
                <a:gd name="T37" fmla="*/ 3 h 13"/>
                <a:gd name="T38" fmla="*/ 16 w 24"/>
                <a:gd name="T39" fmla="*/ 1 h 13"/>
                <a:gd name="T40" fmla="*/ 9 w 24"/>
                <a:gd name="T41" fmla="*/ 1 h 13"/>
                <a:gd name="T42" fmla="*/ 7 w 24"/>
                <a:gd name="T43" fmla="*/ 2 h 13"/>
                <a:gd name="T44" fmla="*/ 7 w 24"/>
                <a:gd name="T45" fmla="*/ 3 h 13"/>
                <a:gd name="T46" fmla="*/ 5 w 24"/>
                <a:gd name="T47" fmla="*/ 4 h 13"/>
                <a:gd name="T48" fmla="*/ 4 w 24"/>
                <a:gd name="T49" fmla="*/ 4 h 13"/>
                <a:gd name="T50" fmla="*/ 2 w 24"/>
                <a:gd name="T51" fmla="*/ 8 h 13"/>
                <a:gd name="T52" fmla="*/ 1 w 24"/>
                <a:gd name="T53" fmla="*/ 9 h 13"/>
                <a:gd name="T54" fmla="*/ 0 w 24"/>
                <a:gd name="T55" fmla="*/ 10 h 13"/>
                <a:gd name="T56" fmla="*/ 0 w 24"/>
                <a:gd name="T57" fmla="*/ 12 h 13"/>
                <a:gd name="T58" fmla="*/ 3 w 24"/>
                <a:gd name="T59" fmla="*/ 13 h 13"/>
                <a:gd name="T60" fmla="*/ 19 w 24"/>
                <a:gd name="T61" fmla="*/ 8 h 13"/>
                <a:gd name="T62" fmla="*/ 19 w 24"/>
                <a:gd name="T63" fmla="*/ 8 h 13"/>
                <a:gd name="T64" fmla="*/ 19 w 24"/>
                <a:gd name="T65" fmla="*/ 8 h 13"/>
                <a:gd name="T66" fmla="*/ 19 w 24"/>
                <a:gd name="T6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13">
                  <a:moveTo>
                    <a:pt x="3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6" y="13"/>
                    <a:pt x="7" y="13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9" y="12"/>
                    <a:pt x="10" y="12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5" y="12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1"/>
                    <a:pt x="18" y="1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9"/>
                    <a:pt x="22" y="9"/>
                    <a:pt x="23" y="8"/>
                  </a:cubicBezTo>
                  <a:cubicBezTo>
                    <a:pt x="24" y="8"/>
                    <a:pt x="24" y="7"/>
                    <a:pt x="24" y="6"/>
                  </a:cubicBezTo>
                  <a:cubicBezTo>
                    <a:pt x="24" y="5"/>
                    <a:pt x="24" y="5"/>
                    <a:pt x="23" y="4"/>
                  </a:cubicBezTo>
                  <a:cubicBezTo>
                    <a:pt x="22" y="4"/>
                    <a:pt x="21" y="4"/>
                    <a:pt x="20" y="4"/>
                  </a:cubicBezTo>
                  <a:cubicBezTo>
                    <a:pt x="20" y="4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2"/>
                    <a:pt x="17" y="2"/>
                    <a:pt x="16" y="1"/>
                  </a:cubicBezTo>
                  <a:cubicBezTo>
                    <a:pt x="14" y="0"/>
                    <a:pt x="11" y="0"/>
                    <a:pt x="9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2" y="6"/>
                    <a:pt x="2" y="8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0" y="10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2"/>
                    <a:pt x="1" y="13"/>
                    <a:pt x="3" y="13"/>
                  </a:cubicBezTo>
                  <a:close/>
                  <a:moveTo>
                    <a:pt x="19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1" name="Freeform 120"/>
            <p:cNvSpPr>
              <a:spLocks/>
            </p:cNvSpPr>
            <p:nvPr/>
          </p:nvSpPr>
          <p:spPr bwMode="auto">
            <a:xfrm>
              <a:off x="2581" y="356"/>
              <a:ext cx="47" cy="26"/>
            </a:xfrm>
            <a:custGeom>
              <a:avLst/>
              <a:gdLst>
                <a:gd name="T0" fmla="*/ 2 w 20"/>
                <a:gd name="T1" fmla="*/ 6 h 11"/>
                <a:gd name="T2" fmla="*/ 4 w 20"/>
                <a:gd name="T3" fmla="*/ 6 h 11"/>
                <a:gd name="T4" fmla="*/ 4 w 20"/>
                <a:gd name="T5" fmla="*/ 6 h 11"/>
                <a:gd name="T6" fmla="*/ 5 w 20"/>
                <a:gd name="T7" fmla="*/ 7 h 11"/>
                <a:gd name="T8" fmla="*/ 6 w 20"/>
                <a:gd name="T9" fmla="*/ 8 h 11"/>
                <a:gd name="T10" fmla="*/ 9 w 20"/>
                <a:gd name="T11" fmla="*/ 9 h 11"/>
                <a:gd name="T12" fmla="*/ 9 w 20"/>
                <a:gd name="T13" fmla="*/ 9 h 11"/>
                <a:gd name="T14" fmla="*/ 10 w 20"/>
                <a:gd name="T15" fmla="*/ 9 h 11"/>
                <a:gd name="T16" fmla="*/ 13 w 20"/>
                <a:gd name="T17" fmla="*/ 11 h 11"/>
                <a:gd name="T18" fmla="*/ 14 w 20"/>
                <a:gd name="T19" fmla="*/ 11 h 11"/>
                <a:gd name="T20" fmla="*/ 20 w 20"/>
                <a:gd name="T21" fmla="*/ 3 h 11"/>
                <a:gd name="T22" fmla="*/ 16 w 20"/>
                <a:gd name="T23" fmla="*/ 0 h 11"/>
                <a:gd name="T24" fmla="*/ 15 w 20"/>
                <a:gd name="T25" fmla="*/ 0 h 11"/>
                <a:gd name="T26" fmla="*/ 13 w 20"/>
                <a:gd name="T27" fmla="*/ 1 h 11"/>
                <a:gd name="T28" fmla="*/ 11 w 20"/>
                <a:gd name="T29" fmla="*/ 2 h 11"/>
                <a:gd name="T30" fmla="*/ 10 w 20"/>
                <a:gd name="T31" fmla="*/ 1 h 11"/>
                <a:gd name="T32" fmla="*/ 8 w 20"/>
                <a:gd name="T33" fmla="*/ 1 h 11"/>
                <a:gd name="T34" fmla="*/ 7 w 20"/>
                <a:gd name="T35" fmla="*/ 1 h 11"/>
                <a:gd name="T36" fmla="*/ 3 w 20"/>
                <a:gd name="T37" fmla="*/ 2 h 11"/>
                <a:gd name="T38" fmla="*/ 0 w 20"/>
                <a:gd name="T39" fmla="*/ 4 h 11"/>
                <a:gd name="T40" fmla="*/ 0 w 20"/>
                <a:gd name="T41" fmla="*/ 6 h 11"/>
                <a:gd name="T42" fmla="*/ 2 w 20"/>
                <a:gd name="T43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1">
                  <a:moveTo>
                    <a:pt x="2" y="6"/>
                  </a:moveTo>
                  <a:cubicBezTo>
                    <a:pt x="3" y="6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5" y="7"/>
                    <a:pt x="5" y="8"/>
                    <a:pt x="6" y="8"/>
                  </a:cubicBezTo>
                  <a:cubicBezTo>
                    <a:pt x="7" y="9"/>
                    <a:pt x="8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10"/>
                    <a:pt x="11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8" y="9"/>
                    <a:pt x="20" y="6"/>
                    <a:pt x="20" y="3"/>
                  </a:cubicBezTo>
                  <a:cubicBezTo>
                    <a:pt x="19" y="1"/>
                    <a:pt x="18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4" y="0"/>
                    <a:pt x="13" y="0"/>
                    <a:pt x="13" y="1"/>
                  </a:cubicBezTo>
                  <a:cubicBezTo>
                    <a:pt x="12" y="1"/>
                    <a:pt x="12" y="1"/>
                    <a:pt x="11" y="2"/>
                  </a:cubicBezTo>
                  <a:cubicBezTo>
                    <a:pt x="11" y="2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5" y="1"/>
                    <a:pt x="3" y="2"/>
                  </a:cubicBezTo>
                  <a:cubicBezTo>
                    <a:pt x="2" y="2"/>
                    <a:pt x="1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6"/>
                    <a:pt x="1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2" name="Freeform 121"/>
            <p:cNvSpPr>
              <a:spLocks noEditPoints="1"/>
            </p:cNvSpPr>
            <p:nvPr/>
          </p:nvSpPr>
          <p:spPr bwMode="auto">
            <a:xfrm>
              <a:off x="1041" y="396"/>
              <a:ext cx="1772" cy="3598"/>
            </a:xfrm>
            <a:custGeom>
              <a:avLst/>
              <a:gdLst>
                <a:gd name="T0" fmla="*/ 650 w 749"/>
                <a:gd name="T1" fmla="*/ 105 h 1520"/>
                <a:gd name="T2" fmla="*/ 633 w 749"/>
                <a:gd name="T3" fmla="*/ 92 h 1520"/>
                <a:gd name="T4" fmla="*/ 597 w 749"/>
                <a:gd name="T5" fmla="*/ 112 h 1520"/>
                <a:gd name="T6" fmla="*/ 537 w 749"/>
                <a:gd name="T7" fmla="*/ 98 h 1520"/>
                <a:gd name="T8" fmla="*/ 573 w 749"/>
                <a:gd name="T9" fmla="*/ 62 h 1520"/>
                <a:gd name="T10" fmla="*/ 526 w 749"/>
                <a:gd name="T11" fmla="*/ 73 h 1520"/>
                <a:gd name="T12" fmla="*/ 493 w 749"/>
                <a:gd name="T13" fmla="*/ 92 h 1520"/>
                <a:gd name="T14" fmla="*/ 390 w 749"/>
                <a:gd name="T15" fmla="*/ 59 h 1520"/>
                <a:gd name="T16" fmla="*/ 242 w 749"/>
                <a:gd name="T17" fmla="*/ 10 h 1520"/>
                <a:gd name="T18" fmla="*/ 184 w 749"/>
                <a:gd name="T19" fmla="*/ 62 h 1520"/>
                <a:gd name="T20" fmla="*/ 79 w 749"/>
                <a:gd name="T21" fmla="*/ 153 h 1520"/>
                <a:gd name="T22" fmla="*/ 81 w 749"/>
                <a:gd name="T23" fmla="*/ 164 h 1520"/>
                <a:gd name="T24" fmla="*/ 198 w 749"/>
                <a:gd name="T25" fmla="*/ 129 h 1520"/>
                <a:gd name="T26" fmla="*/ 210 w 749"/>
                <a:gd name="T27" fmla="*/ 210 h 1520"/>
                <a:gd name="T28" fmla="*/ 179 w 749"/>
                <a:gd name="T29" fmla="*/ 282 h 1520"/>
                <a:gd name="T30" fmla="*/ 191 w 749"/>
                <a:gd name="T31" fmla="*/ 317 h 1520"/>
                <a:gd name="T32" fmla="*/ 116 w 749"/>
                <a:gd name="T33" fmla="*/ 395 h 1520"/>
                <a:gd name="T34" fmla="*/ 106 w 749"/>
                <a:gd name="T35" fmla="*/ 501 h 1520"/>
                <a:gd name="T36" fmla="*/ 113 w 749"/>
                <a:gd name="T37" fmla="*/ 630 h 1520"/>
                <a:gd name="T38" fmla="*/ 125 w 749"/>
                <a:gd name="T39" fmla="*/ 569 h 1520"/>
                <a:gd name="T40" fmla="*/ 168 w 749"/>
                <a:gd name="T41" fmla="*/ 706 h 1520"/>
                <a:gd name="T42" fmla="*/ 271 w 749"/>
                <a:gd name="T43" fmla="*/ 783 h 1520"/>
                <a:gd name="T44" fmla="*/ 332 w 749"/>
                <a:gd name="T45" fmla="*/ 856 h 1520"/>
                <a:gd name="T46" fmla="*/ 334 w 749"/>
                <a:gd name="T47" fmla="*/ 1022 h 1520"/>
                <a:gd name="T48" fmla="*/ 436 w 749"/>
                <a:gd name="T49" fmla="*/ 1217 h 1520"/>
                <a:gd name="T50" fmla="*/ 490 w 749"/>
                <a:gd name="T51" fmla="*/ 1373 h 1520"/>
                <a:gd name="T52" fmla="*/ 547 w 749"/>
                <a:gd name="T53" fmla="*/ 1478 h 1520"/>
                <a:gd name="T54" fmla="*/ 629 w 749"/>
                <a:gd name="T55" fmla="*/ 1508 h 1520"/>
                <a:gd name="T56" fmla="*/ 556 w 749"/>
                <a:gd name="T57" fmla="*/ 1364 h 1520"/>
                <a:gd name="T58" fmla="*/ 599 w 749"/>
                <a:gd name="T59" fmla="*/ 1261 h 1520"/>
                <a:gd name="T60" fmla="*/ 659 w 749"/>
                <a:gd name="T61" fmla="*/ 1116 h 1520"/>
                <a:gd name="T62" fmla="*/ 670 w 749"/>
                <a:gd name="T63" fmla="*/ 955 h 1520"/>
                <a:gd name="T64" fmla="*/ 558 w 749"/>
                <a:gd name="T65" fmla="*/ 888 h 1520"/>
                <a:gd name="T66" fmla="*/ 464 w 749"/>
                <a:gd name="T67" fmla="*/ 787 h 1520"/>
                <a:gd name="T68" fmla="*/ 383 w 749"/>
                <a:gd name="T69" fmla="*/ 772 h 1520"/>
                <a:gd name="T70" fmla="*/ 293 w 749"/>
                <a:gd name="T71" fmla="*/ 782 h 1520"/>
                <a:gd name="T72" fmla="*/ 278 w 749"/>
                <a:gd name="T73" fmla="*/ 680 h 1520"/>
                <a:gd name="T74" fmla="*/ 210 w 749"/>
                <a:gd name="T75" fmla="*/ 635 h 1520"/>
                <a:gd name="T76" fmla="*/ 302 w 749"/>
                <a:gd name="T77" fmla="*/ 572 h 1520"/>
                <a:gd name="T78" fmla="*/ 362 w 749"/>
                <a:gd name="T79" fmla="*/ 607 h 1520"/>
                <a:gd name="T80" fmla="*/ 434 w 749"/>
                <a:gd name="T81" fmla="*/ 505 h 1520"/>
                <a:gd name="T82" fmla="*/ 530 w 749"/>
                <a:gd name="T83" fmla="*/ 417 h 1520"/>
                <a:gd name="T84" fmla="*/ 597 w 749"/>
                <a:gd name="T85" fmla="*/ 393 h 1520"/>
                <a:gd name="T86" fmla="*/ 589 w 749"/>
                <a:gd name="T87" fmla="*/ 353 h 1520"/>
                <a:gd name="T88" fmla="*/ 637 w 749"/>
                <a:gd name="T89" fmla="*/ 397 h 1520"/>
                <a:gd name="T90" fmla="*/ 671 w 749"/>
                <a:gd name="T91" fmla="*/ 305 h 1520"/>
                <a:gd name="T92" fmla="*/ 634 w 749"/>
                <a:gd name="T93" fmla="*/ 249 h 1520"/>
                <a:gd name="T94" fmla="*/ 563 w 749"/>
                <a:gd name="T95" fmla="*/ 272 h 1520"/>
                <a:gd name="T96" fmla="*/ 491 w 749"/>
                <a:gd name="T97" fmla="*/ 251 h 1520"/>
                <a:gd name="T98" fmla="*/ 566 w 749"/>
                <a:gd name="T99" fmla="*/ 175 h 1520"/>
                <a:gd name="T100" fmla="*/ 613 w 749"/>
                <a:gd name="T101" fmla="*/ 149 h 1520"/>
                <a:gd name="T102" fmla="*/ 690 w 749"/>
                <a:gd name="T103" fmla="*/ 134 h 1520"/>
                <a:gd name="T104" fmla="*/ 686 w 749"/>
                <a:gd name="T105" fmla="*/ 213 h 1520"/>
                <a:gd name="T106" fmla="*/ 733 w 749"/>
                <a:gd name="T107" fmla="*/ 150 h 1520"/>
                <a:gd name="T108" fmla="*/ 715 w 749"/>
                <a:gd name="T109" fmla="*/ 91 h 1520"/>
                <a:gd name="T110" fmla="*/ 619 w 749"/>
                <a:gd name="T111" fmla="*/ 105 h 1520"/>
                <a:gd name="T112" fmla="*/ 238 w 749"/>
                <a:gd name="T113" fmla="*/ 180 h 1520"/>
                <a:gd name="T114" fmla="*/ 434 w 749"/>
                <a:gd name="T115" fmla="*/ 387 h 1520"/>
                <a:gd name="T116" fmla="*/ 437 w 749"/>
                <a:gd name="T117" fmla="*/ 351 h 1520"/>
                <a:gd name="T118" fmla="*/ 212 w 749"/>
                <a:gd name="T119" fmla="*/ 203 h 1520"/>
                <a:gd name="T120" fmla="*/ 581 w 749"/>
                <a:gd name="T121" fmla="*/ 1486 h 1520"/>
                <a:gd name="T122" fmla="*/ 720 w 749"/>
                <a:gd name="T123" fmla="*/ 80 h 1520"/>
                <a:gd name="T124" fmla="*/ 468 w 749"/>
                <a:gd name="T125" fmla="*/ 789 h 1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9" h="1520">
                  <a:moveTo>
                    <a:pt x="747" y="122"/>
                  </a:moveTo>
                  <a:cubicBezTo>
                    <a:pt x="748" y="122"/>
                    <a:pt x="748" y="122"/>
                    <a:pt x="748" y="122"/>
                  </a:cubicBezTo>
                  <a:cubicBezTo>
                    <a:pt x="749" y="120"/>
                    <a:pt x="748" y="119"/>
                    <a:pt x="747" y="118"/>
                  </a:cubicBezTo>
                  <a:cubicBezTo>
                    <a:pt x="747" y="118"/>
                    <a:pt x="747" y="117"/>
                    <a:pt x="747" y="117"/>
                  </a:cubicBezTo>
                  <a:cubicBezTo>
                    <a:pt x="748" y="115"/>
                    <a:pt x="748" y="115"/>
                    <a:pt x="748" y="115"/>
                  </a:cubicBezTo>
                  <a:cubicBezTo>
                    <a:pt x="746" y="115"/>
                    <a:pt x="746" y="115"/>
                    <a:pt x="746" y="115"/>
                  </a:cubicBezTo>
                  <a:cubicBezTo>
                    <a:pt x="745" y="115"/>
                    <a:pt x="745" y="114"/>
                    <a:pt x="745" y="114"/>
                  </a:cubicBezTo>
                  <a:cubicBezTo>
                    <a:pt x="744" y="114"/>
                    <a:pt x="744" y="114"/>
                    <a:pt x="744" y="114"/>
                  </a:cubicBezTo>
                  <a:cubicBezTo>
                    <a:pt x="744" y="113"/>
                    <a:pt x="744" y="113"/>
                    <a:pt x="744" y="113"/>
                  </a:cubicBezTo>
                  <a:cubicBezTo>
                    <a:pt x="744" y="113"/>
                    <a:pt x="745" y="111"/>
                    <a:pt x="744" y="110"/>
                  </a:cubicBezTo>
                  <a:cubicBezTo>
                    <a:pt x="744" y="110"/>
                    <a:pt x="744" y="110"/>
                    <a:pt x="743" y="110"/>
                  </a:cubicBezTo>
                  <a:cubicBezTo>
                    <a:pt x="744" y="109"/>
                    <a:pt x="744" y="108"/>
                    <a:pt x="744" y="107"/>
                  </a:cubicBezTo>
                  <a:cubicBezTo>
                    <a:pt x="744" y="104"/>
                    <a:pt x="743" y="103"/>
                    <a:pt x="741" y="103"/>
                  </a:cubicBezTo>
                  <a:cubicBezTo>
                    <a:pt x="741" y="103"/>
                    <a:pt x="741" y="103"/>
                    <a:pt x="741" y="103"/>
                  </a:cubicBezTo>
                  <a:cubicBezTo>
                    <a:pt x="739" y="103"/>
                    <a:pt x="738" y="104"/>
                    <a:pt x="737" y="104"/>
                  </a:cubicBezTo>
                  <a:cubicBezTo>
                    <a:pt x="736" y="105"/>
                    <a:pt x="736" y="105"/>
                    <a:pt x="736" y="105"/>
                  </a:cubicBezTo>
                  <a:cubicBezTo>
                    <a:pt x="735" y="106"/>
                    <a:pt x="734" y="106"/>
                    <a:pt x="733" y="106"/>
                  </a:cubicBezTo>
                  <a:cubicBezTo>
                    <a:pt x="733" y="106"/>
                    <a:pt x="733" y="106"/>
                    <a:pt x="733" y="106"/>
                  </a:cubicBezTo>
                  <a:cubicBezTo>
                    <a:pt x="733" y="106"/>
                    <a:pt x="733" y="106"/>
                    <a:pt x="733" y="106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35" y="104"/>
                    <a:pt x="736" y="103"/>
                    <a:pt x="736" y="102"/>
                  </a:cubicBezTo>
                  <a:cubicBezTo>
                    <a:pt x="736" y="101"/>
                    <a:pt x="736" y="101"/>
                    <a:pt x="735" y="100"/>
                  </a:cubicBezTo>
                  <a:cubicBezTo>
                    <a:pt x="735" y="100"/>
                    <a:pt x="735" y="100"/>
                    <a:pt x="735" y="100"/>
                  </a:cubicBezTo>
                  <a:cubicBezTo>
                    <a:pt x="735" y="100"/>
                    <a:pt x="735" y="100"/>
                    <a:pt x="735" y="100"/>
                  </a:cubicBezTo>
                  <a:cubicBezTo>
                    <a:pt x="736" y="99"/>
                    <a:pt x="736" y="98"/>
                    <a:pt x="735" y="97"/>
                  </a:cubicBezTo>
                  <a:cubicBezTo>
                    <a:pt x="735" y="97"/>
                    <a:pt x="735" y="97"/>
                    <a:pt x="734" y="97"/>
                  </a:cubicBezTo>
                  <a:cubicBezTo>
                    <a:pt x="734" y="97"/>
                    <a:pt x="735" y="97"/>
                    <a:pt x="735" y="97"/>
                  </a:cubicBezTo>
                  <a:cubicBezTo>
                    <a:pt x="735" y="96"/>
                    <a:pt x="736" y="95"/>
                    <a:pt x="737" y="94"/>
                  </a:cubicBezTo>
                  <a:cubicBezTo>
                    <a:pt x="737" y="93"/>
                    <a:pt x="738" y="91"/>
                    <a:pt x="737" y="90"/>
                  </a:cubicBezTo>
                  <a:cubicBezTo>
                    <a:pt x="736" y="89"/>
                    <a:pt x="734" y="90"/>
                    <a:pt x="734" y="90"/>
                  </a:cubicBezTo>
                  <a:cubicBezTo>
                    <a:pt x="733" y="90"/>
                    <a:pt x="733" y="90"/>
                    <a:pt x="733" y="90"/>
                  </a:cubicBezTo>
                  <a:cubicBezTo>
                    <a:pt x="733" y="90"/>
                    <a:pt x="733" y="90"/>
                    <a:pt x="733" y="90"/>
                  </a:cubicBezTo>
                  <a:cubicBezTo>
                    <a:pt x="733" y="89"/>
                    <a:pt x="733" y="89"/>
                    <a:pt x="733" y="89"/>
                  </a:cubicBezTo>
                  <a:cubicBezTo>
                    <a:pt x="732" y="89"/>
                    <a:pt x="732" y="89"/>
                    <a:pt x="732" y="88"/>
                  </a:cubicBezTo>
                  <a:cubicBezTo>
                    <a:pt x="732" y="88"/>
                    <a:pt x="732" y="88"/>
                    <a:pt x="732" y="88"/>
                  </a:cubicBezTo>
                  <a:cubicBezTo>
                    <a:pt x="732" y="88"/>
                    <a:pt x="732" y="88"/>
                    <a:pt x="733" y="88"/>
                  </a:cubicBezTo>
                  <a:cubicBezTo>
                    <a:pt x="733" y="88"/>
                    <a:pt x="734" y="89"/>
                    <a:pt x="735" y="89"/>
                  </a:cubicBezTo>
                  <a:cubicBezTo>
                    <a:pt x="736" y="89"/>
                    <a:pt x="737" y="88"/>
                    <a:pt x="737" y="88"/>
                  </a:cubicBezTo>
                  <a:cubicBezTo>
                    <a:pt x="738" y="87"/>
                    <a:pt x="738" y="86"/>
                    <a:pt x="738" y="85"/>
                  </a:cubicBezTo>
                  <a:cubicBezTo>
                    <a:pt x="738" y="85"/>
                    <a:pt x="737" y="85"/>
                    <a:pt x="737" y="84"/>
                  </a:cubicBezTo>
                  <a:cubicBezTo>
                    <a:pt x="737" y="84"/>
                    <a:pt x="737" y="84"/>
                    <a:pt x="737" y="84"/>
                  </a:cubicBezTo>
                  <a:cubicBezTo>
                    <a:pt x="737" y="83"/>
                    <a:pt x="737" y="83"/>
                    <a:pt x="738" y="82"/>
                  </a:cubicBezTo>
                  <a:cubicBezTo>
                    <a:pt x="738" y="81"/>
                    <a:pt x="738" y="81"/>
                    <a:pt x="738" y="81"/>
                  </a:cubicBezTo>
                  <a:cubicBezTo>
                    <a:pt x="739" y="80"/>
                    <a:pt x="739" y="79"/>
                    <a:pt x="738" y="77"/>
                  </a:cubicBezTo>
                  <a:cubicBezTo>
                    <a:pt x="738" y="76"/>
                    <a:pt x="736" y="76"/>
                    <a:pt x="735" y="75"/>
                  </a:cubicBezTo>
                  <a:cubicBezTo>
                    <a:pt x="735" y="75"/>
                    <a:pt x="734" y="75"/>
                    <a:pt x="734" y="75"/>
                  </a:cubicBezTo>
                  <a:cubicBezTo>
                    <a:pt x="733" y="75"/>
                    <a:pt x="733" y="75"/>
                    <a:pt x="733" y="75"/>
                  </a:cubicBezTo>
                  <a:cubicBezTo>
                    <a:pt x="733" y="75"/>
                    <a:pt x="732" y="75"/>
                    <a:pt x="732" y="75"/>
                  </a:cubicBezTo>
                  <a:cubicBezTo>
                    <a:pt x="731" y="75"/>
                    <a:pt x="731" y="75"/>
                    <a:pt x="730" y="74"/>
                  </a:cubicBezTo>
                  <a:cubicBezTo>
                    <a:pt x="730" y="74"/>
                    <a:pt x="730" y="74"/>
                    <a:pt x="730" y="74"/>
                  </a:cubicBezTo>
                  <a:cubicBezTo>
                    <a:pt x="729" y="73"/>
                    <a:pt x="728" y="73"/>
                    <a:pt x="728" y="72"/>
                  </a:cubicBezTo>
                  <a:cubicBezTo>
                    <a:pt x="725" y="71"/>
                    <a:pt x="724" y="72"/>
                    <a:pt x="723" y="73"/>
                  </a:cubicBezTo>
                  <a:cubicBezTo>
                    <a:pt x="723" y="73"/>
                    <a:pt x="723" y="73"/>
                    <a:pt x="723" y="73"/>
                  </a:cubicBezTo>
                  <a:cubicBezTo>
                    <a:pt x="723" y="73"/>
                    <a:pt x="722" y="74"/>
                    <a:pt x="722" y="74"/>
                  </a:cubicBezTo>
                  <a:cubicBezTo>
                    <a:pt x="722" y="72"/>
                    <a:pt x="721" y="71"/>
                    <a:pt x="720" y="71"/>
                  </a:cubicBezTo>
                  <a:cubicBezTo>
                    <a:pt x="719" y="70"/>
                    <a:pt x="719" y="70"/>
                    <a:pt x="716" y="70"/>
                  </a:cubicBezTo>
                  <a:cubicBezTo>
                    <a:pt x="715" y="70"/>
                    <a:pt x="715" y="70"/>
                    <a:pt x="715" y="70"/>
                  </a:cubicBezTo>
                  <a:cubicBezTo>
                    <a:pt x="715" y="70"/>
                    <a:pt x="714" y="70"/>
                    <a:pt x="714" y="70"/>
                  </a:cubicBezTo>
                  <a:cubicBezTo>
                    <a:pt x="713" y="70"/>
                    <a:pt x="713" y="70"/>
                    <a:pt x="713" y="70"/>
                  </a:cubicBezTo>
                  <a:cubicBezTo>
                    <a:pt x="713" y="70"/>
                    <a:pt x="712" y="70"/>
                    <a:pt x="712" y="70"/>
                  </a:cubicBezTo>
                  <a:cubicBezTo>
                    <a:pt x="712" y="70"/>
                    <a:pt x="712" y="70"/>
                    <a:pt x="712" y="70"/>
                  </a:cubicBezTo>
                  <a:cubicBezTo>
                    <a:pt x="711" y="70"/>
                    <a:pt x="711" y="70"/>
                    <a:pt x="711" y="70"/>
                  </a:cubicBezTo>
                  <a:cubicBezTo>
                    <a:pt x="711" y="70"/>
                    <a:pt x="711" y="70"/>
                    <a:pt x="711" y="70"/>
                  </a:cubicBezTo>
                  <a:cubicBezTo>
                    <a:pt x="710" y="70"/>
                    <a:pt x="708" y="70"/>
                    <a:pt x="707" y="72"/>
                  </a:cubicBezTo>
                  <a:cubicBezTo>
                    <a:pt x="707" y="72"/>
                    <a:pt x="707" y="72"/>
                    <a:pt x="706" y="71"/>
                  </a:cubicBezTo>
                  <a:cubicBezTo>
                    <a:pt x="705" y="71"/>
                    <a:pt x="704" y="71"/>
                    <a:pt x="704" y="72"/>
                  </a:cubicBezTo>
                  <a:cubicBezTo>
                    <a:pt x="703" y="72"/>
                    <a:pt x="703" y="72"/>
                    <a:pt x="703" y="72"/>
                  </a:cubicBezTo>
                  <a:cubicBezTo>
                    <a:pt x="703" y="72"/>
                    <a:pt x="703" y="72"/>
                    <a:pt x="703" y="72"/>
                  </a:cubicBezTo>
                  <a:cubicBezTo>
                    <a:pt x="702" y="72"/>
                    <a:pt x="701" y="72"/>
                    <a:pt x="701" y="71"/>
                  </a:cubicBezTo>
                  <a:cubicBezTo>
                    <a:pt x="702" y="71"/>
                    <a:pt x="702" y="71"/>
                    <a:pt x="703" y="71"/>
                  </a:cubicBezTo>
                  <a:cubicBezTo>
                    <a:pt x="703" y="71"/>
                    <a:pt x="703" y="71"/>
                    <a:pt x="703" y="71"/>
                  </a:cubicBezTo>
                  <a:cubicBezTo>
                    <a:pt x="704" y="71"/>
                    <a:pt x="706" y="71"/>
                    <a:pt x="707" y="70"/>
                  </a:cubicBezTo>
                  <a:cubicBezTo>
                    <a:pt x="708" y="69"/>
                    <a:pt x="708" y="69"/>
                    <a:pt x="708" y="68"/>
                  </a:cubicBezTo>
                  <a:cubicBezTo>
                    <a:pt x="708" y="66"/>
                    <a:pt x="706" y="66"/>
                    <a:pt x="705" y="66"/>
                  </a:cubicBezTo>
                  <a:cubicBezTo>
                    <a:pt x="704" y="65"/>
                    <a:pt x="703" y="65"/>
                    <a:pt x="702" y="65"/>
                  </a:cubicBezTo>
                  <a:cubicBezTo>
                    <a:pt x="701" y="65"/>
                    <a:pt x="701" y="65"/>
                    <a:pt x="701" y="65"/>
                  </a:cubicBezTo>
                  <a:cubicBezTo>
                    <a:pt x="700" y="64"/>
                    <a:pt x="699" y="64"/>
                    <a:pt x="697" y="64"/>
                  </a:cubicBezTo>
                  <a:cubicBezTo>
                    <a:pt x="697" y="64"/>
                    <a:pt x="697" y="64"/>
                    <a:pt x="697" y="64"/>
                  </a:cubicBezTo>
                  <a:cubicBezTo>
                    <a:pt x="695" y="64"/>
                    <a:pt x="694" y="64"/>
                    <a:pt x="692" y="65"/>
                  </a:cubicBezTo>
                  <a:cubicBezTo>
                    <a:pt x="692" y="65"/>
                    <a:pt x="691" y="65"/>
                    <a:pt x="690" y="66"/>
                  </a:cubicBezTo>
                  <a:cubicBezTo>
                    <a:pt x="690" y="66"/>
                    <a:pt x="689" y="66"/>
                    <a:pt x="689" y="66"/>
                  </a:cubicBezTo>
                  <a:cubicBezTo>
                    <a:pt x="688" y="67"/>
                    <a:pt x="687" y="67"/>
                    <a:pt x="686" y="67"/>
                  </a:cubicBezTo>
                  <a:cubicBezTo>
                    <a:pt x="685" y="67"/>
                    <a:pt x="685" y="67"/>
                    <a:pt x="684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3" y="68"/>
                    <a:pt x="683" y="68"/>
                  </a:cubicBezTo>
                  <a:cubicBezTo>
                    <a:pt x="683" y="69"/>
                    <a:pt x="683" y="69"/>
                    <a:pt x="683" y="69"/>
                  </a:cubicBezTo>
                  <a:cubicBezTo>
                    <a:pt x="683" y="68"/>
                    <a:pt x="683" y="68"/>
                    <a:pt x="683" y="68"/>
                  </a:cubicBezTo>
                  <a:cubicBezTo>
                    <a:pt x="682" y="67"/>
                    <a:pt x="682" y="67"/>
                    <a:pt x="681" y="68"/>
                  </a:cubicBezTo>
                  <a:cubicBezTo>
                    <a:pt x="681" y="68"/>
                    <a:pt x="680" y="68"/>
                    <a:pt x="680" y="68"/>
                  </a:cubicBezTo>
                  <a:cubicBezTo>
                    <a:pt x="680" y="68"/>
                    <a:pt x="679" y="69"/>
                    <a:pt x="679" y="69"/>
                  </a:cubicBezTo>
                  <a:cubicBezTo>
                    <a:pt x="679" y="69"/>
                    <a:pt x="679" y="69"/>
                    <a:pt x="679" y="69"/>
                  </a:cubicBezTo>
                  <a:cubicBezTo>
                    <a:pt x="679" y="69"/>
                    <a:pt x="678" y="69"/>
                    <a:pt x="678" y="69"/>
                  </a:cubicBezTo>
                  <a:cubicBezTo>
                    <a:pt x="677" y="69"/>
                    <a:pt x="677" y="70"/>
                    <a:pt x="676" y="70"/>
                  </a:cubicBezTo>
                  <a:cubicBezTo>
                    <a:pt x="676" y="70"/>
                    <a:pt x="676" y="70"/>
                    <a:pt x="676" y="70"/>
                  </a:cubicBezTo>
                  <a:cubicBezTo>
                    <a:pt x="675" y="71"/>
                    <a:pt x="675" y="71"/>
                    <a:pt x="674" y="72"/>
                  </a:cubicBezTo>
                  <a:cubicBezTo>
                    <a:pt x="674" y="72"/>
                    <a:pt x="674" y="72"/>
                    <a:pt x="674" y="72"/>
                  </a:cubicBezTo>
                  <a:cubicBezTo>
                    <a:pt x="673" y="73"/>
                    <a:pt x="673" y="73"/>
                    <a:pt x="673" y="73"/>
                  </a:cubicBezTo>
                  <a:cubicBezTo>
                    <a:pt x="673" y="73"/>
                    <a:pt x="672" y="73"/>
                    <a:pt x="672" y="74"/>
                  </a:cubicBezTo>
                  <a:cubicBezTo>
                    <a:pt x="671" y="74"/>
                    <a:pt x="670" y="75"/>
                    <a:pt x="669" y="75"/>
                  </a:cubicBezTo>
                  <a:cubicBezTo>
                    <a:pt x="668" y="76"/>
                    <a:pt x="668" y="76"/>
                    <a:pt x="667" y="76"/>
                  </a:cubicBezTo>
                  <a:cubicBezTo>
                    <a:pt x="667" y="77"/>
                    <a:pt x="667" y="77"/>
                    <a:pt x="666" y="77"/>
                  </a:cubicBezTo>
                  <a:cubicBezTo>
                    <a:pt x="666" y="77"/>
                    <a:pt x="666" y="77"/>
                    <a:pt x="666" y="77"/>
                  </a:cubicBezTo>
                  <a:cubicBezTo>
                    <a:pt x="666" y="77"/>
                    <a:pt x="665" y="77"/>
                    <a:pt x="664" y="77"/>
                  </a:cubicBezTo>
                  <a:cubicBezTo>
                    <a:pt x="663" y="78"/>
                    <a:pt x="663" y="79"/>
                    <a:pt x="663" y="80"/>
                  </a:cubicBezTo>
                  <a:cubicBezTo>
                    <a:pt x="662" y="81"/>
                    <a:pt x="661" y="81"/>
                    <a:pt x="660" y="81"/>
                  </a:cubicBezTo>
                  <a:cubicBezTo>
                    <a:pt x="660" y="81"/>
                    <a:pt x="659" y="81"/>
                    <a:pt x="659" y="81"/>
                  </a:cubicBezTo>
                  <a:cubicBezTo>
                    <a:pt x="657" y="81"/>
                    <a:pt x="656" y="83"/>
                    <a:pt x="657" y="84"/>
                  </a:cubicBezTo>
                  <a:cubicBezTo>
                    <a:pt x="657" y="84"/>
                    <a:pt x="657" y="84"/>
                    <a:pt x="656" y="84"/>
                  </a:cubicBezTo>
                  <a:cubicBezTo>
                    <a:pt x="656" y="84"/>
                    <a:pt x="656" y="85"/>
                    <a:pt x="656" y="85"/>
                  </a:cubicBezTo>
                  <a:cubicBezTo>
                    <a:pt x="655" y="85"/>
                    <a:pt x="655" y="85"/>
                    <a:pt x="654" y="86"/>
                  </a:cubicBezTo>
                  <a:cubicBezTo>
                    <a:pt x="654" y="86"/>
                    <a:pt x="654" y="87"/>
                    <a:pt x="654" y="87"/>
                  </a:cubicBezTo>
                  <a:cubicBezTo>
                    <a:pt x="654" y="87"/>
                    <a:pt x="654" y="87"/>
                    <a:pt x="654" y="87"/>
                  </a:cubicBezTo>
                  <a:cubicBezTo>
                    <a:pt x="653" y="88"/>
                    <a:pt x="653" y="88"/>
                    <a:pt x="653" y="90"/>
                  </a:cubicBezTo>
                  <a:cubicBezTo>
                    <a:pt x="653" y="91"/>
                    <a:pt x="653" y="91"/>
                    <a:pt x="654" y="92"/>
                  </a:cubicBezTo>
                  <a:cubicBezTo>
                    <a:pt x="653" y="91"/>
                    <a:pt x="652" y="91"/>
                    <a:pt x="651" y="92"/>
                  </a:cubicBezTo>
                  <a:cubicBezTo>
                    <a:pt x="651" y="92"/>
                    <a:pt x="650" y="93"/>
                    <a:pt x="650" y="93"/>
                  </a:cubicBezTo>
                  <a:cubicBezTo>
                    <a:pt x="650" y="93"/>
                    <a:pt x="650" y="94"/>
                    <a:pt x="650" y="94"/>
                  </a:cubicBezTo>
                  <a:cubicBezTo>
                    <a:pt x="650" y="94"/>
                    <a:pt x="650" y="94"/>
                    <a:pt x="650" y="94"/>
                  </a:cubicBezTo>
                  <a:cubicBezTo>
                    <a:pt x="650" y="94"/>
                    <a:pt x="650" y="94"/>
                    <a:pt x="650" y="94"/>
                  </a:cubicBezTo>
                  <a:cubicBezTo>
                    <a:pt x="649" y="94"/>
                    <a:pt x="649" y="94"/>
                    <a:pt x="649" y="94"/>
                  </a:cubicBezTo>
                  <a:cubicBezTo>
                    <a:pt x="648" y="94"/>
                    <a:pt x="647" y="95"/>
                    <a:pt x="647" y="95"/>
                  </a:cubicBezTo>
                  <a:cubicBezTo>
                    <a:pt x="648" y="96"/>
                    <a:pt x="648" y="96"/>
                    <a:pt x="648" y="96"/>
                  </a:cubicBezTo>
                  <a:cubicBezTo>
                    <a:pt x="648" y="96"/>
                    <a:pt x="648" y="96"/>
                    <a:pt x="648" y="96"/>
                  </a:cubicBezTo>
                  <a:cubicBezTo>
                    <a:pt x="646" y="96"/>
                    <a:pt x="646" y="96"/>
                    <a:pt x="646" y="96"/>
                  </a:cubicBezTo>
                  <a:cubicBezTo>
                    <a:pt x="646" y="96"/>
                    <a:pt x="646" y="96"/>
                    <a:pt x="646" y="96"/>
                  </a:cubicBezTo>
                  <a:cubicBezTo>
                    <a:pt x="645" y="96"/>
                    <a:pt x="645" y="97"/>
                    <a:pt x="645" y="97"/>
                  </a:cubicBezTo>
                  <a:cubicBezTo>
                    <a:pt x="644" y="99"/>
                    <a:pt x="644" y="100"/>
                    <a:pt x="645" y="101"/>
                  </a:cubicBezTo>
                  <a:cubicBezTo>
                    <a:pt x="645" y="101"/>
                    <a:pt x="645" y="101"/>
                    <a:pt x="645" y="101"/>
                  </a:cubicBezTo>
                  <a:cubicBezTo>
                    <a:pt x="645" y="101"/>
                    <a:pt x="645" y="101"/>
                    <a:pt x="645" y="101"/>
                  </a:cubicBezTo>
                  <a:cubicBezTo>
                    <a:pt x="644" y="102"/>
                    <a:pt x="644" y="102"/>
                    <a:pt x="644" y="103"/>
                  </a:cubicBezTo>
                  <a:cubicBezTo>
                    <a:pt x="645" y="104"/>
                    <a:pt x="645" y="104"/>
                    <a:pt x="646" y="104"/>
                  </a:cubicBezTo>
                  <a:cubicBezTo>
                    <a:pt x="647" y="104"/>
                    <a:pt x="647" y="104"/>
                    <a:pt x="648" y="104"/>
                  </a:cubicBezTo>
                  <a:cubicBezTo>
                    <a:pt x="648" y="104"/>
                    <a:pt x="648" y="104"/>
                    <a:pt x="649" y="104"/>
                  </a:cubicBezTo>
                  <a:cubicBezTo>
                    <a:pt x="649" y="104"/>
                    <a:pt x="649" y="104"/>
                    <a:pt x="649" y="105"/>
                  </a:cubicBezTo>
                  <a:cubicBezTo>
                    <a:pt x="650" y="105"/>
                    <a:pt x="650" y="105"/>
                    <a:pt x="650" y="105"/>
                  </a:cubicBezTo>
                  <a:cubicBezTo>
                    <a:pt x="651" y="106"/>
                    <a:pt x="653" y="106"/>
                    <a:pt x="654" y="105"/>
                  </a:cubicBezTo>
                  <a:cubicBezTo>
                    <a:pt x="654" y="105"/>
                    <a:pt x="654" y="105"/>
                    <a:pt x="654" y="105"/>
                  </a:cubicBezTo>
                  <a:cubicBezTo>
                    <a:pt x="654" y="105"/>
                    <a:pt x="654" y="105"/>
                    <a:pt x="654" y="105"/>
                  </a:cubicBezTo>
                  <a:cubicBezTo>
                    <a:pt x="654" y="105"/>
                    <a:pt x="654" y="105"/>
                    <a:pt x="654" y="106"/>
                  </a:cubicBezTo>
                  <a:cubicBezTo>
                    <a:pt x="654" y="107"/>
                    <a:pt x="654" y="107"/>
                    <a:pt x="655" y="108"/>
                  </a:cubicBezTo>
                  <a:cubicBezTo>
                    <a:pt x="655" y="108"/>
                    <a:pt x="655" y="108"/>
                    <a:pt x="655" y="109"/>
                  </a:cubicBezTo>
                  <a:cubicBezTo>
                    <a:pt x="655" y="109"/>
                    <a:pt x="655" y="109"/>
                    <a:pt x="655" y="109"/>
                  </a:cubicBezTo>
                  <a:cubicBezTo>
                    <a:pt x="657" y="109"/>
                    <a:pt x="657" y="109"/>
                    <a:pt x="657" y="109"/>
                  </a:cubicBezTo>
                  <a:cubicBezTo>
                    <a:pt x="657" y="109"/>
                    <a:pt x="657" y="109"/>
                    <a:pt x="657" y="109"/>
                  </a:cubicBezTo>
                  <a:cubicBezTo>
                    <a:pt x="656" y="110"/>
                    <a:pt x="656" y="110"/>
                    <a:pt x="656" y="110"/>
                  </a:cubicBezTo>
                  <a:cubicBezTo>
                    <a:pt x="656" y="110"/>
                    <a:pt x="656" y="110"/>
                    <a:pt x="656" y="110"/>
                  </a:cubicBezTo>
                  <a:cubicBezTo>
                    <a:pt x="656" y="110"/>
                    <a:pt x="655" y="110"/>
                    <a:pt x="655" y="111"/>
                  </a:cubicBezTo>
                  <a:cubicBezTo>
                    <a:pt x="654" y="111"/>
                    <a:pt x="654" y="111"/>
                    <a:pt x="653" y="112"/>
                  </a:cubicBezTo>
                  <a:cubicBezTo>
                    <a:pt x="653" y="112"/>
                    <a:pt x="653" y="112"/>
                    <a:pt x="653" y="112"/>
                  </a:cubicBezTo>
                  <a:cubicBezTo>
                    <a:pt x="652" y="113"/>
                    <a:pt x="651" y="113"/>
                    <a:pt x="650" y="114"/>
                  </a:cubicBezTo>
                  <a:cubicBezTo>
                    <a:pt x="650" y="114"/>
                    <a:pt x="650" y="114"/>
                    <a:pt x="649" y="115"/>
                  </a:cubicBezTo>
                  <a:cubicBezTo>
                    <a:pt x="649" y="115"/>
                    <a:pt x="649" y="115"/>
                    <a:pt x="648" y="115"/>
                  </a:cubicBezTo>
                  <a:cubicBezTo>
                    <a:pt x="648" y="116"/>
                    <a:pt x="648" y="116"/>
                    <a:pt x="648" y="116"/>
                  </a:cubicBezTo>
                  <a:cubicBezTo>
                    <a:pt x="648" y="116"/>
                    <a:pt x="648" y="116"/>
                    <a:pt x="648" y="116"/>
                  </a:cubicBezTo>
                  <a:cubicBezTo>
                    <a:pt x="647" y="117"/>
                    <a:pt x="647" y="117"/>
                    <a:pt x="647" y="118"/>
                  </a:cubicBezTo>
                  <a:cubicBezTo>
                    <a:pt x="647" y="118"/>
                    <a:pt x="647" y="118"/>
                    <a:pt x="646" y="118"/>
                  </a:cubicBezTo>
                  <a:cubicBezTo>
                    <a:pt x="646" y="119"/>
                    <a:pt x="646" y="119"/>
                    <a:pt x="647" y="121"/>
                  </a:cubicBezTo>
                  <a:cubicBezTo>
                    <a:pt x="647" y="121"/>
                    <a:pt x="647" y="121"/>
                    <a:pt x="647" y="121"/>
                  </a:cubicBezTo>
                  <a:cubicBezTo>
                    <a:pt x="647" y="121"/>
                    <a:pt x="647" y="121"/>
                    <a:pt x="647" y="121"/>
                  </a:cubicBezTo>
                  <a:cubicBezTo>
                    <a:pt x="647" y="122"/>
                    <a:pt x="647" y="122"/>
                    <a:pt x="647" y="122"/>
                  </a:cubicBezTo>
                  <a:cubicBezTo>
                    <a:pt x="646" y="121"/>
                    <a:pt x="646" y="121"/>
                    <a:pt x="646" y="121"/>
                  </a:cubicBezTo>
                  <a:cubicBezTo>
                    <a:pt x="646" y="121"/>
                    <a:pt x="645" y="121"/>
                    <a:pt x="645" y="121"/>
                  </a:cubicBezTo>
                  <a:cubicBezTo>
                    <a:pt x="644" y="121"/>
                    <a:pt x="644" y="122"/>
                    <a:pt x="644" y="122"/>
                  </a:cubicBezTo>
                  <a:cubicBezTo>
                    <a:pt x="644" y="122"/>
                    <a:pt x="642" y="121"/>
                    <a:pt x="641" y="122"/>
                  </a:cubicBezTo>
                  <a:cubicBezTo>
                    <a:pt x="641" y="122"/>
                    <a:pt x="641" y="122"/>
                    <a:pt x="640" y="123"/>
                  </a:cubicBezTo>
                  <a:cubicBezTo>
                    <a:pt x="640" y="123"/>
                    <a:pt x="640" y="123"/>
                    <a:pt x="640" y="123"/>
                  </a:cubicBezTo>
                  <a:cubicBezTo>
                    <a:pt x="639" y="123"/>
                    <a:pt x="639" y="124"/>
                    <a:pt x="639" y="124"/>
                  </a:cubicBezTo>
                  <a:cubicBezTo>
                    <a:pt x="638" y="125"/>
                    <a:pt x="638" y="125"/>
                    <a:pt x="638" y="126"/>
                  </a:cubicBezTo>
                  <a:cubicBezTo>
                    <a:pt x="638" y="126"/>
                    <a:pt x="637" y="126"/>
                    <a:pt x="637" y="127"/>
                  </a:cubicBezTo>
                  <a:cubicBezTo>
                    <a:pt x="637" y="127"/>
                    <a:pt x="637" y="127"/>
                    <a:pt x="637" y="127"/>
                  </a:cubicBezTo>
                  <a:cubicBezTo>
                    <a:pt x="636" y="127"/>
                    <a:pt x="636" y="127"/>
                    <a:pt x="636" y="127"/>
                  </a:cubicBezTo>
                  <a:cubicBezTo>
                    <a:pt x="636" y="127"/>
                    <a:pt x="636" y="127"/>
                    <a:pt x="636" y="128"/>
                  </a:cubicBezTo>
                  <a:cubicBezTo>
                    <a:pt x="635" y="128"/>
                    <a:pt x="635" y="128"/>
                    <a:pt x="635" y="128"/>
                  </a:cubicBezTo>
                  <a:cubicBezTo>
                    <a:pt x="635" y="128"/>
                    <a:pt x="634" y="128"/>
                    <a:pt x="634" y="129"/>
                  </a:cubicBezTo>
                  <a:cubicBezTo>
                    <a:pt x="634" y="129"/>
                    <a:pt x="634" y="129"/>
                    <a:pt x="634" y="129"/>
                  </a:cubicBezTo>
                  <a:cubicBezTo>
                    <a:pt x="634" y="129"/>
                    <a:pt x="633" y="129"/>
                    <a:pt x="633" y="129"/>
                  </a:cubicBezTo>
                  <a:cubicBezTo>
                    <a:pt x="633" y="130"/>
                    <a:pt x="633" y="130"/>
                    <a:pt x="633" y="130"/>
                  </a:cubicBezTo>
                  <a:cubicBezTo>
                    <a:pt x="632" y="130"/>
                    <a:pt x="631" y="131"/>
                    <a:pt x="630" y="131"/>
                  </a:cubicBezTo>
                  <a:cubicBezTo>
                    <a:pt x="630" y="132"/>
                    <a:pt x="629" y="132"/>
                    <a:pt x="628" y="133"/>
                  </a:cubicBezTo>
                  <a:cubicBezTo>
                    <a:pt x="628" y="133"/>
                    <a:pt x="628" y="133"/>
                    <a:pt x="628" y="133"/>
                  </a:cubicBezTo>
                  <a:cubicBezTo>
                    <a:pt x="628" y="133"/>
                    <a:pt x="627" y="134"/>
                    <a:pt x="627" y="134"/>
                  </a:cubicBezTo>
                  <a:cubicBezTo>
                    <a:pt x="627" y="134"/>
                    <a:pt x="626" y="135"/>
                    <a:pt x="625" y="135"/>
                  </a:cubicBezTo>
                  <a:cubicBezTo>
                    <a:pt x="625" y="135"/>
                    <a:pt x="625" y="135"/>
                    <a:pt x="625" y="135"/>
                  </a:cubicBezTo>
                  <a:cubicBezTo>
                    <a:pt x="625" y="135"/>
                    <a:pt x="625" y="135"/>
                    <a:pt x="625" y="135"/>
                  </a:cubicBezTo>
                  <a:cubicBezTo>
                    <a:pt x="624" y="135"/>
                    <a:pt x="624" y="135"/>
                    <a:pt x="624" y="135"/>
                  </a:cubicBezTo>
                  <a:cubicBezTo>
                    <a:pt x="624" y="135"/>
                    <a:pt x="624" y="135"/>
                    <a:pt x="624" y="135"/>
                  </a:cubicBezTo>
                  <a:cubicBezTo>
                    <a:pt x="623" y="135"/>
                    <a:pt x="622" y="135"/>
                    <a:pt x="621" y="136"/>
                  </a:cubicBezTo>
                  <a:cubicBezTo>
                    <a:pt x="620" y="136"/>
                    <a:pt x="620" y="137"/>
                    <a:pt x="620" y="137"/>
                  </a:cubicBezTo>
                  <a:cubicBezTo>
                    <a:pt x="619" y="137"/>
                    <a:pt x="619" y="137"/>
                    <a:pt x="619" y="136"/>
                  </a:cubicBezTo>
                  <a:cubicBezTo>
                    <a:pt x="618" y="136"/>
                    <a:pt x="617" y="136"/>
                    <a:pt x="617" y="136"/>
                  </a:cubicBezTo>
                  <a:cubicBezTo>
                    <a:pt x="616" y="136"/>
                    <a:pt x="616" y="137"/>
                    <a:pt x="615" y="137"/>
                  </a:cubicBezTo>
                  <a:cubicBezTo>
                    <a:pt x="615" y="137"/>
                    <a:pt x="615" y="137"/>
                    <a:pt x="615" y="137"/>
                  </a:cubicBezTo>
                  <a:cubicBezTo>
                    <a:pt x="615" y="137"/>
                    <a:pt x="615" y="137"/>
                    <a:pt x="615" y="137"/>
                  </a:cubicBezTo>
                  <a:cubicBezTo>
                    <a:pt x="614" y="137"/>
                    <a:pt x="614" y="137"/>
                    <a:pt x="614" y="137"/>
                  </a:cubicBezTo>
                  <a:cubicBezTo>
                    <a:pt x="614" y="137"/>
                    <a:pt x="614" y="137"/>
                    <a:pt x="614" y="137"/>
                  </a:cubicBezTo>
                  <a:cubicBezTo>
                    <a:pt x="614" y="137"/>
                    <a:pt x="614" y="137"/>
                    <a:pt x="614" y="136"/>
                  </a:cubicBezTo>
                  <a:cubicBezTo>
                    <a:pt x="614" y="136"/>
                    <a:pt x="614" y="136"/>
                    <a:pt x="614" y="136"/>
                  </a:cubicBezTo>
                  <a:cubicBezTo>
                    <a:pt x="614" y="136"/>
                    <a:pt x="614" y="135"/>
                    <a:pt x="615" y="135"/>
                  </a:cubicBezTo>
                  <a:cubicBezTo>
                    <a:pt x="615" y="134"/>
                    <a:pt x="615" y="134"/>
                    <a:pt x="615" y="134"/>
                  </a:cubicBezTo>
                  <a:cubicBezTo>
                    <a:pt x="615" y="134"/>
                    <a:pt x="615" y="133"/>
                    <a:pt x="615" y="133"/>
                  </a:cubicBezTo>
                  <a:cubicBezTo>
                    <a:pt x="615" y="132"/>
                    <a:pt x="615" y="132"/>
                    <a:pt x="615" y="132"/>
                  </a:cubicBezTo>
                  <a:cubicBezTo>
                    <a:pt x="615" y="131"/>
                    <a:pt x="615" y="131"/>
                    <a:pt x="615" y="131"/>
                  </a:cubicBezTo>
                  <a:cubicBezTo>
                    <a:pt x="616" y="132"/>
                    <a:pt x="616" y="132"/>
                    <a:pt x="616" y="132"/>
                  </a:cubicBezTo>
                  <a:cubicBezTo>
                    <a:pt x="616" y="131"/>
                    <a:pt x="617" y="131"/>
                    <a:pt x="617" y="130"/>
                  </a:cubicBezTo>
                  <a:cubicBezTo>
                    <a:pt x="618" y="130"/>
                    <a:pt x="619" y="129"/>
                    <a:pt x="620" y="128"/>
                  </a:cubicBezTo>
                  <a:cubicBezTo>
                    <a:pt x="620" y="128"/>
                    <a:pt x="621" y="129"/>
                    <a:pt x="621" y="129"/>
                  </a:cubicBezTo>
                  <a:cubicBezTo>
                    <a:pt x="622" y="129"/>
                    <a:pt x="622" y="129"/>
                    <a:pt x="623" y="129"/>
                  </a:cubicBezTo>
                  <a:cubicBezTo>
                    <a:pt x="623" y="128"/>
                    <a:pt x="624" y="128"/>
                    <a:pt x="624" y="127"/>
                  </a:cubicBezTo>
                  <a:cubicBezTo>
                    <a:pt x="624" y="127"/>
                    <a:pt x="624" y="127"/>
                    <a:pt x="624" y="127"/>
                  </a:cubicBezTo>
                  <a:cubicBezTo>
                    <a:pt x="625" y="126"/>
                    <a:pt x="626" y="126"/>
                    <a:pt x="626" y="125"/>
                  </a:cubicBezTo>
                  <a:cubicBezTo>
                    <a:pt x="627" y="125"/>
                    <a:pt x="627" y="125"/>
                    <a:pt x="627" y="125"/>
                  </a:cubicBezTo>
                  <a:cubicBezTo>
                    <a:pt x="627" y="124"/>
                    <a:pt x="627" y="124"/>
                    <a:pt x="628" y="124"/>
                  </a:cubicBezTo>
                  <a:cubicBezTo>
                    <a:pt x="628" y="123"/>
                    <a:pt x="628" y="123"/>
                    <a:pt x="629" y="123"/>
                  </a:cubicBezTo>
                  <a:cubicBezTo>
                    <a:pt x="629" y="122"/>
                    <a:pt x="629" y="122"/>
                    <a:pt x="629" y="122"/>
                  </a:cubicBezTo>
                  <a:cubicBezTo>
                    <a:pt x="629" y="122"/>
                    <a:pt x="630" y="122"/>
                    <a:pt x="630" y="122"/>
                  </a:cubicBezTo>
                  <a:cubicBezTo>
                    <a:pt x="630" y="121"/>
                    <a:pt x="630" y="120"/>
                    <a:pt x="630" y="120"/>
                  </a:cubicBezTo>
                  <a:cubicBezTo>
                    <a:pt x="630" y="119"/>
                    <a:pt x="631" y="119"/>
                    <a:pt x="631" y="119"/>
                  </a:cubicBezTo>
                  <a:cubicBezTo>
                    <a:pt x="631" y="118"/>
                    <a:pt x="631" y="118"/>
                    <a:pt x="631" y="118"/>
                  </a:cubicBezTo>
                  <a:cubicBezTo>
                    <a:pt x="631" y="118"/>
                    <a:pt x="631" y="117"/>
                    <a:pt x="631" y="117"/>
                  </a:cubicBezTo>
                  <a:cubicBezTo>
                    <a:pt x="632" y="116"/>
                    <a:pt x="632" y="115"/>
                    <a:pt x="632" y="114"/>
                  </a:cubicBezTo>
                  <a:cubicBezTo>
                    <a:pt x="632" y="114"/>
                    <a:pt x="631" y="112"/>
                    <a:pt x="629" y="112"/>
                  </a:cubicBezTo>
                  <a:cubicBezTo>
                    <a:pt x="628" y="112"/>
                    <a:pt x="627" y="113"/>
                    <a:pt x="627" y="113"/>
                  </a:cubicBezTo>
                  <a:cubicBezTo>
                    <a:pt x="626" y="113"/>
                    <a:pt x="626" y="114"/>
                    <a:pt x="625" y="114"/>
                  </a:cubicBezTo>
                  <a:cubicBezTo>
                    <a:pt x="625" y="114"/>
                    <a:pt x="625" y="114"/>
                    <a:pt x="625" y="114"/>
                  </a:cubicBezTo>
                  <a:cubicBezTo>
                    <a:pt x="625" y="114"/>
                    <a:pt x="625" y="115"/>
                    <a:pt x="624" y="115"/>
                  </a:cubicBezTo>
                  <a:cubicBezTo>
                    <a:pt x="624" y="115"/>
                    <a:pt x="624" y="115"/>
                    <a:pt x="624" y="115"/>
                  </a:cubicBezTo>
                  <a:cubicBezTo>
                    <a:pt x="622" y="116"/>
                    <a:pt x="622" y="117"/>
                    <a:pt x="622" y="117"/>
                  </a:cubicBezTo>
                  <a:cubicBezTo>
                    <a:pt x="622" y="118"/>
                    <a:pt x="622" y="118"/>
                    <a:pt x="621" y="118"/>
                  </a:cubicBezTo>
                  <a:cubicBezTo>
                    <a:pt x="621" y="118"/>
                    <a:pt x="621" y="118"/>
                    <a:pt x="621" y="118"/>
                  </a:cubicBezTo>
                  <a:cubicBezTo>
                    <a:pt x="621" y="119"/>
                    <a:pt x="621" y="119"/>
                    <a:pt x="620" y="119"/>
                  </a:cubicBezTo>
                  <a:cubicBezTo>
                    <a:pt x="620" y="119"/>
                    <a:pt x="619" y="119"/>
                    <a:pt x="619" y="119"/>
                  </a:cubicBezTo>
                  <a:cubicBezTo>
                    <a:pt x="618" y="120"/>
                    <a:pt x="618" y="120"/>
                    <a:pt x="617" y="120"/>
                  </a:cubicBezTo>
                  <a:cubicBezTo>
                    <a:pt x="617" y="121"/>
                    <a:pt x="617" y="121"/>
                    <a:pt x="617" y="121"/>
                  </a:cubicBezTo>
                  <a:cubicBezTo>
                    <a:pt x="617" y="121"/>
                    <a:pt x="617" y="121"/>
                    <a:pt x="616" y="121"/>
                  </a:cubicBezTo>
                  <a:cubicBezTo>
                    <a:pt x="617" y="120"/>
                    <a:pt x="617" y="120"/>
                    <a:pt x="617" y="120"/>
                  </a:cubicBezTo>
                  <a:cubicBezTo>
                    <a:pt x="618" y="119"/>
                    <a:pt x="618" y="119"/>
                    <a:pt x="618" y="119"/>
                  </a:cubicBezTo>
                  <a:cubicBezTo>
                    <a:pt x="619" y="118"/>
                    <a:pt x="620" y="117"/>
                    <a:pt x="620" y="115"/>
                  </a:cubicBezTo>
                  <a:cubicBezTo>
                    <a:pt x="620" y="114"/>
                    <a:pt x="620" y="113"/>
                    <a:pt x="620" y="113"/>
                  </a:cubicBezTo>
                  <a:cubicBezTo>
                    <a:pt x="619" y="112"/>
                    <a:pt x="619" y="112"/>
                    <a:pt x="619" y="112"/>
                  </a:cubicBezTo>
                  <a:cubicBezTo>
                    <a:pt x="619" y="112"/>
                    <a:pt x="619" y="112"/>
                    <a:pt x="619" y="112"/>
                  </a:cubicBezTo>
                  <a:cubicBezTo>
                    <a:pt x="621" y="113"/>
                    <a:pt x="623" y="113"/>
                    <a:pt x="624" y="112"/>
                  </a:cubicBezTo>
                  <a:cubicBezTo>
                    <a:pt x="624" y="111"/>
                    <a:pt x="624" y="110"/>
                    <a:pt x="624" y="109"/>
                  </a:cubicBezTo>
                  <a:cubicBezTo>
                    <a:pt x="623" y="108"/>
                    <a:pt x="622" y="108"/>
                    <a:pt x="622" y="108"/>
                  </a:cubicBezTo>
                  <a:cubicBezTo>
                    <a:pt x="621" y="107"/>
                    <a:pt x="620" y="107"/>
                    <a:pt x="620" y="107"/>
                  </a:cubicBezTo>
                  <a:cubicBezTo>
                    <a:pt x="619" y="107"/>
                    <a:pt x="619" y="107"/>
                    <a:pt x="619" y="107"/>
                  </a:cubicBezTo>
                  <a:cubicBezTo>
                    <a:pt x="619" y="106"/>
                    <a:pt x="619" y="106"/>
                    <a:pt x="619" y="106"/>
                  </a:cubicBezTo>
                  <a:cubicBezTo>
                    <a:pt x="619" y="106"/>
                    <a:pt x="619" y="106"/>
                    <a:pt x="619" y="106"/>
                  </a:cubicBezTo>
                  <a:cubicBezTo>
                    <a:pt x="620" y="106"/>
                    <a:pt x="620" y="106"/>
                    <a:pt x="621" y="105"/>
                  </a:cubicBezTo>
                  <a:cubicBezTo>
                    <a:pt x="621" y="105"/>
                    <a:pt x="621" y="105"/>
                    <a:pt x="621" y="105"/>
                  </a:cubicBezTo>
                  <a:cubicBezTo>
                    <a:pt x="621" y="105"/>
                    <a:pt x="622" y="105"/>
                    <a:pt x="622" y="105"/>
                  </a:cubicBezTo>
                  <a:cubicBezTo>
                    <a:pt x="622" y="105"/>
                    <a:pt x="623" y="105"/>
                    <a:pt x="623" y="105"/>
                  </a:cubicBezTo>
                  <a:cubicBezTo>
                    <a:pt x="623" y="105"/>
                    <a:pt x="623" y="105"/>
                    <a:pt x="623" y="105"/>
                  </a:cubicBezTo>
                  <a:cubicBezTo>
                    <a:pt x="624" y="105"/>
                    <a:pt x="625" y="105"/>
                    <a:pt x="625" y="104"/>
                  </a:cubicBezTo>
                  <a:cubicBezTo>
                    <a:pt x="626" y="104"/>
                    <a:pt x="626" y="104"/>
                    <a:pt x="626" y="103"/>
                  </a:cubicBezTo>
                  <a:cubicBezTo>
                    <a:pt x="626" y="103"/>
                    <a:pt x="627" y="104"/>
                    <a:pt x="627" y="104"/>
                  </a:cubicBezTo>
                  <a:cubicBezTo>
                    <a:pt x="628" y="104"/>
                    <a:pt x="628" y="104"/>
                    <a:pt x="629" y="104"/>
                  </a:cubicBezTo>
                  <a:cubicBezTo>
                    <a:pt x="629" y="104"/>
                    <a:pt x="629" y="104"/>
                    <a:pt x="629" y="104"/>
                  </a:cubicBezTo>
                  <a:cubicBezTo>
                    <a:pt x="629" y="104"/>
                    <a:pt x="630" y="104"/>
                    <a:pt x="630" y="104"/>
                  </a:cubicBezTo>
                  <a:cubicBezTo>
                    <a:pt x="631" y="104"/>
                    <a:pt x="631" y="103"/>
                    <a:pt x="631" y="101"/>
                  </a:cubicBezTo>
                  <a:cubicBezTo>
                    <a:pt x="631" y="101"/>
                    <a:pt x="631" y="100"/>
                    <a:pt x="631" y="100"/>
                  </a:cubicBezTo>
                  <a:cubicBezTo>
                    <a:pt x="630" y="99"/>
                    <a:pt x="630" y="99"/>
                    <a:pt x="630" y="99"/>
                  </a:cubicBezTo>
                  <a:cubicBezTo>
                    <a:pt x="630" y="99"/>
                    <a:pt x="630" y="99"/>
                    <a:pt x="630" y="99"/>
                  </a:cubicBezTo>
                  <a:cubicBezTo>
                    <a:pt x="630" y="98"/>
                    <a:pt x="630" y="98"/>
                    <a:pt x="631" y="98"/>
                  </a:cubicBezTo>
                  <a:cubicBezTo>
                    <a:pt x="630" y="97"/>
                    <a:pt x="630" y="97"/>
                    <a:pt x="630" y="97"/>
                  </a:cubicBezTo>
                  <a:cubicBezTo>
                    <a:pt x="630" y="97"/>
                    <a:pt x="630" y="97"/>
                    <a:pt x="630" y="97"/>
                  </a:cubicBezTo>
                  <a:cubicBezTo>
                    <a:pt x="631" y="97"/>
                    <a:pt x="631" y="97"/>
                    <a:pt x="631" y="97"/>
                  </a:cubicBezTo>
                  <a:cubicBezTo>
                    <a:pt x="631" y="97"/>
                    <a:pt x="631" y="96"/>
                    <a:pt x="632" y="96"/>
                  </a:cubicBezTo>
                  <a:cubicBezTo>
                    <a:pt x="632" y="95"/>
                    <a:pt x="632" y="94"/>
                    <a:pt x="632" y="94"/>
                  </a:cubicBezTo>
                  <a:cubicBezTo>
                    <a:pt x="632" y="93"/>
                    <a:pt x="632" y="93"/>
                    <a:pt x="632" y="93"/>
                  </a:cubicBezTo>
                  <a:cubicBezTo>
                    <a:pt x="633" y="93"/>
                    <a:pt x="633" y="92"/>
                    <a:pt x="633" y="92"/>
                  </a:cubicBezTo>
                  <a:cubicBezTo>
                    <a:pt x="633" y="91"/>
                    <a:pt x="634" y="91"/>
                    <a:pt x="634" y="91"/>
                  </a:cubicBezTo>
                  <a:cubicBezTo>
                    <a:pt x="635" y="90"/>
                    <a:pt x="635" y="90"/>
                    <a:pt x="636" y="90"/>
                  </a:cubicBezTo>
                  <a:cubicBezTo>
                    <a:pt x="637" y="89"/>
                    <a:pt x="638" y="87"/>
                    <a:pt x="638" y="86"/>
                  </a:cubicBezTo>
                  <a:cubicBezTo>
                    <a:pt x="638" y="85"/>
                    <a:pt x="638" y="84"/>
                    <a:pt x="638" y="84"/>
                  </a:cubicBezTo>
                  <a:cubicBezTo>
                    <a:pt x="638" y="83"/>
                    <a:pt x="639" y="83"/>
                    <a:pt x="639" y="82"/>
                  </a:cubicBezTo>
                  <a:cubicBezTo>
                    <a:pt x="638" y="81"/>
                    <a:pt x="638" y="81"/>
                    <a:pt x="638" y="80"/>
                  </a:cubicBezTo>
                  <a:cubicBezTo>
                    <a:pt x="638" y="81"/>
                    <a:pt x="639" y="81"/>
                    <a:pt x="639" y="81"/>
                  </a:cubicBezTo>
                  <a:cubicBezTo>
                    <a:pt x="640" y="81"/>
                    <a:pt x="640" y="81"/>
                    <a:pt x="640" y="81"/>
                  </a:cubicBezTo>
                  <a:cubicBezTo>
                    <a:pt x="641" y="81"/>
                    <a:pt x="641" y="81"/>
                    <a:pt x="642" y="81"/>
                  </a:cubicBezTo>
                  <a:cubicBezTo>
                    <a:pt x="642" y="80"/>
                    <a:pt x="642" y="79"/>
                    <a:pt x="642" y="78"/>
                  </a:cubicBezTo>
                  <a:cubicBezTo>
                    <a:pt x="642" y="78"/>
                    <a:pt x="642" y="78"/>
                    <a:pt x="642" y="78"/>
                  </a:cubicBezTo>
                  <a:cubicBezTo>
                    <a:pt x="642" y="78"/>
                    <a:pt x="642" y="78"/>
                    <a:pt x="642" y="78"/>
                  </a:cubicBezTo>
                  <a:cubicBezTo>
                    <a:pt x="643" y="78"/>
                    <a:pt x="643" y="78"/>
                    <a:pt x="643" y="78"/>
                  </a:cubicBezTo>
                  <a:cubicBezTo>
                    <a:pt x="643" y="78"/>
                    <a:pt x="643" y="78"/>
                    <a:pt x="644" y="78"/>
                  </a:cubicBezTo>
                  <a:cubicBezTo>
                    <a:pt x="645" y="78"/>
                    <a:pt x="646" y="78"/>
                    <a:pt x="647" y="77"/>
                  </a:cubicBezTo>
                  <a:cubicBezTo>
                    <a:pt x="647" y="77"/>
                    <a:pt x="647" y="77"/>
                    <a:pt x="648" y="77"/>
                  </a:cubicBezTo>
                  <a:cubicBezTo>
                    <a:pt x="648" y="76"/>
                    <a:pt x="649" y="76"/>
                    <a:pt x="650" y="75"/>
                  </a:cubicBezTo>
                  <a:cubicBezTo>
                    <a:pt x="650" y="75"/>
                    <a:pt x="652" y="74"/>
                    <a:pt x="652" y="73"/>
                  </a:cubicBezTo>
                  <a:cubicBezTo>
                    <a:pt x="653" y="72"/>
                    <a:pt x="653" y="71"/>
                    <a:pt x="653" y="70"/>
                  </a:cubicBezTo>
                  <a:cubicBezTo>
                    <a:pt x="653" y="70"/>
                    <a:pt x="653" y="70"/>
                    <a:pt x="653" y="70"/>
                  </a:cubicBezTo>
                  <a:cubicBezTo>
                    <a:pt x="653" y="70"/>
                    <a:pt x="654" y="71"/>
                    <a:pt x="654" y="71"/>
                  </a:cubicBezTo>
                  <a:cubicBezTo>
                    <a:pt x="654" y="71"/>
                    <a:pt x="655" y="71"/>
                    <a:pt x="656" y="71"/>
                  </a:cubicBezTo>
                  <a:cubicBezTo>
                    <a:pt x="656" y="71"/>
                    <a:pt x="656" y="71"/>
                    <a:pt x="657" y="71"/>
                  </a:cubicBezTo>
                  <a:cubicBezTo>
                    <a:pt x="657" y="71"/>
                    <a:pt x="657" y="71"/>
                    <a:pt x="657" y="71"/>
                  </a:cubicBezTo>
                  <a:cubicBezTo>
                    <a:pt x="657" y="72"/>
                    <a:pt x="657" y="74"/>
                    <a:pt x="660" y="74"/>
                  </a:cubicBezTo>
                  <a:cubicBezTo>
                    <a:pt x="661" y="74"/>
                    <a:pt x="661" y="73"/>
                    <a:pt x="662" y="73"/>
                  </a:cubicBezTo>
                  <a:cubicBezTo>
                    <a:pt x="662" y="73"/>
                    <a:pt x="663" y="72"/>
                    <a:pt x="663" y="72"/>
                  </a:cubicBezTo>
                  <a:cubicBezTo>
                    <a:pt x="664" y="72"/>
                    <a:pt x="664" y="72"/>
                    <a:pt x="664" y="72"/>
                  </a:cubicBezTo>
                  <a:cubicBezTo>
                    <a:pt x="665" y="72"/>
                    <a:pt x="665" y="71"/>
                    <a:pt x="665" y="71"/>
                  </a:cubicBezTo>
                  <a:cubicBezTo>
                    <a:pt x="666" y="71"/>
                    <a:pt x="666" y="71"/>
                    <a:pt x="666" y="71"/>
                  </a:cubicBezTo>
                  <a:cubicBezTo>
                    <a:pt x="667" y="71"/>
                    <a:pt x="667" y="71"/>
                    <a:pt x="668" y="70"/>
                  </a:cubicBezTo>
                  <a:cubicBezTo>
                    <a:pt x="668" y="70"/>
                    <a:pt x="669" y="69"/>
                    <a:pt x="669" y="69"/>
                  </a:cubicBezTo>
                  <a:cubicBezTo>
                    <a:pt x="669" y="69"/>
                    <a:pt x="669" y="69"/>
                    <a:pt x="669" y="69"/>
                  </a:cubicBezTo>
                  <a:cubicBezTo>
                    <a:pt x="669" y="69"/>
                    <a:pt x="669" y="69"/>
                    <a:pt x="669" y="69"/>
                  </a:cubicBezTo>
                  <a:cubicBezTo>
                    <a:pt x="671" y="69"/>
                    <a:pt x="673" y="68"/>
                    <a:pt x="674" y="67"/>
                  </a:cubicBezTo>
                  <a:cubicBezTo>
                    <a:pt x="675" y="67"/>
                    <a:pt x="675" y="67"/>
                    <a:pt x="675" y="67"/>
                  </a:cubicBezTo>
                  <a:cubicBezTo>
                    <a:pt x="676" y="66"/>
                    <a:pt x="676" y="66"/>
                    <a:pt x="677" y="66"/>
                  </a:cubicBezTo>
                  <a:cubicBezTo>
                    <a:pt x="677" y="66"/>
                    <a:pt x="678" y="66"/>
                    <a:pt x="679" y="65"/>
                  </a:cubicBezTo>
                  <a:cubicBezTo>
                    <a:pt x="679" y="65"/>
                    <a:pt x="679" y="65"/>
                    <a:pt x="680" y="64"/>
                  </a:cubicBezTo>
                  <a:cubicBezTo>
                    <a:pt x="680" y="64"/>
                    <a:pt x="680" y="64"/>
                    <a:pt x="680" y="64"/>
                  </a:cubicBezTo>
                  <a:cubicBezTo>
                    <a:pt x="681" y="63"/>
                    <a:pt x="683" y="63"/>
                    <a:pt x="683" y="61"/>
                  </a:cubicBezTo>
                  <a:cubicBezTo>
                    <a:pt x="683" y="61"/>
                    <a:pt x="683" y="60"/>
                    <a:pt x="682" y="59"/>
                  </a:cubicBezTo>
                  <a:cubicBezTo>
                    <a:pt x="682" y="59"/>
                    <a:pt x="681" y="58"/>
                    <a:pt x="681" y="58"/>
                  </a:cubicBezTo>
                  <a:cubicBezTo>
                    <a:pt x="680" y="58"/>
                    <a:pt x="680" y="58"/>
                    <a:pt x="680" y="58"/>
                  </a:cubicBezTo>
                  <a:cubicBezTo>
                    <a:pt x="680" y="58"/>
                    <a:pt x="680" y="58"/>
                    <a:pt x="680" y="58"/>
                  </a:cubicBezTo>
                  <a:cubicBezTo>
                    <a:pt x="679" y="57"/>
                    <a:pt x="678" y="56"/>
                    <a:pt x="676" y="57"/>
                  </a:cubicBezTo>
                  <a:cubicBezTo>
                    <a:pt x="676" y="57"/>
                    <a:pt x="676" y="57"/>
                    <a:pt x="676" y="57"/>
                  </a:cubicBezTo>
                  <a:cubicBezTo>
                    <a:pt x="676" y="56"/>
                    <a:pt x="676" y="56"/>
                    <a:pt x="674" y="55"/>
                  </a:cubicBezTo>
                  <a:cubicBezTo>
                    <a:pt x="674" y="55"/>
                    <a:pt x="673" y="55"/>
                    <a:pt x="672" y="54"/>
                  </a:cubicBezTo>
                  <a:cubicBezTo>
                    <a:pt x="672" y="54"/>
                    <a:pt x="672" y="54"/>
                    <a:pt x="672" y="54"/>
                  </a:cubicBezTo>
                  <a:cubicBezTo>
                    <a:pt x="671" y="54"/>
                    <a:pt x="669" y="54"/>
                    <a:pt x="669" y="54"/>
                  </a:cubicBezTo>
                  <a:cubicBezTo>
                    <a:pt x="669" y="54"/>
                    <a:pt x="668" y="54"/>
                    <a:pt x="668" y="55"/>
                  </a:cubicBezTo>
                  <a:cubicBezTo>
                    <a:pt x="668" y="54"/>
                    <a:pt x="668" y="54"/>
                    <a:pt x="667" y="54"/>
                  </a:cubicBezTo>
                  <a:cubicBezTo>
                    <a:pt x="666" y="54"/>
                    <a:pt x="666" y="54"/>
                    <a:pt x="666" y="54"/>
                  </a:cubicBezTo>
                  <a:cubicBezTo>
                    <a:pt x="666" y="54"/>
                    <a:pt x="665" y="54"/>
                    <a:pt x="665" y="53"/>
                  </a:cubicBezTo>
                  <a:cubicBezTo>
                    <a:pt x="664" y="53"/>
                    <a:pt x="663" y="53"/>
                    <a:pt x="663" y="53"/>
                  </a:cubicBezTo>
                  <a:cubicBezTo>
                    <a:pt x="661" y="54"/>
                    <a:pt x="660" y="55"/>
                    <a:pt x="659" y="56"/>
                  </a:cubicBezTo>
                  <a:cubicBezTo>
                    <a:pt x="659" y="56"/>
                    <a:pt x="659" y="56"/>
                    <a:pt x="659" y="57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58" y="56"/>
                    <a:pt x="657" y="56"/>
                    <a:pt x="656" y="56"/>
                  </a:cubicBezTo>
                  <a:cubicBezTo>
                    <a:pt x="655" y="57"/>
                    <a:pt x="654" y="57"/>
                    <a:pt x="654" y="58"/>
                  </a:cubicBezTo>
                  <a:cubicBezTo>
                    <a:pt x="654" y="58"/>
                    <a:pt x="653" y="58"/>
                    <a:pt x="653" y="58"/>
                  </a:cubicBezTo>
                  <a:cubicBezTo>
                    <a:pt x="653" y="59"/>
                    <a:pt x="653" y="59"/>
                    <a:pt x="653" y="59"/>
                  </a:cubicBezTo>
                  <a:cubicBezTo>
                    <a:pt x="653" y="59"/>
                    <a:pt x="653" y="59"/>
                    <a:pt x="653" y="59"/>
                  </a:cubicBezTo>
                  <a:cubicBezTo>
                    <a:pt x="653" y="59"/>
                    <a:pt x="652" y="59"/>
                    <a:pt x="652" y="59"/>
                  </a:cubicBezTo>
                  <a:cubicBezTo>
                    <a:pt x="652" y="59"/>
                    <a:pt x="652" y="60"/>
                    <a:pt x="651" y="60"/>
                  </a:cubicBezTo>
                  <a:cubicBezTo>
                    <a:pt x="651" y="60"/>
                    <a:pt x="650" y="61"/>
                    <a:pt x="649" y="61"/>
                  </a:cubicBezTo>
                  <a:cubicBezTo>
                    <a:pt x="649" y="62"/>
                    <a:pt x="649" y="62"/>
                    <a:pt x="648" y="62"/>
                  </a:cubicBezTo>
                  <a:cubicBezTo>
                    <a:pt x="648" y="62"/>
                    <a:pt x="648" y="62"/>
                    <a:pt x="648" y="62"/>
                  </a:cubicBezTo>
                  <a:cubicBezTo>
                    <a:pt x="648" y="62"/>
                    <a:pt x="648" y="62"/>
                    <a:pt x="648" y="62"/>
                  </a:cubicBezTo>
                  <a:cubicBezTo>
                    <a:pt x="647" y="62"/>
                    <a:pt x="646" y="62"/>
                    <a:pt x="646" y="63"/>
                  </a:cubicBezTo>
                  <a:cubicBezTo>
                    <a:pt x="645" y="63"/>
                    <a:pt x="645" y="63"/>
                    <a:pt x="645" y="64"/>
                  </a:cubicBezTo>
                  <a:cubicBezTo>
                    <a:pt x="645" y="64"/>
                    <a:pt x="644" y="64"/>
                    <a:pt x="644" y="64"/>
                  </a:cubicBezTo>
                  <a:cubicBezTo>
                    <a:pt x="644" y="65"/>
                    <a:pt x="644" y="65"/>
                    <a:pt x="643" y="65"/>
                  </a:cubicBezTo>
                  <a:cubicBezTo>
                    <a:pt x="642" y="65"/>
                    <a:pt x="641" y="66"/>
                    <a:pt x="641" y="68"/>
                  </a:cubicBezTo>
                  <a:cubicBezTo>
                    <a:pt x="641" y="68"/>
                    <a:pt x="641" y="68"/>
                    <a:pt x="641" y="68"/>
                  </a:cubicBezTo>
                  <a:cubicBezTo>
                    <a:pt x="640" y="69"/>
                    <a:pt x="640" y="70"/>
                    <a:pt x="640" y="71"/>
                  </a:cubicBezTo>
                  <a:cubicBezTo>
                    <a:pt x="640" y="71"/>
                    <a:pt x="640" y="71"/>
                    <a:pt x="640" y="71"/>
                  </a:cubicBezTo>
                  <a:cubicBezTo>
                    <a:pt x="640" y="72"/>
                    <a:pt x="639" y="72"/>
                    <a:pt x="639" y="72"/>
                  </a:cubicBezTo>
                  <a:cubicBezTo>
                    <a:pt x="639" y="72"/>
                    <a:pt x="638" y="72"/>
                    <a:pt x="638" y="72"/>
                  </a:cubicBezTo>
                  <a:cubicBezTo>
                    <a:pt x="637" y="72"/>
                    <a:pt x="636" y="73"/>
                    <a:pt x="636" y="75"/>
                  </a:cubicBezTo>
                  <a:cubicBezTo>
                    <a:pt x="635" y="75"/>
                    <a:pt x="635" y="75"/>
                    <a:pt x="634" y="76"/>
                  </a:cubicBezTo>
                  <a:cubicBezTo>
                    <a:pt x="634" y="76"/>
                    <a:pt x="634" y="77"/>
                    <a:pt x="634" y="77"/>
                  </a:cubicBezTo>
                  <a:cubicBezTo>
                    <a:pt x="634" y="77"/>
                    <a:pt x="633" y="77"/>
                    <a:pt x="633" y="78"/>
                  </a:cubicBezTo>
                  <a:cubicBezTo>
                    <a:pt x="633" y="78"/>
                    <a:pt x="632" y="78"/>
                    <a:pt x="632" y="78"/>
                  </a:cubicBezTo>
                  <a:cubicBezTo>
                    <a:pt x="632" y="78"/>
                    <a:pt x="632" y="79"/>
                    <a:pt x="632" y="79"/>
                  </a:cubicBezTo>
                  <a:cubicBezTo>
                    <a:pt x="631" y="79"/>
                    <a:pt x="631" y="79"/>
                    <a:pt x="630" y="79"/>
                  </a:cubicBezTo>
                  <a:cubicBezTo>
                    <a:pt x="630" y="80"/>
                    <a:pt x="629" y="80"/>
                    <a:pt x="628" y="80"/>
                  </a:cubicBezTo>
                  <a:cubicBezTo>
                    <a:pt x="628" y="80"/>
                    <a:pt x="627" y="80"/>
                    <a:pt x="626" y="80"/>
                  </a:cubicBezTo>
                  <a:cubicBezTo>
                    <a:pt x="626" y="81"/>
                    <a:pt x="625" y="81"/>
                    <a:pt x="625" y="82"/>
                  </a:cubicBezTo>
                  <a:cubicBezTo>
                    <a:pt x="625" y="82"/>
                    <a:pt x="625" y="82"/>
                    <a:pt x="624" y="82"/>
                  </a:cubicBezTo>
                  <a:cubicBezTo>
                    <a:pt x="624" y="82"/>
                    <a:pt x="624" y="82"/>
                    <a:pt x="624" y="82"/>
                  </a:cubicBezTo>
                  <a:cubicBezTo>
                    <a:pt x="623" y="82"/>
                    <a:pt x="623" y="82"/>
                    <a:pt x="623" y="82"/>
                  </a:cubicBezTo>
                  <a:cubicBezTo>
                    <a:pt x="623" y="82"/>
                    <a:pt x="622" y="82"/>
                    <a:pt x="622" y="82"/>
                  </a:cubicBezTo>
                  <a:cubicBezTo>
                    <a:pt x="622" y="82"/>
                    <a:pt x="622" y="82"/>
                    <a:pt x="622" y="82"/>
                  </a:cubicBezTo>
                  <a:cubicBezTo>
                    <a:pt x="621" y="82"/>
                    <a:pt x="620" y="82"/>
                    <a:pt x="619" y="83"/>
                  </a:cubicBezTo>
                  <a:cubicBezTo>
                    <a:pt x="619" y="83"/>
                    <a:pt x="618" y="84"/>
                    <a:pt x="618" y="84"/>
                  </a:cubicBezTo>
                  <a:cubicBezTo>
                    <a:pt x="618" y="84"/>
                    <a:pt x="618" y="84"/>
                    <a:pt x="618" y="84"/>
                  </a:cubicBezTo>
                  <a:cubicBezTo>
                    <a:pt x="617" y="85"/>
                    <a:pt x="617" y="85"/>
                    <a:pt x="616" y="85"/>
                  </a:cubicBezTo>
                  <a:cubicBezTo>
                    <a:pt x="616" y="86"/>
                    <a:pt x="615" y="86"/>
                    <a:pt x="615" y="86"/>
                  </a:cubicBezTo>
                  <a:cubicBezTo>
                    <a:pt x="615" y="86"/>
                    <a:pt x="615" y="86"/>
                    <a:pt x="615" y="86"/>
                  </a:cubicBezTo>
                  <a:cubicBezTo>
                    <a:pt x="614" y="86"/>
                    <a:pt x="613" y="87"/>
                    <a:pt x="613" y="87"/>
                  </a:cubicBezTo>
                  <a:cubicBezTo>
                    <a:pt x="613" y="88"/>
                    <a:pt x="612" y="88"/>
                    <a:pt x="612" y="88"/>
                  </a:cubicBezTo>
                  <a:cubicBezTo>
                    <a:pt x="611" y="90"/>
                    <a:pt x="611" y="91"/>
                    <a:pt x="612" y="91"/>
                  </a:cubicBezTo>
                  <a:cubicBezTo>
                    <a:pt x="612" y="92"/>
                    <a:pt x="611" y="92"/>
                    <a:pt x="611" y="92"/>
                  </a:cubicBezTo>
                  <a:cubicBezTo>
                    <a:pt x="611" y="92"/>
                    <a:pt x="611" y="92"/>
                    <a:pt x="611" y="91"/>
                  </a:cubicBezTo>
                  <a:cubicBezTo>
                    <a:pt x="611" y="91"/>
                    <a:pt x="611" y="91"/>
                    <a:pt x="610" y="91"/>
                  </a:cubicBezTo>
                  <a:cubicBezTo>
                    <a:pt x="610" y="91"/>
                    <a:pt x="609" y="91"/>
                    <a:pt x="608" y="91"/>
                  </a:cubicBezTo>
                  <a:cubicBezTo>
                    <a:pt x="607" y="91"/>
                    <a:pt x="607" y="92"/>
                    <a:pt x="606" y="92"/>
                  </a:cubicBezTo>
                  <a:cubicBezTo>
                    <a:pt x="605" y="93"/>
                    <a:pt x="604" y="94"/>
                    <a:pt x="604" y="94"/>
                  </a:cubicBezTo>
                  <a:cubicBezTo>
                    <a:pt x="603" y="95"/>
                    <a:pt x="602" y="96"/>
                    <a:pt x="602" y="98"/>
                  </a:cubicBezTo>
                  <a:cubicBezTo>
                    <a:pt x="602" y="98"/>
                    <a:pt x="602" y="98"/>
                    <a:pt x="602" y="98"/>
                  </a:cubicBezTo>
                  <a:cubicBezTo>
                    <a:pt x="601" y="99"/>
                    <a:pt x="601" y="100"/>
                    <a:pt x="601" y="102"/>
                  </a:cubicBezTo>
                  <a:cubicBezTo>
                    <a:pt x="601" y="102"/>
                    <a:pt x="602" y="103"/>
                    <a:pt x="602" y="103"/>
                  </a:cubicBezTo>
                  <a:cubicBezTo>
                    <a:pt x="602" y="104"/>
                    <a:pt x="603" y="104"/>
                    <a:pt x="603" y="105"/>
                  </a:cubicBezTo>
                  <a:cubicBezTo>
                    <a:pt x="604" y="105"/>
                    <a:pt x="604" y="105"/>
                    <a:pt x="605" y="105"/>
                  </a:cubicBezTo>
                  <a:cubicBezTo>
                    <a:pt x="605" y="105"/>
                    <a:pt x="605" y="105"/>
                    <a:pt x="606" y="105"/>
                  </a:cubicBezTo>
                  <a:cubicBezTo>
                    <a:pt x="606" y="105"/>
                    <a:pt x="606" y="105"/>
                    <a:pt x="606" y="105"/>
                  </a:cubicBezTo>
                  <a:cubicBezTo>
                    <a:pt x="606" y="106"/>
                    <a:pt x="606" y="106"/>
                    <a:pt x="606" y="106"/>
                  </a:cubicBezTo>
                  <a:cubicBezTo>
                    <a:pt x="606" y="106"/>
                    <a:pt x="606" y="106"/>
                    <a:pt x="606" y="107"/>
                  </a:cubicBezTo>
                  <a:cubicBezTo>
                    <a:pt x="606" y="107"/>
                    <a:pt x="605" y="107"/>
                    <a:pt x="605" y="107"/>
                  </a:cubicBezTo>
                  <a:cubicBezTo>
                    <a:pt x="605" y="107"/>
                    <a:pt x="604" y="107"/>
                    <a:pt x="604" y="107"/>
                  </a:cubicBezTo>
                  <a:cubicBezTo>
                    <a:pt x="604" y="107"/>
                    <a:pt x="604" y="107"/>
                    <a:pt x="604" y="107"/>
                  </a:cubicBezTo>
                  <a:cubicBezTo>
                    <a:pt x="603" y="107"/>
                    <a:pt x="603" y="107"/>
                    <a:pt x="603" y="107"/>
                  </a:cubicBezTo>
                  <a:cubicBezTo>
                    <a:pt x="603" y="107"/>
                    <a:pt x="602" y="107"/>
                    <a:pt x="602" y="107"/>
                  </a:cubicBezTo>
                  <a:cubicBezTo>
                    <a:pt x="601" y="108"/>
                    <a:pt x="600" y="108"/>
                    <a:pt x="600" y="109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599" y="110"/>
                    <a:pt x="599" y="111"/>
                    <a:pt x="599" y="111"/>
                  </a:cubicBezTo>
                  <a:cubicBezTo>
                    <a:pt x="598" y="111"/>
                    <a:pt x="598" y="111"/>
                    <a:pt x="598" y="112"/>
                  </a:cubicBezTo>
                  <a:cubicBezTo>
                    <a:pt x="599" y="113"/>
                    <a:pt x="599" y="113"/>
                    <a:pt x="599" y="113"/>
                  </a:cubicBezTo>
                  <a:cubicBezTo>
                    <a:pt x="598" y="112"/>
                    <a:pt x="598" y="112"/>
                    <a:pt x="598" y="112"/>
                  </a:cubicBezTo>
                  <a:cubicBezTo>
                    <a:pt x="597" y="112"/>
                    <a:pt x="597" y="112"/>
                    <a:pt x="597" y="112"/>
                  </a:cubicBezTo>
                  <a:cubicBezTo>
                    <a:pt x="597" y="112"/>
                    <a:pt x="597" y="112"/>
                    <a:pt x="597" y="112"/>
                  </a:cubicBezTo>
                  <a:cubicBezTo>
                    <a:pt x="597" y="112"/>
                    <a:pt x="596" y="112"/>
                    <a:pt x="596" y="112"/>
                  </a:cubicBezTo>
                  <a:cubicBezTo>
                    <a:pt x="595" y="112"/>
                    <a:pt x="594" y="112"/>
                    <a:pt x="594" y="113"/>
                  </a:cubicBezTo>
                  <a:cubicBezTo>
                    <a:pt x="594" y="114"/>
                    <a:pt x="594" y="115"/>
                    <a:pt x="595" y="115"/>
                  </a:cubicBezTo>
                  <a:cubicBezTo>
                    <a:pt x="595" y="116"/>
                    <a:pt x="596" y="116"/>
                    <a:pt x="597" y="116"/>
                  </a:cubicBezTo>
                  <a:cubicBezTo>
                    <a:pt x="597" y="116"/>
                    <a:pt x="597" y="116"/>
                    <a:pt x="597" y="117"/>
                  </a:cubicBezTo>
                  <a:cubicBezTo>
                    <a:pt x="596" y="117"/>
                    <a:pt x="596" y="117"/>
                    <a:pt x="596" y="117"/>
                  </a:cubicBezTo>
                  <a:cubicBezTo>
                    <a:pt x="596" y="117"/>
                    <a:pt x="596" y="117"/>
                    <a:pt x="596" y="117"/>
                  </a:cubicBezTo>
                  <a:cubicBezTo>
                    <a:pt x="595" y="117"/>
                    <a:pt x="595" y="117"/>
                    <a:pt x="595" y="117"/>
                  </a:cubicBezTo>
                  <a:cubicBezTo>
                    <a:pt x="594" y="117"/>
                    <a:pt x="594" y="117"/>
                    <a:pt x="593" y="117"/>
                  </a:cubicBezTo>
                  <a:cubicBezTo>
                    <a:pt x="593" y="118"/>
                    <a:pt x="593" y="118"/>
                    <a:pt x="593" y="118"/>
                  </a:cubicBezTo>
                  <a:cubicBezTo>
                    <a:pt x="593" y="118"/>
                    <a:pt x="593" y="118"/>
                    <a:pt x="593" y="118"/>
                  </a:cubicBezTo>
                  <a:cubicBezTo>
                    <a:pt x="593" y="117"/>
                    <a:pt x="593" y="117"/>
                    <a:pt x="593" y="117"/>
                  </a:cubicBezTo>
                  <a:cubicBezTo>
                    <a:pt x="592" y="117"/>
                    <a:pt x="591" y="117"/>
                    <a:pt x="591" y="118"/>
                  </a:cubicBezTo>
                  <a:cubicBezTo>
                    <a:pt x="590" y="118"/>
                    <a:pt x="590" y="119"/>
                    <a:pt x="590" y="119"/>
                  </a:cubicBezTo>
                  <a:cubicBezTo>
                    <a:pt x="589" y="119"/>
                    <a:pt x="589" y="119"/>
                    <a:pt x="589" y="120"/>
                  </a:cubicBezTo>
                  <a:cubicBezTo>
                    <a:pt x="589" y="120"/>
                    <a:pt x="589" y="120"/>
                    <a:pt x="589" y="120"/>
                  </a:cubicBezTo>
                  <a:cubicBezTo>
                    <a:pt x="588" y="120"/>
                    <a:pt x="588" y="120"/>
                    <a:pt x="588" y="120"/>
                  </a:cubicBezTo>
                  <a:cubicBezTo>
                    <a:pt x="588" y="120"/>
                    <a:pt x="587" y="120"/>
                    <a:pt x="586" y="120"/>
                  </a:cubicBezTo>
                  <a:cubicBezTo>
                    <a:pt x="586" y="120"/>
                    <a:pt x="586" y="120"/>
                    <a:pt x="586" y="120"/>
                  </a:cubicBezTo>
                  <a:cubicBezTo>
                    <a:pt x="586" y="120"/>
                    <a:pt x="585" y="120"/>
                    <a:pt x="585" y="120"/>
                  </a:cubicBezTo>
                  <a:cubicBezTo>
                    <a:pt x="584" y="120"/>
                    <a:pt x="583" y="120"/>
                    <a:pt x="583" y="120"/>
                  </a:cubicBezTo>
                  <a:cubicBezTo>
                    <a:pt x="583" y="120"/>
                    <a:pt x="583" y="120"/>
                    <a:pt x="583" y="120"/>
                  </a:cubicBezTo>
                  <a:cubicBezTo>
                    <a:pt x="582" y="120"/>
                    <a:pt x="582" y="120"/>
                    <a:pt x="581" y="120"/>
                  </a:cubicBezTo>
                  <a:cubicBezTo>
                    <a:pt x="582" y="120"/>
                    <a:pt x="582" y="119"/>
                    <a:pt x="582" y="119"/>
                  </a:cubicBezTo>
                  <a:cubicBezTo>
                    <a:pt x="581" y="118"/>
                    <a:pt x="581" y="118"/>
                    <a:pt x="580" y="117"/>
                  </a:cubicBezTo>
                  <a:cubicBezTo>
                    <a:pt x="580" y="117"/>
                    <a:pt x="579" y="117"/>
                    <a:pt x="579" y="117"/>
                  </a:cubicBezTo>
                  <a:cubicBezTo>
                    <a:pt x="579" y="117"/>
                    <a:pt x="579" y="116"/>
                    <a:pt x="579" y="116"/>
                  </a:cubicBezTo>
                  <a:cubicBezTo>
                    <a:pt x="578" y="115"/>
                    <a:pt x="578" y="114"/>
                    <a:pt x="577" y="114"/>
                  </a:cubicBezTo>
                  <a:cubicBezTo>
                    <a:pt x="577" y="114"/>
                    <a:pt x="577" y="114"/>
                    <a:pt x="577" y="113"/>
                  </a:cubicBezTo>
                  <a:cubicBezTo>
                    <a:pt x="577" y="114"/>
                    <a:pt x="577" y="114"/>
                    <a:pt x="577" y="114"/>
                  </a:cubicBezTo>
                  <a:cubicBezTo>
                    <a:pt x="578" y="114"/>
                    <a:pt x="578" y="114"/>
                    <a:pt x="578" y="114"/>
                  </a:cubicBezTo>
                  <a:cubicBezTo>
                    <a:pt x="578" y="114"/>
                    <a:pt x="578" y="114"/>
                    <a:pt x="578" y="114"/>
                  </a:cubicBezTo>
                  <a:cubicBezTo>
                    <a:pt x="578" y="114"/>
                    <a:pt x="578" y="114"/>
                    <a:pt x="579" y="115"/>
                  </a:cubicBezTo>
                  <a:cubicBezTo>
                    <a:pt x="579" y="115"/>
                    <a:pt x="579" y="115"/>
                    <a:pt x="579" y="115"/>
                  </a:cubicBezTo>
                  <a:cubicBezTo>
                    <a:pt x="580" y="115"/>
                    <a:pt x="580" y="116"/>
                    <a:pt x="581" y="116"/>
                  </a:cubicBezTo>
                  <a:cubicBezTo>
                    <a:pt x="581" y="116"/>
                    <a:pt x="581" y="116"/>
                    <a:pt x="581" y="116"/>
                  </a:cubicBezTo>
                  <a:cubicBezTo>
                    <a:pt x="582" y="116"/>
                    <a:pt x="583" y="115"/>
                    <a:pt x="583" y="115"/>
                  </a:cubicBezTo>
                  <a:cubicBezTo>
                    <a:pt x="583" y="115"/>
                    <a:pt x="583" y="115"/>
                    <a:pt x="583" y="115"/>
                  </a:cubicBezTo>
                  <a:cubicBezTo>
                    <a:pt x="583" y="115"/>
                    <a:pt x="584" y="115"/>
                    <a:pt x="584" y="115"/>
                  </a:cubicBezTo>
                  <a:cubicBezTo>
                    <a:pt x="586" y="115"/>
                    <a:pt x="587" y="115"/>
                    <a:pt x="588" y="114"/>
                  </a:cubicBezTo>
                  <a:cubicBezTo>
                    <a:pt x="588" y="114"/>
                    <a:pt x="588" y="114"/>
                    <a:pt x="588" y="114"/>
                  </a:cubicBezTo>
                  <a:cubicBezTo>
                    <a:pt x="588" y="114"/>
                    <a:pt x="588" y="114"/>
                    <a:pt x="588" y="114"/>
                  </a:cubicBezTo>
                  <a:cubicBezTo>
                    <a:pt x="589" y="114"/>
                    <a:pt x="589" y="115"/>
                    <a:pt x="590" y="115"/>
                  </a:cubicBezTo>
                  <a:cubicBezTo>
                    <a:pt x="591" y="115"/>
                    <a:pt x="591" y="115"/>
                    <a:pt x="591" y="115"/>
                  </a:cubicBezTo>
                  <a:cubicBezTo>
                    <a:pt x="592" y="115"/>
                    <a:pt x="592" y="114"/>
                    <a:pt x="593" y="114"/>
                  </a:cubicBezTo>
                  <a:cubicBezTo>
                    <a:pt x="592" y="113"/>
                    <a:pt x="592" y="113"/>
                    <a:pt x="592" y="113"/>
                  </a:cubicBezTo>
                  <a:cubicBezTo>
                    <a:pt x="593" y="114"/>
                    <a:pt x="593" y="114"/>
                    <a:pt x="593" y="114"/>
                  </a:cubicBezTo>
                  <a:cubicBezTo>
                    <a:pt x="593" y="113"/>
                    <a:pt x="594" y="113"/>
                    <a:pt x="594" y="111"/>
                  </a:cubicBezTo>
                  <a:cubicBezTo>
                    <a:pt x="594" y="111"/>
                    <a:pt x="593" y="110"/>
                    <a:pt x="593" y="110"/>
                  </a:cubicBezTo>
                  <a:cubicBezTo>
                    <a:pt x="593" y="109"/>
                    <a:pt x="593" y="109"/>
                    <a:pt x="593" y="109"/>
                  </a:cubicBezTo>
                  <a:cubicBezTo>
                    <a:pt x="593" y="108"/>
                    <a:pt x="593" y="108"/>
                    <a:pt x="593" y="107"/>
                  </a:cubicBezTo>
                  <a:cubicBezTo>
                    <a:pt x="593" y="107"/>
                    <a:pt x="593" y="107"/>
                    <a:pt x="592" y="107"/>
                  </a:cubicBezTo>
                  <a:cubicBezTo>
                    <a:pt x="592" y="107"/>
                    <a:pt x="592" y="106"/>
                    <a:pt x="592" y="106"/>
                  </a:cubicBezTo>
                  <a:cubicBezTo>
                    <a:pt x="592" y="106"/>
                    <a:pt x="593" y="105"/>
                    <a:pt x="593" y="104"/>
                  </a:cubicBezTo>
                  <a:cubicBezTo>
                    <a:pt x="593" y="104"/>
                    <a:pt x="593" y="104"/>
                    <a:pt x="593" y="104"/>
                  </a:cubicBezTo>
                  <a:cubicBezTo>
                    <a:pt x="593" y="104"/>
                    <a:pt x="593" y="103"/>
                    <a:pt x="593" y="103"/>
                  </a:cubicBezTo>
                  <a:cubicBezTo>
                    <a:pt x="593" y="101"/>
                    <a:pt x="594" y="100"/>
                    <a:pt x="593" y="98"/>
                  </a:cubicBezTo>
                  <a:cubicBezTo>
                    <a:pt x="593" y="96"/>
                    <a:pt x="591" y="96"/>
                    <a:pt x="591" y="96"/>
                  </a:cubicBezTo>
                  <a:cubicBezTo>
                    <a:pt x="590" y="96"/>
                    <a:pt x="590" y="96"/>
                    <a:pt x="590" y="96"/>
                  </a:cubicBezTo>
                  <a:cubicBezTo>
                    <a:pt x="589" y="96"/>
                    <a:pt x="589" y="97"/>
                    <a:pt x="588" y="98"/>
                  </a:cubicBezTo>
                  <a:cubicBezTo>
                    <a:pt x="588" y="99"/>
                    <a:pt x="588" y="99"/>
                    <a:pt x="588" y="99"/>
                  </a:cubicBezTo>
                  <a:cubicBezTo>
                    <a:pt x="587" y="99"/>
                    <a:pt x="587" y="99"/>
                    <a:pt x="587" y="100"/>
                  </a:cubicBezTo>
                  <a:cubicBezTo>
                    <a:pt x="587" y="100"/>
                    <a:pt x="587" y="100"/>
                    <a:pt x="586" y="100"/>
                  </a:cubicBezTo>
                  <a:cubicBezTo>
                    <a:pt x="586" y="100"/>
                    <a:pt x="585" y="99"/>
                    <a:pt x="584" y="99"/>
                  </a:cubicBezTo>
                  <a:cubicBezTo>
                    <a:pt x="584" y="99"/>
                    <a:pt x="584" y="99"/>
                    <a:pt x="584" y="99"/>
                  </a:cubicBezTo>
                  <a:cubicBezTo>
                    <a:pt x="583" y="99"/>
                    <a:pt x="582" y="101"/>
                    <a:pt x="582" y="101"/>
                  </a:cubicBezTo>
                  <a:cubicBezTo>
                    <a:pt x="582" y="102"/>
                    <a:pt x="582" y="102"/>
                    <a:pt x="582" y="102"/>
                  </a:cubicBezTo>
                  <a:cubicBezTo>
                    <a:pt x="582" y="102"/>
                    <a:pt x="582" y="102"/>
                    <a:pt x="582" y="102"/>
                  </a:cubicBezTo>
                  <a:cubicBezTo>
                    <a:pt x="582" y="102"/>
                    <a:pt x="581" y="102"/>
                    <a:pt x="581" y="102"/>
                  </a:cubicBezTo>
                  <a:cubicBezTo>
                    <a:pt x="581" y="102"/>
                    <a:pt x="580" y="102"/>
                    <a:pt x="580" y="102"/>
                  </a:cubicBezTo>
                  <a:cubicBezTo>
                    <a:pt x="579" y="102"/>
                    <a:pt x="578" y="102"/>
                    <a:pt x="577" y="103"/>
                  </a:cubicBezTo>
                  <a:cubicBezTo>
                    <a:pt x="577" y="103"/>
                    <a:pt x="577" y="103"/>
                    <a:pt x="577" y="103"/>
                  </a:cubicBezTo>
                  <a:cubicBezTo>
                    <a:pt x="577" y="103"/>
                    <a:pt x="576" y="103"/>
                    <a:pt x="576" y="103"/>
                  </a:cubicBezTo>
                  <a:cubicBezTo>
                    <a:pt x="575" y="103"/>
                    <a:pt x="574" y="103"/>
                    <a:pt x="573" y="104"/>
                  </a:cubicBezTo>
                  <a:cubicBezTo>
                    <a:pt x="572" y="104"/>
                    <a:pt x="572" y="105"/>
                    <a:pt x="572" y="106"/>
                  </a:cubicBezTo>
                  <a:cubicBezTo>
                    <a:pt x="572" y="107"/>
                    <a:pt x="572" y="107"/>
                    <a:pt x="573" y="108"/>
                  </a:cubicBezTo>
                  <a:cubicBezTo>
                    <a:pt x="573" y="108"/>
                    <a:pt x="573" y="108"/>
                    <a:pt x="573" y="108"/>
                  </a:cubicBezTo>
                  <a:cubicBezTo>
                    <a:pt x="573" y="108"/>
                    <a:pt x="573" y="109"/>
                    <a:pt x="573" y="110"/>
                  </a:cubicBezTo>
                  <a:cubicBezTo>
                    <a:pt x="574" y="110"/>
                    <a:pt x="574" y="110"/>
                    <a:pt x="575" y="110"/>
                  </a:cubicBezTo>
                  <a:cubicBezTo>
                    <a:pt x="575" y="111"/>
                    <a:pt x="575" y="111"/>
                    <a:pt x="575" y="111"/>
                  </a:cubicBezTo>
                  <a:cubicBezTo>
                    <a:pt x="575" y="111"/>
                    <a:pt x="575" y="111"/>
                    <a:pt x="575" y="111"/>
                  </a:cubicBezTo>
                  <a:cubicBezTo>
                    <a:pt x="575" y="111"/>
                    <a:pt x="575" y="111"/>
                    <a:pt x="575" y="111"/>
                  </a:cubicBezTo>
                  <a:cubicBezTo>
                    <a:pt x="574" y="111"/>
                    <a:pt x="573" y="112"/>
                    <a:pt x="573" y="113"/>
                  </a:cubicBezTo>
                  <a:cubicBezTo>
                    <a:pt x="573" y="113"/>
                    <a:pt x="572" y="113"/>
                    <a:pt x="573" y="113"/>
                  </a:cubicBezTo>
                  <a:cubicBezTo>
                    <a:pt x="573" y="113"/>
                    <a:pt x="573" y="113"/>
                    <a:pt x="573" y="113"/>
                  </a:cubicBezTo>
                  <a:cubicBezTo>
                    <a:pt x="572" y="113"/>
                    <a:pt x="572" y="113"/>
                    <a:pt x="572" y="113"/>
                  </a:cubicBezTo>
                  <a:cubicBezTo>
                    <a:pt x="571" y="113"/>
                    <a:pt x="571" y="113"/>
                    <a:pt x="571" y="113"/>
                  </a:cubicBezTo>
                  <a:cubicBezTo>
                    <a:pt x="571" y="112"/>
                    <a:pt x="570" y="112"/>
                    <a:pt x="569" y="112"/>
                  </a:cubicBezTo>
                  <a:cubicBezTo>
                    <a:pt x="569" y="112"/>
                    <a:pt x="569" y="112"/>
                    <a:pt x="569" y="112"/>
                  </a:cubicBezTo>
                  <a:cubicBezTo>
                    <a:pt x="568" y="112"/>
                    <a:pt x="568" y="113"/>
                    <a:pt x="568" y="113"/>
                  </a:cubicBezTo>
                  <a:cubicBezTo>
                    <a:pt x="567" y="114"/>
                    <a:pt x="567" y="114"/>
                    <a:pt x="567" y="114"/>
                  </a:cubicBezTo>
                  <a:cubicBezTo>
                    <a:pt x="567" y="114"/>
                    <a:pt x="567" y="115"/>
                    <a:pt x="567" y="115"/>
                  </a:cubicBezTo>
                  <a:cubicBezTo>
                    <a:pt x="567" y="115"/>
                    <a:pt x="567" y="115"/>
                    <a:pt x="567" y="115"/>
                  </a:cubicBezTo>
                  <a:cubicBezTo>
                    <a:pt x="566" y="115"/>
                    <a:pt x="566" y="116"/>
                    <a:pt x="566" y="116"/>
                  </a:cubicBezTo>
                  <a:cubicBezTo>
                    <a:pt x="566" y="116"/>
                    <a:pt x="566" y="116"/>
                    <a:pt x="565" y="117"/>
                  </a:cubicBezTo>
                  <a:cubicBezTo>
                    <a:pt x="565" y="116"/>
                    <a:pt x="565" y="116"/>
                    <a:pt x="565" y="116"/>
                  </a:cubicBezTo>
                  <a:cubicBezTo>
                    <a:pt x="564" y="116"/>
                    <a:pt x="564" y="116"/>
                    <a:pt x="564" y="116"/>
                  </a:cubicBezTo>
                  <a:cubicBezTo>
                    <a:pt x="564" y="116"/>
                    <a:pt x="562" y="116"/>
                    <a:pt x="562" y="118"/>
                  </a:cubicBezTo>
                  <a:cubicBezTo>
                    <a:pt x="562" y="118"/>
                    <a:pt x="562" y="119"/>
                    <a:pt x="562" y="119"/>
                  </a:cubicBezTo>
                  <a:cubicBezTo>
                    <a:pt x="562" y="120"/>
                    <a:pt x="562" y="120"/>
                    <a:pt x="561" y="120"/>
                  </a:cubicBezTo>
                  <a:cubicBezTo>
                    <a:pt x="561" y="120"/>
                    <a:pt x="561" y="120"/>
                    <a:pt x="561" y="120"/>
                  </a:cubicBezTo>
                  <a:cubicBezTo>
                    <a:pt x="561" y="120"/>
                    <a:pt x="560" y="120"/>
                    <a:pt x="560" y="120"/>
                  </a:cubicBezTo>
                  <a:cubicBezTo>
                    <a:pt x="559" y="120"/>
                    <a:pt x="559" y="120"/>
                    <a:pt x="559" y="120"/>
                  </a:cubicBezTo>
                  <a:cubicBezTo>
                    <a:pt x="559" y="120"/>
                    <a:pt x="558" y="120"/>
                    <a:pt x="558" y="120"/>
                  </a:cubicBezTo>
                  <a:cubicBezTo>
                    <a:pt x="557" y="120"/>
                    <a:pt x="557" y="120"/>
                    <a:pt x="557" y="120"/>
                  </a:cubicBezTo>
                  <a:cubicBezTo>
                    <a:pt x="557" y="120"/>
                    <a:pt x="557" y="120"/>
                    <a:pt x="556" y="120"/>
                  </a:cubicBezTo>
                  <a:cubicBezTo>
                    <a:pt x="556" y="120"/>
                    <a:pt x="556" y="120"/>
                    <a:pt x="556" y="120"/>
                  </a:cubicBezTo>
                  <a:cubicBezTo>
                    <a:pt x="555" y="120"/>
                    <a:pt x="555" y="120"/>
                    <a:pt x="555" y="120"/>
                  </a:cubicBezTo>
                  <a:cubicBezTo>
                    <a:pt x="554" y="120"/>
                    <a:pt x="554" y="119"/>
                    <a:pt x="553" y="119"/>
                  </a:cubicBezTo>
                  <a:cubicBezTo>
                    <a:pt x="552" y="119"/>
                    <a:pt x="552" y="119"/>
                    <a:pt x="552" y="119"/>
                  </a:cubicBezTo>
                  <a:cubicBezTo>
                    <a:pt x="552" y="119"/>
                    <a:pt x="551" y="119"/>
                    <a:pt x="551" y="119"/>
                  </a:cubicBezTo>
                  <a:cubicBezTo>
                    <a:pt x="551" y="119"/>
                    <a:pt x="551" y="119"/>
                    <a:pt x="551" y="119"/>
                  </a:cubicBezTo>
                  <a:cubicBezTo>
                    <a:pt x="550" y="118"/>
                    <a:pt x="550" y="118"/>
                    <a:pt x="548" y="118"/>
                  </a:cubicBezTo>
                  <a:cubicBezTo>
                    <a:pt x="548" y="118"/>
                    <a:pt x="548" y="118"/>
                    <a:pt x="548" y="118"/>
                  </a:cubicBezTo>
                  <a:cubicBezTo>
                    <a:pt x="547" y="118"/>
                    <a:pt x="547" y="118"/>
                    <a:pt x="547" y="118"/>
                  </a:cubicBezTo>
                  <a:cubicBezTo>
                    <a:pt x="547" y="118"/>
                    <a:pt x="547" y="118"/>
                    <a:pt x="547" y="118"/>
                  </a:cubicBezTo>
                  <a:cubicBezTo>
                    <a:pt x="547" y="117"/>
                    <a:pt x="547" y="116"/>
                    <a:pt x="546" y="115"/>
                  </a:cubicBezTo>
                  <a:cubicBezTo>
                    <a:pt x="546" y="115"/>
                    <a:pt x="546" y="115"/>
                    <a:pt x="545" y="114"/>
                  </a:cubicBezTo>
                  <a:cubicBezTo>
                    <a:pt x="545" y="114"/>
                    <a:pt x="545" y="114"/>
                    <a:pt x="545" y="114"/>
                  </a:cubicBezTo>
                  <a:cubicBezTo>
                    <a:pt x="545" y="113"/>
                    <a:pt x="545" y="113"/>
                    <a:pt x="544" y="112"/>
                  </a:cubicBezTo>
                  <a:cubicBezTo>
                    <a:pt x="544" y="112"/>
                    <a:pt x="544" y="112"/>
                    <a:pt x="544" y="112"/>
                  </a:cubicBezTo>
                  <a:cubicBezTo>
                    <a:pt x="544" y="111"/>
                    <a:pt x="544" y="110"/>
                    <a:pt x="543" y="109"/>
                  </a:cubicBezTo>
                  <a:cubicBezTo>
                    <a:pt x="543" y="109"/>
                    <a:pt x="542" y="109"/>
                    <a:pt x="541" y="109"/>
                  </a:cubicBezTo>
                  <a:cubicBezTo>
                    <a:pt x="541" y="109"/>
                    <a:pt x="541" y="109"/>
                    <a:pt x="541" y="109"/>
                  </a:cubicBezTo>
                  <a:cubicBezTo>
                    <a:pt x="540" y="109"/>
                    <a:pt x="540" y="110"/>
                    <a:pt x="540" y="110"/>
                  </a:cubicBezTo>
                  <a:cubicBezTo>
                    <a:pt x="539" y="110"/>
                    <a:pt x="539" y="110"/>
                    <a:pt x="539" y="110"/>
                  </a:cubicBezTo>
                  <a:cubicBezTo>
                    <a:pt x="539" y="110"/>
                    <a:pt x="539" y="111"/>
                    <a:pt x="538" y="111"/>
                  </a:cubicBezTo>
                  <a:cubicBezTo>
                    <a:pt x="538" y="110"/>
                    <a:pt x="538" y="110"/>
                    <a:pt x="539" y="109"/>
                  </a:cubicBezTo>
                  <a:cubicBezTo>
                    <a:pt x="539" y="108"/>
                    <a:pt x="539" y="108"/>
                    <a:pt x="539" y="107"/>
                  </a:cubicBezTo>
                  <a:cubicBezTo>
                    <a:pt x="538" y="106"/>
                    <a:pt x="538" y="106"/>
                    <a:pt x="538" y="106"/>
                  </a:cubicBezTo>
                  <a:cubicBezTo>
                    <a:pt x="538" y="106"/>
                    <a:pt x="538" y="105"/>
                    <a:pt x="538" y="105"/>
                  </a:cubicBezTo>
                  <a:cubicBezTo>
                    <a:pt x="538" y="105"/>
                    <a:pt x="539" y="104"/>
                    <a:pt x="539" y="104"/>
                  </a:cubicBezTo>
                  <a:cubicBezTo>
                    <a:pt x="539" y="103"/>
                    <a:pt x="540" y="102"/>
                    <a:pt x="540" y="100"/>
                  </a:cubicBezTo>
                  <a:cubicBezTo>
                    <a:pt x="539" y="99"/>
                    <a:pt x="538" y="98"/>
                    <a:pt x="537" y="98"/>
                  </a:cubicBezTo>
                  <a:cubicBezTo>
                    <a:pt x="536" y="98"/>
                    <a:pt x="535" y="99"/>
                    <a:pt x="534" y="99"/>
                  </a:cubicBezTo>
                  <a:cubicBezTo>
                    <a:pt x="533" y="99"/>
                    <a:pt x="533" y="99"/>
                    <a:pt x="532" y="99"/>
                  </a:cubicBezTo>
                  <a:cubicBezTo>
                    <a:pt x="532" y="99"/>
                    <a:pt x="531" y="99"/>
                    <a:pt x="531" y="99"/>
                  </a:cubicBezTo>
                  <a:cubicBezTo>
                    <a:pt x="529" y="100"/>
                    <a:pt x="529" y="100"/>
                    <a:pt x="529" y="100"/>
                  </a:cubicBezTo>
                  <a:cubicBezTo>
                    <a:pt x="528" y="100"/>
                    <a:pt x="527" y="100"/>
                    <a:pt x="527" y="100"/>
                  </a:cubicBezTo>
                  <a:cubicBezTo>
                    <a:pt x="526" y="99"/>
                    <a:pt x="526" y="99"/>
                    <a:pt x="526" y="99"/>
                  </a:cubicBezTo>
                  <a:cubicBezTo>
                    <a:pt x="525" y="99"/>
                    <a:pt x="525" y="99"/>
                    <a:pt x="525" y="99"/>
                  </a:cubicBezTo>
                  <a:cubicBezTo>
                    <a:pt x="524" y="99"/>
                    <a:pt x="524" y="99"/>
                    <a:pt x="524" y="99"/>
                  </a:cubicBezTo>
                  <a:cubicBezTo>
                    <a:pt x="525" y="99"/>
                    <a:pt x="525" y="98"/>
                    <a:pt x="526" y="98"/>
                  </a:cubicBezTo>
                  <a:cubicBezTo>
                    <a:pt x="526" y="98"/>
                    <a:pt x="526" y="98"/>
                    <a:pt x="526" y="98"/>
                  </a:cubicBezTo>
                  <a:cubicBezTo>
                    <a:pt x="527" y="98"/>
                    <a:pt x="527" y="98"/>
                    <a:pt x="527" y="98"/>
                  </a:cubicBezTo>
                  <a:cubicBezTo>
                    <a:pt x="528" y="98"/>
                    <a:pt x="528" y="98"/>
                    <a:pt x="528" y="98"/>
                  </a:cubicBezTo>
                  <a:cubicBezTo>
                    <a:pt x="529" y="98"/>
                    <a:pt x="529" y="98"/>
                    <a:pt x="529" y="98"/>
                  </a:cubicBezTo>
                  <a:cubicBezTo>
                    <a:pt x="529" y="98"/>
                    <a:pt x="529" y="98"/>
                    <a:pt x="529" y="98"/>
                  </a:cubicBezTo>
                  <a:cubicBezTo>
                    <a:pt x="530" y="98"/>
                    <a:pt x="531" y="98"/>
                    <a:pt x="531" y="98"/>
                  </a:cubicBezTo>
                  <a:cubicBezTo>
                    <a:pt x="533" y="98"/>
                    <a:pt x="534" y="98"/>
                    <a:pt x="536" y="98"/>
                  </a:cubicBezTo>
                  <a:cubicBezTo>
                    <a:pt x="537" y="98"/>
                    <a:pt x="539" y="97"/>
                    <a:pt x="541" y="96"/>
                  </a:cubicBezTo>
                  <a:cubicBezTo>
                    <a:pt x="542" y="96"/>
                    <a:pt x="542" y="95"/>
                    <a:pt x="543" y="94"/>
                  </a:cubicBezTo>
                  <a:cubicBezTo>
                    <a:pt x="543" y="94"/>
                    <a:pt x="543" y="94"/>
                    <a:pt x="543" y="94"/>
                  </a:cubicBezTo>
                  <a:cubicBezTo>
                    <a:pt x="543" y="94"/>
                    <a:pt x="543" y="93"/>
                    <a:pt x="543" y="93"/>
                  </a:cubicBezTo>
                  <a:cubicBezTo>
                    <a:pt x="543" y="93"/>
                    <a:pt x="543" y="94"/>
                    <a:pt x="543" y="94"/>
                  </a:cubicBezTo>
                  <a:cubicBezTo>
                    <a:pt x="543" y="94"/>
                    <a:pt x="544" y="94"/>
                    <a:pt x="544" y="94"/>
                  </a:cubicBezTo>
                  <a:cubicBezTo>
                    <a:pt x="543" y="95"/>
                    <a:pt x="543" y="96"/>
                    <a:pt x="543" y="96"/>
                  </a:cubicBezTo>
                  <a:cubicBezTo>
                    <a:pt x="543" y="97"/>
                    <a:pt x="544" y="98"/>
                    <a:pt x="545" y="99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45" y="99"/>
                    <a:pt x="545" y="100"/>
                    <a:pt x="545" y="101"/>
                  </a:cubicBezTo>
                  <a:cubicBezTo>
                    <a:pt x="545" y="102"/>
                    <a:pt x="545" y="103"/>
                    <a:pt x="547" y="103"/>
                  </a:cubicBezTo>
                  <a:cubicBezTo>
                    <a:pt x="548" y="103"/>
                    <a:pt x="548" y="103"/>
                    <a:pt x="549" y="103"/>
                  </a:cubicBezTo>
                  <a:cubicBezTo>
                    <a:pt x="549" y="103"/>
                    <a:pt x="549" y="103"/>
                    <a:pt x="550" y="103"/>
                  </a:cubicBezTo>
                  <a:cubicBezTo>
                    <a:pt x="550" y="103"/>
                    <a:pt x="550" y="103"/>
                    <a:pt x="550" y="103"/>
                  </a:cubicBezTo>
                  <a:cubicBezTo>
                    <a:pt x="551" y="103"/>
                    <a:pt x="551" y="104"/>
                    <a:pt x="552" y="104"/>
                  </a:cubicBezTo>
                  <a:cubicBezTo>
                    <a:pt x="553" y="104"/>
                    <a:pt x="553" y="104"/>
                    <a:pt x="554" y="104"/>
                  </a:cubicBezTo>
                  <a:cubicBezTo>
                    <a:pt x="555" y="104"/>
                    <a:pt x="557" y="104"/>
                    <a:pt x="558" y="104"/>
                  </a:cubicBezTo>
                  <a:cubicBezTo>
                    <a:pt x="558" y="103"/>
                    <a:pt x="558" y="103"/>
                    <a:pt x="558" y="103"/>
                  </a:cubicBezTo>
                  <a:cubicBezTo>
                    <a:pt x="558" y="104"/>
                    <a:pt x="558" y="104"/>
                    <a:pt x="558" y="104"/>
                  </a:cubicBezTo>
                  <a:cubicBezTo>
                    <a:pt x="559" y="104"/>
                    <a:pt x="559" y="103"/>
                    <a:pt x="560" y="103"/>
                  </a:cubicBezTo>
                  <a:cubicBezTo>
                    <a:pt x="560" y="103"/>
                    <a:pt x="561" y="103"/>
                    <a:pt x="561" y="103"/>
                  </a:cubicBezTo>
                  <a:cubicBezTo>
                    <a:pt x="561" y="103"/>
                    <a:pt x="561" y="103"/>
                    <a:pt x="561" y="103"/>
                  </a:cubicBezTo>
                  <a:cubicBezTo>
                    <a:pt x="562" y="103"/>
                    <a:pt x="564" y="103"/>
                    <a:pt x="565" y="102"/>
                  </a:cubicBezTo>
                  <a:cubicBezTo>
                    <a:pt x="565" y="102"/>
                    <a:pt x="565" y="101"/>
                    <a:pt x="566" y="101"/>
                  </a:cubicBezTo>
                  <a:cubicBezTo>
                    <a:pt x="566" y="100"/>
                    <a:pt x="566" y="100"/>
                    <a:pt x="566" y="100"/>
                  </a:cubicBezTo>
                  <a:cubicBezTo>
                    <a:pt x="566" y="100"/>
                    <a:pt x="566" y="100"/>
                    <a:pt x="566" y="100"/>
                  </a:cubicBezTo>
                  <a:cubicBezTo>
                    <a:pt x="567" y="99"/>
                    <a:pt x="568" y="99"/>
                    <a:pt x="568" y="98"/>
                  </a:cubicBezTo>
                  <a:cubicBezTo>
                    <a:pt x="568" y="97"/>
                    <a:pt x="568" y="97"/>
                    <a:pt x="567" y="96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7" y="95"/>
                    <a:pt x="567" y="95"/>
                    <a:pt x="568" y="95"/>
                  </a:cubicBezTo>
                  <a:cubicBezTo>
                    <a:pt x="568" y="95"/>
                    <a:pt x="568" y="94"/>
                    <a:pt x="568" y="94"/>
                  </a:cubicBezTo>
                  <a:cubicBezTo>
                    <a:pt x="568" y="94"/>
                    <a:pt x="568" y="94"/>
                    <a:pt x="569" y="94"/>
                  </a:cubicBezTo>
                  <a:cubicBezTo>
                    <a:pt x="569" y="94"/>
                    <a:pt x="569" y="94"/>
                    <a:pt x="569" y="94"/>
                  </a:cubicBezTo>
                  <a:cubicBezTo>
                    <a:pt x="569" y="94"/>
                    <a:pt x="569" y="94"/>
                    <a:pt x="569" y="94"/>
                  </a:cubicBezTo>
                  <a:cubicBezTo>
                    <a:pt x="570" y="94"/>
                    <a:pt x="570" y="94"/>
                    <a:pt x="570" y="94"/>
                  </a:cubicBezTo>
                  <a:cubicBezTo>
                    <a:pt x="570" y="94"/>
                    <a:pt x="571" y="94"/>
                    <a:pt x="571" y="94"/>
                  </a:cubicBezTo>
                  <a:cubicBezTo>
                    <a:pt x="571" y="95"/>
                    <a:pt x="571" y="96"/>
                    <a:pt x="572" y="96"/>
                  </a:cubicBezTo>
                  <a:cubicBezTo>
                    <a:pt x="573" y="97"/>
                    <a:pt x="573" y="97"/>
                    <a:pt x="574" y="96"/>
                  </a:cubicBezTo>
                  <a:cubicBezTo>
                    <a:pt x="574" y="97"/>
                    <a:pt x="574" y="97"/>
                    <a:pt x="574" y="98"/>
                  </a:cubicBezTo>
                  <a:cubicBezTo>
                    <a:pt x="575" y="98"/>
                    <a:pt x="575" y="98"/>
                    <a:pt x="575" y="98"/>
                  </a:cubicBezTo>
                  <a:cubicBezTo>
                    <a:pt x="576" y="98"/>
                    <a:pt x="576" y="98"/>
                    <a:pt x="576" y="98"/>
                  </a:cubicBezTo>
                  <a:cubicBezTo>
                    <a:pt x="577" y="98"/>
                    <a:pt x="577" y="97"/>
                    <a:pt x="578" y="96"/>
                  </a:cubicBezTo>
                  <a:cubicBezTo>
                    <a:pt x="578" y="96"/>
                    <a:pt x="578" y="96"/>
                    <a:pt x="578" y="96"/>
                  </a:cubicBezTo>
                  <a:cubicBezTo>
                    <a:pt x="579" y="95"/>
                    <a:pt x="580" y="95"/>
                    <a:pt x="581" y="94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3" y="93"/>
                    <a:pt x="583" y="92"/>
                    <a:pt x="583" y="91"/>
                  </a:cubicBezTo>
                  <a:cubicBezTo>
                    <a:pt x="583" y="91"/>
                    <a:pt x="583" y="90"/>
                    <a:pt x="583" y="89"/>
                  </a:cubicBezTo>
                  <a:cubicBezTo>
                    <a:pt x="582" y="89"/>
                    <a:pt x="582" y="89"/>
                    <a:pt x="582" y="89"/>
                  </a:cubicBezTo>
                  <a:cubicBezTo>
                    <a:pt x="582" y="89"/>
                    <a:pt x="582" y="89"/>
                    <a:pt x="582" y="89"/>
                  </a:cubicBezTo>
                  <a:cubicBezTo>
                    <a:pt x="583" y="87"/>
                    <a:pt x="583" y="87"/>
                    <a:pt x="583" y="87"/>
                  </a:cubicBezTo>
                  <a:cubicBezTo>
                    <a:pt x="582" y="87"/>
                    <a:pt x="582" y="87"/>
                    <a:pt x="582" y="87"/>
                  </a:cubicBezTo>
                  <a:cubicBezTo>
                    <a:pt x="581" y="86"/>
                    <a:pt x="581" y="86"/>
                    <a:pt x="580" y="85"/>
                  </a:cubicBezTo>
                  <a:cubicBezTo>
                    <a:pt x="580" y="85"/>
                    <a:pt x="580" y="85"/>
                    <a:pt x="580" y="85"/>
                  </a:cubicBezTo>
                  <a:cubicBezTo>
                    <a:pt x="580" y="84"/>
                    <a:pt x="580" y="84"/>
                    <a:pt x="579" y="83"/>
                  </a:cubicBezTo>
                  <a:cubicBezTo>
                    <a:pt x="579" y="83"/>
                    <a:pt x="578" y="82"/>
                    <a:pt x="577" y="82"/>
                  </a:cubicBezTo>
                  <a:cubicBezTo>
                    <a:pt x="577" y="82"/>
                    <a:pt x="577" y="82"/>
                    <a:pt x="577" y="82"/>
                  </a:cubicBezTo>
                  <a:cubicBezTo>
                    <a:pt x="578" y="81"/>
                    <a:pt x="578" y="81"/>
                    <a:pt x="578" y="80"/>
                  </a:cubicBezTo>
                  <a:cubicBezTo>
                    <a:pt x="579" y="79"/>
                    <a:pt x="579" y="78"/>
                    <a:pt x="579" y="77"/>
                  </a:cubicBezTo>
                  <a:cubicBezTo>
                    <a:pt x="579" y="76"/>
                    <a:pt x="579" y="75"/>
                    <a:pt x="580" y="75"/>
                  </a:cubicBezTo>
                  <a:cubicBezTo>
                    <a:pt x="580" y="75"/>
                    <a:pt x="581" y="75"/>
                    <a:pt x="581" y="75"/>
                  </a:cubicBezTo>
                  <a:cubicBezTo>
                    <a:pt x="582" y="75"/>
                    <a:pt x="583" y="75"/>
                    <a:pt x="584" y="73"/>
                  </a:cubicBezTo>
                  <a:cubicBezTo>
                    <a:pt x="585" y="73"/>
                    <a:pt x="585" y="73"/>
                    <a:pt x="585" y="73"/>
                  </a:cubicBezTo>
                  <a:cubicBezTo>
                    <a:pt x="585" y="72"/>
                    <a:pt x="585" y="72"/>
                    <a:pt x="586" y="71"/>
                  </a:cubicBezTo>
                  <a:cubicBezTo>
                    <a:pt x="586" y="71"/>
                    <a:pt x="586" y="71"/>
                    <a:pt x="586" y="71"/>
                  </a:cubicBezTo>
                  <a:cubicBezTo>
                    <a:pt x="586" y="70"/>
                    <a:pt x="586" y="70"/>
                    <a:pt x="587" y="70"/>
                  </a:cubicBezTo>
                  <a:cubicBezTo>
                    <a:pt x="587" y="70"/>
                    <a:pt x="588" y="70"/>
                    <a:pt x="588" y="70"/>
                  </a:cubicBezTo>
                  <a:cubicBezTo>
                    <a:pt x="589" y="69"/>
                    <a:pt x="590" y="68"/>
                    <a:pt x="590" y="67"/>
                  </a:cubicBezTo>
                  <a:cubicBezTo>
                    <a:pt x="590" y="66"/>
                    <a:pt x="590" y="66"/>
                    <a:pt x="590" y="66"/>
                  </a:cubicBezTo>
                  <a:cubicBezTo>
                    <a:pt x="590" y="66"/>
                    <a:pt x="590" y="66"/>
                    <a:pt x="590" y="66"/>
                  </a:cubicBezTo>
                  <a:cubicBezTo>
                    <a:pt x="591" y="65"/>
                    <a:pt x="592" y="65"/>
                    <a:pt x="592" y="64"/>
                  </a:cubicBezTo>
                  <a:cubicBezTo>
                    <a:pt x="592" y="63"/>
                    <a:pt x="592" y="63"/>
                    <a:pt x="592" y="62"/>
                  </a:cubicBezTo>
                  <a:cubicBezTo>
                    <a:pt x="593" y="62"/>
                    <a:pt x="593" y="62"/>
                    <a:pt x="593" y="62"/>
                  </a:cubicBezTo>
                  <a:cubicBezTo>
                    <a:pt x="595" y="61"/>
                    <a:pt x="595" y="61"/>
                    <a:pt x="595" y="59"/>
                  </a:cubicBezTo>
                  <a:cubicBezTo>
                    <a:pt x="595" y="59"/>
                    <a:pt x="595" y="59"/>
                    <a:pt x="595" y="59"/>
                  </a:cubicBezTo>
                  <a:cubicBezTo>
                    <a:pt x="595" y="59"/>
                    <a:pt x="595" y="59"/>
                    <a:pt x="595" y="59"/>
                  </a:cubicBezTo>
                  <a:cubicBezTo>
                    <a:pt x="596" y="59"/>
                    <a:pt x="596" y="59"/>
                    <a:pt x="597" y="58"/>
                  </a:cubicBezTo>
                  <a:cubicBezTo>
                    <a:pt x="598" y="58"/>
                    <a:pt x="598" y="57"/>
                    <a:pt x="598" y="56"/>
                  </a:cubicBezTo>
                  <a:cubicBezTo>
                    <a:pt x="599" y="57"/>
                    <a:pt x="599" y="57"/>
                    <a:pt x="600" y="57"/>
                  </a:cubicBezTo>
                  <a:cubicBezTo>
                    <a:pt x="600" y="57"/>
                    <a:pt x="601" y="57"/>
                    <a:pt x="601" y="57"/>
                  </a:cubicBezTo>
                  <a:cubicBezTo>
                    <a:pt x="601" y="56"/>
                    <a:pt x="601" y="56"/>
                    <a:pt x="602" y="56"/>
                  </a:cubicBezTo>
                  <a:cubicBezTo>
                    <a:pt x="602" y="56"/>
                    <a:pt x="602" y="56"/>
                    <a:pt x="603" y="56"/>
                  </a:cubicBezTo>
                  <a:cubicBezTo>
                    <a:pt x="603" y="56"/>
                    <a:pt x="603" y="56"/>
                    <a:pt x="604" y="56"/>
                  </a:cubicBezTo>
                  <a:cubicBezTo>
                    <a:pt x="604" y="55"/>
                    <a:pt x="604" y="55"/>
                    <a:pt x="605" y="55"/>
                  </a:cubicBezTo>
                  <a:cubicBezTo>
                    <a:pt x="605" y="55"/>
                    <a:pt x="605" y="55"/>
                    <a:pt x="606" y="55"/>
                  </a:cubicBezTo>
                  <a:cubicBezTo>
                    <a:pt x="606" y="54"/>
                    <a:pt x="606" y="54"/>
                    <a:pt x="606" y="54"/>
                  </a:cubicBezTo>
                  <a:cubicBezTo>
                    <a:pt x="607" y="54"/>
                    <a:pt x="607" y="54"/>
                    <a:pt x="607" y="54"/>
                  </a:cubicBezTo>
                  <a:cubicBezTo>
                    <a:pt x="607" y="54"/>
                    <a:pt x="608" y="53"/>
                    <a:pt x="608" y="53"/>
                  </a:cubicBezTo>
                  <a:cubicBezTo>
                    <a:pt x="609" y="53"/>
                    <a:pt x="609" y="53"/>
                    <a:pt x="609" y="53"/>
                  </a:cubicBezTo>
                  <a:cubicBezTo>
                    <a:pt x="609" y="52"/>
                    <a:pt x="610" y="52"/>
                    <a:pt x="610" y="52"/>
                  </a:cubicBezTo>
                  <a:cubicBezTo>
                    <a:pt x="611" y="52"/>
                    <a:pt x="612" y="51"/>
                    <a:pt x="612" y="50"/>
                  </a:cubicBezTo>
                  <a:cubicBezTo>
                    <a:pt x="613" y="49"/>
                    <a:pt x="614" y="48"/>
                    <a:pt x="613" y="47"/>
                  </a:cubicBezTo>
                  <a:cubicBezTo>
                    <a:pt x="613" y="46"/>
                    <a:pt x="612" y="45"/>
                    <a:pt x="610" y="45"/>
                  </a:cubicBezTo>
                  <a:cubicBezTo>
                    <a:pt x="610" y="45"/>
                    <a:pt x="610" y="45"/>
                    <a:pt x="610" y="45"/>
                  </a:cubicBezTo>
                  <a:cubicBezTo>
                    <a:pt x="609" y="45"/>
                    <a:pt x="609" y="45"/>
                    <a:pt x="609" y="45"/>
                  </a:cubicBezTo>
                  <a:cubicBezTo>
                    <a:pt x="609" y="45"/>
                    <a:pt x="609" y="45"/>
                    <a:pt x="609" y="45"/>
                  </a:cubicBezTo>
                  <a:cubicBezTo>
                    <a:pt x="608" y="45"/>
                    <a:pt x="608" y="45"/>
                    <a:pt x="608" y="45"/>
                  </a:cubicBezTo>
                  <a:cubicBezTo>
                    <a:pt x="608" y="44"/>
                    <a:pt x="607" y="44"/>
                    <a:pt x="607" y="43"/>
                  </a:cubicBezTo>
                  <a:cubicBezTo>
                    <a:pt x="606" y="43"/>
                    <a:pt x="604" y="44"/>
                    <a:pt x="604" y="44"/>
                  </a:cubicBezTo>
                  <a:cubicBezTo>
                    <a:pt x="603" y="44"/>
                    <a:pt x="603" y="44"/>
                    <a:pt x="603" y="44"/>
                  </a:cubicBezTo>
                  <a:cubicBezTo>
                    <a:pt x="603" y="45"/>
                    <a:pt x="602" y="45"/>
                    <a:pt x="602" y="45"/>
                  </a:cubicBezTo>
                  <a:cubicBezTo>
                    <a:pt x="602" y="45"/>
                    <a:pt x="601" y="45"/>
                    <a:pt x="600" y="45"/>
                  </a:cubicBezTo>
                  <a:cubicBezTo>
                    <a:pt x="599" y="46"/>
                    <a:pt x="599" y="48"/>
                    <a:pt x="599" y="49"/>
                  </a:cubicBezTo>
                  <a:cubicBezTo>
                    <a:pt x="599" y="49"/>
                    <a:pt x="599" y="49"/>
                    <a:pt x="599" y="50"/>
                  </a:cubicBezTo>
                  <a:cubicBezTo>
                    <a:pt x="599" y="50"/>
                    <a:pt x="599" y="50"/>
                    <a:pt x="599" y="50"/>
                  </a:cubicBezTo>
                  <a:cubicBezTo>
                    <a:pt x="598" y="49"/>
                    <a:pt x="597" y="48"/>
                    <a:pt x="596" y="48"/>
                  </a:cubicBezTo>
                  <a:cubicBezTo>
                    <a:pt x="595" y="48"/>
                    <a:pt x="595" y="48"/>
                    <a:pt x="595" y="48"/>
                  </a:cubicBezTo>
                  <a:cubicBezTo>
                    <a:pt x="594" y="48"/>
                    <a:pt x="594" y="47"/>
                    <a:pt x="594" y="47"/>
                  </a:cubicBezTo>
                  <a:cubicBezTo>
                    <a:pt x="593" y="46"/>
                    <a:pt x="591" y="46"/>
                    <a:pt x="590" y="47"/>
                  </a:cubicBezTo>
                  <a:cubicBezTo>
                    <a:pt x="590" y="47"/>
                    <a:pt x="589" y="48"/>
                    <a:pt x="589" y="48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8" y="48"/>
                    <a:pt x="587" y="48"/>
                    <a:pt x="587" y="49"/>
                  </a:cubicBezTo>
                  <a:cubicBezTo>
                    <a:pt x="586" y="49"/>
                    <a:pt x="585" y="50"/>
                    <a:pt x="585" y="51"/>
                  </a:cubicBezTo>
                  <a:cubicBezTo>
                    <a:pt x="585" y="52"/>
                    <a:pt x="585" y="52"/>
                    <a:pt x="585" y="52"/>
                  </a:cubicBezTo>
                  <a:cubicBezTo>
                    <a:pt x="584" y="53"/>
                    <a:pt x="584" y="53"/>
                    <a:pt x="583" y="53"/>
                  </a:cubicBezTo>
                  <a:cubicBezTo>
                    <a:pt x="581" y="54"/>
                    <a:pt x="580" y="55"/>
                    <a:pt x="579" y="57"/>
                  </a:cubicBezTo>
                  <a:cubicBezTo>
                    <a:pt x="579" y="57"/>
                    <a:pt x="579" y="57"/>
                    <a:pt x="579" y="57"/>
                  </a:cubicBezTo>
                  <a:cubicBezTo>
                    <a:pt x="579" y="59"/>
                    <a:pt x="579" y="59"/>
                    <a:pt x="578" y="59"/>
                  </a:cubicBezTo>
                  <a:cubicBezTo>
                    <a:pt x="575" y="59"/>
                    <a:pt x="574" y="61"/>
                    <a:pt x="573" y="62"/>
                  </a:cubicBezTo>
                  <a:cubicBezTo>
                    <a:pt x="572" y="64"/>
                    <a:pt x="571" y="65"/>
                    <a:pt x="570" y="65"/>
                  </a:cubicBezTo>
                  <a:cubicBezTo>
                    <a:pt x="570" y="65"/>
                    <a:pt x="570" y="65"/>
                    <a:pt x="569" y="65"/>
                  </a:cubicBezTo>
                  <a:cubicBezTo>
                    <a:pt x="570" y="64"/>
                    <a:pt x="571" y="63"/>
                    <a:pt x="571" y="62"/>
                  </a:cubicBezTo>
                  <a:cubicBezTo>
                    <a:pt x="571" y="62"/>
                    <a:pt x="571" y="61"/>
                    <a:pt x="571" y="61"/>
                  </a:cubicBezTo>
                  <a:cubicBezTo>
                    <a:pt x="571" y="60"/>
                    <a:pt x="572" y="60"/>
                    <a:pt x="573" y="60"/>
                  </a:cubicBezTo>
                  <a:cubicBezTo>
                    <a:pt x="574" y="59"/>
                    <a:pt x="575" y="59"/>
                    <a:pt x="576" y="59"/>
                  </a:cubicBezTo>
                  <a:cubicBezTo>
                    <a:pt x="577" y="57"/>
                    <a:pt x="578" y="54"/>
                    <a:pt x="578" y="52"/>
                  </a:cubicBezTo>
                  <a:cubicBezTo>
                    <a:pt x="578" y="51"/>
                    <a:pt x="578" y="51"/>
                    <a:pt x="578" y="51"/>
                  </a:cubicBezTo>
                  <a:cubicBezTo>
                    <a:pt x="578" y="50"/>
                    <a:pt x="577" y="47"/>
                    <a:pt x="576" y="46"/>
                  </a:cubicBezTo>
                  <a:cubicBezTo>
                    <a:pt x="575" y="46"/>
                    <a:pt x="575" y="46"/>
                    <a:pt x="575" y="46"/>
                  </a:cubicBezTo>
                  <a:cubicBezTo>
                    <a:pt x="574" y="46"/>
                    <a:pt x="573" y="46"/>
                    <a:pt x="572" y="48"/>
                  </a:cubicBezTo>
                  <a:cubicBezTo>
                    <a:pt x="572" y="49"/>
                    <a:pt x="572" y="50"/>
                    <a:pt x="573" y="51"/>
                  </a:cubicBezTo>
                  <a:cubicBezTo>
                    <a:pt x="573" y="51"/>
                    <a:pt x="573" y="51"/>
                    <a:pt x="573" y="51"/>
                  </a:cubicBezTo>
                  <a:cubicBezTo>
                    <a:pt x="569" y="51"/>
                    <a:pt x="569" y="51"/>
                    <a:pt x="569" y="51"/>
                  </a:cubicBezTo>
                  <a:cubicBezTo>
                    <a:pt x="571" y="52"/>
                    <a:pt x="571" y="52"/>
                    <a:pt x="571" y="52"/>
                  </a:cubicBezTo>
                  <a:cubicBezTo>
                    <a:pt x="570" y="52"/>
                    <a:pt x="570" y="52"/>
                    <a:pt x="570" y="52"/>
                  </a:cubicBezTo>
                  <a:cubicBezTo>
                    <a:pt x="570" y="52"/>
                    <a:pt x="569" y="52"/>
                    <a:pt x="569" y="52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68" y="51"/>
                    <a:pt x="568" y="51"/>
                    <a:pt x="568" y="50"/>
                  </a:cubicBezTo>
                  <a:cubicBezTo>
                    <a:pt x="568" y="48"/>
                    <a:pt x="567" y="47"/>
                    <a:pt x="566" y="46"/>
                  </a:cubicBezTo>
                  <a:cubicBezTo>
                    <a:pt x="566" y="46"/>
                    <a:pt x="566" y="46"/>
                    <a:pt x="565" y="46"/>
                  </a:cubicBezTo>
                  <a:cubicBezTo>
                    <a:pt x="565" y="45"/>
                    <a:pt x="564" y="44"/>
                    <a:pt x="563" y="44"/>
                  </a:cubicBezTo>
                  <a:cubicBezTo>
                    <a:pt x="562" y="44"/>
                    <a:pt x="561" y="45"/>
                    <a:pt x="561" y="45"/>
                  </a:cubicBezTo>
                  <a:cubicBezTo>
                    <a:pt x="560" y="45"/>
                    <a:pt x="560" y="45"/>
                    <a:pt x="560" y="45"/>
                  </a:cubicBezTo>
                  <a:cubicBezTo>
                    <a:pt x="560" y="45"/>
                    <a:pt x="560" y="45"/>
                    <a:pt x="560" y="45"/>
                  </a:cubicBezTo>
                  <a:cubicBezTo>
                    <a:pt x="560" y="45"/>
                    <a:pt x="560" y="45"/>
                    <a:pt x="561" y="44"/>
                  </a:cubicBezTo>
                  <a:cubicBezTo>
                    <a:pt x="562" y="43"/>
                    <a:pt x="563" y="42"/>
                    <a:pt x="563" y="40"/>
                  </a:cubicBezTo>
                  <a:cubicBezTo>
                    <a:pt x="563" y="39"/>
                    <a:pt x="562" y="38"/>
                    <a:pt x="561" y="38"/>
                  </a:cubicBezTo>
                  <a:cubicBezTo>
                    <a:pt x="562" y="37"/>
                    <a:pt x="562" y="35"/>
                    <a:pt x="563" y="34"/>
                  </a:cubicBezTo>
                  <a:cubicBezTo>
                    <a:pt x="563" y="33"/>
                    <a:pt x="563" y="33"/>
                    <a:pt x="563" y="33"/>
                  </a:cubicBezTo>
                  <a:cubicBezTo>
                    <a:pt x="563" y="32"/>
                    <a:pt x="563" y="32"/>
                    <a:pt x="563" y="31"/>
                  </a:cubicBezTo>
                  <a:cubicBezTo>
                    <a:pt x="564" y="30"/>
                    <a:pt x="565" y="28"/>
                    <a:pt x="564" y="26"/>
                  </a:cubicBezTo>
                  <a:cubicBezTo>
                    <a:pt x="563" y="24"/>
                    <a:pt x="561" y="24"/>
                    <a:pt x="560" y="24"/>
                  </a:cubicBezTo>
                  <a:cubicBezTo>
                    <a:pt x="559" y="24"/>
                    <a:pt x="558" y="24"/>
                    <a:pt x="557" y="24"/>
                  </a:cubicBezTo>
                  <a:cubicBezTo>
                    <a:pt x="557" y="23"/>
                    <a:pt x="557" y="23"/>
                    <a:pt x="557" y="23"/>
                  </a:cubicBezTo>
                  <a:cubicBezTo>
                    <a:pt x="556" y="23"/>
                    <a:pt x="556" y="23"/>
                    <a:pt x="556" y="23"/>
                  </a:cubicBezTo>
                  <a:cubicBezTo>
                    <a:pt x="556" y="22"/>
                    <a:pt x="555" y="22"/>
                    <a:pt x="555" y="21"/>
                  </a:cubicBezTo>
                  <a:cubicBezTo>
                    <a:pt x="554" y="21"/>
                    <a:pt x="554" y="21"/>
                    <a:pt x="554" y="20"/>
                  </a:cubicBezTo>
                  <a:cubicBezTo>
                    <a:pt x="554" y="20"/>
                    <a:pt x="554" y="20"/>
                    <a:pt x="554" y="20"/>
                  </a:cubicBezTo>
                  <a:cubicBezTo>
                    <a:pt x="553" y="19"/>
                    <a:pt x="553" y="17"/>
                    <a:pt x="550" y="17"/>
                  </a:cubicBezTo>
                  <a:cubicBezTo>
                    <a:pt x="550" y="17"/>
                    <a:pt x="550" y="17"/>
                    <a:pt x="550" y="17"/>
                  </a:cubicBezTo>
                  <a:cubicBezTo>
                    <a:pt x="549" y="17"/>
                    <a:pt x="548" y="17"/>
                    <a:pt x="547" y="17"/>
                  </a:cubicBezTo>
                  <a:cubicBezTo>
                    <a:pt x="547" y="18"/>
                    <a:pt x="546" y="18"/>
                    <a:pt x="546" y="18"/>
                  </a:cubicBezTo>
                  <a:cubicBezTo>
                    <a:pt x="545" y="18"/>
                    <a:pt x="545" y="18"/>
                    <a:pt x="545" y="18"/>
                  </a:cubicBezTo>
                  <a:cubicBezTo>
                    <a:pt x="542" y="18"/>
                    <a:pt x="541" y="18"/>
                    <a:pt x="539" y="17"/>
                  </a:cubicBezTo>
                  <a:cubicBezTo>
                    <a:pt x="540" y="16"/>
                    <a:pt x="540" y="16"/>
                    <a:pt x="540" y="16"/>
                  </a:cubicBezTo>
                  <a:cubicBezTo>
                    <a:pt x="537" y="16"/>
                    <a:pt x="537" y="16"/>
                    <a:pt x="537" y="16"/>
                  </a:cubicBezTo>
                  <a:cubicBezTo>
                    <a:pt x="536" y="16"/>
                    <a:pt x="536" y="16"/>
                    <a:pt x="535" y="15"/>
                  </a:cubicBezTo>
                  <a:cubicBezTo>
                    <a:pt x="535" y="15"/>
                    <a:pt x="534" y="15"/>
                    <a:pt x="533" y="15"/>
                  </a:cubicBezTo>
                  <a:cubicBezTo>
                    <a:pt x="531" y="15"/>
                    <a:pt x="530" y="17"/>
                    <a:pt x="530" y="17"/>
                  </a:cubicBezTo>
                  <a:cubicBezTo>
                    <a:pt x="530" y="18"/>
                    <a:pt x="530" y="18"/>
                    <a:pt x="530" y="18"/>
                  </a:cubicBezTo>
                  <a:cubicBezTo>
                    <a:pt x="529" y="19"/>
                    <a:pt x="528" y="20"/>
                    <a:pt x="527" y="22"/>
                  </a:cubicBezTo>
                  <a:cubicBezTo>
                    <a:pt x="527" y="22"/>
                    <a:pt x="526" y="23"/>
                    <a:pt x="526" y="23"/>
                  </a:cubicBezTo>
                  <a:cubicBezTo>
                    <a:pt x="525" y="25"/>
                    <a:pt x="523" y="26"/>
                    <a:pt x="521" y="26"/>
                  </a:cubicBezTo>
                  <a:cubicBezTo>
                    <a:pt x="520" y="26"/>
                    <a:pt x="520" y="26"/>
                    <a:pt x="520" y="26"/>
                  </a:cubicBezTo>
                  <a:cubicBezTo>
                    <a:pt x="519" y="26"/>
                    <a:pt x="518" y="26"/>
                    <a:pt x="517" y="27"/>
                  </a:cubicBezTo>
                  <a:cubicBezTo>
                    <a:pt x="517" y="27"/>
                    <a:pt x="516" y="27"/>
                    <a:pt x="516" y="27"/>
                  </a:cubicBezTo>
                  <a:cubicBezTo>
                    <a:pt x="515" y="28"/>
                    <a:pt x="515" y="28"/>
                    <a:pt x="514" y="28"/>
                  </a:cubicBezTo>
                  <a:cubicBezTo>
                    <a:pt x="513" y="29"/>
                    <a:pt x="512" y="29"/>
                    <a:pt x="511" y="29"/>
                  </a:cubicBezTo>
                  <a:cubicBezTo>
                    <a:pt x="511" y="29"/>
                    <a:pt x="511" y="29"/>
                    <a:pt x="511" y="29"/>
                  </a:cubicBezTo>
                  <a:cubicBezTo>
                    <a:pt x="510" y="28"/>
                    <a:pt x="509" y="28"/>
                    <a:pt x="508" y="29"/>
                  </a:cubicBezTo>
                  <a:cubicBezTo>
                    <a:pt x="508" y="29"/>
                    <a:pt x="507" y="30"/>
                    <a:pt x="507" y="30"/>
                  </a:cubicBezTo>
                  <a:cubicBezTo>
                    <a:pt x="507" y="30"/>
                    <a:pt x="505" y="30"/>
                    <a:pt x="505" y="31"/>
                  </a:cubicBezTo>
                  <a:cubicBezTo>
                    <a:pt x="504" y="31"/>
                    <a:pt x="504" y="32"/>
                    <a:pt x="504" y="32"/>
                  </a:cubicBezTo>
                  <a:cubicBezTo>
                    <a:pt x="504" y="33"/>
                    <a:pt x="503" y="33"/>
                    <a:pt x="503" y="34"/>
                  </a:cubicBezTo>
                  <a:cubicBezTo>
                    <a:pt x="503" y="34"/>
                    <a:pt x="503" y="33"/>
                    <a:pt x="502" y="33"/>
                  </a:cubicBezTo>
                  <a:cubicBezTo>
                    <a:pt x="502" y="33"/>
                    <a:pt x="502" y="33"/>
                    <a:pt x="501" y="33"/>
                  </a:cubicBezTo>
                  <a:cubicBezTo>
                    <a:pt x="500" y="33"/>
                    <a:pt x="498" y="34"/>
                    <a:pt x="496" y="35"/>
                  </a:cubicBezTo>
                  <a:cubicBezTo>
                    <a:pt x="496" y="35"/>
                    <a:pt x="496" y="35"/>
                    <a:pt x="496" y="35"/>
                  </a:cubicBezTo>
                  <a:cubicBezTo>
                    <a:pt x="496" y="35"/>
                    <a:pt x="495" y="36"/>
                    <a:pt x="495" y="36"/>
                  </a:cubicBezTo>
                  <a:cubicBezTo>
                    <a:pt x="495" y="36"/>
                    <a:pt x="495" y="36"/>
                    <a:pt x="494" y="36"/>
                  </a:cubicBezTo>
                  <a:cubicBezTo>
                    <a:pt x="493" y="36"/>
                    <a:pt x="493" y="36"/>
                    <a:pt x="493" y="36"/>
                  </a:cubicBezTo>
                  <a:cubicBezTo>
                    <a:pt x="493" y="36"/>
                    <a:pt x="492" y="36"/>
                    <a:pt x="492" y="36"/>
                  </a:cubicBezTo>
                  <a:cubicBezTo>
                    <a:pt x="491" y="37"/>
                    <a:pt x="491" y="37"/>
                    <a:pt x="490" y="37"/>
                  </a:cubicBezTo>
                  <a:cubicBezTo>
                    <a:pt x="490" y="38"/>
                    <a:pt x="490" y="38"/>
                    <a:pt x="490" y="38"/>
                  </a:cubicBezTo>
                  <a:cubicBezTo>
                    <a:pt x="490" y="38"/>
                    <a:pt x="490" y="38"/>
                    <a:pt x="490" y="38"/>
                  </a:cubicBezTo>
                  <a:cubicBezTo>
                    <a:pt x="489" y="38"/>
                    <a:pt x="489" y="37"/>
                    <a:pt x="488" y="37"/>
                  </a:cubicBezTo>
                  <a:cubicBezTo>
                    <a:pt x="488" y="37"/>
                    <a:pt x="488" y="37"/>
                    <a:pt x="488" y="38"/>
                  </a:cubicBezTo>
                  <a:cubicBezTo>
                    <a:pt x="487" y="38"/>
                    <a:pt x="487" y="38"/>
                    <a:pt x="487" y="38"/>
                  </a:cubicBezTo>
                  <a:cubicBezTo>
                    <a:pt x="487" y="39"/>
                    <a:pt x="487" y="39"/>
                    <a:pt x="487" y="39"/>
                  </a:cubicBezTo>
                  <a:cubicBezTo>
                    <a:pt x="487" y="41"/>
                    <a:pt x="489" y="42"/>
                    <a:pt x="490" y="42"/>
                  </a:cubicBezTo>
                  <a:cubicBezTo>
                    <a:pt x="490" y="43"/>
                    <a:pt x="490" y="43"/>
                    <a:pt x="490" y="44"/>
                  </a:cubicBezTo>
                  <a:cubicBezTo>
                    <a:pt x="490" y="44"/>
                    <a:pt x="490" y="45"/>
                    <a:pt x="490" y="46"/>
                  </a:cubicBezTo>
                  <a:cubicBezTo>
                    <a:pt x="490" y="47"/>
                    <a:pt x="490" y="48"/>
                    <a:pt x="489" y="48"/>
                  </a:cubicBezTo>
                  <a:cubicBezTo>
                    <a:pt x="489" y="48"/>
                    <a:pt x="488" y="48"/>
                    <a:pt x="488" y="49"/>
                  </a:cubicBezTo>
                  <a:cubicBezTo>
                    <a:pt x="487" y="49"/>
                    <a:pt x="484" y="50"/>
                    <a:pt x="485" y="53"/>
                  </a:cubicBezTo>
                  <a:cubicBezTo>
                    <a:pt x="485" y="54"/>
                    <a:pt x="485" y="54"/>
                    <a:pt x="485" y="54"/>
                  </a:cubicBezTo>
                  <a:cubicBezTo>
                    <a:pt x="486" y="54"/>
                    <a:pt x="486" y="54"/>
                    <a:pt x="486" y="54"/>
                  </a:cubicBezTo>
                  <a:cubicBezTo>
                    <a:pt x="487" y="54"/>
                    <a:pt x="487" y="54"/>
                    <a:pt x="488" y="54"/>
                  </a:cubicBezTo>
                  <a:cubicBezTo>
                    <a:pt x="489" y="54"/>
                    <a:pt x="490" y="54"/>
                    <a:pt x="490" y="54"/>
                  </a:cubicBezTo>
                  <a:cubicBezTo>
                    <a:pt x="492" y="54"/>
                    <a:pt x="493" y="54"/>
                    <a:pt x="494" y="54"/>
                  </a:cubicBezTo>
                  <a:cubicBezTo>
                    <a:pt x="494" y="54"/>
                    <a:pt x="494" y="54"/>
                    <a:pt x="495" y="54"/>
                  </a:cubicBezTo>
                  <a:cubicBezTo>
                    <a:pt x="495" y="54"/>
                    <a:pt x="495" y="54"/>
                    <a:pt x="496" y="54"/>
                  </a:cubicBezTo>
                  <a:cubicBezTo>
                    <a:pt x="496" y="54"/>
                    <a:pt x="497" y="55"/>
                    <a:pt x="497" y="55"/>
                  </a:cubicBezTo>
                  <a:cubicBezTo>
                    <a:pt x="498" y="55"/>
                    <a:pt x="498" y="54"/>
                    <a:pt x="499" y="54"/>
                  </a:cubicBezTo>
                  <a:cubicBezTo>
                    <a:pt x="499" y="54"/>
                    <a:pt x="500" y="53"/>
                    <a:pt x="500" y="53"/>
                  </a:cubicBezTo>
                  <a:cubicBezTo>
                    <a:pt x="500" y="54"/>
                    <a:pt x="500" y="54"/>
                    <a:pt x="500" y="54"/>
                  </a:cubicBezTo>
                  <a:cubicBezTo>
                    <a:pt x="502" y="54"/>
                    <a:pt x="502" y="54"/>
                    <a:pt x="502" y="54"/>
                  </a:cubicBezTo>
                  <a:cubicBezTo>
                    <a:pt x="504" y="54"/>
                    <a:pt x="508" y="54"/>
                    <a:pt x="510" y="51"/>
                  </a:cubicBezTo>
                  <a:cubicBezTo>
                    <a:pt x="511" y="50"/>
                    <a:pt x="513" y="49"/>
                    <a:pt x="515" y="49"/>
                  </a:cubicBezTo>
                  <a:cubicBezTo>
                    <a:pt x="515" y="49"/>
                    <a:pt x="515" y="49"/>
                    <a:pt x="515" y="49"/>
                  </a:cubicBezTo>
                  <a:cubicBezTo>
                    <a:pt x="517" y="49"/>
                    <a:pt x="518" y="48"/>
                    <a:pt x="519" y="47"/>
                  </a:cubicBezTo>
                  <a:cubicBezTo>
                    <a:pt x="519" y="47"/>
                    <a:pt x="519" y="47"/>
                    <a:pt x="520" y="47"/>
                  </a:cubicBezTo>
                  <a:cubicBezTo>
                    <a:pt x="520" y="47"/>
                    <a:pt x="521" y="48"/>
                    <a:pt x="522" y="48"/>
                  </a:cubicBezTo>
                  <a:cubicBezTo>
                    <a:pt x="522" y="48"/>
                    <a:pt x="522" y="48"/>
                    <a:pt x="522" y="48"/>
                  </a:cubicBezTo>
                  <a:cubicBezTo>
                    <a:pt x="521" y="48"/>
                    <a:pt x="521" y="49"/>
                    <a:pt x="520" y="49"/>
                  </a:cubicBezTo>
                  <a:cubicBezTo>
                    <a:pt x="520" y="49"/>
                    <a:pt x="520" y="49"/>
                    <a:pt x="519" y="49"/>
                  </a:cubicBezTo>
                  <a:cubicBezTo>
                    <a:pt x="519" y="50"/>
                    <a:pt x="519" y="50"/>
                    <a:pt x="519" y="50"/>
                  </a:cubicBezTo>
                  <a:cubicBezTo>
                    <a:pt x="519" y="50"/>
                    <a:pt x="519" y="50"/>
                    <a:pt x="519" y="50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9" y="49"/>
                    <a:pt x="518" y="49"/>
                    <a:pt x="518" y="49"/>
                  </a:cubicBezTo>
                  <a:cubicBezTo>
                    <a:pt x="516" y="49"/>
                    <a:pt x="515" y="50"/>
                    <a:pt x="515" y="52"/>
                  </a:cubicBezTo>
                  <a:cubicBezTo>
                    <a:pt x="515" y="52"/>
                    <a:pt x="515" y="54"/>
                    <a:pt x="517" y="54"/>
                  </a:cubicBezTo>
                  <a:cubicBezTo>
                    <a:pt x="516" y="54"/>
                    <a:pt x="516" y="55"/>
                    <a:pt x="516" y="56"/>
                  </a:cubicBezTo>
                  <a:cubicBezTo>
                    <a:pt x="516" y="56"/>
                    <a:pt x="516" y="57"/>
                    <a:pt x="516" y="57"/>
                  </a:cubicBezTo>
                  <a:cubicBezTo>
                    <a:pt x="517" y="58"/>
                    <a:pt x="517" y="58"/>
                    <a:pt x="517" y="58"/>
                  </a:cubicBezTo>
                  <a:cubicBezTo>
                    <a:pt x="517" y="58"/>
                    <a:pt x="517" y="58"/>
                    <a:pt x="517" y="58"/>
                  </a:cubicBezTo>
                  <a:cubicBezTo>
                    <a:pt x="516" y="58"/>
                    <a:pt x="516" y="58"/>
                    <a:pt x="516" y="58"/>
                  </a:cubicBezTo>
                  <a:cubicBezTo>
                    <a:pt x="516" y="58"/>
                    <a:pt x="515" y="58"/>
                    <a:pt x="514" y="58"/>
                  </a:cubicBezTo>
                  <a:cubicBezTo>
                    <a:pt x="514" y="59"/>
                    <a:pt x="513" y="59"/>
                    <a:pt x="513" y="59"/>
                  </a:cubicBezTo>
                  <a:cubicBezTo>
                    <a:pt x="512" y="59"/>
                    <a:pt x="511" y="59"/>
                    <a:pt x="510" y="60"/>
                  </a:cubicBezTo>
                  <a:cubicBezTo>
                    <a:pt x="509" y="60"/>
                    <a:pt x="509" y="60"/>
                    <a:pt x="508" y="61"/>
                  </a:cubicBezTo>
                  <a:cubicBezTo>
                    <a:pt x="508" y="61"/>
                    <a:pt x="508" y="62"/>
                    <a:pt x="508" y="62"/>
                  </a:cubicBezTo>
                  <a:cubicBezTo>
                    <a:pt x="507" y="65"/>
                    <a:pt x="510" y="66"/>
                    <a:pt x="511" y="67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3" y="67"/>
                    <a:pt x="514" y="68"/>
                    <a:pt x="514" y="69"/>
                  </a:cubicBezTo>
                  <a:cubicBezTo>
                    <a:pt x="515" y="69"/>
                    <a:pt x="516" y="70"/>
                    <a:pt x="517" y="71"/>
                  </a:cubicBezTo>
                  <a:cubicBezTo>
                    <a:pt x="518" y="71"/>
                    <a:pt x="519" y="71"/>
                    <a:pt x="519" y="71"/>
                  </a:cubicBezTo>
                  <a:cubicBezTo>
                    <a:pt x="520" y="71"/>
                    <a:pt x="520" y="71"/>
                    <a:pt x="521" y="71"/>
                  </a:cubicBezTo>
                  <a:cubicBezTo>
                    <a:pt x="521" y="71"/>
                    <a:pt x="522" y="71"/>
                    <a:pt x="523" y="71"/>
                  </a:cubicBezTo>
                  <a:cubicBezTo>
                    <a:pt x="524" y="71"/>
                    <a:pt x="524" y="72"/>
                    <a:pt x="525" y="72"/>
                  </a:cubicBezTo>
                  <a:cubicBezTo>
                    <a:pt x="525" y="72"/>
                    <a:pt x="525" y="72"/>
                    <a:pt x="525" y="72"/>
                  </a:cubicBezTo>
                  <a:cubicBezTo>
                    <a:pt x="526" y="72"/>
                    <a:pt x="526" y="72"/>
                    <a:pt x="526" y="73"/>
                  </a:cubicBezTo>
                  <a:cubicBezTo>
                    <a:pt x="527" y="73"/>
                    <a:pt x="527" y="73"/>
                    <a:pt x="527" y="73"/>
                  </a:cubicBezTo>
                  <a:cubicBezTo>
                    <a:pt x="527" y="73"/>
                    <a:pt x="528" y="73"/>
                    <a:pt x="528" y="74"/>
                  </a:cubicBezTo>
                  <a:cubicBezTo>
                    <a:pt x="528" y="74"/>
                    <a:pt x="528" y="74"/>
                    <a:pt x="529" y="74"/>
                  </a:cubicBezTo>
                  <a:cubicBezTo>
                    <a:pt x="529" y="74"/>
                    <a:pt x="529" y="74"/>
                    <a:pt x="529" y="74"/>
                  </a:cubicBezTo>
                  <a:cubicBezTo>
                    <a:pt x="529" y="74"/>
                    <a:pt x="528" y="75"/>
                    <a:pt x="528" y="75"/>
                  </a:cubicBezTo>
                  <a:cubicBezTo>
                    <a:pt x="528" y="75"/>
                    <a:pt x="528" y="75"/>
                    <a:pt x="527" y="75"/>
                  </a:cubicBezTo>
                  <a:cubicBezTo>
                    <a:pt x="527" y="75"/>
                    <a:pt x="527" y="75"/>
                    <a:pt x="527" y="74"/>
                  </a:cubicBezTo>
                  <a:cubicBezTo>
                    <a:pt x="526" y="74"/>
                    <a:pt x="525" y="73"/>
                    <a:pt x="524" y="73"/>
                  </a:cubicBezTo>
                  <a:cubicBezTo>
                    <a:pt x="524" y="73"/>
                    <a:pt x="524" y="73"/>
                    <a:pt x="524" y="73"/>
                  </a:cubicBezTo>
                  <a:cubicBezTo>
                    <a:pt x="523" y="73"/>
                    <a:pt x="523" y="73"/>
                    <a:pt x="522" y="74"/>
                  </a:cubicBezTo>
                  <a:cubicBezTo>
                    <a:pt x="521" y="74"/>
                    <a:pt x="521" y="73"/>
                    <a:pt x="521" y="73"/>
                  </a:cubicBezTo>
                  <a:cubicBezTo>
                    <a:pt x="520" y="73"/>
                    <a:pt x="519" y="73"/>
                    <a:pt x="519" y="73"/>
                  </a:cubicBezTo>
                  <a:cubicBezTo>
                    <a:pt x="518" y="72"/>
                    <a:pt x="516" y="71"/>
                    <a:pt x="514" y="71"/>
                  </a:cubicBezTo>
                  <a:cubicBezTo>
                    <a:pt x="513" y="72"/>
                    <a:pt x="513" y="72"/>
                    <a:pt x="512" y="72"/>
                  </a:cubicBezTo>
                  <a:cubicBezTo>
                    <a:pt x="511" y="72"/>
                    <a:pt x="511" y="72"/>
                    <a:pt x="510" y="72"/>
                  </a:cubicBezTo>
                  <a:cubicBezTo>
                    <a:pt x="510" y="72"/>
                    <a:pt x="510" y="72"/>
                    <a:pt x="509" y="72"/>
                  </a:cubicBezTo>
                  <a:cubicBezTo>
                    <a:pt x="508" y="73"/>
                    <a:pt x="508" y="73"/>
                    <a:pt x="508" y="73"/>
                  </a:cubicBezTo>
                  <a:cubicBezTo>
                    <a:pt x="509" y="72"/>
                    <a:pt x="509" y="72"/>
                    <a:pt x="509" y="72"/>
                  </a:cubicBezTo>
                  <a:cubicBezTo>
                    <a:pt x="508" y="71"/>
                    <a:pt x="506" y="70"/>
                    <a:pt x="504" y="70"/>
                  </a:cubicBezTo>
                  <a:cubicBezTo>
                    <a:pt x="504" y="70"/>
                    <a:pt x="504" y="70"/>
                    <a:pt x="504" y="70"/>
                  </a:cubicBezTo>
                  <a:cubicBezTo>
                    <a:pt x="504" y="70"/>
                    <a:pt x="503" y="70"/>
                    <a:pt x="503" y="70"/>
                  </a:cubicBezTo>
                  <a:cubicBezTo>
                    <a:pt x="503" y="70"/>
                    <a:pt x="503" y="70"/>
                    <a:pt x="502" y="70"/>
                  </a:cubicBezTo>
                  <a:cubicBezTo>
                    <a:pt x="501" y="70"/>
                    <a:pt x="500" y="70"/>
                    <a:pt x="499" y="71"/>
                  </a:cubicBezTo>
                  <a:cubicBezTo>
                    <a:pt x="498" y="71"/>
                    <a:pt x="497" y="72"/>
                    <a:pt x="497" y="72"/>
                  </a:cubicBezTo>
                  <a:cubicBezTo>
                    <a:pt x="496" y="73"/>
                    <a:pt x="496" y="74"/>
                    <a:pt x="496" y="74"/>
                  </a:cubicBezTo>
                  <a:cubicBezTo>
                    <a:pt x="496" y="74"/>
                    <a:pt x="496" y="74"/>
                    <a:pt x="496" y="75"/>
                  </a:cubicBezTo>
                  <a:cubicBezTo>
                    <a:pt x="496" y="75"/>
                    <a:pt x="496" y="75"/>
                    <a:pt x="496" y="75"/>
                  </a:cubicBezTo>
                  <a:cubicBezTo>
                    <a:pt x="496" y="75"/>
                    <a:pt x="495" y="75"/>
                    <a:pt x="495" y="76"/>
                  </a:cubicBezTo>
                  <a:cubicBezTo>
                    <a:pt x="494" y="77"/>
                    <a:pt x="494" y="78"/>
                    <a:pt x="495" y="78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4" y="80"/>
                    <a:pt x="494" y="81"/>
                    <a:pt x="494" y="82"/>
                  </a:cubicBezTo>
                  <a:cubicBezTo>
                    <a:pt x="494" y="83"/>
                    <a:pt x="495" y="83"/>
                    <a:pt x="496" y="84"/>
                  </a:cubicBezTo>
                  <a:cubicBezTo>
                    <a:pt x="496" y="84"/>
                    <a:pt x="496" y="84"/>
                    <a:pt x="496" y="84"/>
                  </a:cubicBezTo>
                  <a:cubicBezTo>
                    <a:pt x="497" y="84"/>
                    <a:pt x="498" y="84"/>
                    <a:pt x="498" y="84"/>
                  </a:cubicBezTo>
                  <a:cubicBezTo>
                    <a:pt x="498" y="84"/>
                    <a:pt x="499" y="84"/>
                    <a:pt x="498" y="84"/>
                  </a:cubicBezTo>
                  <a:cubicBezTo>
                    <a:pt x="499" y="84"/>
                    <a:pt x="499" y="84"/>
                    <a:pt x="499" y="84"/>
                  </a:cubicBezTo>
                  <a:cubicBezTo>
                    <a:pt x="499" y="85"/>
                    <a:pt x="499" y="85"/>
                    <a:pt x="500" y="86"/>
                  </a:cubicBezTo>
                  <a:cubicBezTo>
                    <a:pt x="500" y="86"/>
                    <a:pt x="501" y="86"/>
                    <a:pt x="502" y="87"/>
                  </a:cubicBezTo>
                  <a:cubicBezTo>
                    <a:pt x="502" y="87"/>
                    <a:pt x="501" y="88"/>
                    <a:pt x="498" y="91"/>
                  </a:cubicBezTo>
                  <a:cubicBezTo>
                    <a:pt x="497" y="91"/>
                    <a:pt x="497" y="91"/>
                    <a:pt x="497" y="91"/>
                  </a:cubicBezTo>
                  <a:cubicBezTo>
                    <a:pt x="497" y="92"/>
                    <a:pt x="495" y="93"/>
                    <a:pt x="495" y="94"/>
                  </a:cubicBezTo>
                  <a:cubicBezTo>
                    <a:pt x="495" y="94"/>
                    <a:pt x="496" y="95"/>
                    <a:pt x="497" y="96"/>
                  </a:cubicBezTo>
                  <a:cubicBezTo>
                    <a:pt x="498" y="97"/>
                    <a:pt x="500" y="97"/>
                    <a:pt x="501" y="97"/>
                  </a:cubicBezTo>
                  <a:cubicBezTo>
                    <a:pt x="504" y="97"/>
                    <a:pt x="504" y="97"/>
                    <a:pt x="504" y="97"/>
                  </a:cubicBezTo>
                  <a:cubicBezTo>
                    <a:pt x="505" y="98"/>
                    <a:pt x="506" y="98"/>
                    <a:pt x="507" y="98"/>
                  </a:cubicBezTo>
                  <a:cubicBezTo>
                    <a:pt x="508" y="98"/>
                    <a:pt x="509" y="98"/>
                    <a:pt x="511" y="99"/>
                  </a:cubicBezTo>
                  <a:cubicBezTo>
                    <a:pt x="513" y="99"/>
                    <a:pt x="515" y="100"/>
                    <a:pt x="516" y="100"/>
                  </a:cubicBezTo>
                  <a:cubicBezTo>
                    <a:pt x="517" y="100"/>
                    <a:pt x="518" y="100"/>
                    <a:pt x="519" y="100"/>
                  </a:cubicBezTo>
                  <a:cubicBezTo>
                    <a:pt x="519" y="100"/>
                    <a:pt x="519" y="100"/>
                    <a:pt x="518" y="100"/>
                  </a:cubicBezTo>
                  <a:cubicBezTo>
                    <a:pt x="518" y="100"/>
                    <a:pt x="518" y="100"/>
                    <a:pt x="518" y="100"/>
                  </a:cubicBezTo>
                  <a:cubicBezTo>
                    <a:pt x="517" y="100"/>
                    <a:pt x="517" y="100"/>
                    <a:pt x="516" y="100"/>
                  </a:cubicBezTo>
                  <a:cubicBezTo>
                    <a:pt x="516" y="100"/>
                    <a:pt x="515" y="101"/>
                    <a:pt x="515" y="101"/>
                  </a:cubicBezTo>
                  <a:cubicBezTo>
                    <a:pt x="515" y="101"/>
                    <a:pt x="514" y="102"/>
                    <a:pt x="514" y="102"/>
                  </a:cubicBezTo>
                  <a:cubicBezTo>
                    <a:pt x="515" y="103"/>
                    <a:pt x="515" y="104"/>
                    <a:pt x="516" y="104"/>
                  </a:cubicBezTo>
                  <a:cubicBezTo>
                    <a:pt x="516" y="104"/>
                    <a:pt x="516" y="104"/>
                    <a:pt x="516" y="105"/>
                  </a:cubicBezTo>
                  <a:cubicBezTo>
                    <a:pt x="516" y="105"/>
                    <a:pt x="517" y="106"/>
                    <a:pt x="518" y="106"/>
                  </a:cubicBezTo>
                  <a:cubicBezTo>
                    <a:pt x="517" y="106"/>
                    <a:pt x="516" y="107"/>
                    <a:pt x="516" y="107"/>
                  </a:cubicBezTo>
                  <a:cubicBezTo>
                    <a:pt x="515" y="107"/>
                    <a:pt x="515" y="107"/>
                    <a:pt x="515" y="107"/>
                  </a:cubicBezTo>
                  <a:cubicBezTo>
                    <a:pt x="515" y="107"/>
                    <a:pt x="515" y="107"/>
                    <a:pt x="515" y="108"/>
                  </a:cubicBezTo>
                  <a:cubicBezTo>
                    <a:pt x="515" y="108"/>
                    <a:pt x="514" y="108"/>
                    <a:pt x="514" y="108"/>
                  </a:cubicBezTo>
                  <a:cubicBezTo>
                    <a:pt x="514" y="108"/>
                    <a:pt x="514" y="108"/>
                    <a:pt x="514" y="108"/>
                  </a:cubicBezTo>
                  <a:cubicBezTo>
                    <a:pt x="513" y="108"/>
                    <a:pt x="513" y="108"/>
                    <a:pt x="512" y="108"/>
                  </a:cubicBezTo>
                  <a:cubicBezTo>
                    <a:pt x="511" y="109"/>
                    <a:pt x="511" y="109"/>
                    <a:pt x="511" y="110"/>
                  </a:cubicBezTo>
                  <a:cubicBezTo>
                    <a:pt x="510" y="111"/>
                    <a:pt x="510" y="112"/>
                    <a:pt x="510" y="112"/>
                  </a:cubicBezTo>
                  <a:cubicBezTo>
                    <a:pt x="510" y="112"/>
                    <a:pt x="510" y="113"/>
                    <a:pt x="510" y="113"/>
                  </a:cubicBezTo>
                  <a:cubicBezTo>
                    <a:pt x="510" y="114"/>
                    <a:pt x="510" y="114"/>
                    <a:pt x="510" y="114"/>
                  </a:cubicBezTo>
                  <a:cubicBezTo>
                    <a:pt x="509" y="114"/>
                    <a:pt x="509" y="114"/>
                    <a:pt x="509" y="114"/>
                  </a:cubicBezTo>
                  <a:cubicBezTo>
                    <a:pt x="508" y="115"/>
                    <a:pt x="508" y="116"/>
                    <a:pt x="507" y="117"/>
                  </a:cubicBezTo>
                  <a:cubicBezTo>
                    <a:pt x="507" y="118"/>
                    <a:pt x="507" y="119"/>
                    <a:pt x="506" y="119"/>
                  </a:cubicBezTo>
                  <a:cubicBezTo>
                    <a:pt x="506" y="119"/>
                    <a:pt x="506" y="120"/>
                    <a:pt x="506" y="120"/>
                  </a:cubicBezTo>
                  <a:cubicBezTo>
                    <a:pt x="505" y="120"/>
                    <a:pt x="505" y="119"/>
                    <a:pt x="505" y="119"/>
                  </a:cubicBezTo>
                  <a:cubicBezTo>
                    <a:pt x="505" y="119"/>
                    <a:pt x="505" y="119"/>
                    <a:pt x="505" y="119"/>
                  </a:cubicBezTo>
                  <a:cubicBezTo>
                    <a:pt x="506" y="118"/>
                    <a:pt x="506" y="117"/>
                    <a:pt x="507" y="117"/>
                  </a:cubicBezTo>
                  <a:cubicBezTo>
                    <a:pt x="507" y="117"/>
                    <a:pt x="507" y="116"/>
                    <a:pt x="507" y="116"/>
                  </a:cubicBezTo>
                  <a:cubicBezTo>
                    <a:pt x="507" y="116"/>
                    <a:pt x="507" y="116"/>
                    <a:pt x="507" y="116"/>
                  </a:cubicBezTo>
                  <a:cubicBezTo>
                    <a:pt x="508" y="116"/>
                    <a:pt x="508" y="115"/>
                    <a:pt x="508" y="115"/>
                  </a:cubicBezTo>
                  <a:cubicBezTo>
                    <a:pt x="508" y="115"/>
                    <a:pt x="508" y="115"/>
                    <a:pt x="509" y="114"/>
                  </a:cubicBezTo>
                  <a:cubicBezTo>
                    <a:pt x="509" y="114"/>
                    <a:pt x="509" y="113"/>
                    <a:pt x="508" y="113"/>
                  </a:cubicBezTo>
                  <a:cubicBezTo>
                    <a:pt x="508" y="113"/>
                    <a:pt x="508" y="112"/>
                    <a:pt x="508" y="112"/>
                  </a:cubicBezTo>
                  <a:cubicBezTo>
                    <a:pt x="508" y="112"/>
                    <a:pt x="508" y="112"/>
                    <a:pt x="508" y="112"/>
                  </a:cubicBezTo>
                  <a:cubicBezTo>
                    <a:pt x="508" y="112"/>
                    <a:pt x="508" y="111"/>
                    <a:pt x="508" y="111"/>
                  </a:cubicBezTo>
                  <a:cubicBezTo>
                    <a:pt x="508" y="111"/>
                    <a:pt x="508" y="111"/>
                    <a:pt x="508" y="111"/>
                  </a:cubicBezTo>
                  <a:cubicBezTo>
                    <a:pt x="508" y="110"/>
                    <a:pt x="508" y="110"/>
                    <a:pt x="508" y="110"/>
                  </a:cubicBezTo>
                  <a:cubicBezTo>
                    <a:pt x="508" y="109"/>
                    <a:pt x="508" y="108"/>
                    <a:pt x="508" y="108"/>
                  </a:cubicBezTo>
                  <a:cubicBezTo>
                    <a:pt x="507" y="107"/>
                    <a:pt x="507" y="107"/>
                    <a:pt x="507" y="107"/>
                  </a:cubicBezTo>
                  <a:cubicBezTo>
                    <a:pt x="507" y="107"/>
                    <a:pt x="507" y="107"/>
                    <a:pt x="507" y="107"/>
                  </a:cubicBezTo>
                  <a:cubicBezTo>
                    <a:pt x="507" y="107"/>
                    <a:pt x="507" y="107"/>
                    <a:pt x="507" y="106"/>
                  </a:cubicBezTo>
                  <a:cubicBezTo>
                    <a:pt x="507" y="106"/>
                    <a:pt x="507" y="106"/>
                    <a:pt x="507" y="105"/>
                  </a:cubicBezTo>
                  <a:cubicBezTo>
                    <a:pt x="507" y="105"/>
                    <a:pt x="506" y="104"/>
                    <a:pt x="506" y="104"/>
                  </a:cubicBezTo>
                  <a:cubicBezTo>
                    <a:pt x="506" y="104"/>
                    <a:pt x="506" y="104"/>
                    <a:pt x="506" y="104"/>
                  </a:cubicBezTo>
                  <a:cubicBezTo>
                    <a:pt x="505" y="104"/>
                    <a:pt x="505" y="103"/>
                    <a:pt x="505" y="103"/>
                  </a:cubicBezTo>
                  <a:cubicBezTo>
                    <a:pt x="504" y="103"/>
                    <a:pt x="503" y="103"/>
                    <a:pt x="503" y="103"/>
                  </a:cubicBezTo>
                  <a:cubicBezTo>
                    <a:pt x="502" y="103"/>
                    <a:pt x="501" y="103"/>
                    <a:pt x="501" y="103"/>
                  </a:cubicBezTo>
                  <a:cubicBezTo>
                    <a:pt x="500" y="103"/>
                    <a:pt x="500" y="104"/>
                    <a:pt x="500" y="104"/>
                  </a:cubicBezTo>
                  <a:cubicBezTo>
                    <a:pt x="500" y="104"/>
                    <a:pt x="500" y="104"/>
                    <a:pt x="500" y="104"/>
                  </a:cubicBezTo>
                  <a:cubicBezTo>
                    <a:pt x="500" y="104"/>
                    <a:pt x="499" y="104"/>
                    <a:pt x="499" y="104"/>
                  </a:cubicBezTo>
                  <a:cubicBezTo>
                    <a:pt x="498" y="103"/>
                    <a:pt x="497" y="103"/>
                    <a:pt x="496" y="103"/>
                  </a:cubicBezTo>
                  <a:cubicBezTo>
                    <a:pt x="496" y="103"/>
                    <a:pt x="496" y="103"/>
                    <a:pt x="496" y="103"/>
                  </a:cubicBezTo>
                  <a:cubicBezTo>
                    <a:pt x="496" y="103"/>
                    <a:pt x="496" y="103"/>
                    <a:pt x="496" y="103"/>
                  </a:cubicBezTo>
                  <a:cubicBezTo>
                    <a:pt x="495" y="103"/>
                    <a:pt x="495" y="103"/>
                    <a:pt x="495" y="103"/>
                  </a:cubicBezTo>
                  <a:cubicBezTo>
                    <a:pt x="495" y="103"/>
                    <a:pt x="495" y="103"/>
                    <a:pt x="494" y="103"/>
                  </a:cubicBezTo>
                  <a:cubicBezTo>
                    <a:pt x="493" y="103"/>
                    <a:pt x="493" y="103"/>
                    <a:pt x="492" y="103"/>
                  </a:cubicBezTo>
                  <a:cubicBezTo>
                    <a:pt x="492" y="103"/>
                    <a:pt x="491" y="103"/>
                    <a:pt x="491" y="103"/>
                  </a:cubicBezTo>
                  <a:cubicBezTo>
                    <a:pt x="491" y="103"/>
                    <a:pt x="491" y="103"/>
                    <a:pt x="490" y="103"/>
                  </a:cubicBezTo>
                  <a:cubicBezTo>
                    <a:pt x="490" y="103"/>
                    <a:pt x="489" y="103"/>
                    <a:pt x="489" y="103"/>
                  </a:cubicBezTo>
                  <a:cubicBezTo>
                    <a:pt x="488" y="103"/>
                    <a:pt x="488" y="102"/>
                    <a:pt x="487" y="102"/>
                  </a:cubicBezTo>
                  <a:cubicBezTo>
                    <a:pt x="486" y="102"/>
                    <a:pt x="486" y="102"/>
                    <a:pt x="486" y="102"/>
                  </a:cubicBezTo>
                  <a:cubicBezTo>
                    <a:pt x="486" y="102"/>
                    <a:pt x="485" y="102"/>
                    <a:pt x="485" y="102"/>
                  </a:cubicBezTo>
                  <a:cubicBezTo>
                    <a:pt x="484" y="102"/>
                    <a:pt x="484" y="102"/>
                    <a:pt x="484" y="102"/>
                  </a:cubicBezTo>
                  <a:cubicBezTo>
                    <a:pt x="483" y="102"/>
                    <a:pt x="483" y="102"/>
                    <a:pt x="483" y="102"/>
                  </a:cubicBezTo>
                  <a:cubicBezTo>
                    <a:pt x="482" y="102"/>
                    <a:pt x="482" y="101"/>
                    <a:pt x="482" y="101"/>
                  </a:cubicBezTo>
                  <a:cubicBezTo>
                    <a:pt x="482" y="101"/>
                    <a:pt x="482" y="101"/>
                    <a:pt x="482" y="101"/>
                  </a:cubicBezTo>
                  <a:cubicBezTo>
                    <a:pt x="482" y="101"/>
                    <a:pt x="482" y="100"/>
                    <a:pt x="482" y="100"/>
                  </a:cubicBezTo>
                  <a:cubicBezTo>
                    <a:pt x="482" y="100"/>
                    <a:pt x="482" y="100"/>
                    <a:pt x="481" y="99"/>
                  </a:cubicBezTo>
                  <a:cubicBezTo>
                    <a:pt x="481" y="99"/>
                    <a:pt x="480" y="98"/>
                    <a:pt x="479" y="98"/>
                  </a:cubicBezTo>
                  <a:cubicBezTo>
                    <a:pt x="479" y="98"/>
                    <a:pt x="479" y="98"/>
                    <a:pt x="479" y="98"/>
                  </a:cubicBezTo>
                  <a:cubicBezTo>
                    <a:pt x="480" y="98"/>
                    <a:pt x="481" y="97"/>
                    <a:pt x="481" y="96"/>
                  </a:cubicBezTo>
                  <a:cubicBezTo>
                    <a:pt x="481" y="96"/>
                    <a:pt x="481" y="96"/>
                    <a:pt x="481" y="96"/>
                  </a:cubicBezTo>
                  <a:cubicBezTo>
                    <a:pt x="481" y="96"/>
                    <a:pt x="481" y="96"/>
                    <a:pt x="481" y="96"/>
                  </a:cubicBezTo>
                  <a:cubicBezTo>
                    <a:pt x="481" y="96"/>
                    <a:pt x="482" y="96"/>
                    <a:pt x="482" y="96"/>
                  </a:cubicBezTo>
                  <a:cubicBezTo>
                    <a:pt x="482" y="96"/>
                    <a:pt x="482" y="96"/>
                    <a:pt x="483" y="96"/>
                  </a:cubicBezTo>
                  <a:cubicBezTo>
                    <a:pt x="483" y="96"/>
                    <a:pt x="484" y="97"/>
                    <a:pt x="484" y="97"/>
                  </a:cubicBezTo>
                  <a:cubicBezTo>
                    <a:pt x="485" y="97"/>
                    <a:pt x="485" y="97"/>
                    <a:pt x="485" y="97"/>
                  </a:cubicBezTo>
                  <a:cubicBezTo>
                    <a:pt x="485" y="97"/>
                    <a:pt x="486" y="97"/>
                    <a:pt x="486" y="96"/>
                  </a:cubicBezTo>
                  <a:cubicBezTo>
                    <a:pt x="486" y="96"/>
                    <a:pt x="486" y="96"/>
                    <a:pt x="486" y="96"/>
                  </a:cubicBezTo>
                  <a:cubicBezTo>
                    <a:pt x="486" y="96"/>
                    <a:pt x="486" y="96"/>
                    <a:pt x="486" y="96"/>
                  </a:cubicBezTo>
                  <a:cubicBezTo>
                    <a:pt x="487" y="96"/>
                    <a:pt x="487" y="96"/>
                    <a:pt x="487" y="96"/>
                  </a:cubicBezTo>
                  <a:cubicBezTo>
                    <a:pt x="487" y="97"/>
                    <a:pt x="487" y="97"/>
                    <a:pt x="487" y="97"/>
                  </a:cubicBezTo>
                  <a:cubicBezTo>
                    <a:pt x="488" y="97"/>
                    <a:pt x="488" y="97"/>
                    <a:pt x="488" y="97"/>
                  </a:cubicBezTo>
                  <a:cubicBezTo>
                    <a:pt x="488" y="97"/>
                    <a:pt x="489" y="98"/>
                    <a:pt x="490" y="98"/>
                  </a:cubicBezTo>
                  <a:cubicBezTo>
                    <a:pt x="491" y="98"/>
                    <a:pt x="492" y="97"/>
                    <a:pt x="492" y="97"/>
                  </a:cubicBezTo>
                  <a:cubicBezTo>
                    <a:pt x="493" y="96"/>
                    <a:pt x="493" y="95"/>
                    <a:pt x="493" y="95"/>
                  </a:cubicBezTo>
                  <a:cubicBezTo>
                    <a:pt x="493" y="94"/>
                    <a:pt x="493" y="93"/>
                    <a:pt x="493" y="93"/>
                  </a:cubicBezTo>
                  <a:cubicBezTo>
                    <a:pt x="493" y="92"/>
                    <a:pt x="493" y="92"/>
                    <a:pt x="493" y="92"/>
                  </a:cubicBezTo>
                  <a:cubicBezTo>
                    <a:pt x="493" y="92"/>
                    <a:pt x="493" y="92"/>
                    <a:pt x="494" y="92"/>
                  </a:cubicBezTo>
                  <a:cubicBezTo>
                    <a:pt x="494" y="91"/>
                    <a:pt x="494" y="91"/>
                    <a:pt x="494" y="91"/>
                  </a:cubicBezTo>
                  <a:cubicBezTo>
                    <a:pt x="494" y="90"/>
                    <a:pt x="495" y="89"/>
                    <a:pt x="494" y="89"/>
                  </a:cubicBezTo>
                  <a:cubicBezTo>
                    <a:pt x="494" y="88"/>
                    <a:pt x="494" y="87"/>
                    <a:pt x="493" y="86"/>
                  </a:cubicBezTo>
                  <a:cubicBezTo>
                    <a:pt x="493" y="85"/>
                    <a:pt x="492" y="84"/>
                    <a:pt x="491" y="84"/>
                  </a:cubicBezTo>
                  <a:cubicBezTo>
                    <a:pt x="490" y="83"/>
                    <a:pt x="489" y="83"/>
                    <a:pt x="489" y="82"/>
                  </a:cubicBezTo>
                  <a:cubicBezTo>
                    <a:pt x="488" y="82"/>
                    <a:pt x="487" y="82"/>
                    <a:pt x="486" y="82"/>
                  </a:cubicBezTo>
                  <a:cubicBezTo>
                    <a:pt x="486" y="82"/>
                    <a:pt x="485" y="83"/>
                    <a:pt x="485" y="83"/>
                  </a:cubicBezTo>
                  <a:cubicBezTo>
                    <a:pt x="485" y="82"/>
                    <a:pt x="484" y="82"/>
                    <a:pt x="484" y="81"/>
                  </a:cubicBezTo>
                  <a:cubicBezTo>
                    <a:pt x="483" y="81"/>
                    <a:pt x="483" y="80"/>
                    <a:pt x="483" y="80"/>
                  </a:cubicBezTo>
                  <a:cubicBezTo>
                    <a:pt x="483" y="79"/>
                    <a:pt x="482" y="78"/>
                    <a:pt x="481" y="78"/>
                  </a:cubicBezTo>
                  <a:cubicBezTo>
                    <a:pt x="481" y="77"/>
                    <a:pt x="480" y="77"/>
                    <a:pt x="480" y="77"/>
                  </a:cubicBezTo>
                  <a:cubicBezTo>
                    <a:pt x="479" y="76"/>
                    <a:pt x="479" y="76"/>
                    <a:pt x="479" y="76"/>
                  </a:cubicBezTo>
                  <a:cubicBezTo>
                    <a:pt x="478" y="75"/>
                    <a:pt x="478" y="74"/>
                    <a:pt x="477" y="73"/>
                  </a:cubicBezTo>
                  <a:cubicBezTo>
                    <a:pt x="477" y="73"/>
                    <a:pt x="477" y="72"/>
                    <a:pt x="477" y="72"/>
                  </a:cubicBezTo>
                  <a:cubicBezTo>
                    <a:pt x="477" y="71"/>
                    <a:pt x="476" y="71"/>
                    <a:pt x="476" y="70"/>
                  </a:cubicBezTo>
                  <a:cubicBezTo>
                    <a:pt x="476" y="69"/>
                    <a:pt x="475" y="69"/>
                    <a:pt x="475" y="68"/>
                  </a:cubicBezTo>
                  <a:cubicBezTo>
                    <a:pt x="474" y="68"/>
                    <a:pt x="474" y="68"/>
                    <a:pt x="473" y="68"/>
                  </a:cubicBezTo>
                  <a:cubicBezTo>
                    <a:pt x="473" y="68"/>
                    <a:pt x="472" y="67"/>
                    <a:pt x="472" y="67"/>
                  </a:cubicBezTo>
                  <a:cubicBezTo>
                    <a:pt x="472" y="67"/>
                    <a:pt x="471" y="67"/>
                    <a:pt x="471" y="67"/>
                  </a:cubicBezTo>
                  <a:cubicBezTo>
                    <a:pt x="470" y="67"/>
                    <a:pt x="470" y="67"/>
                    <a:pt x="470" y="67"/>
                  </a:cubicBezTo>
                  <a:cubicBezTo>
                    <a:pt x="470" y="67"/>
                    <a:pt x="469" y="67"/>
                    <a:pt x="469" y="67"/>
                  </a:cubicBezTo>
                  <a:cubicBezTo>
                    <a:pt x="469" y="66"/>
                    <a:pt x="468" y="66"/>
                    <a:pt x="468" y="66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66" y="65"/>
                    <a:pt x="465" y="66"/>
                    <a:pt x="464" y="66"/>
                  </a:cubicBezTo>
                  <a:cubicBezTo>
                    <a:pt x="463" y="67"/>
                    <a:pt x="463" y="67"/>
                    <a:pt x="463" y="67"/>
                  </a:cubicBezTo>
                  <a:cubicBezTo>
                    <a:pt x="462" y="68"/>
                    <a:pt x="462" y="68"/>
                    <a:pt x="462" y="68"/>
                  </a:cubicBezTo>
                  <a:cubicBezTo>
                    <a:pt x="462" y="68"/>
                    <a:pt x="461" y="68"/>
                    <a:pt x="461" y="68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0" y="69"/>
                    <a:pt x="460" y="69"/>
                    <a:pt x="459" y="69"/>
                  </a:cubicBezTo>
                  <a:cubicBezTo>
                    <a:pt x="459" y="70"/>
                    <a:pt x="458" y="70"/>
                    <a:pt x="458" y="70"/>
                  </a:cubicBezTo>
                  <a:cubicBezTo>
                    <a:pt x="458" y="70"/>
                    <a:pt x="458" y="70"/>
                    <a:pt x="458" y="69"/>
                  </a:cubicBezTo>
                  <a:cubicBezTo>
                    <a:pt x="458" y="69"/>
                    <a:pt x="458" y="69"/>
                    <a:pt x="457" y="69"/>
                  </a:cubicBezTo>
                  <a:cubicBezTo>
                    <a:pt x="457" y="69"/>
                    <a:pt x="458" y="69"/>
                    <a:pt x="458" y="69"/>
                  </a:cubicBezTo>
                  <a:cubicBezTo>
                    <a:pt x="458" y="69"/>
                    <a:pt x="458" y="69"/>
                    <a:pt x="458" y="69"/>
                  </a:cubicBezTo>
                  <a:cubicBezTo>
                    <a:pt x="459" y="69"/>
                    <a:pt x="459" y="69"/>
                    <a:pt x="459" y="68"/>
                  </a:cubicBezTo>
                  <a:cubicBezTo>
                    <a:pt x="460" y="68"/>
                    <a:pt x="460" y="68"/>
                    <a:pt x="461" y="68"/>
                  </a:cubicBezTo>
                  <a:cubicBezTo>
                    <a:pt x="461" y="67"/>
                    <a:pt x="461" y="67"/>
                    <a:pt x="462" y="66"/>
                  </a:cubicBezTo>
                  <a:cubicBezTo>
                    <a:pt x="462" y="66"/>
                    <a:pt x="461" y="65"/>
                    <a:pt x="461" y="65"/>
                  </a:cubicBezTo>
                  <a:cubicBezTo>
                    <a:pt x="461" y="65"/>
                    <a:pt x="461" y="65"/>
                    <a:pt x="461" y="65"/>
                  </a:cubicBezTo>
                  <a:cubicBezTo>
                    <a:pt x="462" y="65"/>
                    <a:pt x="462" y="65"/>
                    <a:pt x="463" y="65"/>
                  </a:cubicBezTo>
                  <a:cubicBezTo>
                    <a:pt x="464" y="64"/>
                    <a:pt x="464" y="64"/>
                    <a:pt x="465" y="64"/>
                  </a:cubicBezTo>
                  <a:cubicBezTo>
                    <a:pt x="466" y="63"/>
                    <a:pt x="467" y="63"/>
                    <a:pt x="467" y="62"/>
                  </a:cubicBezTo>
                  <a:cubicBezTo>
                    <a:pt x="467" y="61"/>
                    <a:pt x="467" y="60"/>
                    <a:pt x="466" y="60"/>
                  </a:cubicBezTo>
                  <a:cubicBezTo>
                    <a:pt x="466" y="59"/>
                    <a:pt x="465" y="59"/>
                    <a:pt x="465" y="59"/>
                  </a:cubicBezTo>
                  <a:cubicBezTo>
                    <a:pt x="464" y="59"/>
                    <a:pt x="464" y="59"/>
                    <a:pt x="464" y="59"/>
                  </a:cubicBezTo>
                  <a:cubicBezTo>
                    <a:pt x="463" y="59"/>
                    <a:pt x="463" y="60"/>
                    <a:pt x="462" y="61"/>
                  </a:cubicBezTo>
                  <a:cubicBezTo>
                    <a:pt x="462" y="61"/>
                    <a:pt x="462" y="61"/>
                    <a:pt x="461" y="61"/>
                  </a:cubicBezTo>
                  <a:cubicBezTo>
                    <a:pt x="461" y="61"/>
                    <a:pt x="460" y="62"/>
                    <a:pt x="460" y="62"/>
                  </a:cubicBezTo>
                  <a:cubicBezTo>
                    <a:pt x="460" y="62"/>
                    <a:pt x="459" y="62"/>
                    <a:pt x="459" y="62"/>
                  </a:cubicBezTo>
                  <a:cubicBezTo>
                    <a:pt x="459" y="62"/>
                    <a:pt x="458" y="62"/>
                    <a:pt x="458" y="62"/>
                  </a:cubicBezTo>
                  <a:cubicBezTo>
                    <a:pt x="458" y="62"/>
                    <a:pt x="457" y="62"/>
                    <a:pt x="456" y="62"/>
                  </a:cubicBezTo>
                  <a:cubicBezTo>
                    <a:pt x="456" y="62"/>
                    <a:pt x="455" y="63"/>
                    <a:pt x="455" y="64"/>
                  </a:cubicBezTo>
                  <a:cubicBezTo>
                    <a:pt x="455" y="64"/>
                    <a:pt x="455" y="64"/>
                    <a:pt x="455" y="64"/>
                  </a:cubicBezTo>
                  <a:cubicBezTo>
                    <a:pt x="455" y="64"/>
                    <a:pt x="454" y="64"/>
                    <a:pt x="454" y="63"/>
                  </a:cubicBezTo>
                  <a:cubicBezTo>
                    <a:pt x="453" y="63"/>
                    <a:pt x="452" y="63"/>
                    <a:pt x="451" y="64"/>
                  </a:cubicBezTo>
                  <a:cubicBezTo>
                    <a:pt x="451" y="64"/>
                    <a:pt x="451" y="63"/>
                    <a:pt x="451" y="63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1" y="61"/>
                    <a:pt x="451" y="61"/>
                    <a:pt x="451" y="61"/>
                  </a:cubicBezTo>
                  <a:cubicBezTo>
                    <a:pt x="451" y="61"/>
                    <a:pt x="452" y="61"/>
                    <a:pt x="452" y="61"/>
                  </a:cubicBezTo>
                  <a:cubicBezTo>
                    <a:pt x="453" y="60"/>
                    <a:pt x="453" y="59"/>
                    <a:pt x="454" y="58"/>
                  </a:cubicBezTo>
                  <a:cubicBezTo>
                    <a:pt x="454" y="58"/>
                    <a:pt x="454" y="57"/>
                    <a:pt x="454" y="57"/>
                  </a:cubicBezTo>
                  <a:cubicBezTo>
                    <a:pt x="454" y="56"/>
                    <a:pt x="454" y="56"/>
                    <a:pt x="454" y="56"/>
                  </a:cubicBezTo>
                  <a:cubicBezTo>
                    <a:pt x="454" y="56"/>
                    <a:pt x="454" y="56"/>
                    <a:pt x="454" y="56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55" y="53"/>
                    <a:pt x="454" y="52"/>
                    <a:pt x="453" y="52"/>
                  </a:cubicBezTo>
                  <a:cubicBezTo>
                    <a:pt x="452" y="52"/>
                    <a:pt x="452" y="52"/>
                    <a:pt x="452" y="52"/>
                  </a:cubicBezTo>
                  <a:cubicBezTo>
                    <a:pt x="452" y="52"/>
                    <a:pt x="451" y="52"/>
                    <a:pt x="451" y="53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50" y="54"/>
                    <a:pt x="450" y="54"/>
                    <a:pt x="450" y="54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49" y="53"/>
                    <a:pt x="448" y="53"/>
                    <a:pt x="447" y="54"/>
                  </a:cubicBezTo>
                  <a:cubicBezTo>
                    <a:pt x="447" y="54"/>
                    <a:pt x="447" y="55"/>
                    <a:pt x="447" y="55"/>
                  </a:cubicBezTo>
                  <a:cubicBezTo>
                    <a:pt x="447" y="55"/>
                    <a:pt x="447" y="55"/>
                    <a:pt x="447" y="55"/>
                  </a:cubicBezTo>
                  <a:cubicBezTo>
                    <a:pt x="446" y="55"/>
                    <a:pt x="445" y="55"/>
                    <a:pt x="445" y="55"/>
                  </a:cubicBezTo>
                  <a:cubicBezTo>
                    <a:pt x="444" y="55"/>
                    <a:pt x="444" y="55"/>
                    <a:pt x="443" y="55"/>
                  </a:cubicBezTo>
                  <a:cubicBezTo>
                    <a:pt x="442" y="56"/>
                    <a:pt x="441" y="56"/>
                    <a:pt x="441" y="57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41" y="57"/>
                    <a:pt x="440" y="57"/>
                    <a:pt x="440" y="57"/>
                  </a:cubicBezTo>
                  <a:cubicBezTo>
                    <a:pt x="441" y="56"/>
                    <a:pt x="441" y="55"/>
                    <a:pt x="441" y="54"/>
                  </a:cubicBezTo>
                  <a:cubicBezTo>
                    <a:pt x="441" y="53"/>
                    <a:pt x="440" y="52"/>
                    <a:pt x="439" y="52"/>
                  </a:cubicBezTo>
                  <a:cubicBezTo>
                    <a:pt x="439" y="52"/>
                    <a:pt x="439" y="52"/>
                    <a:pt x="439" y="52"/>
                  </a:cubicBezTo>
                  <a:cubicBezTo>
                    <a:pt x="439" y="52"/>
                    <a:pt x="438" y="52"/>
                    <a:pt x="438" y="52"/>
                  </a:cubicBezTo>
                  <a:cubicBezTo>
                    <a:pt x="438" y="52"/>
                    <a:pt x="437" y="52"/>
                    <a:pt x="437" y="52"/>
                  </a:cubicBezTo>
                  <a:cubicBezTo>
                    <a:pt x="437" y="52"/>
                    <a:pt x="436" y="52"/>
                    <a:pt x="436" y="52"/>
                  </a:cubicBezTo>
                  <a:cubicBezTo>
                    <a:pt x="436" y="52"/>
                    <a:pt x="436" y="52"/>
                    <a:pt x="436" y="52"/>
                  </a:cubicBezTo>
                  <a:cubicBezTo>
                    <a:pt x="435" y="52"/>
                    <a:pt x="435" y="52"/>
                    <a:pt x="434" y="52"/>
                  </a:cubicBezTo>
                  <a:cubicBezTo>
                    <a:pt x="433" y="52"/>
                    <a:pt x="432" y="52"/>
                    <a:pt x="431" y="52"/>
                  </a:cubicBezTo>
                  <a:cubicBezTo>
                    <a:pt x="431" y="52"/>
                    <a:pt x="430" y="52"/>
                    <a:pt x="430" y="52"/>
                  </a:cubicBezTo>
                  <a:cubicBezTo>
                    <a:pt x="430" y="52"/>
                    <a:pt x="429" y="52"/>
                    <a:pt x="429" y="52"/>
                  </a:cubicBezTo>
                  <a:cubicBezTo>
                    <a:pt x="428" y="52"/>
                    <a:pt x="428" y="52"/>
                    <a:pt x="428" y="52"/>
                  </a:cubicBezTo>
                  <a:cubicBezTo>
                    <a:pt x="427" y="52"/>
                    <a:pt x="427" y="53"/>
                    <a:pt x="426" y="53"/>
                  </a:cubicBezTo>
                  <a:cubicBezTo>
                    <a:pt x="426" y="53"/>
                    <a:pt x="425" y="53"/>
                    <a:pt x="425" y="53"/>
                  </a:cubicBezTo>
                  <a:cubicBezTo>
                    <a:pt x="425" y="53"/>
                    <a:pt x="425" y="53"/>
                    <a:pt x="424" y="53"/>
                  </a:cubicBezTo>
                  <a:cubicBezTo>
                    <a:pt x="424" y="53"/>
                    <a:pt x="424" y="53"/>
                    <a:pt x="424" y="54"/>
                  </a:cubicBezTo>
                  <a:cubicBezTo>
                    <a:pt x="424" y="55"/>
                    <a:pt x="424" y="55"/>
                    <a:pt x="424" y="55"/>
                  </a:cubicBezTo>
                  <a:cubicBezTo>
                    <a:pt x="423" y="54"/>
                    <a:pt x="423" y="54"/>
                    <a:pt x="423" y="54"/>
                  </a:cubicBezTo>
                  <a:cubicBezTo>
                    <a:pt x="423" y="54"/>
                    <a:pt x="423" y="54"/>
                    <a:pt x="423" y="54"/>
                  </a:cubicBezTo>
                  <a:cubicBezTo>
                    <a:pt x="423" y="53"/>
                    <a:pt x="422" y="53"/>
                    <a:pt x="421" y="53"/>
                  </a:cubicBezTo>
                  <a:cubicBezTo>
                    <a:pt x="421" y="53"/>
                    <a:pt x="420" y="53"/>
                    <a:pt x="420" y="53"/>
                  </a:cubicBezTo>
                  <a:cubicBezTo>
                    <a:pt x="420" y="53"/>
                    <a:pt x="420" y="53"/>
                    <a:pt x="420" y="53"/>
                  </a:cubicBezTo>
                  <a:cubicBezTo>
                    <a:pt x="420" y="53"/>
                    <a:pt x="419" y="53"/>
                    <a:pt x="419" y="53"/>
                  </a:cubicBezTo>
                  <a:cubicBezTo>
                    <a:pt x="418" y="52"/>
                    <a:pt x="417" y="52"/>
                    <a:pt x="417" y="53"/>
                  </a:cubicBezTo>
                  <a:cubicBezTo>
                    <a:pt x="416" y="53"/>
                    <a:pt x="416" y="53"/>
                    <a:pt x="416" y="54"/>
                  </a:cubicBezTo>
                  <a:cubicBezTo>
                    <a:pt x="416" y="54"/>
                    <a:pt x="416" y="54"/>
                    <a:pt x="415" y="54"/>
                  </a:cubicBezTo>
                  <a:cubicBezTo>
                    <a:pt x="414" y="53"/>
                    <a:pt x="413" y="54"/>
                    <a:pt x="412" y="54"/>
                  </a:cubicBezTo>
                  <a:cubicBezTo>
                    <a:pt x="412" y="54"/>
                    <a:pt x="411" y="55"/>
                    <a:pt x="411" y="55"/>
                  </a:cubicBezTo>
                  <a:cubicBezTo>
                    <a:pt x="411" y="55"/>
                    <a:pt x="411" y="55"/>
                    <a:pt x="411" y="55"/>
                  </a:cubicBezTo>
                  <a:cubicBezTo>
                    <a:pt x="411" y="56"/>
                    <a:pt x="410" y="56"/>
                    <a:pt x="409" y="56"/>
                  </a:cubicBezTo>
                  <a:cubicBezTo>
                    <a:pt x="408" y="56"/>
                    <a:pt x="408" y="56"/>
                    <a:pt x="408" y="56"/>
                  </a:cubicBezTo>
                  <a:cubicBezTo>
                    <a:pt x="408" y="56"/>
                    <a:pt x="408" y="56"/>
                    <a:pt x="408" y="56"/>
                  </a:cubicBezTo>
                  <a:cubicBezTo>
                    <a:pt x="408" y="55"/>
                    <a:pt x="408" y="55"/>
                    <a:pt x="408" y="55"/>
                  </a:cubicBezTo>
                  <a:cubicBezTo>
                    <a:pt x="408" y="55"/>
                    <a:pt x="408" y="55"/>
                    <a:pt x="408" y="55"/>
                  </a:cubicBezTo>
                  <a:cubicBezTo>
                    <a:pt x="409" y="54"/>
                    <a:pt x="409" y="54"/>
                    <a:pt x="409" y="53"/>
                  </a:cubicBezTo>
                  <a:cubicBezTo>
                    <a:pt x="409" y="51"/>
                    <a:pt x="407" y="50"/>
                    <a:pt x="405" y="51"/>
                  </a:cubicBezTo>
                  <a:cubicBezTo>
                    <a:pt x="405" y="51"/>
                    <a:pt x="404" y="52"/>
                    <a:pt x="404" y="52"/>
                  </a:cubicBezTo>
                  <a:cubicBezTo>
                    <a:pt x="404" y="52"/>
                    <a:pt x="404" y="52"/>
                    <a:pt x="404" y="52"/>
                  </a:cubicBezTo>
                  <a:cubicBezTo>
                    <a:pt x="404" y="52"/>
                    <a:pt x="404" y="52"/>
                    <a:pt x="404" y="52"/>
                  </a:cubicBezTo>
                  <a:cubicBezTo>
                    <a:pt x="403" y="53"/>
                    <a:pt x="403" y="53"/>
                    <a:pt x="403" y="53"/>
                  </a:cubicBezTo>
                  <a:cubicBezTo>
                    <a:pt x="402" y="53"/>
                    <a:pt x="402" y="53"/>
                    <a:pt x="402" y="53"/>
                  </a:cubicBezTo>
                  <a:cubicBezTo>
                    <a:pt x="402" y="53"/>
                    <a:pt x="401" y="53"/>
                    <a:pt x="401" y="53"/>
                  </a:cubicBezTo>
                  <a:cubicBezTo>
                    <a:pt x="401" y="54"/>
                    <a:pt x="400" y="54"/>
                    <a:pt x="400" y="53"/>
                  </a:cubicBezTo>
                  <a:cubicBezTo>
                    <a:pt x="399" y="53"/>
                    <a:pt x="399" y="53"/>
                    <a:pt x="399" y="53"/>
                  </a:cubicBezTo>
                  <a:cubicBezTo>
                    <a:pt x="398" y="53"/>
                    <a:pt x="398" y="53"/>
                    <a:pt x="398" y="53"/>
                  </a:cubicBezTo>
                  <a:cubicBezTo>
                    <a:pt x="398" y="53"/>
                    <a:pt x="397" y="53"/>
                    <a:pt x="397" y="53"/>
                  </a:cubicBezTo>
                  <a:cubicBezTo>
                    <a:pt x="396" y="53"/>
                    <a:pt x="396" y="54"/>
                    <a:pt x="395" y="55"/>
                  </a:cubicBezTo>
                  <a:cubicBezTo>
                    <a:pt x="395" y="55"/>
                    <a:pt x="395" y="55"/>
                    <a:pt x="395" y="55"/>
                  </a:cubicBezTo>
                  <a:cubicBezTo>
                    <a:pt x="395" y="55"/>
                    <a:pt x="395" y="55"/>
                    <a:pt x="395" y="55"/>
                  </a:cubicBezTo>
                  <a:cubicBezTo>
                    <a:pt x="395" y="55"/>
                    <a:pt x="395" y="55"/>
                    <a:pt x="394" y="55"/>
                  </a:cubicBezTo>
                  <a:cubicBezTo>
                    <a:pt x="394" y="55"/>
                    <a:pt x="393" y="55"/>
                    <a:pt x="392" y="55"/>
                  </a:cubicBezTo>
                  <a:cubicBezTo>
                    <a:pt x="391" y="55"/>
                    <a:pt x="391" y="56"/>
                    <a:pt x="391" y="56"/>
                  </a:cubicBezTo>
                  <a:cubicBezTo>
                    <a:pt x="390" y="57"/>
                    <a:pt x="390" y="58"/>
                    <a:pt x="390" y="58"/>
                  </a:cubicBezTo>
                  <a:cubicBezTo>
                    <a:pt x="390" y="58"/>
                    <a:pt x="390" y="58"/>
                    <a:pt x="390" y="58"/>
                  </a:cubicBezTo>
                  <a:cubicBezTo>
                    <a:pt x="390" y="58"/>
                    <a:pt x="390" y="58"/>
                    <a:pt x="390" y="58"/>
                  </a:cubicBezTo>
                  <a:cubicBezTo>
                    <a:pt x="390" y="58"/>
                    <a:pt x="390" y="59"/>
                    <a:pt x="390" y="59"/>
                  </a:cubicBezTo>
                  <a:cubicBezTo>
                    <a:pt x="390" y="58"/>
                    <a:pt x="389" y="58"/>
                    <a:pt x="389" y="58"/>
                  </a:cubicBezTo>
                  <a:cubicBezTo>
                    <a:pt x="389" y="58"/>
                    <a:pt x="388" y="57"/>
                    <a:pt x="388" y="57"/>
                  </a:cubicBezTo>
                  <a:cubicBezTo>
                    <a:pt x="387" y="57"/>
                    <a:pt x="387" y="57"/>
                    <a:pt x="387" y="57"/>
                  </a:cubicBezTo>
                  <a:cubicBezTo>
                    <a:pt x="387" y="57"/>
                    <a:pt x="387" y="57"/>
                    <a:pt x="387" y="56"/>
                  </a:cubicBezTo>
                  <a:cubicBezTo>
                    <a:pt x="386" y="56"/>
                    <a:pt x="386" y="56"/>
                    <a:pt x="385" y="55"/>
                  </a:cubicBezTo>
                  <a:cubicBezTo>
                    <a:pt x="385" y="55"/>
                    <a:pt x="384" y="54"/>
                    <a:pt x="384" y="54"/>
                  </a:cubicBezTo>
                  <a:cubicBezTo>
                    <a:pt x="384" y="54"/>
                    <a:pt x="384" y="53"/>
                    <a:pt x="384" y="53"/>
                  </a:cubicBezTo>
                  <a:cubicBezTo>
                    <a:pt x="385" y="52"/>
                    <a:pt x="385" y="52"/>
                    <a:pt x="385" y="52"/>
                  </a:cubicBezTo>
                  <a:cubicBezTo>
                    <a:pt x="385" y="52"/>
                    <a:pt x="385" y="51"/>
                    <a:pt x="384" y="50"/>
                  </a:cubicBezTo>
                  <a:cubicBezTo>
                    <a:pt x="384" y="50"/>
                    <a:pt x="384" y="50"/>
                    <a:pt x="383" y="49"/>
                  </a:cubicBezTo>
                  <a:cubicBezTo>
                    <a:pt x="383" y="49"/>
                    <a:pt x="383" y="49"/>
                    <a:pt x="383" y="49"/>
                  </a:cubicBezTo>
                  <a:cubicBezTo>
                    <a:pt x="383" y="48"/>
                    <a:pt x="382" y="47"/>
                    <a:pt x="382" y="46"/>
                  </a:cubicBezTo>
                  <a:cubicBezTo>
                    <a:pt x="382" y="46"/>
                    <a:pt x="382" y="46"/>
                    <a:pt x="382" y="45"/>
                  </a:cubicBezTo>
                  <a:cubicBezTo>
                    <a:pt x="381" y="45"/>
                    <a:pt x="381" y="44"/>
                    <a:pt x="380" y="44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8" y="43"/>
                    <a:pt x="377" y="43"/>
                    <a:pt x="377" y="42"/>
                  </a:cubicBezTo>
                  <a:cubicBezTo>
                    <a:pt x="376" y="41"/>
                    <a:pt x="375" y="40"/>
                    <a:pt x="374" y="40"/>
                  </a:cubicBezTo>
                  <a:cubicBezTo>
                    <a:pt x="374" y="40"/>
                    <a:pt x="374" y="40"/>
                    <a:pt x="374" y="40"/>
                  </a:cubicBezTo>
                  <a:cubicBezTo>
                    <a:pt x="373" y="40"/>
                    <a:pt x="373" y="39"/>
                    <a:pt x="373" y="39"/>
                  </a:cubicBezTo>
                  <a:cubicBezTo>
                    <a:pt x="373" y="39"/>
                    <a:pt x="372" y="39"/>
                    <a:pt x="372" y="39"/>
                  </a:cubicBezTo>
                  <a:cubicBezTo>
                    <a:pt x="372" y="39"/>
                    <a:pt x="372" y="39"/>
                    <a:pt x="372" y="39"/>
                  </a:cubicBezTo>
                  <a:cubicBezTo>
                    <a:pt x="372" y="38"/>
                    <a:pt x="372" y="38"/>
                    <a:pt x="371" y="38"/>
                  </a:cubicBezTo>
                  <a:cubicBezTo>
                    <a:pt x="371" y="37"/>
                    <a:pt x="371" y="37"/>
                    <a:pt x="370" y="37"/>
                  </a:cubicBezTo>
                  <a:cubicBezTo>
                    <a:pt x="370" y="36"/>
                    <a:pt x="370" y="35"/>
                    <a:pt x="369" y="35"/>
                  </a:cubicBezTo>
                  <a:cubicBezTo>
                    <a:pt x="368" y="34"/>
                    <a:pt x="367" y="33"/>
                    <a:pt x="366" y="33"/>
                  </a:cubicBezTo>
                  <a:cubicBezTo>
                    <a:pt x="366" y="32"/>
                    <a:pt x="365" y="32"/>
                    <a:pt x="364" y="31"/>
                  </a:cubicBezTo>
                  <a:cubicBezTo>
                    <a:pt x="364" y="31"/>
                    <a:pt x="364" y="31"/>
                    <a:pt x="363" y="30"/>
                  </a:cubicBezTo>
                  <a:cubicBezTo>
                    <a:pt x="363" y="30"/>
                    <a:pt x="363" y="29"/>
                    <a:pt x="362" y="29"/>
                  </a:cubicBezTo>
                  <a:cubicBezTo>
                    <a:pt x="362" y="28"/>
                    <a:pt x="361" y="28"/>
                    <a:pt x="361" y="28"/>
                  </a:cubicBezTo>
                  <a:cubicBezTo>
                    <a:pt x="360" y="27"/>
                    <a:pt x="360" y="27"/>
                    <a:pt x="360" y="27"/>
                  </a:cubicBezTo>
                  <a:cubicBezTo>
                    <a:pt x="359" y="26"/>
                    <a:pt x="358" y="25"/>
                    <a:pt x="357" y="24"/>
                  </a:cubicBezTo>
                  <a:cubicBezTo>
                    <a:pt x="357" y="24"/>
                    <a:pt x="357" y="24"/>
                    <a:pt x="356" y="23"/>
                  </a:cubicBezTo>
                  <a:cubicBezTo>
                    <a:pt x="356" y="23"/>
                    <a:pt x="356" y="23"/>
                    <a:pt x="356" y="23"/>
                  </a:cubicBezTo>
                  <a:cubicBezTo>
                    <a:pt x="356" y="22"/>
                    <a:pt x="356" y="22"/>
                    <a:pt x="355" y="22"/>
                  </a:cubicBezTo>
                  <a:cubicBezTo>
                    <a:pt x="355" y="21"/>
                    <a:pt x="354" y="21"/>
                    <a:pt x="353" y="20"/>
                  </a:cubicBezTo>
                  <a:cubicBezTo>
                    <a:pt x="353" y="20"/>
                    <a:pt x="353" y="20"/>
                    <a:pt x="352" y="20"/>
                  </a:cubicBezTo>
                  <a:cubicBezTo>
                    <a:pt x="352" y="19"/>
                    <a:pt x="351" y="19"/>
                    <a:pt x="350" y="18"/>
                  </a:cubicBezTo>
                  <a:cubicBezTo>
                    <a:pt x="350" y="18"/>
                    <a:pt x="349" y="17"/>
                    <a:pt x="348" y="17"/>
                  </a:cubicBezTo>
                  <a:cubicBezTo>
                    <a:pt x="348" y="17"/>
                    <a:pt x="348" y="17"/>
                    <a:pt x="348" y="17"/>
                  </a:cubicBezTo>
                  <a:cubicBezTo>
                    <a:pt x="347" y="17"/>
                    <a:pt x="347" y="16"/>
                    <a:pt x="347" y="16"/>
                  </a:cubicBezTo>
                  <a:cubicBezTo>
                    <a:pt x="346" y="16"/>
                    <a:pt x="346" y="16"/>
                    <a:pt x="345" y="15"/>
                  </a:cubicBezTo>
                  <a:cubicBezTo>
                    <a:pt x="344" y="15"/>
                    <a:pt x="344" y="15"/>
                    <a:pt x="343" y="15"/>
                  </a:cubicBezTo>
                  <a:cubicBezTo>
                    <a:pt x="343" y="15"/>
                    <a:pt x="343" y="15"/>
                    <a:pt x="343" y="15"/>
                  </a:cubicBezTo>
                  <a:cubicBezTo>
                    <a:pt x="343" y="15"/>
                    <a:pt x="342" y="15"/>
                    <a:pt x="342" y="15"/>
                  </a:cubicBezTo>
                  <a:cubicBezTo>
                    <a:pt x="341" y="14"/>
                    <a:pt x="341" y="14"/>
                    <a:pt x="341" y="14"/>
                  </a:cubicBezTo>
                  <a:cubicBezTo>
                    <a:pt x="341" y="14"/>
                    <a:pt x="341" y="14"/>
                    <a:pt x="341" y="14"/>
                  </a:cubicBezTo>
                  <a:cubicBezTo>
                    <a:pt x="341" y="13"/>
                    <a:pt x="341" y="13"/>
                    <a:pt x="341" y="13"/>
                  </a:cubicBezTo>
                  <a:cubicBezTo>
                    <a:pt x="340" y="13"/>
                    <a:pt x="340" y="12"/>
                    <a:pt x="340" y="12"/>
                  </a:cubicBezTo>
                  <a:cubicBezTo>
                    <a:pt x="340" y="12"/>
                    <a:pt x="340" y="12"/>
                    <a:pt x="340" y="11"/>
                  </a:cubicBezTo>
                  <a:cubicBezTo>
                    <a:pt x="340" y="11"/>
                    <a:pt x="340" y="11"/>
                    <a:pt x="340" y="11"/>
                  </a:cubicBezTo>
                  <a:cubicBezTo>
                    <a:pt x="340" y="11"/>
                    <a:pt x="340" y="10"/>
                    <a:pt x="340" y="10"/>
                  </a:cubicBezTo>
                  <a:cubicBezTo>
                    <a:pt x="340" y="9"/>
                    <a:pt x="340" y="9"/>
                    <a:pt x="340" y="8"/>
                  </a:cubicBezTo>
                  <a:cubicBezTo>
                    <a:pt x="340" y="8"/>
                    <a:pt x="339" y="7"/>
                    <a:pt x="339" y="7"/>
                  </a:cubicBezTo>
                  <a:cubicBezTo>
                    <a:pt x="338" y="7"/>
                    <a:pt x="338" y="7"/>
                    <a:pt x="337" y="6"/>
                  </a:cubicBezTo>
                  <a:cubicBezTo>
                    <a:pt x="337" y="6"/>
                    <a:pt x="337" y="6"/>
                    <a:pt x="336" y="6"/>
                  </a:cubicBezTo>
                  <a:cubicBezTo>
                    <a:pt x="336" y="6"/>
                    <a:pt x="336" y="6"/>
                    <a:pt x="336" y="6"/>
                  </a:cubicBezTo>
                  <a:cubicBezTo>
                    <a:pt x="335" y="6"/>
                    <a:pt x="334" y="6"/>
                    <a:pt x="333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5"/>
                    <a:pt x="332" y="5"/>
                    <a:pt x="332" y="5"/>
                  </a:cubicBezTo>
                  <a:cubicBezTo>
                    <a:pt x="332" y="5"/>
                    <a:pt x="332" y="5"/>
                    <a:pt x="332" y="4"/>
                  </a:cubicBezTo>
                  <a:cubicBezTo>
                    <a:pt x="332" y="3"/>
                    <a:pt x="331" y="3"/>
                    <a:pt x="330" y="2"/>
                  </a:cubicBezTo>
                  <a:cubicBezTo>
                    <a:pt x="330" y="2"/>
                    <a:pt x="330" y="2"/>
                    <a:pt x="330" y="2"/>
                  </a:cubicBezTo>
                  <a:cubicBezTo>
                    <a:pt x="329" y="2"/>
                    <a:pt x="329" y="1"/>
                    <a:pt x="329" y="1"/>
                  </a:cubicBezTo>
                  <a:cubicBezTo>
                    <a:pt x="328" y="0"/>
                    <a:pt x="326" y="0"/>
                    <a:pt x="325" y="0"/>
                  </a:cubicBezTo>
                  <a:cubicBezTo>
                    <a:pt x="324" y="0"/>
                    <a:pt x="323" y="0"/>
                    <a:pt x="323" y="0"/>
                  </a:cubicBezTo>
                  <a:cubicBezTo>
                    <a:pt x="323" y="0"/>
                    <a:pt x="322" y="0"/>
                    <a:pt x="322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2" y="0"/>
                    <a:pt x="321" y="0"/>
                    <a:pt x="321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20" y="0"/>
                    <a:pt x="320" y="0"/>
                    <a:pt x="319" y="0"/>
                  </a:cubicBezTo>
                  <a:cubicBezTo>
                    <a:pt x="319" y="1"/>
                    <a:pt x="319" y="1"/>
                    <a:pt x="318" y="1"/>
                  </a:cubicBezTo>
                  <a:cubicBezTo>
                    <a:pt x="318" y="1"/>
                    <a:pt x="318" y="1"/>
                    <a:pt x="318" y="1"/>
                  </a:cubicBezTo>
                  <a:cubicBezTo>
                    <a:pt x="317" y="1"/>
                    <a:pt x="316" y="1"/>
                    <a:pt x="315" y="1"/>
                  </a:cubicBezTo>
                  <a:cubicBezTo>
                    <a:pt x="314" y="1"/>
                    <a:pt x="312" y="2"/>
                    <a:pt x="311" y="2"/>
                  </a:cubicBezTo>
                  <a:cubicBezTo>
                    <a:pt x="311" y="2"/>
                    <a:pt x="310" y="2"/>
                    <a:pt x="310" y="2"/>
                  </a:cubicBezTo>
                  <a:cubicBezTo>
                    <a:pt x="309" y="2"/>
                    <a:pt x="309" y="2"/>
                    <a:pt x="308" y="1"/>
                  </a:cubicBezTo>
                  <a:cubicBezTo>
                    <a:pt x="308" y="1"/>
                    <a:pt x="308" y="1"/>
                    <a:pt x="307" y="0"/>
                  </a:cubicBezTo>
                  <a:cubicBezTo>
                    <a:pt x="306" y="0"/>
                    <a:pt x="305" y="0"/>
                    <a:pt x="304" y="0"/>
                  </a:cubicBezTo>
                  <a:cubicBezTo>
                    <a:pt x="304" y="0"/>
                    <a:pt x="304" y="0"/>
                    <a:pt x="303" y="0"/>
                  </a:cubicBezTo>
                  <a:cubicBezTo>
                    <a:pt x="303" y="0"/>
                    <a:pt x="302" y="0"/>
                    <a:pt x="301" y="0"/>
                  </a:cubicBezTo>
                  <a:cubicBezTo>
                    <a:pt x="300" y="0"/>
                    <a:pt x="298" y="0"/>
                    <a:pt x="297" y="0"/>
                  </a:cubicBezTo>
                  <a:cubicBezTo>
                    <a:pt x="295" y="1"/>
                    <a:pt x="294" y="1"/>
                    <a:pt x="293" y="1"/>
                  </a:cubicBezTo>
                  <a:cubicBezTo>
                    <a:pt x="292" y="1"/>
                    <a:pt x="292" y="1"/>
                    <a:pt x="292" y="1"/>
                  </a:cubicBezTo>
                  <a:cubicBezTo>
                    <a:pt x="291" y="1"/>
                    <a:pt x="290" y="1"/>
                    <a:pt x="289" y="1"/>
                  </a:cubicBezTo>
                  <a:cubicBezTo>
                    <a:pt x="288" y="1"/>
                    <a:pt x="288" y="1"/>
                    <a:pt x="288" y="1"/>
                  </a:cubicBezTo>
                  <a:cubicBezTo>
                    <a:pt x="288" y="1"/>
                    <a:pt x="288" y="1"/>
                    <a:pt x="287" y="1"/>
                  </a:cubicBezTo>
                  <a:cubicBezTo>
                    <a:pt x="287" y="1"/>
                    <a:pt x="287" y="1"/>
                    <a:pt x="286" y="0"/>
                  </a:cubicBezTo>
                  <a:cubicBezTo>
                    <a:pt x="286" y="0"/>
                    <a:pt x="285" y="0"/>
                    <a:pt x="285" y="0"/>
                  </a:cubicBezTo>
                  <a:cubicBezTo>
                    <a:pt x="285" y="1"/>
                    <a:pt x="285" y="1"/>
                    <a:pt x="285" y="1"/>
                  </a:cubicBezTo>
                  <a:cubicBezTo>
                    <a:pt x="285" y="1"/>
                    <a:pt x="285" y="1"/>
                    <a:pt x="285" y="1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4" y="0"/>
                    <a:pt x="284" y="0"/>
                    <a:pt x="283" y="0"/>
                  </a:cubicBezTo>
                  <a:cubicBezTo>
                    <a:pt x="283" y="0"/>
                    <a:pt x="282" y="0"/>
                    <a:pt x="282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1" y="0"/>
                    <a:pt x="280" y="0"/>
                    <a:pt x="280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8" y="1"/>
                    <a:pt x="278" y="2"/>
                    <a:pt x="277" y="2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6" y="3"/>
                    <a:pt x="276" y="4"/>
                    <a:pt x="276" y="4"/>
                  </a:cubicBezTo>
                  <a:cubicBezTo>
                    <a:pt x="275" y="4"/>
                    <a:pt x="275" y="4"/>
                    <a:pt x="275" y="4"/>
                  </a:cubicBezTo>
                  <a:cubicBezTo>
                    <a:pt x="275" y="5"/>
                    <a:pt x="275" y="5"/>
                    <a:pt x="275" y="5"/>
                  </a:cubicBezTo>
                  <a:cubicBezTo>
                    <a:pt x="275" y="5"/>
                    <a:pt x="275" y="5"/>
                    <a:pt x="275" y="5"/>
                  </a:cubicBezTo>
                  <a:cubicBezTo>
                    <a:pt x="274" y="5"/>
                    <a:pt x="274" y="5"/>
                    <a:pt x="274" y="5"/>
                  </a:cubicBezTo>
                  <a:cubicBezTo>
                    <a:pt x="274" y="6"/>
                    <a:pt x="274" y="6"/>
                    <a:pt x="274" y="6"/>
                  </a:cubicBezTo>
                  <a:cubicBezTo>
                    <a:pt x="273" y="6"/>
                    <a:pt x="273" y="6"/>
                    <a:pt x="272" y="6"/>
                  </a:cubicBezTo>
                  <a:cubicBezTo>
                    <a:pt x="270" y="6"/>
                    <a:pt x="269" y="7"/>
                    <a:pt x="267" y="8"/>
                  </a:cubicBezTo>
                  <a:cubicBezTo>
                    <a:pt x="267" y="8"/>
                    <a:pt x="267" y="8"/>
                    <a:pt x="267" y="8"/>
                  </a:cubicBezTo>
                  <a:cubicBezTo>
                    <a:pt x="266" y="8"/>
                    <a:pt x="266" y="8"/>
                    <a:pt x="266" y="8"/>
                  </a:cubicBezTo>
                  <a:cubicBezTo>
                    <a:pt x="266" y="8"/>
                    <a:pt x="265" y="8"/>
                    <a:pt x="265" y="9"/>
                  </a:cubicBezTo>
                  <a:cubicBezTo>
                    <a:pt x="265" y="9"/>
                    <a:pt x="264" y="9"/>
                    <a:pt x="264" y="9"/>
                  </a:cubicBezTo>
                  <a:cubicBezTo>
                    <a:pt x="264" y="9"/>
                    <a:pt x="263" y="10"/>
                    <a:pt x="263" y="10"/>
                  </a:cubicBezTo>
                  <a:cubicBezTo>
                    <a:pt x="263" y="10"/>
                    <a:pt x="263" y="10"/>
                    <a:pt x="263" y="10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61" y="10"/>
                    <a:pt x="261" y="10"/>
                    <a:pt x="261" y="10"/>
                  </a:cubicBezTo>
                  <a:cubicBezTo>
                    <a:pt x="261" y="10"/>
                    <a:pt x="261" y="10"/>
                    <a:pt x="261" y="10"/>
                  </a:cubicBezTo>
                  <a:cubicBezTo>
                    <a:pt x="261" y="10"/>
                    <a:pt x="261" y="10"/>
                    <a:pt x="261" y="9"/>
                  </a:cubicBezTo>
                  <a:cubicBezTo>
                    <a:pt x="261" y="9"/>
                    <a:pt x="260" y="8"/>
                    <a:pt x="258" y="8"/>
                  </a:cubicBezTo>
                  <a:cubicBezTo>
                    <a:pt x="258" y="8"/>
                    <a:pt x="258" y="8"/>
                    <a:pt x="257" y="8"/>
                  </a:cubicBezTo>
                  <a:cubicBezTo>
                    <a:pt x="256" y="8"/>
                    <a:pt x="255" y="8"/>
                    <a:pt x="253" y="9"/>
                  </a:cubicBezTo>
                  <a:cubicBezTo>
                    <a:pt x="253" y="9"/>
                    <a:pt x="253" y="9"/>
                    <a:pt x="252" y="9"/>
                  </a:cubicBezTo>
                  <a:cubicBezTo>
                    <a:pt x="252" y="9"/>
                    <a:pt x="251" y="9"/>
                    <a:pt x="251" y="9"/>
                  </a:cubicBezTo>
                  <a:cubicBezTo>
                    <a:pt x="251" y="10"/>
                    <a:pt x="250" y="9"/>
                    <a:pt x="249" y="10"/>
                  </a:cubicBezTo>
                  <a:cubicBezTo>
                    <a:pt x="249" y="10"/>
                    <a:pt x="248" y="10"/>
                    <a:pt x="247" y="10"/>
                  </a:cubicBezTo>
                  <a:cubicBezTo>
                    <a:pt x="247" y="10"/>
                    <a:pt x="247" y="10"/>
                    <a:pt x="247" y="10"/>
                  </a:cubicBezTo>
                  <a:cubicBezTo>
                    <a:pt x="246" y="10"/>
                    <a:pt x="246" y="10"/>
                    <a:pt x="246" y="10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5" y="11"/>
                    <a:pt x="244" y="11"/>
                    <a:pt x="244" y="11"/>
                  </a:cubicBezTo>
                  <a:cubicBezTo>
                    <a:pt x="244" y="11"/>
                    <a:pt x="244" y="11"/>
                    <a:pt x="243" y="11"/>
                  </a:cubicBezTo>
                  <a:cubicBezTo>
                    <a:pt x="243" y="11"/>
                    <a:pt x="243" y="11"/>
                    <a:pt x="243" y="11"/>
                  </a:cubicBezTo>
                  <a:cubicBezTo>
                    <a:pt x="243" y="11"/>
                    <a:pt x="242" y="10"/>
                    <a:pt x="242" y="10"/>
                  </a:cubicBezTo>
                  <a:cubicBezTo>
                    <a:pt x="242" y="10"/>
                    <a:pt x="241" y="10"/>
                    <a:pt x="241" y="9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1" y="9"/>
                    <a:pt x="240" y="8"/>
                    <a:pt x="239" y="7"/>
                  </a:cubicBezTo>
                  <a:cubicBezTo>
                    <a:pt x="239" y="7"/>
                    <a:pt x="238" y="7"/>
                    <a:pt x="237" y="7"/>
                  </a:cubicBezTo>
                  <a:cubicBezTo>
                    <a:pt x="237" y="8"/>
                    <a:pt x="237" y="8"/>
                    <a:pt x="237" y="8"/>
                  </a:cubicBezTo>
                  <a:cubicBezTo>
                    <a:pt x="236" y="8"/>
                    <a:pt x="236" y="8"/>
                    <a:pt x="236" y="8"/>
                  </a:cubicBezTo>
                  <a:cubicBezTo>
                    <a:pt x="235" y="8"/>
                    <a:pt x="235" y="8"/>
                    <a:pt x="234" y="9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3" y="9"/>
                    <a:pt x="233" y="10"/>
                    <a:pt x="232" y="10"/>
                  </a:cubicBezTo>
                  <a:cubicBezTo>
                    <a:pt x="232" y="10"/>
                    <a:pt x="232" y="10"/>
                    <a:pt x="231" y="1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30" y="11"/>
                    <a:pt x="230" y="11"/>
                    <a:pt x="230" y="11"/>
                  </a:cubicBezTo>
                  <a:cubicBezTo>
                    <a:pt x="229" y="11"/>
                    <a:pt x="229" y="11"/>
                    <a:pt x="229" y="11"/>
                  </a:cubicBezTo>
                  <a:cubicBezTo>
                    <a:pt x="227" y="10"/>
                    <a:pt x="227" y="10"/>
                    <a:pt x="227" y="10"/>
                  </a:cubicBezTo>
                  <a:cubicBezTo>
                    <a:pt x="226" y="10"/>
                    <a:pt x="226" y="10"/>
                    <a:pt x="225" y="10"/>
                  </a:cubicBezTo>
                  <a:cubicBezTo>
                    <a:pt x="224" y="11"/>
                    <a:pt x="224" y="13"/>
                    <a:pt x="224" y="13"/>
                  </a:cubicBezTo>
                  <a:cubicBezTo>
                    <a:pt x="223" y="14"/>
                    <a:pt x="223" y="14"/>
                    <a:pt x="223" y="14"/>
                  </a:cubicBezTo>
                  <a:cubicBezTo>
                    <a:pt x="223" y="15"/>
                    <a:pt x="223" y="15"/>
                    <a:pt x="223" y="16"/>
                  </a:cubicBezTo>
                  <a:cubicBezTo>
                    <a:pt x="223" y="16"/>
                    <a:pt x="223" y="17"/>
                    <a:pt x="223" y="17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23" y="19"/>
                    <a:pt x="223" y="19"/>
                  </a:cubicBezTo>
                  <a:cubicBezTo>
                    <a:pt x="223" y="20"/>
                    <a:pt x="223" y="20"/>
                    <a:pt x="223" y="20"/>
                  </a:cubicBezTo>
                  <a:cubicBezTo>
                    <a:pt x="223" y="21"/>
                    <a:pt x="223" y="21"/>
                    <a:pt x="223" y="22"/>
                  </a:cubicBezTo>
                  <a:cubicBezTo>
                    <a:pt x="223" y="22"/>
                    <a:pt x="223" y="22"/>
                    <a:pt x="223" y="22"/>
                  </a:cubicBezTo>
                  <a:cubicBezTo>
                    <a:pt x="223" y="23"/>
                    <a:pt x="223" y="23"/>
                    <a:pt x="222" y="23"/>
                  </a:cubicBezTo>
                  <a:cubicBezTo>
                    <a:pt x="222" y="24"/>
                    <a:pt x="222" y="24"/>
                    <a:pt x="222" y="24"/>
                  </a:cubicBezTo>
                  <a:cubicBezTo>
                    <a:pt x="222" y="25"/>
                    <a:pt x="221" y="25"/>
                    <a:pt x="221" y="26"/>
                  </a:cubicBezTo>
                  <a:cubicBezTo>
                    <a:pt x="221" y="26"/>
                    <a:pt x="221" y="26"/>
                    <a:pt x="221" y="26"/>
                  </a:cubicBezTo>
                  <a:cubicBezTo>
                    <a:pt x="221" y="26"/>
                    <a:pt x="220" y="26"/>
                    <a:pt x="220" y="26"/>
                  </a:cubicBezTo>
                  <a:cubicBezTo>
                    <a:pt x="220" y="27"/>
                    <a:pt x="220" y="27"/>
                    <a:pt x="219" y="27"/>
                  </a:cubicBezTo>
                  <a:cubicBezTo>
                    <a:pt x="219" y="27"/>
                    <a:pt x="219" y="27"/>
                    <a:pt x="218" y="28"/>
                  </a:cubicBezTo>
                  <a:cubicBezTo>
                    <a:pt x="218" y="28"/>
                    <a:pt x="217" y="29"/>
                    <a:pt x="217" y="30"/>
                  </a:cubicBezTo>
                  <a:cubicBezTo>
                    <a:pt x="217" y="30"/>
                    <a:pt x="217" y="30"/>
                    <a:pt x="218" y="31"/>
                  </a:cubicBezTo>
                  <a:cubicBezTo>
                    <a:pt x="218" y="31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9" y="33"/>
                    <a:pt x="219" y="33"/>
                    <a:pt x="219" y="34"/>
                  </a:cubicBezTo>
                  <a:cubicBezTo>
                    <a:pt x="219" y="34"/>
                    <a:pt x="219" y="34"/>
                    <a:pt x="219" y="35"/>
                  </a:cubicBezTo>
                  <a:cubicBezTo>
                    <a:pt x="220" y="35"/>
                    <a:pt x="221" y="36"/>
                    <a:pt x="221" y="36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222" y="37"/>
                    <a:pt x="223" y="38"/>
                    <a:pt x="224" y="38"/>
                  </a:cubicBezTo>
                  <a:cubicBezTo>
                    <a:pt x="225" y="39"/>
                    <a:pt x="225" y="39"/>
                    <a:pt x="225" y="39"/>
                  </a:cubicBezTo>
                  <a:cubicBezTo>
                    <a:pt x="225" y="39"/>
                    <a:pt x="226" y="39"/>
                    <a:pt x="226" y="40"/>
                  </a:cubicBezTo>
                  <a:cubicBezTo>
                    <a:pt x="227" y="40"/>
                    <a:pt x="227" y="40"/>
                    <a:pt x="227" y="41"/>
                  </a:cubicBezTo>
                  <a:cubicBezTo>
                    <a:pt x="227" y="41"/>
                    <a:pt x="227" y="41"/>
                    <a:pt x="227" y="41"/>
                  </a:cubicBezTo>
                  <a:cubicBezTo>
                    <a:pt x="227" y="41"/>
                    <a:pt x="227" y="42"/>
                    <a:pt x="228" y="42"/>
                  </a:cubicBezTo>
                  <a:cubicBezTo>
                    <a:pt x="228" y="42"/>
                    <a:pt x="227" y="42"/>
                    <a:pt x="227" y="42"/>
                  </a:cubicBezTo>
                  <a:cubicBezTo>
                    <a:pt x="227" y="42"/>
                    <a:pt x="227" y="42"/>
                    <a:pt x="227" y="43"/>
                  </a:cubicBezTo>
                  <a:cubicBezTo>
                    <a:pt x="227" y="43"/>
                    <a:pt x="227" y="43"/>
                    <a:pt x="227" y="43"/>
                  </a:cubicBezTo>
                  <a:cubicBezTo>
                    <a:pt x="227" y="43"/>
                    <a:pt x="227" y="44"/>
                    <a:pt x="227" y="44"/>
                  </a:cubicBezTo>
                  <a:cubicBezTo>
                    <a:pt x="226" y="44"/>
                    <a:pt x="226" y="44"/>
                    <a:pt x="226" y="44"/>
                  </a:cubicBezTo>
                  <a:cubicBezTo>
                    <a:pt x="226" y="44"/>
                    <a:pt x="226" y="45"/>
                    <a:pt x="225" y="45"/>
                  </a:cubicBezTo>
                  <a:cubicBezTo>
                    <a:pt x="224" y="45"/>
                    <a:pt x="224" y="45"/>
                    <a:pt x="224" y="45"/>
                  </a:cubicBezTo>
                  <a:cubicBezTo>
                    <a:pt x="224" y="45"/>
                    <a:pt x="224" y="45"/>
                    <a:pt x="224" y="45"/>
                  </a:cubicBezTo>
                  <a:cubicBezTo>
                    <a:pt x="224" y="45"/>
                    <a:pt x="224" y="45"/>
                    <a:pt x="223" y="45"/>
                  </a:cubicBezTo>
                  <a:cubicBezTo>
                    <a:pt x="223" y="45"/>
                    <a:pt x="223" y="44"/>
                    <a:pt x="222" y="44"/>
                  </a:cubicBezTo>
                  <a:cubicBezTo>
                    <a:pt x="222" y="44"/>
                    <a:pt x="222" y="44"/>
                    <a:pt x="222" y="44"/>
                  </a:cubicBezTo>
                  <a:cubicBezTo>
                    <a:pt x="222" y="44"/>
                    <a:pt x="221" y="44"/>
                    <a:pt x="221" y="44"/>
                  </a:cubicBezTo>
                  <a:cubicBezTo>
                    <a:pt x="221" y="44"/>
                    <a:pt x="221" y="44"/>
                    <a:pt x="221" y="44"/>
                  </a:cubicBezTo>
                  <a:cubicBezTo>
                    <a:pt x="220" y="44"/>
                    <a:pt x="220" y="43"/>
                    <a:pt x="220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1"/>
                    <a:pt x="219" y="40"/>
                    <a:pt x="218" y="40"/>
                  </a:cubicBezTo>
                  <a:cubicBezTo>
                    <a:pt x="218" y="39"/>
                    <a:pt x="217" y="39"/>
                    <a:pt x="217" y="39"/>
                  </a:cubicBezTo>
                  <a:cubicBezTo>
                    <a:pt x="216" y="39"/>
                    <a:pt x="215" y="40"/>
                    <a:pt x="214" y="40"/>
                  </a:cubicBezTo>
                  <a:cubicBezTo>
                    <a:pt x="214" y="41"/>
                    <a:pt x="213" y="42"/>
                    <a:pt x="213" y="42"/>
                  </a:cubicBezTo>
                  <a:cubicBezTo>
                    <a:pt x="214" y="43"/>
                    <a:pt x="214" y="43"/>
                    <a:pt x="214" y="43"/>
                  </a:cubicBezTo>
                  <a:cubicBezTo>
                    <a:pt x="213" y="43"/>
                    <a:pt x="213" y="43"/>
                    <a:pt x="213" y="43"/>
                  </a:cubicBezTo>
                  <a:cubicBezTo>
                    <a:pt x="213" y="43"/>
                    <a:pt x="212" y="44"/>
                    <a:pt x="212" y="45"/>
                  </a:cubicBezTo>
                  <a:cubicBezTo>
                    <a:pt x="212" y="45"/>
                    <a:pt x="212" y="45"/>
                    <a:pt x="212" y="46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1" y="46"/>
                    <a:pt x="211" y="46"/>
                    <a:pt x="211" y="46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09" y="46"/>
                    <a:pt x="209" y="46"/>
                    <a:pt x="209" y="46"/>
                  </a:cubicBezTo>
                  <a:cubicBezTo>
                    <a:pt x="208" y="46"/>
                    <a:pt x="208" y="46"/>
                    <a:pt x="208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6" y="45"/>
                    <a:pt x="206" y="45"/>
                    <a:pt x="206" y="45"/>
                  </a:cubicBezTo>
                  <a:cubicBezTo>
                    <a:pt x="206" y="45"/>
                    <a:pt x="205" y="45"/>
                    <a:pt x="205" y="45"/>
                  </a:cubicBezTo>
                  <a:cubicBezTo>
                    <a:pt x="204" y="45"/>
                    <a:pt x="204" y="45"/>
                    <a:pt x="203" y="45"/>
                  </a:cubicBezTo>
                  <a:cubicBezTo>
                    <a:pt x="203" y="45"/>
                    <a:pt x="203" y="45"/>
                    <a:pt x="203" y="45"/>
                  </a:cubicBezTo>
                  <a:cubicBezTo>
                    <a:pt x="203" y="45"/>
                    <a:pt x="203" y="45"/>
                    <a:pt x="203" y="44"/>
                  </a:cubicBezTo>
                  <a:cubicBezTo>
                    <a:pt x="203" y="44"/>
                    <a:pt x="203" y="44"/>
                    <a:pt x="203" y="44"/>
                  </a:cubicBezTo>
                  <a:cubicBezTo>
                    <a:pt x="203" y="44"/>
                    <a:pt x="203" y="43"/>
                    <a:pt x="203" y="43"/>
                  </a:cubicBezTo>
                  <a:cubicBezTo>
                    <a:pt x="203" y="43"/>
                    <a:pt x="203" y="43"/>
                    <a:pt x="203" y="43"/>
                  </a:cubicBezTo>
                  <a:cubicBezTo>
                    <a:pt x="203" y="43"/>
                    <a:pt x="203" y="43"/>
                    <a:pt x="204" y="43"/>
                  </a:cubicBezTo>
                  <a:cubicBezTo>
                    <a:pt x="204" y="43"/>
                    <a:pt x="204" y="43"/>
                    <a:pt x="204" y="43"/>
                  </a:cubicBezTo>
                  <a:cubicBezTo>
                    <a:pt x="205" y="42"/>
                    <a:pt x="207" y="41"/>
                    <a:pt x="207" y="40"/>
                  </a:cubicBezTo>
                  <a:cubicBezTo>
                    <a:pt x="207" y="39"/>
                    <a:pt x="207" y="38"/>
                    <a:pt x="206" y="38"/>
                  </a:cubicBezTo>
                  <a:cubicBezTo>
                    <a:pt x="205" y="37"/>
                    <a:pt x="204" y="36"/>
                    <a:pt x="202" y="36"/>
                  </a:cubicBezTo>
                  <a:cubicBezTo>
                    <a:pt x="201" y="36"/>
                    <a:pt x="199" y="36"/>
                    <a:pt x="197" y="36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194" y="36"/>
                    <a:pt x="194" y="36"/>
                    <a:pt x="193" y="36"/>
                  </a:cubicBezTo>
                  <a:cubicBezTo>
                    <a:pt x="192" y="36"/>
                    <a:pt x="191" y="36"/>
                    <a:pt x="190" y="36"/>
                  </a:cubicBezTo>
                  <a:cubicBezTo>
                    <a:pt x="189" y="37"/>
                    <a:pt x="188" y="38"/>
                    <a:pt x="187" y="39"/>
                  </a:cubicBezTo>
                  <a:cubicBezTo>
                    <a:pt x="186" y="40"/>
                    <a:pt x="185" y="41"/>
                    <a:pt x="184" y="41"/>
                  </a:cubicBezTo>
                  <a:cubicBezTo>
                    <a:pt x="184" y="41"/>
                    <a:pt x="184" y="41"/>
                    <a:pt x="183" y="41"/>
                  </a:cubicBezTo>
                  <a:cubicBezTo>
                    <a:pt x="183" y="40"/>
                    <a:pt x="182" y="40"/>
                    <a:pt x="182" y="40"/>
                  </a:cubicBezTo>
                  <a:cubicBezTo>
                    <a:pt x="181" y="40"/>
                    <a:pt x="180" y="40"/>
                    <a:pt x="180" y="40"/>
                  </a:cubicBezTo>
                  <a:cubicBezTo>
                    <a:pt x="179" y="39"/>
                    <a:pt x="179" y="39"/>
                    <a:pt x="179" y="39"/>
                  </a:cubicBezTo>
                  <a:cubicBezTo>
                    <a:pt x="179" y="39"/>
                    <a:pt x="178" y="39"/>
                    <a:pt x="177" y="39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5" y="39"/>
                    <a:pt x="173" y="39"/>
                    <a:pt x="171" y="40"/>
                  </a:cubicBezTo>
                  <a:cubicBezTo>
                    <a:pt x="171" y="40"/>
                    <a:pt x="171" y="40"/>
                    <a:pt x="171" y="40"/>
                  </a:cubicBezTo>
                  <a:cubicBezTo>
                    <a:pt x="170" y="40"/>
                    <a:pt x="169" y="40"/>
                    <a:pt x="169" y="41"/>
                  </a:cubicBezTo>
                  <a:cubicBezTo>
                    <a:pt x="168" y="42"/>
                    <a:pt x="169" y="44"/>
                    <a:pt x="169" y="44"/>
                  </a:cubicBezTo>
                  <a:cubicBezTo>
                    <a:pt x="170" y="45"/>
                    <a:pt x="171" y="46"/>
                    <a:pt x="172" y="47"/>
                  </a:cubicBezTo>
                  <a:cubicBezTo>
                    <a:pt x="172" y="47"/>
                    <a:pt x="172" y="47"/>
                    <a:pt x="172" y="47"/>
                  </a:cubicBezTo>
                  <a:cubicBezTo>
                    <a:pt x="173" y="48"/>
                    <a:pt x="173" y="48"/>
                    <a:pt x="174" y="49"/>
                  </a:cubicBezTo>
                  <a:cubicBezTo>
                    <a:pt x="173" y="49"/>
                    <a:pt x="173" y="49"/>
                    <a:pt x="172" y="49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1" y="47"/>
                    <a:pt x="168" y="46"/>
                    <a:pt x="167" y="46"/>
                  </a:cubicBezTo>
                  <a:cubicBezTo>
                    <a:pt x="167" y="46"/>
                    <a:pt x="167" y="46"/>
                    <a:pt x="166" y="46"/>
                  </a:cubicBezTo>
                  <a:cubicBezTo>
                    <a:pt x="166" y="46"/>
                    <a:pt x="165" y="46"/>
                    <a:pt x="165" y="47"/>
                  </a:cubicBezTo>
                  <a:cubicBezTo>
                    <a:pt x="164" y="47"/>
                    <a:pt x="164" y="47"/>
                    <a:pt x="164" y="48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48"/>
                    <a:pt x="164" y="48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2" y="49"/>
                    <a:pt x="162" y="50"/>
                    <a:pt x="162" y="51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2" y="53"/>
                    <a:pt x="162" y="53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1" y="55"/>
                    <a:pt x="161" y="55"/>
                    <a:pt x="161" y="56"/>
                  </a:cubicBezTo>
                  <a:cubicBezTo>
                    <a:pt x="161" y="57"/>
                    <a:pt x="161" y="58"/>
                    <a:pt x="161" y="58"/>
                  </a:cubicBezTo>
                  <a:cubicBezTo>
                    <a:pt x="162" y="59"/>
                    <a:pt x="163" y="60"/>
                    <a:pt x="163" y="60"/>
                  </a:cubicBezTo>
                  <a:cubicBezTo>
                    <a:pt x="164" y="60"/>
                    <a:pt x="165" y="60"/>
                    <a:pt x="165" y="61"/>
                  </a:cubicBezTo>
                  <a:cubicBezTo>
                    <a:pt x="166" y="61"/>
                    <a:pt x="167" y="61"/>
                    <a:pt x="168" y="62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69" y="63"/>
                    <a:pt x="169" y="63"/>
                    <a:pt x="170" y="63"/>
                  </a:cubicBezTo>
                  <a:cubicBezTo>
                    <a:pt x="170" y="63"/>
                    <a:pt x="171" y="64"/>
                    <a:pt x="172" y="64"/>
                  </a:cubicBezTo>
                  <a:cubicBezTo>
                    <a:pt x="174" y="64"/>
                    <a:pt x="176" y="64"/>
                    <a:pt x="177" y="63"/>
                  </a:cubicBezTo>
                  <a:cubicBezTo>
                    <a:pt x="178" y="63"/>
                    <a:pt x="178" y="63"/>
                    <a:pt x="179" y="63"/>
                  </a:cubicBezTo>
                  <a:cubicBezTo>
                    <a:pt x="179" y="63"/>
                    <a:pt x="179" y="63"/>
                    <a:pt x="179" y="63"/>
                  </a:cubicBezTo>
                  <a:cubicBezTo>
                    <a:pt x="179" y="62"/>
                    <a:pt x="180" y="62"/>
                    <a:pt x="180" y="62"/>
                  </a:cubicBezTo>
                  <a:cubicBezTo>
                    <a:pt x="181" y="62"/>
                    <a:pt x="183" y="62"/>
                    <a:pt x="184" y="62"/>
                  </a:cubicBezTo>
                  <a:cubicBezTo>
                    <a:pt x="185" y="62"/>
                    <a:pt x="186" y="63"/>
                    <a:pt x="187" y="63"/>
                  </a:cubicBezTo>
                  <a:cubicBezTo>
                    <a:pt x="187" y="63"/>
                    <a:pt x="186" y="63"/>
                    <a:pt x="185" y="63"/>
                  </a:cubicBezTo>
                  <a:cubicBezTo>
                    <a:pt x="185" y="63"/>
                    <a:pt x="185" y="63"/>
                    <a:pt x="185" y="63"/>
                  </a:cubicBezTo>
                  <a:cubicBezTo>
                    <a:pt x="183" y="63"/>
                    <a:pt x="182" y="64"/>
                    <a:pt x="181" y="65"/>
                  </a:cubicBezTo>
                  <a:cubicBezTo>
                    <a:pt x="180" y="66"/>
                    <a:pt x="178" y="67"/>
                    <a:pt x="178" y="69"/>
                  </a:cubicBezTo>
                  <a:cubicBezTo>
                    <a:pt x="178" y="69"/>
                    <a:pt x="178" y="70"/>
                    <a:pt x="177" y="71"/>
                  </a:cubicBezTo>
                  <a:cubicBezTo>
                    <a:pt x="175" y="72"/>
                    <a:pt x="174" y="72"/>
                    <a:pt x="173" y="73"/>
                  </a:cubicBezTo>
                  <a:cubicBezTo>
                    <a:pt x="172" y="73"/>
                    <a:pt x="172" y="73"/>
                    <a:pt x="171" y="73"/>
                  </a:cubicBezTo>
                  <a:cubicBezTo>
                    <a:pt x="171" y="74"/>
                    <a:pt x="170" y="74"/>
                    <a:pt x="169" y="74"/>
                  </a:cubicBezTo>
                  <a:cubicBezTo>
                    <a:pt x="168" y="74"/>
                    <a:pt x="166" y="75"/>
                    <a:pt x="165" y="75"/>
                  </a:cubicBezTo>
                  <a:cubicBezTo>
                    <a:pt x="165" y="75"/>
                    <a:pt x="164" y="75"/>
                    <a:pt x="163" y="75"/>
                  </a:cubicBezTo>
                  <a:cubicBezTo>
                    <a:pt x="162" y="75"/>
                    <a:pt x="161" y="75"/>
                    <a:pt x="160" y="75"/>
                  </a:cubicBezTo>
                  <a:cubicBezTo>
                    <a:pt x="159" y="75"/>
                    <a:pt x="157" y="75"/>
                    <a:pt x="156" y="76"/>
                  </a:cubicBezTo>
                  <a:cubicBezTo>
                    <a:pt x="155" y="77"/>
                    <a:pt x="153" y="77"/>
                    <a:pt x="152" y="78"/>
                  </a:cubicBezTo>
                  <a:cubicBezTo>
                    <a:pt x="151" y="78"/>
                    <a:pt x="150" y="78"/>
                    <a:pt x="149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8"/>
                    <a:pt x="148" y="78"/>
                  </a:cubicBezTo>
                  <a:cubicBezTo>
                    <a:pt x="148" y="78"/>
                    <a:pt x="148" y="78"/>
                    <a:pt x="148" y="77"/>
                  </a:cubicBezTo>
                  <a:cubicBezTo>
                    <a:pt x="148" y="77"/>
                    <a:pt x="148" y="77"/>
                    <a:pt x="148" y="76"/>
                  </a:cubicBezTo>
                  <a:cubicBezTo>
                    <a:pt x="148" y="76"/>
                    <a:pt x="148" y="75"/>
                    <a:pt x="148" y="75"/>
                  </a:cubicBezTo>
                  <a:cubicBezTo>
                    <a:pt x="148" y="74"/>
                    <a:pt x="148" y="74"/>
                    <a:pt x="148" y="73"/>
                  </a:cubicBezTo>
                  <a:cubicBezTo>
                    <a:pt x="147" y="72"/>
                    <a:pt x="146" y="72"/>
                    <a:pt x="146" y="72"/>
                  </a:cubicBezTo>
                  <a:cubicBezTo>
                    <a:pt x="145" y="72"/>
                    <a:pt x="144" y="72"/>
                    <a:pt x="144" y="72"/>
                  </a:cubicBezTo>
                  <a:cubicBezTo>
                    <a:pt x="142" y="74"/>
                    <a:pt x="140" y="75"/>
                    <a:pt x="139" y="76"/>
                  </a:cubicBezTo>
                  <a:cubicBezTo>
                    <a:pt x="138" y="76"/>
                    <a:pt x="137" y="77"/>
                    <a:pt x="136" y="77"/>
                  </a:cubicBezTo>
                  <a:cubicBezTo>
                    <a:pt x="136" y="78"/>
                    <a:pt x="136" y="78"/>
                    <a:pt x="136" y="78"/>
                  </a:cubicBezTo>
                  <a:cubicBezTo>
                    <a:pt x="135" y="78"/>
                    <a:pt x="135" y="79"/>
                    <a:pt x="134" y="79"/>
                  </a:cubicBezTo>
                  <a:cubicBezTo>
                    <a:pt x="134" y="79"/>
                    <a:pt x="133" y="79"/>
                    <a:pt x="133" y="80"/>
                  </a:cubicBezTo>
                  <a:cubicBezTo>
                    <a:pt x="133" y="80"/>
                    <a:pt x="132" y="80"/>
                    <a:pt x="132" y="80"/>
                  </a:cubicBezTo>
                  <a:cubicBezTo>
                    <a:pt x="132" y="80"/>
                    <a:pt x="132" y="81"/>
                    <a:pt x="131" y="81"/>
                  </a:cubicBezTo>
                  <a:cubicBezTo>
                    <a:pt x="131" y="81"/>
                    <a:pt x="130" y="81"/>
                    <a:pt x="130" y="81"/>
                  </a:cubicBezTo>
                  <a:cubicBezTo>
                    <a:pt x="129" y="81"/>
                    <a:pt x="128" y="81"/>
                    <a:pt x="127" y="82"/>
                  </a:cubicBezTo>
                  <a:cubicBezTo>
                    <a:pt x="126" y="82"/>
                    <a:pt x="125" y="82"/>
                    <a:pt x="125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3" y="83"/>
                    <a:pt x="123" y="83"/>
                    <a:pt x="123" y="83"/>
                  </a:cubicBezTo>
                  <a:cubicBezTo>
                    <a:pt x="123" y="83"/>
                    <a:pt x="122" y="83"/>
                    <a:pt x="122" y="83"/>
                  </a:cubicBezTo>
                  <a:cubicBezTo>
                    <a:pt x="122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8" y="84"/>
                    <a:pt x="117" y="85"/>
                    <a:pt x="115" y="86"/>
                  </a:cubicBezTo>
                  <a:cubicBezTo>
                    <a:pt x="115" y="86"/>
                    <a:pt x="114" y="86"/>
                    <a:pt x="114" y="86"/>
                  </a:cubicBezTo>
                  <a:cubicBezTo>
                    <a:pt x="114" y="86"/>
                    <a:pt x="113" y="87"/>
                    <a:pt x="113" y="87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2" y="87"/>
                    <a:pt x="110" y="88"/>
                    <a:pt x="110" y="89"/>
                  </a:cubicBezTo>
                  <a:cubicBezTo>
                    <a:pt x="110" y="90"/>
                    <a:pt x="109" y="90"/>
                    <a:pt x="109" y="90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9" y="91"/>
                    <a:pt x="109" y="91"/>
                    <a:pt x="109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3"/>
                    <a:pt x="107" y="94"/>
                    <a:pt x="107" y="95"/>
                  </a:cubicBezTo>
                  <a:cubicBezTo>
                    <a:pt x="107" y="96"/>
                    <a:pt x="106" y="96"/>
                    <a:pt x="106" y="97"/>
                  </a:cubicBezTo>
                  <a:cubicBezTo>
                    <a:pt x="106" y="97"/>
                    <a:pt x="105" y="97"/>
                    <a:pt x="105" y="98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3" y="99"/>
                    <a:pt x="103" y="99"/>
                    <a:pt x="102" y="99"/>
                  </a:cubicBezTo>
                  <a:cubicBezTo>
                    <a:pt x="101" y="99"/>
                    <a:pt x="101" y="99"/>
                    <a:pt x="101" y="99"/>
                  </a:cubicBezTo>
                  <a:cubicBezTo>
                    <a:pt x="100" y="100"/>
                    <a:pt x="100" y="100"/>
                    <a:pt x="99" y="100"/>
                  </a:cubicBezTo>
                  <a:cubicBezTo>
                    <a:pt x="98" y="100"/>
                    <a:pt x="98" y="100"/>
                    <a:pt x="97" y="101"/>
                  </a:cubicBezTo>
                  <a:cubicBezTo>
                    <a:pt x="96" y="102"/>
                    <a:pt x="96" y="102"/>
                    <a:pt x="96" y="103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3" y="107"/>
                    <a:pt x="92" y="109"/>
                    <a:pt x="92" y="110"/>
                  </a:cubicBezTo>
                  <a:cubicBezTo>
                    <a:pt x="92" y="111"/>
                    <a:pt x="92" y="112"/>
                    <a:pt x="93" y="114"/>
                  </a:cubicBezTo>
                  <a:cubicBezTo>
                    <a:pt x="93" y="116"/>
                    <a:pt x="95" y="117"/>
                    <a:pt x="96" y="117"/>
                  </a:cubicBezTo>
                  <a:cubicBezTo>
                    <a:pt x="97" y="117"/>
                    <a:pt x="99" y="117"/>
                    <a:pt x="100" y="116"/>
                  </a:cubicBezTo>
                  <a:cubicBezTo>
                    <a:pt x="101" y="115"/>
                    <a:pt x="102" y="115"/>
                    <a:pt x="102" y="114"/>
                  </a:cubicBezTo>
                  <a:cubicBezTo>
                    <a:pt x="103" y="114"/>
                    <a:pt x="103" y="114"/>
                    <a:pt x="103" y="113"/>
                  </a:cubicBezTo>
                  <a:cubicBezTo>
                    <a:pt x="104" y="113"/>
                    <a:pt x="106" y="112"/>
                    <a:pt x="107" y="111"/>
                  </a:cubicBezTo>
                  <a:cubicBezTo>
                    <a:pt x="108" y="111"/>
                    <a:pt x="108" y="111"/>
                    <a:pt x="109" y="111"/>
                  </a:cubicBezTo>
                  <a:cubicBezTo>
                    <a:pt x="109" y="111"/>
                    <a:pt x="109" y="110"/>
                    <a:pt x="109" y="110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09" y="112"/>
                    <a:pt x="109" y="112"/>
                    <a:pt x="109" y="112"/>
                  </a:cubicBezTo>
                  <a:cubicBezTo>
                    <a:pt x="108" y="113"/>
                    <a:pt x="107" y="114"/>
                    <a:pt x="107" y="114"/>
                  </a:cubicBezTo>
                  <a:cubicBezTo>
                    <a:pt x="106" y="115"/>
                    <a:pt x="105" y="116"/>
                    <a:pt x="104" y="117"/>
                  </a:cubicBezTo>
                  <a:cubicBezTo>
                    <a:pt x="102" y="119"/>
                    <a:pt x="99" y="121"/>
                    <a:pt x="96" y="122"/>
                  </a:cubicBezTo>
                  <a:cubicBezTo>
                    <a:pt x="94" y="122"/>
                    <a:pt x="93" y="122"/>
                    <a:pt x="91" y="123"/>
                  </a:cubicBezTo>
                  <a:cubicBezTo>
                    <a:pt x="90" y="125"/>
                    <a:pt x="89" y="126"/>
                    <a:pt x="88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7" y="129"/>
                    <a:pt x="87" y="130"/>
                    <a:pt x="88" y="130"/>
                  </a:cubicBezTo>
                  <a:cubicBezTo>
                    <a:pt x="88" y="131"/>
                    <a:pt x="88" y="131"/>
                    <a:pt x="89" y="131"/>
                  </a:cubicBezTo>
                  <a:cubicBezTo>
                    <a:pt x="90" y="132"/>
                    <a:pt x="90" y="132"/>
                    <a:pt x="91" y="132"/>
                  </a:cubicBezTo>
                  <a:cubicBezTo>
                    <a:pt x="91" y="132"/>
                    <a:pt x="92" y="132"/>
                    <a:pt x="93" y="132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93" y="132"/>
                    <a:pt x="94" y="132"/>
                    <a:pt x="94" y="133"/>
                  </a:cubicBezTo>
                  <a:cubicBezTo>
                    <a:pt x="95" y="134"/>
                    <a:pt x="95" y="134"/>
                    <a:pt x="96" y="134"/>
                  </a:cubicBezTo>
                  <a:cubicBezTo>
                    <a:pt x="97" y="134"/>
                    <a:pt x="97" y="134"/>
                    <a:pt x="97" y="134"/>
                  </a:cubicBezTo>
                  <a:cubicBezTo>
                    <a:pt x="97" y="135"/>
                    <a:pt x="97" y="135"/>
                    <a:pt x="98" y="135"/>
                  </a:cubicBezTo>
                  <a:cubicBezTo>
                    <a:pt x="99" y="135"/>
                    <a:pt x="99" y="133"/>
                    <a:pt x="100" y="133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100" y="133"/>
                    <a:pt x="100" y="133"/>
                    <a:pt x="100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100" y="135"/>
                    <a:pt x="100" y="135"/>
                    <a:pt x="100" y="135"/>
                  </a:cubicBezTo>
                  <a:cubicBezTo>
                    <a:pt x="100" y="136"/>
                    <a:pt x="100" y="137"/>
                    <a:pt x="101" y="138"/>
                  </a:cubicBezTo>
                  <a:cubicBezTo>
                    <a:pt x="101" y="139"/>
                    <a:pt x="102" y="139"/>
                    <a:pt x="104" y="139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5" y="138"/>
                    <a:pt x="106" y="138"/>
                    <a:pt x="107" y="138"/>
                  </a:cubicBezTo>
                  <a:cubicBezTo>
                    <a:pt x="107" y="137"/>
                    <a:pt x="108" y="137"/>
                    <a:pt x="108" y="137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9" y="137"/>
                    <a:pt x="110" y="137"/>
                    <a:pt x="112" y="136"/>
                  </a:cubicBezTo>
                  <a:cubicBezTo>
                    <a:pt x="114" y="136"/>
                    <a:pt x="114" y="136"/>
                    <a:pt x="114" y="136"/>
                  </a:cubicBezTo>
                  <a:cubicBezTo>
                    <a:pt x="114" y="136"/>
                    <a:pt x="115" y="136"/>
                    <a:pt x="116" y="136"/>
                  </a:cubicBezTo>
                  <a:cubicBezTo>
                    <a:pt x="116" y="136"/>
                    <a:pt x="116" y="136"/>
                    <a:pt x="116" y="136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6" y="136"/>
                    <a:pt x="116" y="136"/>
                    <a:pt x="115" y="136"/>
                  </a:cubicBezTo>
                  <a:cubicBezTo>
                    <a:pt x="115" y="137"/>
                    <a:pt x="114" y="137"/>
                    <a:pt x="113" y="137"/>
                  </a:cubicBezTo>
                  <a:cubicBezTo>
                    <a:pt x="113" y="137"/>
                    <a:pt x="112" y="138"/>
                    <a:pt x="112" y="138"/>
                  </a:cubicBezTo>
                  <a:cubicBezTo>
                    <a:pt x="113" y="139"/>
                    <a:pt x="113" y="139"/>
                    <a:pt x="113" y="139"/>
                  </a:cubicBezTo>
                  <a:cubicBezTo>
                    <a:pt x="112" y="138"/>
                    <a:pt x="112" y="138"/>
                    <a:pt x="112" y="138"/>
                  </a:cubicBezTo>
                  <a:cubicBezTo>
                    <a:pt x="111" y="138"/>
                    <a:pt x="111" y="139"/>
                    <a:pt x="110" y="139"/>
                  </a:cubicBezTo>
                  <a:cubicBezTo>
                    <a:pt x="110" y="139"/>
                    <a:pt x="110" y="139"/>
                    <a:pt x="110" y="139"/>
                  </a:cubicBezTo>
                  <a:cubicBezTo>
                    <a:pt x="110" y="140"/>
                    <a:pt x="109" y="140"/>
                    <a:pt x="109" y="140"/>
                  </a:cubicBezTo>
                  <a:cubicBezTo>
                    <a:pt x="109" y="140"/>
                    <a:pt x="108" y="140"/>
                    <a:pt x="108" y="141"/>
                  </a:cubicBezTo>
                  <a:cubicBezTo>
                    <a:pt x="108" y="141"/>
                    <a:pt x="107" y="141"/>
                    <a:pt x="107" y="141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5" y="142"/>
                    <a:pt x="104" y="143"/>
                    <a:pt x="104" y="143"/>
                  </a:cubicBezTo>
                  <a:cubicBezTo>
                    <a:pt x="102" y="144"/>
                    <a:pt x="102" y="144"/>
                    <a:pt x="102" y="144"/>
                  </a:cubicBezTo>
                  <a:cubicBezTo>
                    <a:pt x="101" y="145"/>
                    <a:pt x="99" y="146"/>
                    <a:pt x="98" y="148"/>
                  </a:cubicBezTo>
                  <a:cubicBezTo>
                    <a:pt x="97" y="148"/>
                    <a:pt x="97" y="148"/>
                    <a:pt x="97" y="148"/>
                  </a:cubicBezTo>
                  <a:cubicBezTo>
                    <a:pt x="97" y="148"/>
                    <a:pt x="97" y="148"/>
                    <a:pt x="96" y="149"/>
                  </a:cubicBezTo>
                  <a:cubicBezTo>
                    <a:pt x="96" y="149"/>
                    <a:pt x="96" y="149"/>
                    <a:pt x="95" y="148"/>
                  </a:cubicBezTo>
                  <a:cubicBezTo>
                    <a:pt x="95" y="148"/>
                    <a:pt x="95" y="148"/>
                    <a:pt x="95" y="148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93" y="148"/>
                    <a:pt x="93" y="148"/>
                    <a:pt x="93" y="148"/>
                  </a:cubicBezTo>
                  <a:cubicBezTo>
                    <a:pt x="92" y="147"/>
                    <a:pt x="92" y="147"/>
                    <a:pt x="91" y="147"/>
                  </a:cubicBezTo>
                  <a:cubicBezTo>
                    <a:pt x="89" y="148"/>
                    <a:pt x="88" y="148"/>
                    <a:pt x="86" y="149"/>
                  </a:cubicBezTo>
                  <a:cubicBezTo>
                    <a:pt x="85" y="149"/>
                    <a:pt x="85" y="150"/>
                    <a:pt x="84" y="150"/>
                  </a:cubicBezTo>
                  <a:cubicBezTo>
                    <a:pt x="84" y="151"/>
                    <a:pt x="84" y="151"/>
                    <a:pt x="83" y="15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2" y="151"/>
                    <a:pt x="82" y="152"/>
                    <a:pt x="82" y="152"/>
                  </a:cubicBezTo>
                  <a:cubicBezTo>
                    <a:pt x="82" y="152"/>
                    <a:pt x="81" y="152"/>
                    <a:pt x="81" y="152"/>
                  </a:cubicBezTo>
                  <a:cubicBezTo>
                    <a:pt x="80" y="152"/>
                    <a:pt x="80" y="153"/>
                    <a:pt x="80" y="153"/>
                  </a:cubicBezTo>
                  <a:cubicBezTo>
                    <a:pt x="80" y="153"/>
                    <a:pt x="80" y="153"/>
                    <a:pt x="79" y="153"/>
                  </a:cubicBezTo>
                  <a:cubicBezTo>
                    <a:pt x="79" y="153"/>
                    <a:pt x="79" y="154"/>
                    <a:pt x="79" y="154"/>
                  </a:cubicBezTo>
                  <a:cubicBezTo>
                    <a:pt x="78" y="154"/>
                    <a:pt x="78" y="154"/>
                    <a:pt x="77" y="155"/>
                  </a:cubicBezTo>
                  <a:cubicBezTo>
                    <a:pt x="77" y="155"/>
                    <a:pt x="77" y="155"/>
                    <a:pt x="76" y="155"/>
                  </a:cubicBezTo>
                  <a:cubicBezTo>
                    <a:pt x="75" y="155"/>
                    <a:pt x="75" y="155"/>
                    <a:pt x="75" y="155"/>
                  </a:cubicBezTo>
                  <a:cubicBezTo>
                    <a:pt x="75" y="155"/>
                    <a:pt x="75" y="155"/>
                    <a:pt x="75" y="155"/>
                  </a:cubicBezTo>
                  <a:cubicBezTo>
                    <a:pt x="74" y="155"/>
                    <a:pt x="74" y="155"/>
                    <a:pt x="73" y="155"/>
                  </a:cubicBezTo>
                  <a:cubicBezTo>
                    <a:pt x="73" y="155"/>
                    <a:pt x="73" y="155"/>
                    <a:pt x="73" y="155"/>
                  </a:cubicBezTo>
                  <a:cubicBezTo>
                    <a:pt x="73" y="156"/>
                    <a:pt x="73" y="156"/>
                    <a:pt x="73" y="156"/>
                  </a:cubicBezTo>
                  <a:cubicBezTo>
                    <a:pt x="73" y="156"/>
                    <a:pt x="72" y="156"/>
                    <a:pt x="72" y="156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0" y="156"/>
                    <a:pt x="70" y="156"/>
                  </a:cubicBezTo>
                  <a:cubicBezTo>
                    <a:pt x="69" y="156"/>
                    <a:pt x="67" y="156"/>
                    <a:pt x="65" y="156"/>
                  </a:cubicBezTo>
                  <a:cubicBezTo>
                    <a:pt x="64" y="156"/>
                    <a:pt x="64" y="157"/>
                    <a:pt x="63" y="157"/>
                  </a:cubicBezTo>
                  <a:cubicBezTo>
                    <a:pt x="62" y="157"/>
                    <a:pt x="62" y="157"/>
                    <a:pt x="62" y="157"/>
                  </a:cubicBezTo>
                  <a:cubicBezTo>
                    <a:pt x="62" y="157"/>
                    <a:pt x="61" y="157"/>
                    <a:pt x="61" y="157"/>
                  </a:cubicBezTo>
                  <a:cubicBezTo>
                    <a:pt x="61" y="158"/>
                    <a:pt x="60" y="158"/>
                    <a:pt x="60" y="158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60"/>
                    <a:pt x="59" y="160"/>
                    <a:pt x="59" y="160"/>
                  </a:cubicBezTo>
                  <a:cubicBezTo>
                    <a:pt x="59" y="160"/>
                    <a:pt x="58" y="161"/>
                    <a:pt x="5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8" y="161"/>
                    <a:pt x="58" y="162"/>
                    <a:pt x="58" y="162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58" y="162"/>
                    <a:pt x="57" y="162"/>
                    <a:pt x="57" y="162"/>
                  </a:cubicBezTo>
                  <a:cubicBezTo>
                    <a:pt x="57" y="162"/>
                    <a:pt x="57" y="162"/>
                    <a:pt x="57" y="163"/>
                  </a:cubicBezTo>
                  <a:cubicBezTo>
                    <a:pt x="57" y="163"/>
                    <a:pt x="56" y="163"/>
                    <a:pt x="56" y="163"/>
                  </a:cubicBezTo>
                  <a:cubicBezTo>
                    <a:pt x="56" y="163"/>
                    <a:pt x="56" y="163"/>
                    <a:pt x="56" y="163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54" y="163"/>
                    <a:pt x="54" y="162"/>
                    <a:pt x="54" y="162"/>
                  </a:cubicBezTo>
                  <a:cubicBezTo>
                    <a:pt x="53" y="162"/>
                    <a:pt x="52" y="162"/>
                    <a:pt x="51" y="162"/>
                  </a:cubicBezTo>
                  <a:cubicBezTo>
                    <a:pt x="50" y="162"/>
                    <a:pt x="50" y="163"/>
                    <a:pt x="50" y="163"/>
                  </a:cubicBezTo>
                  <a:cubicBezTo>
                    <a:pt x="50" y="163"/>
                    <a:pt x="50" y="163"/>
                    <a:pt x="49" y="163"/>
                  </a:cubicBezTo>
                  <a:cubicBezTo>
                    <a:pt x="48" y="163"/>
                    <a:pt x="48" y="163"/>
                    <a:pt x="48" y="163"/>
                  </a:cubicBezTo>
                  <a:cubicBezTo>
                    <a:pt x="48" y="163"/>
                    <a:pt x="48" y="163"/>
                    <a:pt x="47" y="163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6" y="163"/>
                    <a:pt x="45" y="163"/>
                    <a:pt x="44" y="163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3" y="164"/>
                    <a:pt x="42" y="164"/>
                    <a:pt x="41" y="165"/>
                  </a:cubicBezTo>
                  <a:cubicBezTo>
                    <a:pt x="40" y="165"/>
                    <a:pt x="40" y="165"/>
                    <a:pt x="39" y="165"/>
                  </a:cubicBezTo>
                  <a:cubicBezTo>
                    <a:pt x="38" y="165"/>
                    <a:pt x="38" y="166"/>
                    <a:pt x="37" y="166"/>
                  </a:cubicBezTo>
                  <a:cubicBezTo>
                    <a:pt x="37" y="166"/>
                    <a:pt x="37" y="166"/>
                    <a:pt x="37" y="166"/>
                  </a:cubicBezTo>
                  <a:cubicBezTo>
                    <a:pt x="36" y="167"/>
                    <a:pt x="36" y="167"/>
                    <a:pt x="36" y="167"/>
                  </a:cubicBezTo>
                  <a:cubicBezTo>
                    <a:pt x="36" y="167"/>
                    <a:pt x="35" y="167"/>
                    <a:pt x="35" y="167"/>
                  </a:cubicBezTo>
                  <a:cubicBezTo>
                    <a:pt x="34" y="167"/>
                    <a:pt x="34" y="167"/>
                    <a:pt x="34" y="167"/>
                  </a:cubicBezTo>
                  <a:cubicBezTo>
                    <a:pt x="33" y="167"/>
                    <a:pt x="33" y="168"/>
                    <a:pt x="32" y="168"/>
                  </a:cubicBezTo>
                  <a:cubicBezTo>
                    <a:pt x="32" y="169"/>
                    <a:pt x="31" y="169"/>
                    <a:pt x="31" y="169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30" y="170"/>
                    <a:pt x="29" y="170"/>
                    <a:pt x="29" y="170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27" y="171"/>
                    <a:pt x="27" y="171"/>
                    <a:pt x="26" y="171"/>
                  </a:cubicBezTo>
                  <a:cubicBezTo>
                    <a:pt x="26" y="171"/>
                    <a:pt x="26" y="171"/>
                    <a:pt x="25" y="171"/>
                  </a:cubicBezTo>
                  <a:cubicBezTo>
                    <a:pt x="25" y="170"/>
                    <a:pt x="24" y="170"/>
                    <a:pt x="24" y="170"/>
                  </a:cubicBezTo>
                  <a:cubicBezTo>
                    <a:pt x="23" y="170"/>
                    <a:pt x="21" y="170"/>
                    <a:pt x="20" y="170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0"/>
                    <a:pt x="17" y="170"/>
                    <a:pt x="16" y="171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4" y="171"/>
                    <a:pt x="13" y="172"/>
                    <a:pt x="12" y="172"/>
                  </a:cubicBezTo>
                  <a:cubicBezTo>
                    <a:pt x="11" y="172"/>
                    <a:pt x="10" y="172"/>
                    <a:pt x="9" y="173"/>
                  </a:cubicBezTo>
                  <a:cubicBezTo>
                    <a:pt x="9" y="173"/>
                    <a:pt x="9" y="173"/>
                    <a:pt x="8" y="173"/>
                  </a:cubicBezTo>
                  <a:cubicBezTo>
                    <a:pt x="8" y="172"/>
                    <a:pt x="7" y="172"/>
                    <a:pt x="6" y="173"/>
                  </a:cubicBezTo>
                  <a:cubicBezTo>
                    <a:pt x="5" y="173"/>
                    <a:pt x="5" y="173"/>
                    <a:pt x="5" y="173"/>
                  </a:cubicBezTo>
                  <a:cubicBezTo>
                    <a:pt x="5" y="173"/>
                    <a:pt x="4" y="173"/>
                    <a:pt x="3" y="174"/>
                  </a:cubicBezTo>
                  <a:cubicBezTo>
                    <a:pt x="3" y="174"/>
                    <a:pt x="3" y="174"/>
                    <a:pt x="3" y="174"/>
                  </a:cubicBezTo>
                  <a:cubicBezTo>
                    <a:pt x="3" y="174"/>
                    <a:pt x="3" y="174"/>
                    <a:pt x="2" y="174"/>
                  </a:cubicBezTo>
                  <a:cubicBezTo>
                    <a:pt x="1" y="169"/>
                    <a:pt x="1" y="169"/>
                    <a:pt x="1" y="169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0" y="176"/>
                    <a:pt x="1" y="177"/>
                    <a:pt x="1" y="178"/>
                  </a:cubicBezTo>
                  <a:cubicBezTo>
                    <a:pt x="1" y="178"/>
                    <a:pt x="1" y="178"/>
                    <a:pt x="1" y="178"/>
                  </a:cubicBezTo>
                  <a:cubicBezTo>
                    <a:pt x="1" y="178"/>
                    <a:pt x="2" y="178"/>
                    <a:pt x="2" y="178"/>
                  </a:cubicBezTo>
                  <a:cubicBezTo>
                    <a:pt x="3" y="178"/>
                    <a:pt x="3" y="178"/>
                    <a:pt x="3" y="178"/>
                  </a:cubicBezTo>
                  <a:cubicBezTo>
                    <a:pt x="3" y="178"/>
                    <a:pt x="4" y="178"/>
                    <a:pt x="4" y="178"/>
                  </a:cubicBezTo>
                  <a:cubicBezTo>
                    <a:pt x="4" y="178"/>
                    <a:pt x="4" y="178"/>
                    <a:pt x="5" y="179"/>
                  </a:cubicBezTo>
                  <a:cubicBezTo>
                    <a:pt x="5" y="179"/>
                    <a:pt x="6" y="179"/>
                    <a:pt x="7" y="179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9" y="179"/>
                    <a:pt x="9" y="178"/>
                    <a:pt x="10" y="178"/>
                  </a:cubicBezTo>
                  <a:cubicBezTo>
                    <a:pt x="11" y="179"/>
                    <a:pt x="12" y="179"/>
                    <a:pt x="13" y="179"/>
                  </a:cubicBezTo>
                  <a:cubicBezTo>
                    <a:pt x="14" y="179"/>
                    <a:pt x="16" y="179"/>
                    <a:pt x="18" y="179"/>
                  </a:cubicBezTo>
                  <a:cubicBezTo>
                    <a:pt x="19" y="179"/>
                    <a:pt x="20" y="179"/>
                    <a:pt x="22" y="179"/>
                  </a:cubicBezTo>
                  <a:cubicBezTo>
                    <a:pt x="23" y="179"/>
                    <a:pt x="24" y="178"/>
                    <a:pt x="25" y="178"/>
                  </a:cubicBezTo>
                  <a:cubicBezTo>
                    <a:pt x="26" y="178"/>
                    <a:pt x="26" y="177"/>
                    <a:pt x="26" y="177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8" y="176"/>
                    <a:pt x="28" y="176"/>
                    <a:pt x="28" y="176"/>
                  </a:cubicBezTo>
                  <a:cubicBezTo>
                    <a:pt x="29" y="176"/>
                    <a:pt x="29" y="176"/>
                    <a:pt x="30" y="176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32" y="176"/>
                    <a:pt x="33" y="176"/>
                    <a:pt x="34" y="176"/>
                  </a:cubicBezTo>
                  <a:cubicBezTo>
                    <a:pt x="34" y="176"/>
                    <a:pt x="34" y="175"/>
                    <a:pt x="35" y="175"/>
                  </a:cubicBezTo>
                  <a:cubicBezTo>
                    <a:pt x="35" y="175"/>
                    <a:pt x="36" y="175"/>
                    <a:pt x="36" y="175"/>
                  </a:cubicBezTo>
                  <a:cubicBezTo>
                    <a:pt x="39" y="175"/>
                    <a:pt x="42" y="174"/>
                    <a:pt x="44" y="172"/>
                  </a:cubicBezTo>
                  <a:cubicBezTo>
                    <a:pt x="44" y="172"/>
                    <a:pt x="45" y="171"/>
                    <a:pt x="46" y="171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6" y="171"/>
                    <a:pt x="47" y="171"/>
                    <a:pt x="47" y="171"/>
                  </a:cubicBezTo>
                  <a:cubicBezTo>
                    <a:pt x="47" y="171"/>
                    <a:pt x="47" y="172"/>
                    <a:pt x="47" y="172"/>
                  </a:cubicBezTo>
                  <a:cubicBezTo>
                    <a:pt x="47" y="173"/>
                    <a:pt x="47" y="175"/>
                    <a:pt x="49" y="175"/>
                  </a:cubicBezTo>
                  <a:cubicBezTo>
                    <a:pt x="51" y="176"/>
                    <a:pt x="51" y="176"/>
                    <a:pt x="51" y="176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1" y="173"/>
                    <a:pt x="51" y="173"/>
                    <a:pt x="51" y="173"/>
                  </a:cubicBezTo>
                  <a:cubicBezTo>
                    <a:pt x="51" y="173"/>
                    <a:pt x="51" y="173"/>
                    <a:pt x="52" y="173"/>
                  </a:cubicBezTo>
                  <a:cubicBezTo>
                    <a:pt x="52" y="173"/>
                    <a:pt x="52" y="173"/>
                    <a:pt x="52" y="173"/>
                  </a:cubicBezTo>
                  <a:cubicBezTo>
                    <a:pt x="53" y="172"/>
                    <a:pt x="53" y="172"/>
                    <a:pt x="54" y="172"/>
                  </a:cubicBezTo>
                  <a:cubicBezTo>
                    <a:pt x="54" y="172"/>
                    <a:pt x="54" y="172"/>
                    <a:pt x="55" y="171"/>
                  </a:cubicBezTo>
                  <a:cubicBezTo>
                    <a:pt x="55" y="171"/>
                    <a:pt x="55" y="171"/>
                    <a:pt x="56" y="170"/>
                  </a:cubicBezTo>
                  <a:cubicBezTo>
                    <a:pt x="56" y="170"/>
                    <a:pt x="56" y="170"/>
                    <a:pt x="56" y="170"/>
                  </a:cubicBezTo>
                  <a:cubicBezTo>
                    <a:pt x="56" y="170"/>
                    <a:pt x="56" y="170"/>
                    <a:pt x="56" y="170"/>
                  </a:cubicBezTo>
                  <a:cubicBezTo>
                    <a:pt x="57" y="170"/>
                    <a:pt x="57" y="170"/>
                    <a:pt x="57" y="170"/>
                  </a:cubicBezTo>
                  <a:cubicBezTo>
                    <a:pt x="58" y="170"/>
                    <a:pt x="58" y="170"/>
                    <a:pt x="58" y="170"/>
                  </a:cubicBezTo>
                  <a:cubicBezTo>
                    <a:pt x="58" y="169"/>
                    <a:pt x="58" y="169"/>
                    <a:pt x="58" y="169"/>
                  </a:cubicBezTo>
                  <a:cubicBezTo>
                    <a:pt x="58" y="169"/>
                    <a:pt x="58" y="169"/>
                    <a:pt x="58" y="169"/>
                  </a:cubicBezTo>
                  <a:cubicBezTo>
                    <a:pt x="58" y="170"/>
                    <a:pt x="58" y="170"/>
                    <a:pt x="58" y="170"/>
                  </a:cubicBezTo>
                  <a:cubicBezTo>
                    <a:pt x="58" y="171"/>
                    <a:pt x="59" y="171"/>
                    <a:pt x="59" y="171"/>
                  </a:cubicBezTo>
                  <a:cubicBezTo>
                    <a:pt x="59" y="171"/>
                    <a:pt x="60" y="171"/>
                    <a:pt x="60" y="171"/>
                  </a:cubicBezTo>
                  <a:cubicBezTo>
                    <a:pt x="61" y="171"/>
                    <a:pt x="61" y="171"/>
                    <a:pt x="62" y="171"/>
                  </a:cubicBezTo>
                  <a:cubicBezTo>
                    <a:pt x="63" y="171"/>
                    <a:pt x="65" y="170"/>
                    <a:pt x="66" y="169"/>
                  </a:cubicBezTo>
                  <a:cubicBezTo>
                    <a:pt x="66" y="169"/>
                    <a:pt x="67" y="169"/>
                    <a:pt x="67" y="168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9"/>
                    <a:pt x="69" y="169"/>
                  </a:cubicBezTo>
                  <a:cubicBezTo>
                    <a:pt x="69" y="169"/>
                    <a:pt x="70" y="169"/>
                    <a:pt x="71" y="169"/>
                  </a:cubicBezTo>
                  <a:cubicBezTo>
                    <a:pt x="71" y="169"/>
                    <a:pt x="72" y="168"/>
                    <a:pt x="72" y="168"/>
                  </a:cubicBezTo>
                  <a:cubicBezTo>
                    <a:pt x="72" y="167"/>
                    <a:pt x="73" y="167"/>
                    <a:pt x="73" y="166"/>
                  </a:cubicBezTo>
                  <a:cubicBezTo>
                    <a:pt x="73" y="166"/>
                    <a:pt x="73" y="166"/>
                    <a:pt x="73" y="165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5" y="165"/>
                    <a:pt x="76" y="165"/>
                    <a:pt x="78" y="165"/>
                  </a:cubicBezTo>
                  <a:cubicBezTo>
                    <a:pt x="78" y="165"/>
                    <a:pt x="78" y="165"/>
                    <a:pt x="78" y="165"/>
                  </a:cubicBezTo>
                  <a:cubicBezTo>
                    <a:pt x="79" y="165"/>
                    <a:pt x="79" y="165"/>
                    <a:pt x="79" y="164"/>
                  </a:cubicBezTo>
                  <a:cubicBezTo>
                    <a:pt x="80" y="164"/>
                    <a:pt x="80" y="164"/>
                    <a:pt x="81" y="164"/>
                  </a:cubicBezTo>
                  <a:cubicBezTo>
                    <a:pt x="81" y="163"/>
                    <a:pt x="81" y="163"/>
                    <a:pt x="81" y="163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82" y="163"/>
                    <a:pt x="82" y="162"/>
                    <a:pt x="82" y="162"/>
                  </a:cubicBezTo>
                  <a:cubicBezTo>
                    <a:pt x="83" y="162"/>
                    <a:pt x="83" y="162"/>
                    <a:pt x="83" y="162"/>
                  </a:cubicBezTo>
                  <a:cubicBezTo>
                    <a:pt x="83" y="162"/>
                    <a:pt x="83" y="162"/>
                    <a:pt x="84" y="161"/>
                  </a:cubicBezTo>
                  <a:cubicBezTo>
                    <a:pt x="84" y="161"/>
                    <a:pt x="85" y="161"/>
                    <a:pt x="85" y="161"/>
                  </a:cubicBezTo>
                  <a:cubicBezTo>
                    <a:pt x="85" y="161"/>
                    <a:pt x="86" y="161"/>
                    <a:pt x="86" y="161"/>
                  </a:cubicBezTo>
                  <a:cubicBezTo>
                    <a:pt x="87" y="161"/>
                    <a:pt x="87" y="161"/>
                    <a:pt x="87" y="161"/>
                  </a:cubicBezTo>
                  <a:cubicBezTo>
                    <a:pt x="88" y="161"/>
                    <a:pt x="90" y="161"/>
                    <a:pt x="91" y="160"/>
                  </a:cubicBezTo>
                  <a:cubicBezTo>
                    <a:pt x="92" y="161"/>
                    <a:pt x="92" y="161"/>
                    <a:pt x="92" y="161"/>
                  </a:cubicBezTo>
                  <a:cubicBezTo>
                    <a:pt x="92" y="161"/>
                    <a:pt x="92" y="160"/>
                    <a:pt x="93" y="160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4" y="160"/>
                    <a:pt x="94" y="160"/>
                    <a:pt x="95" y="160"/>
                  </a:cubicBezTo>
                  <a:cubicBezTo>
                    <a:pt x="95" y="160"/>
                    <a:pt x="96" y="160"/>
                    <a:pt x="96" y="160"/>
                  </a:cubicBezTo>
                  <a:cubicBezTo>
                    <a:pt x="96" y="160"/>
                    <a:pt x="96" y="160"/>
                    <a:pt x="96" y="160"/>
                  </a:cubicBezTo>
                  <a:cubicBezTo>
                    <a:pt x="97" y="160"/>
                    <a:pt x="97" y="160"/>
                    <a:pt x="97" y="160"/>
                  </a:cubicBezTo>
                  <a:cubicBezTo>
                    <a:pt x="97" y="160"/>
                    <a:pt x="98" y="160"/>
                    <a:pt x="98" y="159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98" y="159"/>
                    <a:pt x="98" y="159"/>
                    <a:pt x="99" y="159"/>
                  </a:cubicBezTo>
                  <a:cubicBezTo>
                    <a:pt x="99" y="158"/>
                    <a:pt x="99" y="158"/>
                    <a:pt x="99" y="158"/>
                  </a:cubicBezTo>
                  <a:cubicBezTo>
                    <a:pt x="99" y="158"/>
                    <a:pt x="99" y="158"/>
                    <a:pt x="99" y="158"/>
                  </a:cubicBezTo>
                  <a:cubicBezTo>
                    <a:pt x="100" y="157"/>
                    <a:pt x="101" y="157"/>
                    <a:pt x="102" y="156"/>
                  </a:cubicBezTo>
                  <a:cubicBezTo>
                    <a:pt x="102" y="156"/>
                    <a:pt x="102" y="155"/>
                    <a:pt x="102" y="155"/>
                  </a:cubicBezTo>
                  <a:cubicBezTo>
                    <a:pt x="102" y="155"/>
                    <a:pt x="102" y="155"/>
                    <a:pt x="102" y="155"/>
                  </a:cubicBezTo>
                  <a:cubicBezTo>
                    <a:pt x="103" y="155"/>
                    <a:pt x="103" y="154"/>
                    <a:pt x="104" y="15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5" y="154"/>
                    <a:pt x="105" y="154"/>
                    <a:pt x="105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10" y="153"/>
                    <a:pt x="112" y="153"/>
                    <a:pt x="115" y="153"/>
                  </a:cubicBezTo>
                  <a:cubicBezTo>
                    <a:pt x="115" y="153"/>
                    <a:pt x="115" y="153"/>
                    <a:pt x="115" y="153"/>
                  </a:cubicBezTo>
                  <a:cubicBezTo>
                    <a:pt x="114" y="154"/>
                    <a:pt x="114" y="155"/>
                    <a:pt x="114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3" y="158"/>
                    <a:pt x="113" y="159"/>
                    <a:pt x="114" y="161"/>
                  </a:cubicBezTo>
                  <a:cubicBezTo>
                    <a:pt x="114" y="161"/>
                    <a:pt x="114" y="161"/>
                    <a:pt x="114" y="161"/>
                  </a:cubicBezTo>
                  <a:cubicBezTo>
                    <a:pt x="114" y="162"/>
                    <a:pt x="114" y="164"/>
                    <a:pt x="116" y="164"/>
                  </a:cubicBezTo>
                  <a:cubicBezTo>
                    <a:pt x="116" y="164"/>
                    <a:pt x="117" y="164"/>
                    <a:pt x="117" y="164"/>
                  </a:cubicBezTo>
                  <a:cubicBezTo>
                    <a:pt x="118" y="163"/>
                    <a:pt x="118" y="163"/>
                    <a:pt x="118" y="162"/>
                  </a:cubicBezTo>
                  <a:cubicBezTo>
                    <a:pt x="119" y="162"/>
                    <a:pt x="119" y="162"/>
                    <a:pt x="119" y="161"/>
                  </a:cubicBezTo>
                  <a:cubicBezTo>
                    <a:pt x="121" y="161"/>
                    <a:pt x="122" y="160"/>
                    <a:pt x="122" y="160"/>
                  </a:cubicBezTo>
                  <a:cubicBezTo>
                    <a:pt x="122" y="160"/>
                    <a:pt x="122" y="160"/>
                    <a:pt x="122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4" y="160"/>
                    <a:pt x="124" y="160"/>
                  </a:cubicBezTo>
                  <a:cubicBezTo>
                    <a:pt x="124" y="161"/>
                    <a:pt x="124" y="161"/>
                    <a:pt x="124" y="161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7" y="162"/>
                    <a:pt x="129" y="161"/>
                    <a:pt x="130" y="159"/>
                  </a:cubicBezTo>
                  <a:cubicBezTo>
                    <a:pt x="130" y="159"/>
                    <a:pt x="130" y="159"/>
                    <a:pt x="131" y="159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3" y="158"/>
                    <a:pt x="135" y="156"/>
                    <a:pt x="135" y="154"/>
                  </a:cubicBezTo>
                  <a:cubicBezTo>
                    <a:pt x="136" y="153"/>
                    <a:pt x="135" y="151"/>
                    <a:pt x="133" y="151"/>
                  </a:cubicBezTo>
                  <a:cubicBezTo>
                    <a:pt x="132" y="150"/>
                    <a:pt x="131" y="150"/>
                    <a:pt x="129" y="150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8" y="150"/>
                    <a:pt x="128" y="150"/>
                    <a:pt x="127" y="150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50"/>
                    <a:pt x="126" y="150"/>
                    <a:pt x="126" y="150"/>
                  </a:cubicBezTo>
                  <a:cubicBezTo>
                    <a:pt x="127" y="150"/>
                    <a:pt x="127" y="149"/>
                    <a:pt x="128" y="148"/>
                  </a:cubicBezTo>
                  <a:cubicBezTo>
                    <a:pt x="128" y="148"/>
                    <a:pt x="128" y="148"/>
                    <a:pt x="128" y="148"/>
                  </a:cubicBezTo>
                  <a:cubicBezTo>
                    <a:pt x="128" y="148"/>
                    <a:pt x="128" y="148"/>
                    <a:pt x="128" y="148"/>
                  </a:cubicBezTo>
                  <a:cubicBezTo>
                    <a:pt x="129" y="147"/>
                    <a:pt x="130" y="147"/>
                    <a:pt x="132" y="147"/>
                  </a:cubicBezTo>
                  <a:cubicBezTo>
                    <a:pt x="132" y="147"/>
                    <a:pt x="132" y="147"/>
                    <a:pt x="133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5" y="147"/>
                    <a:pt x="136" y="147"/>
                    <a:pt x="137" y="147"/>
                  </a:cubicBezTo>
                  <a:cubicBezTo>
                    <a:pt x="139" y="146"/>
                    <a:pt x="141" y="144"/>
                    <a:pt x="142" y="141"/>
                  </a:cubicBezTo>
                  <a:cubicBezTo>
                    <a:pt x="142" y="141"/>
                    <a:pt x="142" y="140"/>
                    <a:pt x="142" y="140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8"/>
                    <a:pt x="143" y="138"/>
                  </a:cubicBezTo>
                  <a:cubicBezTo>
                    <a:pt x="143" y="137"/>
                    <a:pt x="143" y="137"/>
                    <a:pt x="144" y="137"/>
                  </a:cubicBezTo>
                  <a:cubicBezTo>
                    <a:pt x="144" y="136"/>
                    <a:pt x="145" y="136"/>
                    <a:pt x="145" y="136"/>
                  </a:cubicBezTo>
                  <a:cubicBezTo>
                    <a:pt x="145" y="135"/>
                    <a:pt x="146" y="135"/>
                    <a:pt x="146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3"/>
                    <a:pt x="149" y="133"/>
                    <a:pt x="150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2" y="133"/>
                    <a:pt x="153" y="133"/>
                    <a:pt x="154" y="133"/>
                  </a:cubicBezTo>
                  <a:cubicBezTo>
                    <a:pt x="155" y="133"/>
                    <a:pt x="157" y="133"/>
                    <a:pt x="159" y="132"/>
                  </a:cubicBezTo>
                  <a:cubicBezTo>
                    <a:pt x="162" y="132"/>
                    <a:pt x="163" y="131"/>
                    <a:pt x="165" y="130"/>
                  </a:cubicBezTo>
                  <a:cubicBezTo>
                    <a:pt x="167" y="128"/>
                    <a:pt x="169" y="127"/>
                    <a:pt x="171" y="127"/>
                  </a:cubicBezTo>
                  <a:cubicBezTo>
                    <a:pt x="171" y="126"/>
                    <a:pt x="171" y="126"/>
                    <a:pt x="171" y="126"/>
                  </a:cubicBezTo>
                  <a:cubicBezTo>
                    <a:pt x="172" y="126"/>
                    <a:pt x="173" y="126"/>
                    <a:pt x="174" y="126"/>
                  </a:cubicBezTo>
                  <a:cubicBezTo>
                    <a:pt x="175" y="125"/>
                    <a:pt x="176" y="125"/>
                    <a:pt x="177" y="124"/>
                  </a:cubicBezTo>
                  <a:cubicBezTo>
                    <a:pt x="178" y="123"/>
                    <a:pt x="178" y="123"/>
                    <a:pt x="178" y="123"/>
                  </a:cubicBezTo>
                  <a:cubicBezTo>
                    <a:pt x="180" y="122"/>
                    <a:pt x="182" y="121"/>
                    <a:pt x="184" y="120"/>
                  </a:cubicBezTo>
                  <a:cubicBezTo>
                    <a:pt x="186" y="120"/>
                    <a:pt x="188" y="119"/>
                    <a:pt x="190" y="119"/>
                  </a:cubicBezTo>
                  <a:cubicBezTo>
                    <a:pt x="190" y="119"/>
                    <a:pt x="190" y="119"/>
                    <a:pt x="190" y="119"/>
                  </a:cubicBezTo>
                  <a:cubicBezTo>
                    <a:pt x="191" y="119"/>
                    <a:pt x="191" y="119"/>
                    <a:pt x="191" y="120"/>
                  </a:cubicBezTo>
                  <a:cubicBezTo>
                    <a:pt x="191" y="120"/>
                    <a:pt x="191" y="120"/>
                    <a:pt x="191" y="121"/>
                  </a:cubicBezTo>
                  <a:cubicBezTo>
                    <a:pt x="191" y="121"/>
                    <a:pt x="190" y="121"/>
                    <a:pt x="189" y="122"/>
                  </a:cubicBezTo>
                  <a:cubicBezTo>
                    <a:pt x="188" y="122"/>
                    <a:pt x="188" y="122"/>
                    <a:pt x="188" y="122"/>
                  </a:cubicBezTo>
                  <a:cubicBezTo>
                    <a:pt x="186" y="122"/>
                    <a:pt x="184" y="123"/>
                    <a:pt x="182" y="123"/>
                  </a:cubicBezTo>
                  <a:cubicBezTo>
                    <a:pt x="180" y="124"/>
                    <a:pt x="178" y="125"/>
                    <a:pt x="175" y="126"/>
                  </a:cubicBezTo>
                  <a:cubicBezTo>
                    <a:pt x="174" y="127"/>
                    <a:pt x="174" y="127"/>
                    <a:pt x="174" y="127"/>
                  </a:cubicBezTo>
                  <a:cubicBezTo>
                    <a:pt x="173" y="127"/>
                    <a:pt x="172" y="128"/>
                    <a:pt x="170" y="128"/>
                  </a:cubicBezTo>
                  <a:cubicBezTo>
                    <a:pt x="169" y="129"/>
                    <a:pt x="168" y="129"/>
                    <a:pt x="167" y="130"/>
                  </a:cubicBezTo>
                  <a:cubicBezTo>
                    <a:pt x="166" y="130"/>
                    <a:pt x="165" y="131"/>
                    <a:pt x="165" y="132"/>
                  </a:cubicBezTo>
                  <a:cubicBezTo>
                    <a:pt x="164" y="133"/>
                    <a:pt x="163" y="133"/>
                    <a:pt x="162" y="134"/>
                  </a:cubicBezTo>
                  <a:cubicBezTo>
                    <a:pt x="161" y="135"/>
                    <a:pt x="160" y="135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8" y="136"/>
                    <a:pt x="156" y="137"/>
                    <a:pt x="156" y="138"/>
                  </a:cubicBezTo>
                  <a:cubicBezTo>
                    <a:pt x="155" y="139"/>
                    <a:pt x="154" y="140"/>
                    <a:pt x="155" y="141"/>
                  </a:cubicBezTo>
                  <a:cubicBezTo>
                    <a:pt x="155" y="142"/>
                    <a:pt x="155" y="143"/>
                    <a:pt x="156" y="143"/>
                  </a:cubicBezTo>
                  <a:cubicBezTo>
                    <a:pt x="156" y="144"/>
                    <a:pt x="157" y="144"/>
                    <a:pt x="157" y="144"/>
                  </a:cubicBezTo>
                  <a:cubicBezTo>
                    <a:pt x="158" y="144"/>
                    <a:pt x="158" y="144"/>
                    <a:pt x="159" y="143"/>
                  </a:cubicBezTo>
                  <a:cubicBezTo>
                    <a:pt x="159" y="143"/>
                    <a:pt x="160" y="142"/>
                    <a:pt x="161" y="142"/>
                  </a:cubicBezTo>
                  <a:cubicBezTo>
                    <a:pt x="163" y="141"/>
                    <a:pt x="165" y="140"/>
                    <a:pt x="167" y="140"/>
                  </a:cubicBezTo>
                  <a:cubicBezTo>
                    <a:pt x="168" y="140"/>
                    <a:pt x="168" y="140"/>
                    <a:pt x="168" y="140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71" y="141"/>
                    <a:pt x="171" y="141"/>
                    <a:pt x="172" y="140"/>
                  </a:cubicBezTo>
                  <a:cubicBezTo>
                    <a:pt x="172" y="140"/>
                    <a:pt x="173" y="140"/>
                    <a:pt x="173" y="140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74" y="139"/>
                    <a:pt x="174" y="139"/>
                    <a:pt x="175" y="139"/>
                  </a:cubicBezTo>
                  <a:cubicBezTo>
                    <a:pt x="176" y="138"/>
                    <a:pt x="177" y="137"/>
                    <a:pt x="178" y="137"/>
                  </a:cubicBezTo>
                  <a:cubicBezTo>
                    <a:pt x="178" y="137"/>
                    <a:pt x="178" y="136"/>
                    <a:pt x="178" y="136"/>
                  </a:cubicBezTo>
                  <a:cubicBezTo>
                    <a:pt x="178" y="136"/>
                    <a:pt x="179" y="137"/>
                    <a:pt x="179" y="137"/>
                  </a:cubicBezTo>
                  <a:cubicBezTo>
                    <a:pt x="179" y="137"/>
                    <a:pt x="179" y="137"/>
                    <a:pt x="179" y="138"/>
                  </a:cubicBezTo>
                  <a:cubicBezTo>
                    <a:pt x="179" y="138"/>
                    <a:pt x="179" y="138"/>
                    <a:pt x="179" y="138"/>
                  </a:cubicBezTo>
                  <a:cubicBezTo>
                    <a:pt x="179" y="138"/>
                    <a:pt x="179" y="138"/>
                    <a:pt x="179" y="138"/>
                  </a:cubicBezTo>
                  <a:cubicBezTo>
                    <a:pt x="180" y="138"/>
                    <a:pt x="180" y="138"/>
                    <a:pt x="180" y="139"/>
                  </a:cubicBezTo>
                  <a:cubicBezTo>
                    <a:pt x="181" y="139"/>
                    <a:pt x="182" y="139"/>
                    <a:pt x="183" y="139"/>
                  </a:cubicBezTo>
                  <a:cubicBezTo>
                    <a:pt x="184" y="138"/>
                    <a:pt x="185" y="138"/>
                    <a:pt x="185" y="137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6" y="137"/>
                    <a:pt x="187" y="136"/>
                    <a:pt x="187" y="136"/>
                  </a:cubicBezTo>
                  <a:cubicBezTo>
                    <a:pt x="188" y="136"/>
                    <a:pt x="188" y="136"/>
                    <a:pt x="189" y="135"/>
                  </a:cubicBezTo>
                  <a:cubicBezTo>
                    <a:pt x="189" y="135"/>
                    <a:pt x="189" y="135"/>
                    <a:pt x="189" y="135"/>
                  </a:cubicBezTo>
                  <a:cubicBezTo>
                    <a:pt x="190" y="134"/>
                    <a:pt x="191" y="133"/>
                    <a:pt x="192" y="132"/>
                  </a:cubicBezTo>
                  <a:cubicBezTo>
                    <a:pt x="192" y="132"/>
                    <a:pt x="192" y="132"/>
                    <a:pt x="193" y="131"/>
                  </a:cubicBezTo>
                  <a:cubicBezTo>
                    <a:pt x="193" y="131"/>
                    <a:pt x="193" y="130"/>
                    <a:pt x="194" y="130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29"/>
                    <a:pt x="195" y="128"/>
                    <a:pt x="196" y="128"/>
                  </a:cubicBezTo>
                  <a:cubicBezTo>
                    <a:pt x="196" y="128"/>
                    <a:pt x="196" y="128"/>
                    <a:pt x="196" y="128"/>
                  </a:cubicBezTo>
                  <a:cubicBezTo>
                    <a:pt x="197" y="128"/>
                    <a:pt x="197" y="129"/>
                    <a:pt x="198" y="129"/>
                  </a:cubicBezTo>
                  <a:cubicBezTo>
                    <a:pt x="198" y="129"/>
                    <a:pt x="198" y="129"/>
                    <a:pt x="199" y="130"/>
                  </a:cubicBezTo>
                  <a:cubicBezTo>
                    <a:pt x="199" y="132"/>
                    <a:pt x="200" y="133"/>
                    <a:pt x="201" y="133"/>
                  </a:cubicBezTo>
                  <a:cubicBezTo>
                    <a:pt x="201" y="133"/>
                    <a:pt x="201" y="133"/>
                    <a:pt x="201" y="133"/>
                  </a:cubicBezTo>
                  <a:cubicBezTo>
                    <a:pt x="202" y="133"/>
                    <a:pt x="202" y="132"/>
                    <a:pt x="203" y="132"/>
                  </a:cubicBezTo>
                  <a:cubicBezTo>
                    <a:pt x="203" y="132"/>
                    <a:pt x="203" y="132"/>
                    <a:pt x="203" y="131"/>
                  </a:cubicBezTo>
                  <a:cubicBezTo>
                    <a:pt x="204" y="131"/>
                    <a:pt x="204" y="131"/>
                    <a:pt x="204" y="131"/>
                  </a:cubicBezTo>
                  <a:cubicBezTo>
                    <a:pt x="204" y="131"/>
                    <a:pt x="204" y="131"/>
                    <a:pt x="204" y="130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6" y="129"/>
                    <a:pt x="206" y="129"/>
                    <a:pt x="206" y="129"/>
                  </a:cubicBezTo>
                  <a:cubicBezTo>
                    <a:pt x="206" y="129"/>
                    <a:pt x="206" y="129"/>
                    <a:pt x="206" y="129"/>
                  </a:cubicBezTo>
                  <a:cubicBezTo>
                    <a:pt x="207" y="128"/>
                    <a:pt x="207" y="128"/>
                    <a:pt x="208" y="127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7" y="128"/>
                    <a:pt x="207" y="128"/>
                    <a:pt x="206" y="129"/>
                  </a:cubicBezTo>
                  <a:cubicBezTo>
                    <a:pt x="205" y="130"/>
                    <a:pt x="205" y="131"/>
                    <a:pt x="205" y="133"/>
                  </a:cubicBezTo>
                  <a:cubicBezTo>
                    <a:pt x="206" y="134"/>
                    <a:pt x="206" y="134"/>
                    <a:pt x="207" y="134"/>
                  </a:cubicBezTo>
                  <a:cubicBezTo>
                    <a:pt x="207" y="134"/>
                    <a:pt x="207" y="134"/>
                    <a:pt x="207" y="134"/>
                  </a:cubicBezTo>
                  <a:cubicBezTo>
                    <a:pt x="207" y="135"/>
                    <a:pt x="207" y="135"/>
                    <a:pt x="208" y="135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09" y="135"/>
                    <a:pt x="209" y="135"/>
                  </a:cubicBezTo>
                  <a:cubicBezTo>
                    <a:pt x="209" y="136"/>
                    <a:pt x="209" y="136"/>
                    <a:pt x="209" y="136"/>
                  </a:cubicBezTo>
                  <a:cubicBezTo>
                    <a:pt x="209" y="136"/>
                    <a:pt x="209" y="137"/>
                    <a:pt x="209" y="137"/>
                  </a:cubicBezTo>
                  <a:cubicBezTo>
                    <a:pt x="209" y="138"/>
                    <a:pt x="209" y="138"/>
                    <a:pt x="209" y="139"/>
                  </a:cubicBezTo>
                  <a:cubicBezTo>
                    <a:pt x="209" y="140"/>
                    <a:pt x="209" y="140"/>
                    <a:pt x="209" y="141"/>
                  </a:cubicBezTo>
                  <a:cubicBezTo>
                    <a:pt x="209" y="141"/>
                    <a:pt x="210" y="142"/>
                    <a:pt x="210" y="142"/>
                  </a:cubicBezTo>
                  <a:cubicBezTo>
                    <a:pt x="211" y="142"/>
                    <a:pt x="211" y="142"/>
                    <a:pt x="211" y="143"/>
                  </a:cubicBezTo>
                  <a:cubicBezTo>
                    <a:pt x="212" y="143"/>
                    <a:pt x="212" y="143"/>
                    <a:pt x="212" y="143"/>
                  </a:cubicBezTo>
                  <a:cubicBezTo>
                    <a:pt x="213" y="143"/>
                    <a:pt x="213" y="143"/>
                    <a:pt x="213" y="144"/>
                  </a:cubicBezTo>
                  <a:cubicBezTo>
                    <a:pt x="213" y="144"/>
                    <a:pt x="214" y="144"/>
                    <a:pt x="214" y="144"/>
                  </a:cubicBezTo>
                  <a:cubicBezTo>
                    <a:pt x="214" y="144"/>
                    <a:pt x="214" y="144"/>
                    <a:pt x="214" y="145"/>
                  </a:cubicBezTo>
                  <a:cubicBezTo>
                    <a:pt x="215" y="145"/>
                    <a:pt x="215" y="145"/>
                    <a:pt x="215" y="146"/>
                  </a:cubicBezTo>
                  <a:cubicBezTo>
                    <a:pt x="216" y="146"/>
                    <a:pt x="216" y="146"/>
                    <a:pt x="216" y="146"/>
                  </a:cubicBezTo>
                  <a:cubicBezTo>
                    <a:pt x="217" y="147"/>
                    <a:pt x="217" y="147"/>
                    <a:pt x="218" y="147"/>
                  </a:cubicBezTo>
                  <a:cubicBezTo>
                    <a:pt x="218" y="148"/>
                    <a:pt x="219" y="148"/>
                    <a:pt x="219" y="149"/>
                  </a:cubicBezTo>
                  <a:cubicBezTo>
                    <a:pt x="219" y="149"/>
                    <a:pt x="219" y="149"/>
                    <a:pt x="219" y="149"/>
                  </a:cubicBezTo>
                  <a:cubicBezTo>
                    <a:pt x="219" y="149"/>
                    <a:pt x="219" y="149"/>
                    <a:pt x="219" y="149"/>
                  </a:cubicBezTo>
                  <a:cubicBezTo>
                    <a:pt x="219" y="150"/>
                    <a:pt x="219" y="150"/>
                    <a:pt x="219" y="150"/>
                  </a:cubicBezTo>
                  <a:cubicBezTo>
                    <a:pt x="219" y="150"/>
                    <a:pt x="220" y="150"/>
                    <a:pt x="220" y="150"/>
                  </a:cubicBezTo>
                  <a:cubicBezTo>
                    <a:pt x="220" y="151"/>
                    <a:pt x="220" y="151"/>
                    <a:pt x="221" y="151"/>
                  </a:cubicBezTo>
                  <a:cubicBezTo>
                    <a:pt x="221" y="151"/>
                    <a:pt x="222" y="151"/>
                    <a:pt x="222" y="151"/>
                  </a:cubicBezTo>
                  <a:cubicBezTo>
                    <a:pt x="223" y="151"/>
                    <a:pt x="223" y="151"/>
                    <a:pt x="224" y="15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25" y="151"/>
                    <a:pt x="226" y="151"/>
                    <a:pt x="227" y="151"/>
                  </a:cubicBezTo>
                  <a:cubicBezTo>
                    <a:pt x="228" y="151"/>
                    <a:pt x="229" y="151"/>
                    <a:pt x="230" y="151"/>
                  </a:cubicBezTo>
                  <a:cubicBezTo>
                    <a:pt x="230" y="151"/>
                    <a:pt x="230" y="151"/>
                    <a:pt x="230" y="151"/>
                  </a:cubicBezTo>
                  <a:cubicBezTo>
                    <a:pt x="230" y="151"/>
                    <a:pt x="230" y="151"/>
                    <a:pt x="230" y="151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29" y="152"/>
                    <a:pt x="229" y="152"/>
                  </a:cubicBezTo>
                  <a:cubicBezTo>
                    <a:pt x="229" y="153"/>
                    <a:pt x="229" y="153"/>
                    <a:pt x="229" y="153"/>
                  </a:cubicBezTo>
                  <a:cubicBezTo>
                    <a:pt x="228" y="153"/>
                    <a:pt x="228" y="153"/>
                    <a:pt x="228" y="154"/>
                  </a:cubicBezTo>
                  <a:cubicBezTo>
                    <a:pt x="228" y="154"/>
                    <a:pt x="228" y="154"/>
                    <a:pt x="228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7" y="154"/>
                    <a:pt x="227" y="155"/>
                    <a:pt x="226" y="155"/>
                  </a:cubicBezTo>
                  <a:cubicBezTo>
                    <a:pt x="226" y="155"/>
                    <a:pt x="226" y="155"/>
                    <a:pt x="226" y="155"/>
                  </a:cubicBezTo>
                  <a:cubicBezTo>
                    <a:pt x="226" y="155"/>
                    <a:pt x="226" y="155"/>
                    <a:pt x="226" y="155"/>
                  </a:cubicBezTo>
                  <a:cubicBezTo>
                    <a:pt x="225" y="155"/>
                    <a:pt x="223" y="155"/>
                    <a:pt x="222" y="157"/>
                  </a:cubicBezTo>
                  <a:cubicBezTo>
                    <a:pt x="222" y="157"/>
                    <a:pt x="222" y="157"/>
                    <a:pt x="222" y="157"/>
                  </a:cubicBezTo>
                  <a:cubicBezTo>
                    <a:pt x="222" y="157"/>
                    <a:pt x="222" y="158"/>
                    <a:pt x="223" y="158"/>
                  </a:cubicBezTo>
                  <a:cubicBezTo>
                    <a:pt x="223" y="158"/>
                    <a:pt x="223" y="158"/>
                    <a:pt x="223" y="159"/>
                  </a:cubicBezTo>
                  <a:cubicBezTo>
                    <a:pt x="223" y="159"/>
                    <a:pt x="224" y="159"/>
                    <a:pt x="224" y="159"/>
                  </a:cubicBezTo>
                  <a:cubicBezTo>
                    <a:pt x="224" y="160"/>
                    <a:pt x="224" y="160"/>
                    <a:pt x="225" y="160"/>
                  </a:cubicBezTo>
                  <a:cubicBezTo>
                    <a:pt x="224" y="160"/>
                    <a:pt x="224" y="160"/>
                    <a:pt x="224" y="160"/>
                  </a:cubicBezTo>
                  <a:cubicBezTo>
                    <a:pt x="223" y="161"/>
                    <a:pt x="223" y="162"/>
                    <a:pt x="223" y="163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3" y="164"/>
                    <a:pt x="223" y="164"/>
                    <a:pt x="223" y="164"/>
                  </a:cubicBezTo>
                  <a:cubicBezTo>
                    <a:pt x="223" y="164"/>
                    <a:pt x="224" y="164"/>
                    <a:pt x="224" y="164"/>
                  </a:cubicBezTo>
                  <a:cubicBezTo>
                    <a:pt x="224" y="164"/>
                    <a:pt x="224" y="164"/>
                    <a:pt x="224" y="164"/>
                  </a:cubicBezTo>
                  <a:cubicBezTo>
                    <a:pt x="223" y="164"/>
                    <a:pt x="223" y="165"/>
                    <a:pt x="222" y="165"/>
                  </a:cubicBezTo>
                  <a:cubicBezTo>
                    <a:pt x="222" y="167"/>
                    <a:pt x="223" y="168"/>
                    <a:pt x="223" y="168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3" y="169"/>
                    <a:pt x="223" y="169"/>
                    <a:pt x="223" y="170"/>
                  </a:cubicBezTo>
                  <a:cubicBezTo>
                    <a:pt x="223" y="171"/>
                    <a:pt x="223" y="172"/>
                    <a:pt x="222" y="173"/>
                  </a:cubicBezTo>
                  <a:cubicBezTo>
                    <a:pt x="222" y="174"/>
                    <a:pt x="221" y="176"/>
                    <a:pt x="223" y="177"/>
                  </a:cubicBezTo>
                  <a:cubicBezTo>
                    <a:pt x="223" y="177"/>
                    <a:pt x="224" y="178"/>
                    <a:pt x="224" y="178"/>
                  </a:cubicBezTo>
                  <a:cubicBezTo>
                    <a:pt x="225" y="178"/>
                    <a:pt x="225" y="177"/>
                    <a:pt x="226" y="176"/>
                  </a:cubicBezTo>
                  <a:cubicBezTo>
                    <a:pt x="227" y="177"/>
                    <a:pt x="228" y="176"/>
                    <a:pt x="229" y="176"/>
                  </a:cubicBezTo>
                  <a:cubicBezTo>
                    <a:pt x="228" y="176"/>
                    <a:pt x="228" y="177"/>
                    <a:pt x="229" y="177"/>
                  </a:cubicBezTo>
                  <a:cubicBezTo>
                    <a:pt x="229" y="178"/>
                    <a:pt x="229" y="178"/>
                    <a:pt x="230" y="178"/>
                  </a:cubicBezTo>
                  <a:cubicBezTo>
                    <a:pt x="230" y="178"/>
                    <a:pt x="230" y="179"/>
                    <a:pt x="230" y="180"/>
                  </a:cubicBezTo>
                  <a:cubicBezTo>
                    <a:pt x="230" y="180"/>
                    <a:pt x="230" y="180"/>
                    <a:pt x="230" y="180"/>
                  </a:cubicBezTo>
                  <a:cubicBezTo>
                    <a:pt x="230" y="180"/>
                    <a:pt x="230" y="180"/>
                    <a:pt x="229" y="180"/>
                  </a:cubicBezTo>
                  <a:cubicBezTo>
                    <a:pt x="230" y="179"/>
                    <a:pt x="229" y="178"/>
                    <a:pt x="229" y="178"/>
                  </a:cubicBezTo>
                  <a:cubicBezTo>
                    <a:pt x="228" y="177"/>
                    <a:pt x="226" y="177"/>
                    <a:pt x="226" y="177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4" y="178"/>
                    <a:pt x="223" y="178"/>
                    <a:pt x="222" y="178"/>
                  </a:cubicBezTo>
                  <a:cubicBezTo>
                    <a:pt x="222" y="179"/>
                    <a:pt x="221" y="180"/>
                    <a:pt x="221" y="180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1" y="181"/>
                    <a:pt x="220" y="181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18" y="182"/>
                    <a:pt x="218" y="183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7" y="184"/>
                    <a:pt x="217" y="184"/>
                    <a:pt x="216" y="185"/>
                  </a:cubicBezTo>
                  <a:cubicBezTo>
                    <a:pt x="216" y="185"/>
                    <a:pt x="216" y="185"/>
                    <a:pt x="216" y="185"/>
                  </a:cubicBezTo>
                  <a:cubicBezTo>
                    <a:pt x="216" y="186"/>
                    <a:pt x="216" y="186"/>
                    <a:pt x="216" y="186"/>
                  </a:cubicBezTo>
                  <a:cubicBezTo>
                    <a:pt x="216" y="186"/>
                    <a:pt x="216" y="187"/>
                    <a:pt x="217" y="188"/>
                  </a:cubicBezTo>
                  <a:cubicBezTo>
                    <a:pt x="217" y="188"/>
                    <a:pt x="217" y="188"/>
                    <a:pt x="217" y="188"/>
                  </a:cubicBezTo>
                  <a:cubicBezTo>
                    <a:pt x="216" y="188"/>
                    <a:pt x="216" y="189"/>
                    <a:pt x="216" y="190"/>
                  </a:cubicBezTo>
                  <a:cubicBezTo>
                    <a:pt x="216" y="190"/>
                    <a:pt x="216" y="190"/>
                    <a:pt x="216" y="190"/>
                  </a:cubicBezTo>
                  <a:cubicBezTo>
                    <a:pt x="216" y="190"/>
                    <a:pt x="216" y="191"/>
                    <a:pt x="216" y="191"/>
                  </a:cubicBezTo>
                  <a:cubicBezTo>
                    <a:pt x="215" y="191"/>
                    <a:pt x="215" y="192"/>
                    <a:pt x="215" y="192"/>
                  </a:cubicBezTo>
                  <a:cubicBezTo>
                    <a:pt x="215" y="192"/>
                    <a:pt x="215" y="192"/>
                    <a:pt x="215" y="192"/>
                  </a:cubicBezTo>
                  <a:cubicBezTo>
                    <a:pt x="214" y="192"/>
                    <a:pt x="213" y="192"/>
                    <a:pt x="213" y="192"/>
                  </a:cubicBezTo>
                  <a:cubicBezTo>
                    <a:pt x="212" y="193"/>
                    <a:pt x="212" y="194"/>
                    <a:pt x="211" y="194"/>
                  </a:cubicBezTo>
                  <a:cubicBezTo>
                    <a:pt x="211" y="195"/>
                    <a:pt x="211" y="195"/>
                    <a:pt x="211" y="195"/>
                  </a:cubicBezTo>
                  <a:cubicBezTo>
                    <a:pt x="211" y="195"/>
                    <a:pt x="211" y="195"/>
                    <a:pt x="211" y="196"/>
                  </a:cubicBezTo>
                  <a:cubicBezTo>
                    <a:pt x="211" y="196"/>
                    <a:pt x="210" y="197"/>
                    <a:pt x="210" y="197"/>
                  </a:cubicBezTo>
                  <a:cubicBezTo>
                    <a:pt x="210" y="197"/>
                    <a:pt x="210" y="197"/>
                    <a:pt x="210" y="197"/>
                  </a:cubicBezTo>
                  <a:cubicBezTo>
                    <a:pt x="210" y="197"/>
                    <a:pt x="210" y="198"/>
                    <a:pt x="209" y="198"/>
                  </a:cubicBezTo>
                  <a:cubicBezTo>
                    <a:pt x="209" y="198"/>
                    <a:pt x="209" y="198"/>
                    <a:pt x="209" y="198"/>
                  </a:cubicBezTo>
                  <a:cubicBezTo>
                    <a:pt x="209" y="198"/>
                    <a:pt x="208" y="198"/>
                    <a:pt x="207" y="199"/>
                  </a:cubicBezTo>
                  <a:cubicBezTo>
                    <a:pt x="207" y="200"/>
                    <a:pt x="207" y="200"/>
                    <a:pt x="207" y="201"/>
                  </a:cubicBezTo>
                  <a:cubicBezTo>
                    <a:pt x="207" y="201"/>
                    <a:pt x="206" y="202"/>
                    <a:pt x="206" y="203"/>
                  </a:cubicBezTo>
                  <a:cubicBezTo>
                    <a:pt x="206" y="203"/>
                    <a:pt x="207" y="204"/>
                    <a:pt x="207" y="204"/>
                  </a:cubicBezTo>
                  <a:cubicBezTo>
                    <a:pt x="207" y="204"/>
                    <a:pt x="208" y="204"/>
                    <a:pt x="208" y="204"/>
                  </a:cubicBezTo>
                  <a:cubicBezTo>
                    <a:pt x="208" y="204"/>
                    <a:pt x="209" y="204"/>
                    <a:pt x="209" y="204"/>
                  </a:cubicBezTo>
                  <a:cubicBezTo>
                    <a:pt x="209" y="204"/>
                    <a:pt x="208" y="205"/>
                    <a:pt x="209" y="205"/>
                  </a:cubicBezTo>
                  <a:cubicBezTo>
                    <a:pt x="209" y="206"/>
                    <a:pt x="209" y="206"/>
                    <a:pt x="210" y="206"/>
                  </a:cubicBezTo>
                  <a:cubicBezTo>
                    <a:pt x="211" y="207"/>
                    <a:pt x="211" y="207"/>
                    <a:pt x="211" y="207"/>
                  </a:cubicBezTo>
                  <a:cubicBezTo>
                    <a:pt x="211" y="207"/>
                    <a:pt x="211" y="207"/>
                    <a:pt x="211" y="207"/>
                  </a:cubicBezTo>
                  <a:cubicBezTo>
                    <a:pt x="213" y="207"/>
                    <a:pt x="213" y="206"/>
                    <a:pt x="214" y="205"/>
                  </a:cubicBezTo>
                  <a:cubicBezTo>
                    <a:pt x="214" y="205"/>
                    <a:pt x="214" y="205"/>
                    <a:pt x="214" y="205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3" y="208"/>
                    <a:pt x="213" y="208"/>
                    <a:pt x="213" y="208"/>
                  </a:cubicBezTo>
                  <a:cubicBezTo>
                    <a:pt x="213" y="209"/>
                    <a:pt x="213" y="209"/>
                    <a:pt x="213" y="209"/>
                  </a:cubicBezTo>
                  <a:cubicBezTo>
                    <a:pt x="212" y="208"/>
                    <a:pt x="212" y="208"/>
                    <a:pt x="212" y="208"/>
                  </a:cubicBezTo>
                  <a:cubicBezTo>
                    <a:pt x="212" y="208"/>
                    <a:pt x="211" y="209"/>
                    <a:pt x="211" y="209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0" y="210"/>
                    <a:pt x="210" y="210"/>
                  </a:cubicBezTo>
                  <a:cubicBezTo>
                    <a:pt x="209" y="210"/>
                    <a:pt x="208" y="210"/>
                    <a:pt x="207" y="211"/>
                  </a:cubicBezTo>
                  <a:cubicBezTo>
                    <a:pt x="206" y="212"/>
                    <a:pt x="207" y="213"/>
                    <a:pt x="207" y="213"/>
                  </a:cubicBezTo>
                  <a:cubicBezTo>
                    <a:pt x="207" y="213"/>
                    <a:pt x="207" y="214"/>
                    <a:pt x="207" y="214"/>
                  </a:cubicBezTo>
                  <a:cubicBezTo>
                    <a:pt x="207" y="214"/>
                    <a:pt x="206" y="213"/>
                    <a:pt x="205" y="215"/>
                  </a:cubicBezTo>
                  <a:cubicBezTo>
                    <a:pt x="204" y="216"/>
                    <a:pt x="204" y="217"/>
                    <a:pt x="205" y="218"/>
                  </a:cubicBezTo>
                  <a:cubicBezTo>
                    <a:pt x="205" y="218"/>
                    <a:pt x="206" y="218"/>
                    <a:pt x="206" y="219"/>
                  </a:cubicBezTo>
                  <a:cubicBezTo>
                    <a:pt x="206" y="219"/>
                    <a:pt x="206" y="219"/>
                    <a:pt x="206" y="219"/>
                  </a:cubicBezTo>
                  <a:cubicBezTo>
                    <a:pt x="205" y="220"/>
                    <a:pt x="205" y="221"/>
                    <a:pt x="205" y="221"/>
                  </a:cubicBezTo>
                  <a:cubicBezTo>
                    <a:pt x="205" y="221"/>
                    <a:pt x="205" y="222"/>
                    <a:pt x="205" y="222"/>
                  </a:cubicBezTo>
                  <a:cubicBezTo>
                    <a:pt x="205" y="222"/>
                    <a:pt x="205" y="222"/>
                    <a:pt x="205" y="222"/>
                  </a:cubicBezTo>
                  <a:cubicBezTo>
                    <a:pt x="204" y="222"/>
                    <a:pt x="203" y="223"/>
                    <a:pt x="203" y="224"/>
                  </a:cubicBezTo>
                  <a:cubicBezTo>
                    <a:pt x="203" y="224"/>
                    <a:pt x="203" y="225"/>
                    <a:pt x="204" y="226"/>
                  </a:cubicBezTo>
                  <a:cubicBezTo>
                    <a:pt x="204" y="226"/>
                    <a:pt x="205" y="226"/>
                    <a:pt x="205" y="226"/>
                  </a:cubicBezTo>
                  <a:cubicBezTo>
                    <a:pt x="207" y="226"/>
                    <a:pt x="207" y="225"/>
                    <a:pt x="208" y="224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208" y="225"/>
                    <a:pt x="209" y="224"/>
                    <a:pt x="209" y="224"/>
                  </a:cubicBezTo>
                  <a:cubicBezTo>
                    <a:pt x="210" y="223"/>
                    <a:pt x="210" y="223"/>
                    <a:pt x="210" y="222"/>
                  </a:cubicBezTo>
                  <a:cubicBezTo>
                    <a:pt x="210" y="222"/>
                    <a:pt x="210" y="222"/>
                    <a:pt x="210" y="221"/>
                  </a:cubicBezTo>
                  <a:cubicBezTo>
                    <a:pt x="212" y="221"/>
                    <a:pt x="212" y="221"/>
                    <a:pt x="212" y="220"/>
                  </a:cubicBezTo>
                  <a:cubicBezTo>
                    <a:pt x="213" y="219"/>
                    <a:pt x="213" y="219"/>
                    <a:pt x="212" y="218"/>
                  </a:cubicBezTo>
                  <a:cubicBezTo>
                    <a:pt x="213" y="218"/>
                    <a:pt x="213" y="218"/>
                    <a:pt x="213" y="217"/>
                  </a:cubicBezTo>
                  <a:cubicBezTo>
                    <a:pt x="213" y="217"/>
                    <a:pt x="213" y="217"/>
                    <a:pt x="213" y="217"/>
                  </a:cubicBezTo>
                  <a:cubicBezTo>
                    <a:pt x="213" y="217"/>
                    <a:pt x="213" y="217"/>
                    <a:pt x="213" y="217"/>
                  </a:cubicBezTo>
                  <a:cubicBezTo>
                    <a:pt x="214" y="217"/>
                    <a:pt x="215" y="216"/>
                    <a:pt x="215" y="215"/>
                  </a:cubicBezTo>
                  <a:cubicBezTo>
                    <a:pt x="215" y="215"/>
                    <a:pt x="215" y="216"/>
                    <a:pt x="216" y="216"/>
                  </a:cubicBezTo>
                  <a:cubicBezTo>
                    <a:pt x="216" y="216"/>
                    <a:pt x="216" y="216"/>
                    <a:pt x="216" y="216"/>
                  </a:cubicBezTo>
                  <a:cubicBezTo>
                    <a:pt x="216" y="217"/>
                    <a:pt x="216" y="217"/>
                    <a:pt x="217" y="217"/>
                  </a:cubicBezTo>
                  <a:cubicBezTo>
                    <a:pt x="217" y="217"/>
                    <a:pt x="217" y="218"/>
                    <a:pt x="217" y="218"/>
                  </a:cubicBezTo>
                  <a:cubicBezTo>
                    <a:pt x="217" y="218"/>
                    <a:pt x="217" y="219"/>
                    <a:pt x="217" y="219"/>
                  </a:cubicBezTo>
                  <a:cubicBezTo>
                    <a:pt x="217" y="219"/>
                    <a:pt x="217" y="219"/>
                    <a:pt x="217" y="219"/>
                  </a:cubicBezTo>
                  <a:cubicBezTo>
                    <a:pt x="217" y="220"/>
                    <a:pt x="217" y="220"/>
                    <a:pt x="217" y="220"/>
                  </a:cubicBezTo>
                  <a:cubicBezTo>
                    <a:pt x="216" y="220"/>
                    <a:pt x="216" y="221"/>
                    <a:pt x="215" y="221"/>
                  </a:cubicBezTo>
                  <a:cubicBezTo>
                    <a:pt x="215" y="222"/>
                    <a:pt x="214" y="223"/>
                    <a:pt x="214" y="223"/>
                  </a:cubicBezTo>
                  <a:cubicBezTo>
                    <a:pt x="214" y="224"/>
                    <a:pt x="214" y="225"/>
                    <a:pt x="215" y="225"/>
                  </a:cubicBezTo>
                  <a:cubicBezTo>
                    <a:pt x="215" y="226"/>
                    <a:pt x="216" y="226"/>
                    <a:pt x="218" y="225"/>
                  </a:cubicBezTo>
                  <a:cubicBezTo>
                    <a:pt x="219" y="225"/>
                    <a:pt x="219" y="225"/>
                    <a:pt x="220" y="224"/>
                  </a:cubicBezTo>
                  <a:cubicBezTo>
                    <a:pt x="220" y="224"/>
                    <a:pt x="220" y="224"/>
                    <a:pt x="221" y="223"/>
                  </a:cubicBezTo>
                  <a:cubicBezTo>
                    <a:pt x="221" y="223"/>
                    <a:pt x="221" y="223"/>
                    <a:pt x="221" y="223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5"/>
                  </a:cubicBezTo>
                  <a:cubicBezTo>
                    <a:pt x="220" y="225"/>
                    <a:pt x="220" y="225"/>
                    <a:pt x="219" y="225"/>
                  </a:cubicBezTo>
                  <a:cubicBezTo>
                    <a:pt x="219" y="225"/>
                    <a:pt x="218" y="225"/>
                    <a:pt x="217" y="226"/>
                  </a:cubicBezTo>
                  <a:cubicBezTo>
                    <a:pt x="217" y="226"/>
                    <a:pt x="217" y="226"/>
                    <a:pt x="217" y="227"/>
                  </a:cubicBezTo>
                  <a:cubicBezTo>
                    <a:pt x="217" y="227"/>
                    <a:pt x="216" y="227"/>
                    <a:pt x="216" y="227"/>
                  </a:cubicBezTo>
                  <a:cubicBezTo>
                    <a:pt x="216" y="227"/>
                    <a:pt x="216" y="227"/>
                    <a:pt x="216" y="227"/>
                  </a:cubicBezTo>
                  <a:cubicBezTo>
                    <a:pt x="216" y="227"/>
                    <a:pt x="215" y="227"/>
                    <a:pt x="214" y="227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27"/>
                    <a:pt x="213" y="227"/>
                    <a:pt x="213" y="227"/>
                  </a:cubicBezTo>
                  <a:cubicBezTo>
                    <a:pt x="213" y="227"/>
                    <a:pt x="212" y="227"/>
                    <a:pt x="211" y="228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210" y="230"/>
                    <a:pt x="209" y="231"/>
                    <a:pt x="210" y="232"/>
                  </a:cubicBezTo>
                  <a:cubicBezTo>
                    <a:pt x="210" y="232"/>
                    <a:pt x="210" y="232"/>
                    <a:pt x="210" y="232"/>
                  </a:cubicBezTo>
                  <a:cubicBezTo>
                    <a:pt x="210" y="233"/>
                    <a:pt x="210" y="233"/>
                    <a:pt x="210" y="233"/>
                  </a:cubicBezTo>
                  <a:cubicBezTo>
                    <a:pt x="210" y="233"/>
                    <a:pt x="210" y="234"/>
                    <a:pt x="210" y="234"/>
                  </a:cubicBezTo>
                  <a:cubicBezTo>
                    <a:pt x="210" y="234"/>
                    <a:pt x="210" y="234"/>
                    <a:pt x="210" y="234"/>
                  </a:cubicBezTo>
                  <a:cubicBezTo>
                    <a:pt x="209" y="234"/>
                    <a:pt x="209" y="235"/>
                    <a:pt x="208" y="235"/>
                  </a:cubicBezTo>
                  <a:cubicBezTo>
                    <a:pt x="208" y="235"/>
                    <a:pt x="207" y="236"/>
                    <a:pt x="207" y="237"/>
                  </a:cubicBezTo>
                  <a:cubicBezTo>
                    <a:pt x="207" y="237"/>
                    <a:pt x="207" y="238"/>
                    <a:pt x="207" y="239"/>
                  </a:cubicBezTo>
                  <a:cubicBezTo>
                    <a:pt x="207" y="240"/>
                    <a:pt x="207" y="240"/>
                    <a:pt x="207" y="240"/>
                  </a:cubicBezTo>
                  <a:cubicBezTo>
                    <a:pt x="207" y="240"/>
                    <a:pt x="206" y="240"/>
                    <a:pt x="206" y="240"/>
                  </a:cubicBezTo>
                  <a:cubicBezTo>
                    <a:pt x="206" y="241"/>
                    <a:pt x="206" y="241"/>
                    <a:pt x="206" y="242"/>
                  </a:cubicBezTo>
                  <a:cubicBezTo>
                    <a:pt x="206" y="242"/>
                    <a:pt x="206" y="243"/>
                    <a:pt x="206" y="244"/>
                  </a:cubicBezTo>
                  <a:cubicBezTo>
                    <a:pt x="207" y="244"/>
                    <a:pt x="207" y="244"/>
                    <a:pt x="208" y="244"/>
                  </a:cubicBezTo>
                  <a:cubicBezTo>
                    <a:pt x="208" y="244"/>
                    <a:pt x="208" y="244"/>
                    <a:pt x="208" y="244"/>
                  </a:cubicBezTo>
                  <a:cubicBezTo>
                    <a:pt x="208" y="244"/>
                    <a:pt x="208" y="245"/>
                    <a:pt x="207" y="245"/>
                  </a:cubicBezTo>
                  <a:cubicBezTo>
                    <a:pt x="207" y="245"/>
                    <a:pt x="207" y="246"/>
                    <a:pt x="207" y="246"/>
                  </a:cubicBezTo>
                  <a:cubicBezTo>
                    <a:pt x="207" y="246"/>
                    <a:pt x="207" y="246"/>
                    <a:pt x="207" y="246"/>
                  </a:cubicBezTo>
                  <a:cubicBezTo>
                    <a:pt x="207" y="246"/>
                    <a:pt x="206" y="246"/>
                    <a:pt x="206" y="247"/>
                  </a:cubicBezTo>
                  <a:cubicBezTo>
                    <a:pt x="206" y="247"/>
                    <a:pt x="205" y="248"/>
                    <a:pt x="205" y="249"/>
                  </a:cubicBezTo>
                  <a:cubicBezTo>
                    <a:pt x="205" y="249"/>
                    <a:pt x="205" y="249"/>
                    <a:pt x="205" y="249"/>
                  </a:cubicBezTo>
                  <a:cubicBezTo>
                    <a:pt x="205" y="249"/>
                    <a:pt x="205" y="250"/>
                    <a:pt x="205" y="250"/>
                  </a:cubicBezTo>
                  <a:cubicBezTo>
                    <a:pt x="204" y="250"/>
                    <a:pt x="204" y="250"/>
                    <a:pt x="203" y="251"/>
                  </a:cubicBezTo>
                  <a:cubicBezTo>
                    <a:pt x="202" y="252"/>
                    <a:pt x="202" y="252"/>
                    <a:pt x="202" y="252"/>
                  </a:cubicBezTo>
                  <a:cubicBezTo>
                    <a:pt x="204" y="253"/>
                    <a:pt x="204" y="253"/>
                    <a:pt x="204" y="253"/>
                  </a:cubicBezTo>
                  <a:cubicBezTo>
                    <a:pt x="204" y="253"/>
                    <a:pt x="204" y="253"/>
                    <a:pt x="204" y="253"/>
                  </a:cubicBezTo>
                  <a:cubicBezTo>
                    <a:pt x="204" y="253"/>
                    <a:pt x="205" y="253"/>
                    <a:pt x="205" y="253"/>
                  </a:cubicBezTo>
                  <a:cubicBezTo>
                    <a:pt x="205" y="253"/>
                    <a:pt x="205" y="253"/>
                    <a:pt x="205" y="253"/>
                  </a:cubicBezTo>
                  <a:cubicBezTo>
                    <a:pt x="205" y="254"/>
                    <a:pt x="205" y="254"/>
                    <a:pt x="205" y="254"/>
                  </a:cubicBezTo>
                  <a:cubicBezTo>
                    <a:pt x="205" y="254"/>
                    <a:pt x="205" y="254"/>
                    <a:pt x="205" y="254"/>
                  </a:cubicBezTo>
                  <a:cubicBezTo>
                    <a:pt x="205" y="254"/>
                    <a:pt x="204" y="254"/>
                    <a:pt x="204" y="254"/>
                  </a:cubicBezTo>
                  <a:cubicBezTo>
                    <a:pt x="203" y="254"/>
                    <a:pt x="203" y="254"/>
                    <a:pt x="203" y="254"/>
                  </a:cubicBezTo>
                  <a:cubicBezTo>
                    <a:pt x="202" y="254"/>
                    <a:pt x="202" y="254"/>
                    <a:pt x="201" y="254"/>
                  </a:cubicBezTo>
                  <a:cubicBezTo>
                    <a:pt x="200" y="254"/>
                    <a:pt x="199" y="255"/>
                    <a:pt x="199" y="255"/>
                  </a:cubicBezTo>
                  <a:cubicBezTo>
                    <a:pt x="198" y="256"/>
                    <a:pt x="198" y="257"/>
                    <a:pt x="198" y="258"/>
                  </a:cubicBezTo>
                  <a:cubicBezTo>
                    <a:pt x="199" y="258"/>
                    <a:pt x="199" y="259"/>
                    <a:pt x="200" y="259"/>
                  </a:cubicBezTo>
                  <a:cubicBezTo>
                    <a:pt x="200" y="259"/>
                    <a:pt x="200" y="259"/>
                    <a:pt x="200" y="260"/>
                  </a:cubicBezTo>
                  <a:cubicBezTo>
                    <a:pt x="201" y="260"/>
                    <a:pt x="202" y="260"/>
                    <a:pt x="203" y="260"/>
                  </a:cubicBezTo>
                  <a:cubicBezTo>
                    <a:pt x="204" y="260"/>
                    <a:pt x="204" y="260"/>
                    <a:pt x="204" y="260"/>
                  </a:cubicBezTo>
                  <a:cubicBezTo>
                    <a:pt x="204" y="260"/>
                    <a:pt x="205" y="260"/>
                    <a:pt x="205" y="260"/>
                  </a:cubicBezTo>
                  <a:cubicBezTo>
                    <a:pt x="206" y="260"/>
                    <a:pt x="206" y="259"/>
                    <a:pt x="207" y="25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207" y="259"/>
                    <a:pt x="207" y="259"/>
                    <a:pt x="207" y="260"/>
                  </a:cubicBezTo>
                  <a:cubicBezTo>
                    <a:pt x="207" y="260"/>
                    <a:pt x="206" y="260"/>
                    <a:pt x="206" y="260"/>
                  </a:cubicBezTo>
                  <a:cubicBezTo>
                    <a:pt x="206" y="260"/>
                    <a:pt x="205" y="260"/>
                    <a:pt x="205" y="260"/>
                  </a:cubicBezTo>
                  <a:cubicBezTo>
                    <a:pt x="205" y="261"/>
                    <a:pt x="205" y="261"/>
                    <a:pt x="205" y="261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4" y="260"/>
                    <a:pt x="204" y="260"/>
                    <a:pt x="204" y="261"/>
                  </a:cubicBezTo>
                  <a:cubicBezTo>
                    <a:pt x="203" y="261"/>
                    <a:pt x="203" y="261"/>
                    <a:pt x="203" y="261"/>
                  </a:cubicBezTo>
                  <a:cubicBezTo>
                    <a:pt x="203" y="261"/>
                    <a:pt x="203" y="261"/>
                    <a:pt x="203" y="261"/>
                  </a:cubicBezTo>
                  <a:cubicBezTo>
                    <a:pt x="203" y="261"/>
                    <a:pt x="202" y="262"/>
                    <a:pt x="202" y="262"/>
                  </a:cubicBezTo>
                  <a:cubicBezTo>
                    <a:pt x="202" y="262"/>
                    <a:pt x="202" y="262"/>
                    <a:pt x="202" y="262"/>
                  </a:cubicBezTo>
                  <a:cubicBezTo>
                    <a:pt x="201" y="262"/>
                    <a:pt x="201" y="262"/>
                    <a:pt x="200" y="263"/>
                  </a:cubicBezTo>
                  <a:cubicBezTo>
                    <a:pt x="200" y="263"/>
                    <a:pt x="200" y="263"/>
                    <a:pt x="200" y="263"/>
                  </a:cubicBezTo>
                  <a:cubicBezTo>
                    <a:pt x="200" y="263"/>
                    <a:pt x="199" y="263"/>
                    <a:pt x="199" y="263"/>
                  </a:cubicBezTo>
                  <a:cubicBezTo>
                    <a:pt x="199" y="263"/>
                    <a:pt x="199" y="263"/>
                    <a:pt x="199" y="263"/>
                  </a:cubicBezTo>
                  <a:cubicBezTo>
                    <a:pt x="199" y="263"/>
                    <a:pt x="199" y="263"/>
                    <a:pt x="199" y="263"/>
                  </a:cubicBezTo>
                  <a:cubicBezTo>
                    <a:pt x="198" y="263"/>
                    <a:pt x="197" y="263"/>
                    <a:pt x="196" y="263"/>
                  </a:cubicBezTo>
                  <a:cubicBezTo>
                    <a:pt x="196" y="264"/>
                    <a:pt x="196" y="264"/>
                    <a:pt x="195" y="264"/>
                  </a:cubicBezTo>
                  <a:cubicBezTo>
                    <a:pt x="195" y="265"/>
                    <a:pt x="195" y="265"/>
                    <a:pt x="195" y="265"/>
                  </a:cubicBezTo>
                  <a:cubicBezTo>
                    <a:pt x="195" y="265"/>
                    <a:pt x="195" y="265"/>
                    <a:pt x="195" y="265"/>
                  </a:cubicBezTo>
                  <a:cubicBezTo>
                    <a:pt x="194" y="266"/>
                    <a:pt x="193" y="266"/>
                    <a:pt x="193" y="267"/>
                  </a:cubicBezTo>
                  <a:cubicBezTo>
                    <a:pt x="192" y="269"/>
                    <a:pt x="192" y="269"/>
                    <a:pt x="192" y="269"/>
                  </a:cubicBezTo>
                  <a:cubicBezTo>
                    <a:pt x="192" y="269"/>
                    <a:pt x="191" y="269"/>
                    <a:pt x="191" y="270"/>
                  </a:cubicBezTo>
                  <a:cubicBezTo>
                    <a:pt x="191" y="270"/>
                    <a:pt x="191" y="271"/>
                    <a:pt x="191" y="271"/>
                  </a:cubicBezTo>
                  <a:cubicBezTo>
                    <a:pt x="190" y="271"/>
                    <a:pt x="189" y="271"/>
                    <a:pt x="189" y="273"/>
                  </a:cubicBezTo>
                  <a:cubicBezTo>
                    <a:pt x="189" y="273"/>
                    <a:pt x="189" y="273"/>
                    <a:pt x="189" y="273"/>
                  </a:cubicBezTo>
                  <a:cubicBezTo>
                    <a:pt x="189" y="273"/>
                    <a:pt x="188" y="273"/>
                    <a:pt x="188" y="273"/>
                  </a:cubicBezTo>
                  <a:cubicBezTo>
                    <a:pt x="187" y="274"/>
                    <a:pt x="187" y="274"/>
                    <a:pt x="187" y="274"/>
                  </a:cubicBezTo>
                  <a:cubicBezTo>
                    <a:pt x="187" y="275"/>
                    <a:pt x="187" y="275"/>
                    <a:pt x="187" y="275"/>
                  </a:cubicBezTo>
                  <a:cubicBezTo>
                    <a:pt x="187" y="275"/>
                    <a:pt x="187" y="275"/>
                    <a:pt x="187" y="275"/>
                  </a:cubicBezTo>
                  <a:cubicBezTo>
                    <a:pt x="187" y="275"/>
                    <a:pt x="186" y="274"/>
                    <a:pt x="186" y="274"/>
                  </a:cubicBezTo>
                  <a:cubicBezTo>
                    <a:pt x="185" y="274"/>
                    <a:pt x="184" y="274"/>
                    <a:pt x="184" y="274"/>
                  </a:cubicBezTo>
                  <a:cubicBezTo>
                    <a:pt x="183" y="274"/>
                    <a:pt x="183" y="274"/>
                    <a:pt x="183" y="274"/>
                  </a:cubicBezTo>
                  <a:cubicBezTo>
                    <a:pt x="183" y="274"/>
                    <a:pt x="182" y="274"/>
                    <a:pt x="182" y="274"/>
                  </a:cubicBezTo>
                  <a:cubicBezTo>
                    <a:pt x="182" y="274"/>
                    <a:pt x="181" y="274"/>
                    <a:pt x="181" y="274"/>
                  </a:cubicBezTo>
                  <a:cubicBezTo>
                    <a:pt x="181" y="274"/>
                    <a:pt x="181" y="274"/>
                    <a:pt x="181" y="274"/>
                  </a:cubicBezTo>
                  <a:cubicBezTo>
                    <a:pt x="180" y="274"/>
                    <a:pt x="180" y="274"/>
                    <a:pt x="179" y="275"/>
                  </a:cubicBezTo>
                  <a:cubicBezTo>
                    <a:pt x="179" y="275"/>
                    <a:pt x="179" y="276"/>
                    <a:pt x="179" y="277"/>
                  </a:cubicBezTo>
                  <a:cubicBezTo>
                    <a:pt x="179" y="277"/>
                    <a:pt x="179" y="277"/>
                    <a:pt x="179" y="277"/>
                  </a:cubicBezTo>
                  <a:cubicBezTo>
                    <a:pt x="179" y="277"/>
                    <a:pt x="179" y="278"/>
                    <a:pt x="179" y="278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9" y="279"/>
                    <a:pt x="179" y="280"/>
                    <a:pt x="180" y="281"/>
                  </a:cubicBezTo>
                  <a:cubicBezTo>
                    <a:pt x="180" y="281"/>
                    <a:pt x="180" y="281"/>
                    <a:pt x="180" y="281"/>
                  </a:cubicBezTo>
                  <a:cubicBezTo>
                    <a:pt x="180" y="281"/>
                    <a:pt x="179" y="282"/>
                    <a:pt x="179" y="282"/>
                  </a:cubicBezTo>
                  <a:cubicBezTo>
                    <a:pt x="178" y="282"/>
                    <a:pt x="177" y="283"/>
                    <a:pt x="177" y="284"/>
                  </a:cubicBezTo>
                  <a:cubicBezTo>
                    <a:pt x="177" y="285"/>
                    <a:pt x="177" y="285"/>
                    <a:pt x="177" y="286"/>
                  </a:cubicBezTo>
                  <a:cubicBezTo>
                    <a:pt x="178" y="286"/>
                    <a:pt x="178" y="287"/>
                    <a:pt x="178" y="287"/>
                  </a:cubicBezTo>
                  <a:cubicBezTo>
                    <a:pt x="179" y="287"/>
                    <a:pt x="179" y="287"/>
                    <a:pt x="179" y="287"/>
                  </a:cubicBezTo>
                  <a:cubicBezTo>
                    <a:pt x="179" y="287"/>
                    <a:pt x="179" y="287"/>
                    <a:pt x="179" y="287"/>
                  </a:cubicBezTo>
                  <a:cubicBezTo>
                    <a:pt x="179" y="288"/>
                    <a:pt x="179" y="289"/>
                    <a:pt x="180" y="290"/>
                  </a:cubicBezTo>
                  <a:cubicBezTo>
                    <a:pt x="180" y="290"/>
                    <a:pt x="180" y="290"/>
                    <a:pt x="180" y="290"/>
                  </a:cubicBezTo>
                  <a:cubicBezTo>
                    <a:pt x="180" y="290"/>
                    <a:pt x="180" y="290"/>
                    <a:pt x="180" y="290"/>
                  </a:cubicBezTo>
                  <a:cubicBezTo>
                    <a:pt x="180" y="290"/>
                    <a:pt x="180" y="290"/>
                    <a:pt x="180" y="290"/>
                  </a:cubicBezTo>
                  <a:cubicBezTo>
                    <a:pt x="180" y="291"/>
                    <a:pt x="180" y="292"/>
                    <a:pt x="181" y="292"/>
                  </a:cubicBezTo>
                  <a:cubicBezTo>
                    <a:pt x="180" y="292"/>
                    <a:pt x="180" y="292"/>
                    <a:pt x="180" y="293"/>
                  </a:cubicBezTo>
                  <a:cubicBezTo>
                    <a:pt x="179" y="293"/>
                    <a:pt x="179" y="294"/>
                    <a:pt x="179" y="294"/>
                  </a:cubicBezTo>
                  <a:cubicBezTo>
                    <a:pt x="178" y="295"/>
                    <a:pt x="178" y="295"/>
                    <a:pt x="178" y="296"/>
                  </a:cubicBezTo>
                  <a:cubicBezTo>
                    <a:pt x="178" y="296"/>
                    <a:pt x="178" y="297"/>
                    <a:pt x="179" y="298"/>
                  </a:cubicBezTo>
                  <a:cubicBezTo>
                    <a:pt x="180" y="298"/>
                    <a:pt x="180" y="298"/>
                    <a:pt x="180" y="298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179" y="300"/>
                    <a:pt x="180" y="301"/>
                    <a:pt x="181" y="301"/>
                  </a:cubicBezTo>
                  <a:cubicBezTo>
                    <a:pt x="181" y="302"/>
                    <a:pt x="181" y="302"/>
                    <a:pt x="182" y="302"/>
                  </a:cubicBezTo>
                  <a:cubicBezTo>
                    <a:pt x="182" y="302"/>
                    <a:pt x="182" y="302"/>
                    <a:pt x="182" y="303"/>
                  </a:cubicBezTo>
                  <a:cubicBezTo>
                    <a:pt x="182" y="303"/>
                    <a:pt x="182" y="303"/>
                    <a:pt x="182" y="303"/>
                  </a:cubicBezTo>
                  <a:cubicBezTo>
                    <a:pt x="181" y="303"/>
                    <a:pt x="181" y="304"/>
                    <a:pt x="181" y="305"/>
                  </a:cubicBezTo>
                  <a:cubicBezTo>
                    <a:pt x="181" y="305"/>
                    <a:pt x="181" y="306"/>
                    <a:pt x="181" y="306"/>
                  </a:cubicBezTo>
                  <a:cubicBezTo>
                    <a:pt x="181" y="308"/>
                    <a:pt x="182" y="308"/>
                    <a:pt x="183" y="308"/>
                  </a:cubicBezTo>
                  <a:cubicBezTo>
                    <a:pt x="183" y="308"/>
                    <a:pt x="183" y="308"/>
                    <a:pt x="183" y="309"/>
                  </a:cubicBezTo>
                  <a:cubicBezTo>
                    <a:pt x="183" y="309"/>
                    <a:pt x="184" y="309"/>
                    <a:pt x="184" y="309"/>
                  </a:cubicBezTo>
                  <a:cubicBezTo>
                    <a:pt x="184" y="309"/>
                    <a:pt x="185" y="309"/>
                    <a:pt x="185" y="309"/>
                  </a:cubicBezTo>
                  <a:cubicBezTo>
                    <a:pt x="185" y="310"/>
                    <a:pt x="186" y="310"/>
                    <a:pt x="186" y="311"/>
                  </a:cubicBezTo>
                  <a:cubicBezTo>
                    <a:pt x="187" y="311"/>
                    <a:pt x="187" y="311"/>
                    <a:pt x="187" y="311"/>
                  </a:cubicBezTo>
                  <a:cubicBezTo>
                    <a:pt x="187" y="311"/>
                    <a:pt x="187" y="311"/>
                    <a:pt x="187" y="311"/>
                  </a:cubicBezTo>
                  <a:cubicBezTo>
                    <a:pt x="188" y="310"/>
                    <a:pt x="188" y="310"/>
                    <a:pt x="188" y="310"/>
                  </a:cubicBezTo>
                  <a:cubicBezTo>
                    <a:pt x="188" y="310"/>
                    <a:pt x="188" y="310"/>
                    <a:pt x="188" y="310"/>
                  </a:cubicBezTo>
                  <a:cubicBezTo>
                    <a:pt x="187" y="311"/>
                    <a:pt x="187" y="311"/>
                    <a:pt x="187" y="311"/>
                  </a:cubicBezTo>
                  <a:cubicBezTo>
                    <a:pt x="188" y="312"/>
                    <a:pt x="188" y="312"/>
                    <a:pt x="188" y="312"/>
                  </a:cubicBezTo>
                  <a:cubicBezTo>
                    <a:pt x="189" y="312"/>
                    <a:pt x="189" y="313"/>
                    <a:pt x="189" y="313"/>
                  </a:cubicBezTo>
                  <a:cubicBezTo>
                    <a:pt x="190" y="313"/>
                    <a:pt x="191" y="312"/>
                    <a:pt x="191" y="311"/>
                  </a:cubicBezTo>
                  <a:cubicBezTo>
                    <a:pt x="192" y="311"/>
                    <a:pt x="192" y="311"/>
                    <a:pt x="192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92" y="310"/>
                    <a:pt x="192" y="309"/>
                    <a:pt x="193" y="309"/>
                  </a:cubicBezTo>
                  <a:cubicBezTo>
                    <a:pt x="193" y="309"/>
                    <a:pt x="193" y="309"/>
                    <a:pt x="193" y="308"/>
                  </a:cubicBezTo>
                  <a:cubicBezTo>
                    <a:pt x="193" y="308"/>
                    <a:pt x="193" y="308"/>
                    <a:pt x="193" y="308"/>
                  </a:cubicBezTo>
                  <a:cubicBezTo>
                    <a:pt x="193" y="307"/>
                    <a:pt x="194" y="306"/>
                    <a:pt x="194" y="306"/>
                  </a:cubicBezTo>
                  <a:cubicBezTo>
                    <a:pt x="194" y="306"/>
                    <a:pt x="194" y="306"/>
                    <a:pt x="194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95" y="305"/>
                    <a:pt x="196" y="304"/>
                    <a:pt x="196" y="304"/>
                  </a:cubicBezTo>
                  <a:cubicBezTo>
                    <a:pt x="196" y="303"/>
                    <a:pt x="196" y="303"/>
                    <a:pt x="196" y="302"/>
                  </a:cubicBezTo>
                  <a:cubicBezTo>
                    <a:pt x="196" y="302"/>
                    <a:pt x="196" y="301"/>
                    <a:pt x="196" y="301"/>
                  </a:cubicBezTo>
                  <a:cubicBezTo>
                    <a:pt x="196" y="301"/>
                    <a:pt x="196" y="300"/>
                    <a:pt x="196" y="300"/>
                  </a:cubicBezTo>
                  <a:cubicBezTo>
                    <a:pt x="196" y="300"/>
                    <a:pt x="196" y="299"/>
                    <a:pt x="195" y="299"/>
                  </a:cubicBezTo>
                  <a:cubicBezTo>
                    <a:pt x="195" y="298"/>
                    <a:pt x="195" y="298"/>
                    <a:pt x="195" y="297"/>
                  </a:cubicBezTo>
                  <a:cubicBezTo>
                    <a:pt x="195" y="296"/>
                    <a:pt x="195" y="295"/>
                    <a:pt x="195" y="295"/>
                  </a:cubicBezTo>
                  <a:cubicBezTo>
                    <a:pt x="195" y="295"/>
                    <a:pt x="195" y="294"/>
                    <a:pt x="195" y="294"/>
                  </a:cubicBezTo>
                  <a:cubicBezTo>
                    <a:pt x="196" y="294"/>
                    <a:pt x="196" y="293"/>
                    <a:pt x="196" y="292"/>
                  </a:cubicBezTo>
                  <a:cubicBezTo>
                    <a:pt x="196" y="291"/>
                    <a:pt x="196" y="291"/>
                    <a:pt x="196" y="290"/>
                  </a:cubicBezTo>
                  <a:cubicBezTo>
                    <a:pt x="196" y="290"/>
                    <a:pt x="196" y="290"/>
                    <a:pt x="196" y="289"/>
                  </a:cubicBezTo>
                  <a:cubicBezTo>
                    <a:pt x="196" y="289"/>
                    <a:pt x="196" y="289"/>
                    <a:pt x="196" y="288"/>
                  </a:cubicBezTo>
                  <a:cubicBezTo>
                    <a:pt x="196" y="288"/>
                    <a:pt x="196" y="288"/>
                    <a:pt x="196" y="288"/>
                  </a:cubicBezTo>
                  <a:cubicBezTo>
                    <a:pt x="196" y="288"/>
                    <a:pt x="196" y="288"/>
                    <a:pt x="196" y="288"/>
                  </a:cubicBezTo>
                  <a:cubicBezTo>
                    <a:pt x="196" y="286"/>
                    <a:pt x="196" y="285"/>
                    <a:pt x="195" y="284"/>
                  </a:cubicBezTo>
                  <a:cubicBezTo>
                    <a:pt x="194" y="284"/>
                    <a:pt x="194" y="283"/>
                    <a:pt x="194" y="283"/>
                  </a:cubicBezTo>
                  <a:cubicBezTo>
                    <a:pt x="194" y="283"/>
                    <a:pt x="194" y="283"/>
                    <a:pt x="194" y="283"/>
                  </a:cubicBezTo>
                  <a:cubicBezTo>
                    <a:pt x="194" y="282"/>
                    <a:pt x="193" y="281"/>
                    <a:pt x="192" y="280"/>
                  </a:cubicBezTo>
                  <a:cubicBezTo>
                    <a:pt x="191" y="280"/>
                    <a:pt x="191" y="280"/>
                    <a:pt x="190" y="280"/>
                  </a:cubicBezTo>
                  <a:cubicBezTo>
                    <a:pt x="190" y="280"/>
                    <a:pt x="190" y="280"/>
                    <a:pt x="190" y="280"/>
                  </a:cubicBezTo>
                  <a:cubicBezTo>
                    <a:pt x="190" y="280"/>
                    <a:pt x="189" y="279"/>
                    <a:pt x="189" y="279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89" y="278"/>
                    <a:pt x="188" y="277"/>
                    <a:pt x="188" y="277"/>
                  </a:cubicBezTo>
                  <a:cubicBezTo>
                    <a:pt x="188" y="277"/>
                    <a:pt x="189" y="277"/>
                    <a:pt x="189" y="278"/>
                  </a:cubicBezTo>
                  <a:cubicBezTo>
                    <a:pt x="190" y="278"/>
                    <a:pt x="190" y="278"/>
                    <a:pt x="190" y="278"/>
                  </a:cubicBezTo>
                  <a:cubicBezTo>
                    <a:pt x="190" y="278"/>
                    <a:pt x="190" y="278"/>
                    <a:pt x="190" y="278"/>
                  </a:cubicBezTo>
                  <a:cubicBezTo>
                    <a:pt x="190" y="278"/>
                    <a:pt x="191" y="279"/>
                    <a:pt x="192" y="279"/>
                  </a:cubicBezTo>
                  <a:cubicBezTo>
                    <a:pt x="192" y="279"/>
                    <a:pt x="192" y="279"/>
                    <a:pt x="192" y="279"/>
                  </a:cubicBezTo>
                  <a:cubicBezTo>
                    <a:pt x="193" y="279"/>
                    <a:pt x="193" y="278"/>
                    <a:pt x="193" y="278"/>
                  </a:cubicBezTo>
                  <a:cubicBezTo>
                    <a:pt x="193" y="278"/>
                    <a:pt x="193" y="278"/>
                    <a:pt x="193" y="278"/>
                  </a:cubicBezTo>
                  <a:cubicBezTo>
                    <a:pt x="194" y="279"/>
                    <a:pt x="194" y="279"/>
                    <a:pt x="195" y="279"/>
                  </a:cubicBezTo>
                  <a:cubicBezTo>
                    <a:pt x="195" y="279"/>
                    <a:pt x="195" y="280"/>
                    <a:pt x="195" y="280"/>
                  </a:cubicBezTo>
                  <a:cubicBezTo>
                    <a:pt x="195" y="280"/>
                    <a:pt x="194" y="280"/>
                    <a:pt x="194" y="281"/>
                  </a:cubicBezTo>
                  <a:cubicBezTo>
                    <a:pt x="194" y="282"/>
                    <a:pt x="194" y="282"/>
                    <a:pt x="195" y="283"/>
                  </a:cubicBezTo>
                  <a:cubicBezTo>
                    <a:pt x="196" y="283"/>
                    <a:pt x="196" y="283"/>
                    <a:pt x="197" y="283"/>
                  </a:cubicBezTo>
                  <a:cubicBezTo>
                    <a:pt x="197" y="283"/>
                    <a:pt x="198" y="283"/>
                    <a:pt x="198" y="283"/>
                  </a:cubicBezTo>
                  <a:cubicBezTo>
                    <a:pt x="198" y="283"/>
                    <a:pt x="198" y="283"/>
                    <a:pt x="198" y="284"/>
                  </a:cubicBezTo>
                  <a:cubicBezTo>
                    <a:pt x="199" y="284"/>
                    <a:pt x="199" y="284"/>
                    <a:pt x="199" y="284"/>
                  </a:cubicBezTo>
                  <a:cubicBezTo>
                    <a:pt x="199" y="285"/>
                    <a:pt x="199" y="285"/>
                    <a:pt x="199" y="285"/>
                  </a:cubicBezTo>
                  <a:cubicBezTo>
                    <a:pt x="199" y="285"/>
                    <a:pt x="200" y="286"/>
                    <a:pt x="200" y="286"/>
                  </a:cubicBezTo>
                  <a:cubicBezTo>
                    <a:pt x="200" y="286"/>
                    <a:pt x="200" y="286"/>
                    <a:pt x="200" y="287"/>
                  </a:cubicBezTo>
                  <a:cubicBezTo>
                    <a:pt x="200" y="287"/>
                    <a:pt x="200" y="287"/>
                    <a:pt x="200" y="287"/>
                  </a:cubicBezTo>
                  <a:cubicBezTo>
                    <a:pt x="200" y="287"/>
                    <a:pt x="200" y="287"/>
                    <a:pt x="200" y="287"/>
                  </a:cubicBezTo>
                  <a:cubicBezTo>
                    <a:pt x="200" y="287"/>
                    <a:pt x="199" y="287"/>
                    <a:pt x="199" y="287"/>
                  </a:cubicBezTo>
                  <a:cubicBezTo>
                    <a:pt x="198" y="287"/>
                    <a:pt x="197" y="288"/>
                    <a:pt x="197" y="289"/>
                  </a:cubicBezTo>
                  <a:cubicBezTo>
                    <a:pt x="197" y="290"/>
                    <a:pt x="197" y="290"/>
                    <a:pt x="197" y="291"/>
                  </a:cubicBezTo>
                  <a:cubicBezTo>
                    <a:pt x="197" y="291"/>
                    <a:pt x="197" y="291"/>
                    <a:pt x="197" y="291"/>
                  </a:cubicBezTo>
                  <a:cubicBezTo>
                    <a:pt x="197" y="292"/>
                    <a:pt x="197" y="292"/>
                    <a:pt x="197" y="293"/>
                  </a:cubicBezTo>
                  <a:cubicBezTo>
                    <a:pt x="198" y="294"/>
                    <a:pt x="199" y="294"/>
                    <a:pt x="199" y="294"/>
                  </a:cubicBezTo>
                  <a:cubicBezTo>
                    <a:pt x="199" y="294"/>
                    <a:pt x="199" y="294"/>
                    <a:pt x="199" y="294"/>
                  </a:cubicBezTo>
                  <a:cubicBezTo>
                    <a:pt x="199" y="294"/>
                    <a:pt x="199" y="295"/>
                    <a:pt x="198" y="295"/>
                  </a:cubicBezTo>
                  <a:cubicBezTo>
                    <a:pt x="198" y="296"/>
                    <a:pt x="198" y="296"/>
                    <a:pt x="199" y="297"/>
                  </a:cubicBezTo>
                  <a:cubicBezTo>
                    <a:pt x="199" y="297"/>
                    <a:pt x="199" y="297"/>
                    <a:pt x="199" y="297"/>
                  </a:cubicBezTo>
                  <a:cubicBezTo>
                    <a:pt x="199" y="298"/>
                    <a:pt x="200" y="299"/>
                    <a:pt x="200" y="299"/>
                  </a:cubicBezTo>
                  <a:cubicBezTo>
                    <a:pt x="200" y="299"/>
                    <a:pt x="200" y="299"/>
                    <a:pt x="200" y="299"/>
                  </a:cubicBezTo>
                  <a:cubicBezTo>
                    <a:pt x="200" y="300"/>
                    <a:pt x="200" y="300"/>
                    <a:pt x="200" y="301"/>
                  </a:cubicBezTo>
                  <a:cubicBezTo>
                    <a:pt x="199" y="301"/>
                    <a:pt x="199" y="302"/>
                    <a:pt x="199" y="303"/>
                  </a:cubicBezTo>
                  <a:cubicBezTo>
                    <a:pt x="199" y="303"/>
                    <a:pt x="199" y="303"/>
                    <a:pt x="199" y="303"/>
                  </a:cubicBezTo>
                  <a:cubicBezTo>
                    <a:pt x="199" y="304"/>
                    <a:pt x="199" y="304"/>
                    <a:pt x="199" y="304"/>
                  </a:cubicBezTo>
                  <a:cubicBezTo>
                    <a:pt x="199" y="304"/>
                    <a:pt x="199" y="305"/>
                    <a:pt x="199" y="305"/>
                  </a:cubicBezTo>
                  <a:cubicBezTo>
                    <a:pt x="199" y="305"/>
                    <a:pt x="199" y="305"/>
                    <a:pt x="199" y="305"/>
                  </a:cubicBezTo>
                  <a:cubicBezTo>
                    <a:pt x="199" y="305"/>
                    <a:pt x="199" y="305"/>
                    <a:pt x="199" y="306"/>
                  </a:cubicBezTo>
                  <a:cubicBezTo>
                    <a:pt x="198" y="306"/>
                    <a:pt x="198" y="306"/>
                    <a:pt x="198" y="306"/>
                  </a:cubicBezTo>
                  <a:cubicBezTo>
                    <a:pt x="198" y="306"/>
                    <a:pt x="198" y="306"/>
                    <a:pt x="198" y="306"/>
                  </a:cubicBezTo>
                  <a:cubicBezTo>
                    <a:pt x="198" y="307"/>
                    <a:pt x="198" y="307"/>
                    <a:pt x="198" y="308"/>
                  </a:cubicBezTo>
                  <a:cubicBezTo>
                    <a:pt x="197" y="309"/>
                    <a:pt x="198" y="309"/>
                    <a:pt x="198" y="310"/>
                  </a:cubicBezTo>
                  <a:cubicBezTo>
                    <a:pt x="198" y="310"/>
                    <a:pt x="198" y="310"/>
                    <a:pt x="198" y="310"/>
                  </a:cubicBezTo>
                  <a:cubicBezTo>
                    <a:pt x="197" y="310"/>
                    <a:pt x="196" y="310"/>
                    <a:pt x="196" y="311"/>
                  </a:cubicBezTo>
                  <a:cubicBezTo>
                    <a:pt x="196" y="311"/>
                    <a:pt x="196" y="311"/>
                    <a:pt x="195" y="311"/>
                  </a:cubicBezTo>
                  <a:cubicBezTo>
                    <a:pt x="195" y="312"/>
                    <a:pt x="195" y="312"/>
                    <a:pt x="195" y="312"/>
                  </a:cubicBezTo>
                  <a:cubicBezTo>
                    <a:pt x="195" y="312"/>
                    <a:pt x="195" y="312"/>
                    <a:pt x="195" y="313"/>
                  </a:cubicBezTo>
                  <a:cubicBezTo>
                    <a:pt x="194" y="313"/>
                    <a:pt x="194" y="313"/>
                    <a:pt x="194" y="313"/>
                  </a:cubicBezTo>
                  <a:cubicBezTo>
                    <a:pt x="194" y="313"/>
                    <a:pt x="194" y="313"/>
                    <a:pt x="194" y="314"/>
                  </a:cubicBezTo>
                  <a:cubicBezTo>
                    <a:pt x="194" y="314"/>
                    <a:pt x="194" y="314"/>
                    <a:pt x="194" y="314"/>
                  </a:cubicBezTo>
                  <a:cubicBezTo>
                    <a:pt x="194" y="314"/>
                    <a:pt x="194" y="314"/>
                    <a:pt x="194" y="314"/>
                  </a:cubicBezTo>
                  <a:cubicBezTo>
                    <a:pt x="192" y="316"/>
                    <a:pt x="192" y="316"/>
                    <a:pt x="192" y="316"/>
                  </a:cubicBezTo>
                  <a:cubicBezTo>
                    <a:pt x="193" y="316"/>
                    <a:pt x="193" y="316"/>
                    <a:pt x="193" y="316"/>
                  </a:cubicBezTo>
                  <a:cubicBezTo>
                    <a:pt x="193" y="316"/>
                    <a:pt x="193" y="316"/>
                    <a:pt x="193" y="316"/>
                  </a:cubicBezTo>
                  <a:cubicBezTo>
                    <a:pt x="193" y="316"/>
                    <a:pt x="193" y="317"/>
                    <a:pt x="193" y="317"/>
                  </a:cubicBezTo>
                  <a:cubicBezTo>
                    <a:pt x="193" y="317"/>
                    <a:pt x="193" y="317"/>
                    <a:pt x="193" y="316"/>
                  </a:cubicBezTo>
                  <a:cubicBezTo>
                    <a:pt x="193" y="317"/>
                    <a:pt x="193" y="317"/>
                    <a:pt x="193" y="317"/>
                  </a:cubicBezTo>
                  <a:cubicBezTo>
                    <a:pt x="193" y="317"/>
                    <a:pt x="193" y="317"/>
                    <a:pt x="193" y="317"/>
                  </a:cubicBezTo>
                  <a:cubicBezTo>
                    <a:pt x="193" y="317"/>
                    <a:pt x="193" y="317"/>
                    <a:pt x="192" y="317"/>
                  </a:cubicBezTo>
                  <a:cubicBezTo>
                    <a:pt x="192" y="318"/>
                    <a:pt x="192" y="318"/>
                    <a:pt x="192" y="318"/>
                  </a:cubicBezTo>
                  <a:cubicBezTo>
                    <a:pt x="192" y="318"/>
                    <a:pt x="191" y="318"/>
                    <a:pt x="191" y="318"/>
                  </a:cubicBezTo>
                  <a:cubicBezTo>
                    <a:pt x="191" y="318"/>
                    <a:pt x="191" y="319"/>
                    <a:pt x="191" y="319"/>
                  </a:cubicBezTo>
                  <a:cubicBezTo>
                    <a:pt x="191" y="319"/>
                    <a:pt x="190" y="319"/>
                    <a:pt x="190" y="319"/>
                  </a:cubicBezTo>
                  <a:cubicBezTo>
                    <a:pt x="190" y="319"/>
                    <a:pt x="190" y="319"/>
                    <a:pt x="190" y="319"/>
                  </a:cubicBezTo>
                  <a:cubicBezTo>
                    <a:pt x="190" y="318"/>
                    <a:pt x="190" y="318"/>
                    <a:pt x="190" y="318"/>
                  </a:cubicBezTo>
                  <a:cubicBezTo>
                    <a:pt x="190" y="318"/>
                    <a:pt x="190" y="318"/>
                    <a:pt x="190" y="318"/>
                  </a:cubicBezTo>
                  <a:cubicBezTo>
                    <a:pt x="190" y="318"/>
                    <a:pt x="190" y="317"/>
                    <a:pt x="191" y="317"/>
                  </a:cubicBezTo>
                  <a:cubicBezTo>
                    <a:pt x="191" y="316"/>
                    <a:pt x="191" y="316"/>
                    <a:pt x="191" y="315"/>
                  </a:cubicBezTo>
                  <a:cubicBezTo>
                    <a:pt x="191" y="315"/>
                    <a:pt x="191" y="314"/>
                    <a:pt x="191" y="314"/>
                  </a:cubicBezTo>
                  <a:cubicBezTo>
                    <a:pt x="190" y="313"/>
                    <a:pt x="189" y="313"/>
                    <a:pt x="188" y="313"/>
                  </a:cubicBezTo>
                  <a:cubicBezTo>
                    <a:pt x="188" y="313"/>
                    <a:pt x="188" y="313"/>
                    <a:pt x="188" y="313"/>
                  </a:cubicBezTo>
                  <a:cubicBezTo>
                    <a:pt x="187" y="313"/>
                    <a:pt x="187" y="313"/>
                    <a:pt x="186" y="313"/>
                  </a:cubicBezTo>
                  <a:cubicBezTo>
                    <a:pt x="186" y="313"/>
                    <a:pt x="186" y="313"/>
                    <a:pt x="186" y="313"/>
                  </a:cubicBezTo>
                  <a:cubicBezTo>
                    <a:pt x="185" y="313"/>
                    <a:pt x="185" y="312"/>
                    <a:pt x="184" y="312"/>
                  </a:cubicBezTo>
                  <a:cubicBezTo>
                    <a:pt x="184" y="312"/>
                    <a:pt x="184" y="311"/>
                    <a:pt x="184" y="311"/>
                  </a:cubicBezTo>
                  <a:cubicBezTo>
                    <a:pt x="184" y="310"/>
                    <a:pt x="183" y="310"/>
                    <a:pt x="183" y="309"/>
                  </a:cubicBezTo>
                  <a:cubicBezTo>
                    <a:pt x="182" y="309"/>
                    <a:pt x="182" y="308"/>
                    <a:pt x="181" y="308"/>
                  </a:cubicBezTo>
                  <a:cubicBezTo>
                    <a:pt x="181" y="308"/>
                    <a:pt x="181" y="308"/>
                    <a:pt x="181" y="308"/>
                  </a:cubicBezTo>
                  <a:cubicBezTo>
                    <a:pt x="180" y="309"/>
                    <a:pt x="179" y="309"/>
                    <a:pt x="179" y="310"/>
                  </a:cubicBezTo>
                  <a:cubicBezTo>
                    <a:pt x="179" y="310"/>
                    <a:pt x="179" y="310"/>
                    <a:pt x="179" y="310"/>
                  </a:cubicBezTo>
                  <a:cubicBezTo>
                    <a:pt x="179" y="311"/>
                    <a:pt x="179" y="311"/>
                    <a:pt x="179" y="311"/>
                  </a:cubicBezTo>
                  <a:cubicBezTo>
                    <a:pt x="178" y="311"/>
                    <a:pt x="178" y="312"/>
                    <a:pt x="178" y="312"/>
                  </a:cubicBezTo>
                  <a:cubicBezTo>
                    <a:pt x="177" y="312"/>
                    <a:pt x="177" y="312"/>
                    <a:pt x="177" y="312"/>
                  </a:cubicBezTo>
                  <a:cubicBezTo>
                    <a:pt x="177" y="312"/>
                    <a:pt x="176" y="313"/>
                    <a:pt x="176" y="313"/>
                  </a:cubicBezTo>
                  <a:cubicBezTo>
                    <a:pt x="176" y="314"/>
                    <a:pt x="176" y="314"/>
                    <a:pt x="176" y="314"/>
                  </a:cubicBezTo>
                  <a:cubicBezTo>
                    <a:pt x="176" y="315"/>
                    <a:pt x="176" y="315"/>
                    <a:pt x="176" y="315"/>
                  </a:cubicBezTo>
                  <a:cubicBezTo>
                    <a:pt x="176" y="316"/>
                    <a:pt x="176" y="316"/>
                    <a:pt x="176" y="316"/>
                  </a:cubicBezTo>
                  <a:cubicBezTo>
                    <a:pt x="175" y="317"/>
                    <a:pt x="175" y="317"/>
                    <a:pt x="175" y="317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5" y="319"/>
                    <a:pt x="175" y="319"/>
                    <a:pt x="175" y="319"/>
                  </a:cubicBezTo>
                  <a:cubicBezTo>
                    <a:pt x="174" y="319"/>
                    <a:pt x="174" y="319"/>
                    <a:pt x="174" y="319"/>
                  </a:cubicBezTo>
                  <a:cubicBezTo>
                    <a:pt x="174" y="319"/>
                    <a:pt x="174" y="319"/>
                    <a:pt x="174" y="319"/>
                  </a:cubicBezTo>
                  <a:cubicBezTo>
                    <a:pt x="173" y="320"/>
                    <a:pt x="173" y="320"/>
                    <a:pt x="173" y="320"/>
                  </a:cubicBezTo>
                  <a:cubicBezTo>
                    <a:pt x="173" y="321"/>
                    <a:pt x="173" y="321"/>
                    <a:pt x="173" y="321"/>
                  </a:cubicBezTo>
                  <a:cubicBezTo>
                    <a:pt x="173" y="321"/>
                    <a:pt x="173" y="322"/>
                    <a:pt x="173" y="322"/>
                  </a:cubicBezTo>
                  <a:cubicBezTo>
                    <a:pt x="173" y="322"/>
                    <a:pt x="172" y="322"/>
                    <a:pt x="172" y="323"/>
                  </a:cubicBezTo>
                  <a:cubicBezTo>
                    <a:pt x="172" y="323"/>
                    <a:pt x="172" y="323"/>
                    <a:pt x="172" y="323"/>
                  </a:cubicBezTo>
                  <a:cubicBezTo>
                    <a:pt x="172" y="323"/>
                    <a:pt x="172" y="323"/>
                    <a:pt x="172" y="323"/>
                  </a:cubicBezTo>
                  <a:cubicBezTo>
                    <a:pt x="171" y="323"/>
                    <a:pt x="171" y="324"/>
                    <a:pt x="171" y="324"/>
                  </a:cubicBezTo>
                  <a:cubicBezTo>
                    <a:pt x="171" y="324"/>
                    <a:pt x="171" y="324"/>
                    <a:pt x="171" y="325"/>
                  </a:cubicBezTo>
                  <a:cubicBezTo>
                    <a:pt x="170" y="325"/>
                    <a:pt x="170" y="326"/>
                    <a:pt x="170" y="327"/>
                  </a:cubicBezTo>
                  <a:cubicBezTo>
                    <a:pt x="170" y="327"/>
                    <a:pt x="170" y="327"/>
                    <a:pt x="171" y="327"/>
                  </a:cubicBezTo>
                  <a:cubicBezTo>
                    <a:pt x="170" y="327"/>
                    <a:pt x="170" y="327"/>
                    <a:pt x="170" y="327"/>
                  </a:cubicBezTo>
                  <a:cubicBezTo>
                    <a:pt x="169" y="327"/>
                    <a:pt x="168" y="328"/>
                    <a:pt x="168" y="329"/>
                  </a:cubicBezTo>
                  <a:cubicBezTo>
                    <a:pt x="168" y="329"/>
                    <a:pt x="167" y="329"/>
                    <a:pt x="167" y="330"/>
                  </a:cubicBezTo>
                  <a:cubicBezTo>
                    <a:pt x="167" y="330"/>
                    <a:pt x="167" y="331"/>
                    <a:pt x="167" y="331"/>
                  </a:cubicBezTo>
                  <a:cubicBezTo>
                    <a:pt x="167" y="330"/>
                    <a:pt x="166" y="331"/>
                    <a:pt x="166" y="331"/>
                  </a:cubicBezTo>
                  <a:cubicBezTo>
                    <a:pt x="165" y="331"/>
                    <a:pt x="165" y="331"/>
                    <a:pt x="165" y="332"/>
                  </a:cubicBezTo>
                  <a:cubicBezTo>
                    <a:pt x="165" y="332"/>
                    <a:pt x="165" y="332"/>
                    <a:pt x="164" y="333"/>
                  </a:cubicBezTo>
                  <a:cubicBezTo>
                    <a:pt x="164" y="333"/>
                    <a:pt x="164" y="333"/>
                    <a:pt x="164" y="333"/>
                  </a:cubicBezTo>
                  <a:cubicBezTo>
                    <a:pt x="163" y="333"/>
                    <a:pt x="163" y="334"/>
                    <a:pt x="163" y="335"/>
                  </a:cubicBezTo>
                  <a:cubicBezTo>
                    <a:pt x="163" y="335"/>
                    <a:pt x="163" y="335"/>
                    <a:pt x="163" y="335"/>
                  </a:cubicBezTo>
                  <a:cubicBezTo>
                    <a:pt x="163" y="335"/>
                    <a:pt x="163" y="336"/>
                    <a:pt x="163" y="336"/>
                  </a:cubicBezTo>
                  <a:cubicBezTo>
                    <a:pt x="162" y="336"/>
                    <a:pt x="162" y="337"/>
                    <a:pt x="161" y="337"/>
                  </a:cubicBezTo>
                  <a:cubicBezTo>
                    <a:pt x="161" y="337"/>
                    <a:pt x="161" y="338"/>
                    <a:pt x="161" y="338"/>
                  </a:cubicBezTo>
                  <a:cubicBezTo>
                    <a:pt x="160" y="338"/>
                    <a:pt x="160" y="338"/>
                    <a:pt x="160" y="339"/>
                  </a:cubicBezTo>
                  <a:cubicBezTo>
                    <a:pt x="160" y="339"/>
                    <a:pt x="160" y="339"/>
                    <a:pt x="160" y="339"/>
                  </a:cubicBezTo>
                  <a:cubicBezTo>
                    <a:pt x="160" y="340"/>
                    <a:pt x="160" y="340"/>
                    <a:pt x="160" y="340"/>
                  </a:cubicBezTo>
                  <a:cubicBezTo>
                    <a:pt x="161" y="340"/>
                    <a:pt x="161" y="340"/>
                    <a:pt x="161" y="340"/>
                  </a:cubicBezTo>
                  <a:cubicBezTo>
                    <a:pt x="161" y="340"/>
                    <a:pt x="161" y="340"/>
                    <a:pt x="161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59" y="340"/>
                    <a:pt x="159" y="340"/>
                    <a:pt x="159" y="341"/>
                  </a:cubicBezTo>
                  <a:cubicBezTo>
                    <a:pt x="159" y="341"/>
                    <a:pt x="159" y="341"/>
                    <a:pt x="158" y="341"/>
                  </a:cubicBezTo>
                  <a:cubicBezTo>
                    <a:pt x="158" y="342"/>
                    <a:pt x="158" y="342"/>
                    <a:pt x="158" y="342"/>
                  </a:cubicBezTo>
                  <a:cubicBezTo>
                    <a:pt x="157" y="342"/>
                    <a:pt x="157" y="342"/>
                    <a:pt x="157" y="342"/>
                  </a:cubicBezTo>
                  <a:cubicBezTo>
                    <a:pt x="157" y="343"/>
                    <a:pt x="157" y="343"/>
                    <a:pt x="156" y="343"/>
                  </a:cubicBezTo>
                  <a:cubicBezTo>
                    <a:pt x="156" y="344"/>
                    <a:pt x="156" y="344"/>
                    <a:pt x="156" y="345"/>
                  </a:cubicBezTo>
                  <a:cubicBezTo>
                    <a:pt x="156" y="345"/>
                    <a:pt x="156" y="345"/>
                    <a:pt x="156" y="345"/>
                  </a:cubicBezTo>
                  <a:cubicBezTo>
                    <a:pt x="155" y="345"/>
                    <a:pt x="155" y="345"/>
                    <a:pt x="155" y="346"/>
                  </a:cubicBezTo>
                  <a:cubicBezTo>
                    <a:pt x="155" y="346"/>
                    <a:pt x="154" y="346"/>
                    <a:pt x="154" y="346"/>
                  </a:cubicBezTo>
                  <a:cubicBezTo>
                    <a:pt x="154" y="346"/>
                    <a:pt x="154" y="346"/>
                    <a:pt x="154" y="346"/>
                  </a:cubicBezTo>
                  <a:cubicBezTo>
                    <a:pt x="154" y="346"/>
                    <a:pt x="153" y="346"/>
                    <a:pt x="153" y="346"/>
                  </a:cubicBezTo>
                  <a:cubicBezTo>
                    <a:pt x="152" y="347"/>
                    <a:pt x="152" y="347"/>
                    <a:pt x="152" y="348"/>
                  </a:cubicBezTo>
                  <a:cubicBezTo>
                    <a:pt x="152" y="348"/>
                    <a:pt x="152" y="348"/>
                    <a:pt x="151" y="348"/>
                  </a:cubicBezTo>
                  <a:cubicBezTo>
                    <a:pt x="151" y="349"/>
                    <a:pt x="151" y="349"/>
                    <a:pt x="151" y="349"/>
                  </a:cubicBezTo>
                  <a:cubicBezTo>
                    <a:pt x="151" y="349"/>
                    <a:pt x="151" y="349"/>
                    <a:pt x="151" y="350"/>
                  </a:cubicBezTo>
                  <a:cubicBezTo>
                    <a:pt x="150" y="350"/>
                    <a:pt x="150" y="350"/>
                    <a:pt x="150" y="351"/>
                  </a:cubicBezTo>
                  <a:cubicBezTo>
                    <a:pt x="150" y="351"/>
                    <a:pt x="150" y="351"/>
                    <a:pt x="150" y="351"/>
                  </a:cubicBezTo>
                  <a:cubicBezTo>
                    <a:pt x="150" y="351"/>
                    <a:pt x="149" y="351"/>
                    <a:pt x="149" y="352"/>
                  </a:cubicBezTo>
                  <a:cubicBezTo>
                    <a:pt x="149" y="352"/>
                    <a:pt x="149" y="352"/>
                    <a:pt x="149" y="353"/>
                  </a:cubicBezTo>
                  <a:cubicBezTo>
                    <a:pt x="149" y="353"/>
                    <a:pt x="149" y="353"/>
                    <a:pt x="148" y="353"/>
                  </a:cubicBezTo>
                  <a:cubicBezTo>
                    <a:pt x="148" y="353"/>
                    <a:pt x="148" y="353"/>
                    <a:pt x="148" y="353"/>
                  </a:cubicBezTo>
                  <a:cubicBezTo>
                    <a:pt x="148" y="354"/>
                    <a:pt x="148" y="354"/>
                    <a:pt x="148" y="354"/>
                  </a:cubicBezTo>
                  <a:cubicBezTo>
                    <a:pt x="148" y="354"/>
                    <a:pt x="148" y="354"/>
                    <a:pt x="148" y="354"/>
                  </a:cubicBezTo>
                  <a:cubicBezTo>
                    <a:pt x="148" y="354"/>
                    <a:pt x="147" y="354"/>
                    <a:pt x="147" y="354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6" y="356"/>
                    <a:pt x="146" y="356"/>
                    <a:pt x="146" y="356"/>
                  </a:cubicBezTo>
                  <a:cubicBezTo>
                    <a:pt x="146" y="356"/>
                    <a:pt x="146" y="356"/>
                    <a:pt x="146" y="356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4" y="358"/>
                    <a:pt x="144" y="358"/>
                    <a:pt x="144" y="358"/>
                  </a:cubicBezTo>
                  <a:cubicBezTo>
                    <a:pt x="143" y="359"/>
                    <a:pt x="143" y="359"/>
                    <a:pt x="143" y="359"/>
                  </a:cubicBezTo>
                  <a:cubicBezTo>
                    <a:pt x="143" y="359"/>
                    <a:pt x="143" y="359"/>
                    <a:pt x="143" y="360"/>
                  </a:cubicBezTo>
                  <a:cubicBezTo>
                    <a:pt x="142" y="360"/>
                    <a:pt x="142" y="360"/>
                    <a:pt x="142" y="360"/>
                  </a:cubicBezTo>
                  <a:cubicBezTo>
                    <a:pt x="141" y="361"/>
                    <a:pt x="141" y="361"/>
                    <a:pt x="141" y="361"/>
                  </a:cubicBezTo>
                  <a:cubicBezTo>
                    <a:pt x="141" y="361"/>
                    <a:pt x="141" y="361"/>
                    <a:pt x="141" y="361"/>
                  </a:cubicBezTo>
                  <a:cubicBezTo>
                    <a:pt x="141" y="361"/>
                    <a:pt x="141" y="362"/>
                    <a:pt x="141" y="362"/>
                  </a:cubicBezTo>
                  <a:cubicBezTo>
                    <a:pt x="140" y="362"/>
                    <a:pt x="140" y="362"/>
                    <a:pt x="140" y="362"/>
                  </a:cubicBezTo>
                  <a:cubicBezTo>
                    <a:pt x="140" y="362"/>
                    <a:pt x="140" y="363"/>
                    <a:pt x="139" y="363"/>
                  </a:cubicBezTo>
                  <a:cubicBezTo>
                    <a:pt x="139" y="363"/>
                    <a:pt x="139" y="363"/>
                    <a:pt x="139" y="363"/>
                  </a:cubicBezTo>
                  <a:cubicBezTo>
                    <a:pt x="139" y="363"/>
                    <a:pt x="138" y="364"/>
                    <a:pt x="138" y="364"/>
                  </a:cubicBezTo>
                  <a:cubicBezTo>
                    <a:pt x="138" y="364"/>
                    <a:pt x="138" y="364"/>
                    <a:pt x="138" y="364"/>
                  </a:cubicBezTo>
                  <a:cubicBezTo>
                    <a:pt x="138" y="364"/>
                    <a:pt x="137" y="365"/>
                    <a:pt x="137" y="365"/>
                  </a:cubicBezTo>
                  <a:cubicBezTo>
                    <a:pt x="135" y="366"/>
                    <a:pt x="135" y="366"/>
                    <a:pt x="135" y="366"/>
                  </a:cubicBezTo>
                  <a:cubicBezTo>
                    <a:pt x="135" y="366"/>
                    <a:pt x="135" y="367"/>
                    <a:pt x="135" y="367"/>
                  </a:cubicBezTo>
                  <a:cubicBezTo>
                    <a:pt x="134" y="367"/>
                    <a:pt x="134" y="367"/>
                    <a:pt x="134" y="368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9"/>
                    <a:pt x="133" y="369"/>
                    <a:pt x="133" y="369"/>
                  </a:cubicBezTo>
                  <a:cubicBezTo>
                    <a:pt x="133" y="369"/>
                    <a:pt x="133" y="369"/>
                    <a:pt x="132" y="370"/>
                  </a:cubicBezTo>
                  <a:cubicBezTo>
                    <a:pt x="132" y="370"/>
                    <a:pt x="132" y="370"/>
                    <a:pt x="132" y="370"/>
                  </a:cubicBezTo>
                  <a:cubicBezTo>
                    <a:pt x="132" y="370"/>
                    <a:pt x="132" y="370"/>
                    <a:pt x="132" y="370"/>
                  </a:cubicBezTo>
                  <a:cubicBezTo>
                    <a:pt x="132" y="370"/>
                    <a:pt x="132" y="371"/>
                    <a:pt x="132" y="371"/>
                  </a:cubicBezTo>
                  <a:cubicBezTo>
                    <a:pt x="131" y="371"/>
                    <a:pt x="131" y="371"/>
                    <a:pt x="131" y="371"/>
                  </a:cubicBezTo>
                  <a:cubicBezTo>
                    <a:pt x="131" y="372"/>
                    <a:pt x="130" y="372"/>
                    <a:pt x="130" y="372"/>
                  </a:cubicBezTo>
                  <a:cubicBezTo>
                    <a:pt x="130" y="372"/>
                    <a:pt x="130" y="373"/>
                    <a:pt x="130" y="373"/>
                  </a:cubicBezTo>
                  <a:cubicBezTo>
                    <a:pt x="129" y="373"/>
                    <a:pt x="129" y="373"/>
                    <a:pt x="129" y="373"/>
                  </a:cubicBezTo>
                  <a:cubicBezTo>
                    <a:pt x="129" y="374"/>
                    <a:pt x="128" y="374"/>
                    <a:pt x="128" y="375"/>
                  </a:cubicBezTo>
                  <a:cubicBezTo>
                    <a:pt x="128" y="375"/>
                    <a:pt x="128" y="375"/>
                    <a:pt x="128" y="375"/>
                  </a:cubicBezTo>
                  <a:cubicBezTo>
                    <a:pt x="127" y="376"/>
                    <a:pt x="127" y="376"/>
                    <a:pt x="127" y="377"/>
                  </a:cubicBezTo>
                  <a:cubicBezTo>
                    <a:pt x="127" y="377"/>
                    <a:pt x="127" y="377"/>
                    <a:pt x="127" y="377"/>
                  </a:cubicBezTo>
                  <a:cubicBezTo>
                    <a:pt x="127" y="377"/>
                    <a:pt x="127" y="377"/>
                    <a:pt x="127" y="377"/>
                  </a:cubicBezTo>
                  <a:cubicBezTo>
                    <a:pt x="127" y="377"/>
                    <a:pt x="127" y="378"/>
                    <a:pt x="127" y="378"/>
                  </a:cubicBezTo>
                  <a:cubicBezTo>
                    <a:pt x="126" y="378"/>
                    <a:pt x="126" y="379"/>
                    <a:pt x="125" y="380"/>
                  </a:cubicBezTo>
                  <a:cubicBezTo>
                    <a:pt x="125" y="380"/>
                    <a:pt x="125" y="380"/>
                    <a:pt x="125" y="380"/>
                  </a:cubicBezTo>
                  <a:cubicBezTo>
                    <a:pt x="125" y="381"/>
                    <a:pt x="124" y="381"/>
                    <a:pt x="124" y="382"/>
                  </a:cubicBezTo>
                  <a:cubicBezTo>
                    <a:pt x="124" y="382"/>
                    <a:pt x="124" y="383"/>
                    <a:pt x="124" y="383"/>
                  </a:cubicBezTo>
                  <a:cubicBezTo>
                    <a:pt x="123" y="383"/>
                    <a:pt x="123" y="384"/>
                    <a:pt x="123" y="384"/>
                  </a:cubicBezTo>
                  <a:cubicBezTo>
                    <a:pt x="123" y="384"/>
                    <a:pt x="123" y="385"/>
                    <a:pt x="123" y="385"/>
                  </a:cubicBezTo>
                  <a:cubicBezTo>
                    <a:pt x="123" y="385"/>
                    <a:pt x="122" y="385"/>
                    <a:pt x="122" y="386"/>
                  </a:cubicBezTo>
                  <a:cubicBezTo>
                    <a:pt x="122" y="386"/>
                    <a:pt x="122" y="386"/>
                    <a:pt x="122" y="386"/>
                  </a:cubicBezTo>
                  <a:cubicBezTo>
                    <a:pt x="122" y="386"/>
                    <a:pt x="121" y="387"/>
                    <a:pt x="121" y="387"/>
                  </a:cubicBezTo>
                  <a:cubicBezTo>
                    <a:pt x="121" y="388"/>
                    <a:pt x="121" y="388"/>
                    <a:pt x="121" y="388"/>
                  </a:cubicBezTo>
                  <a:cubicBezTo>
                    <a:pt x="120" y="389"/>
                    <a:pt x="120" y="389"/>
                    <a:pt x="120" y="389"/>
                  </a:cubicBezTo>
                  <a:cubicBezTo>
                    <a:pt x="120" y="389"/>
                    <a:pt x="120" y="389"/>
                    <a:pt x="119" y="390"/>
                  </a:cubicBezTo>
                  <a:cubicBezTo>
                    <a:pt x="119" y="390"/>
                    <a:pt x="119" y="391"/>
                    <a:pt x="118" y="392"/>
                  </a:cubicBezTo>
                  <a:cubicBezTo>
                    <a:pt x="118" y="392"/>
                    <a:pt x="118" y="392"/>
                    <a:pt x="118" y="392"/>
                  </a:cubicBezTo>
                  <a:cubicBezTo>
                    <a:pt x="118" y="393"/>
                    <a:pt x="118" y="393"/>
                    <a:pt x="118" y="393"/>
                  </a:cubicBezTo>
                  <a:cubicBezTo>
                    <a:pt x="117" y="394"/>
                    <a:pt x="117" y="394"/>
                    <a:pt x="117" y="394"/>
                  </a:cubicBezTo>
                  <a:cubicBezTo>
                    <a:pt x="116" y="395"/>
                    <a:pt x="116" y="395"/>
                    <a:pt x="116" y="395"/>
                  </a:cubicBezTo>
                  <a:cubicBezTo>
                    <a:pt x="115" y="395"/>
                    <a:pt x="115" y="395"/>
                    <a:pt x="114" y="396"/>
                  </a:cubicBezTo>
                  <a:cubicBezTo>
                    <a:pt x="114" y="396"/>
                    <a:pt x="114" y="396"/>
                    <a:pt x="114" y="396"/>
                  </a:cubicBezTo>
                  <a:cubicBezTo>
                    <a:pt x="114" y="396"/>
                    <a:pt x="113" y="396"/>
                    <a:pt x="113" y="396"/>
                  </a:cubicBezTo>
                  <a:cubicBezTo>
                    <a:pt x="112" y="397"/>
                    <a:pt x="112" y="398"/>
                    <a:pt x="112" y="399"/>
                  </a:cubicBezTo>
                  <a:cubicBezTo>
                    <a:pt x="112" y="399"/>
                    <a:pt x="112" y="399"/>
                    <a:pt x="111" y="399"/>
                  </a:cubicBezTo>
                  <a:cubicBezTo>
                    <a:pt x="111" y="400"/>
                    <a:pt x="110" y="400"/>
                    <a:pt x="110" y="401"/>
                  </a:cubicBezTo>
                  <a:cubicBezTo>
                    <a:pt x="110" y="401"/>
                    <a:pt x="110" y="401"/>
                    <a:pt x="110" y="401"/>
                  </a:cubicBezTo>
                  <a:cubicBezTo>
                    <a:pt x="110" y="402"/>
                    <a:pt x="110" y="402"/>
                    <a:pt x="110" y="402"/>
                  </a:cubicBezTo>
                  <a:cubicBezTo>
                    <a:pt x="110" y="402"/>
                    <a:pt x="110" y="402"/>
                    <a:pt x="109" y="402"/>
                  </a:cubicBezTo>
                  <a:cubicBezTo>
                    <a:pt x="109" y="402"/>
                    <a:pt x="109" y="402"/>
                    <a:pt x="109" y="403"/>
                  </a:cubicBezTo>
                  <a:cubicBezTo>
                    <a:pt x="109" y="403"/>
                    <a:pt x="109" y="403"/>
                    <a:pt x="108" y="403"/>
                  </a:cubicBezTo>
                  <a:cubicBezTo>
                    <a:pt x="108" y="403"/>
                    <a:pt x="108" y="403"/>
                    <a:pt x="108" y="404"/>
                  </a:cubicBezTo>
                  <a:cubicBezTo>
                    <a:pt x="107" y="404"/>
                    <a:pt x="107" y="404"/>
                    <a:pt x="107" y="405"/>
                  </a:cubicBezTo>
                  <a:cubicBezTo>
                    <a:pt x="107" y="405"/>
                    <a:pt x="107" y="405"/>
                    <a:pt x="107" y="405"/>
                  </a:cubicBezTo>
                  <a:cubicBezTo>
                    <a:pt x="107" y="406"/>
                    <a:pt x="107" y="406"/>
                    <a:pt x="107" y="406"/>
                  </a:cubicBezTo>
                  <a:cubicBezTo>
                    <a:pt x="107" y="406"/>
                    <a:pt x="107" y="406"/>
                    <a:pt x="107" y="407"/>
                  </a:cubicBezTo>
                  <a:cubicBezTo>
                    <a:pt x="107" y="407"/>
                    <a:pt x="107" y="407"/>
                    <a:pt x="107" y="407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7" y="409"/>
                    <a:pt x="107" y="410"/>
                    <a:pt x="107" y="410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07" y="411"/>
                    <a:pt x="107" y="411"/>
                    <a:pt x="107" y="411"/>
                  </a:cubicBezTo>
                  <a:cubicBezTo>
                    <a:pt x="107" y="411"/>
                    <a:pt x="107" y="411"/>
                    <a:pt x="107" y="411"/>
                  </a:cubicBezTo>
                  <a:cubicBezTo>
                    <a:pt x="107" y="411"/>
                    <a:pt x="107" y="411"/>
                    <a:pt x="107" y="411"/>
                  </a:cubicBezTo>
                  <a:cubicBezTo>
                    <a:pt x="107" y="412"/>
                    <a:pt x="106" y="412"/>
                    <a:pt x="106" y="413"/>
                  </a:cubicBezTo>
                  <a:cubicBezTo>
                    <a:pt x="106" y="413"/>
                    <a:pt x="106" y="413"/>
                    <a:pt x="105" y="413"/>
                  </a:cubicBezTo>
                  <a:cubicBezTo>
                    <a:pt x="105" y="414"/>
                    <a:pt x="105" y="414"/>
                    <a:pt x="105" y="414"/>
                  </a:cubicBezTo>
                  <a:cubicBezTo>
                    <a:pt x="104" y="414"/>
                    <a:pt x="104" y="415"/>
                    <a:pt x="104" y="415"/>
                  </a:cubicBezTo>
                  <a:cubicBezTo>
                    <a:pt x="104" y="416"/>
                    <a:pt x="104" y="416"/>
                    <a:pt x="104" y="416"/>
                  </a:cubicBezTo>
                  <a:cubicBezTo>
                    <a:pt x="104" y="416"/>
                    <a:pt x="103" y="417"/>
                    <a:pt x="103" y="417"/>
                  </a:cubicBezTo>
                  <a:cubicBezTo>
                    <a:pt x="104" y="417"/>
                    <a:pt x="104" y="417"/>
                    <a:pt x="104" y="417"/>
                  </a:cubicBezTo>
                  <a:cubicBezTo>
                    <a:pt x="103" y="417"/>
                    <a:pt x="103" y="417"/>
                    <a:pt x="103" y="417"/>
                  </a:cubicBezTo>
                  <a:cubicBezTo>
                    <a:pt x="103" y="418"/>
                    <a:pt x="103" y="418"/>
                    <a:pt x="103" y="418"/>
                  </a:cubicBezTo>
                  <a:cubicBezTo>
                    <a:pt x="103" y="418"/>
                    <a:pt x="103" y="419"/>
                    <a:pt x="103" y="419"/>
                  </a:cubicBezTo>
                  <a:cubicBezTo>
                    <a:pt x="103" y="420"/>
                    <a:pt x="103" y="420"/>
                    <a:pt x="103" y="420"/>
                  </a:cubicBezTo>
                  <a:cubicBezTo>
                    <a:pt x="103" y="420"/>
                    <a:pt x="103" y="420"/>
                    <a:pt x="103" y="420"/>
                  </a:cubicBezTo>
                  <a:cubicBezTo>
                    <a:pt x="103" y="421"/>
                    <a:pt x="103" y="421"/>
                    <a:pt x="103" y="421"/>
                  </a:cubicBezTo>
                  <a:cubicBezTo>
                    <a:pt x="103" y="421"/>
                    <a:pt x="103" y="421"/>
                    <a:pt x="102" y="421"/>
                  </a:cubicBezTo>
                  <a:cubicBezTo>
                    <a:pt x="102" y="421"/>
                    <a:pt x="102" y="422"/>
                    <a:pt x="102" y="422"/>
                  </a:cubicBezTo>
                  <a:cubicBezTo>
                    <a:pt x="102" y="422"/>
                    <a:pt x="102" y="422"/>
                    <a:pt x="102" y="422"/>
                  </a:cubicBezTo>
                  <a:cubicBezTo>
                    <a:pt x="101" y="423"/>
                    <a:pt x="101" y="423"/>
                    <a:pt x="101" y="424"/>
                  </a:cubicBezTo>
                  <a:cubicBezTo>
                    <a:pt x="101" y="424"/>
                    <a:pt x="101" y="424"/>
                    <a:pt x="101" y="424"/>
                  </a:cubicBezTo>
                  <a:cubicBezTo>
                    <a:pt x="100" y="424"/>
                    <a:pt x="100" y="425"/>
                    <a:pt x="100" y="425"/>
                  </a:cubicBezTo>
                  <a:cubicBezTo>
                    <a:pt x="100" y="425"/>
                    <a:pt x="100" y="425"/>
                    <a:pt x="100" y="425"/>
                  </a:cubicBezTo>
                  <a:cubicBezTo>
                    <a:pt x="100" y="426"/>
                    <a:pt x="100" y="426"/>
                    <a:pt x="100" y="427"/>
                  </a:cubicBezTo>
                  <a:cubicBezTo>
                    <a:pt x="100" y="428"/>
                    <a:pt x="100" y="428"/>
                    <a:pt x="100" y="428"/>
                  </a:cubicBezTo>
                  <a:cubicBezTo>
                    <a:pt x="100" y="428"/>
                    <a:pt x="100" y="428"/>
                    <a:pt x="100" y="429"/>
                  </a:cubicBezTo>
                  <a:cubicBezTo>
                    <a:pt x="100" y="429"/>
                    <a:pt x="100" y="429"/>
                    <a:pt x="100" y="429"/>
                  </a:cubicBezTo>
                  <a:cubicBezTo>
                    <a:pt x="100" y="430"/>
                    <a:pt x="100" y="430"/>
                    <a:pt x="100" y="430"/>
                  </a:cubicBezTo>
                  <a:cubicBezTo>
                    <a:pt x="100" y="430"/>
                    <a:pt x="100" y="430"/>
                    <a:pt x="100" y="430"/>
                  </a:cubicBezTo>
                  <a:cubicBezTo>
                    <a:pt x="100" y="430"/>
                    <a:pt x="100" y="430"/>
                    <a:pt x="100" y="431"/>
                  </a:cubicBezTo>
                  <a:cubicBezTo>
                    <a:pt x="100" y="431"/>
                    <a:pt x="100" y="431"/>
                    <a:pt x="100" y="431"/>
                  </a:cubicBezTo>
                  <a:cubicBezTo>
                    <a:pt x="99" y="431"/>
                    <a:pt x="99" y="431"/>
                    <a:pt x="99" y="431"/>
                  </a:cubicBezTo>
                  <a:cubicBezTo>
                    <a:pt x="99" y="432"/>
                    <a:pt x="99" y="432"/>
                    <a:pt x="99" y="433"/>
                  </a:cubicBezTo>
                  <a:cubicBezTo>
                    <a:pt x="99" y="433"/>
                    <a:pt x="99" y="433"/>
                    <a:pt x="99" y="433"/>
                  </a:cubicBezTo>
                  <a:cubicBezTo>
                    <a:pt x="99" y="433"/>
                    <a:pt x="98" y="434"/>
                    <a:pt x="98" y="434"/>
                  </a:cubicBezTo>
                  <a:cubicBezTo>
                    <a:pt x="97" y="436"/>
                    <a:pt x="98" y="436"/>
                    <a:pt x="98" y="437"/>
                  </a:cubicBezTo>
                  <a:cubicBezTo>
                    <a:pt x="99" y="437"/>
                    <a:pt x="99" y="437"/>
                    <a:pt x="99" y="437"/>
                  </a:cubicBezTo>
                  <a:cubicBezTo>
                    <a:pt x="100" y="436"/>
                    <a:pt x="100" y="436"/>
                    <a:pt x="100" y="436"/>
                  </a:cubicBezTo>
                  <a:cubicBezTo>
                    <a:pt x="100" y="436"/>
                    <a:pt x="100" y="436"/>
                    <a:pt x="100" y="436"/>
                  </a:cubicBezTo>
                  <a:cubicBezTo>
                    <a:pt x="99" y="437"/>
                    <a:pt x="99" y="437"/>
                    <a:pt x="99" y="437"/>
                  </a:cubicBezTo>
                  <a:cubicBezTo>
                    <a:pt x="99" y="437"/>
                    <a:pt x="99" y="438"/>
                    <a:pt x="99" y="438"/>
                  </a:cubicBezTo>
                  <a:cubicBezTo>
                    <a:pt x="99" y="438"/>
                    <a:pt x="99" y="438"/>
                    <a:pt x="99" y="438"/>
                  </a:cubicBezTo>
                  <a:cubicBezTo>
                    <a:pt x="99" y="439"/>
                    <a:pt x="99" y="439"/>
                    <a:pt x="99" y="440"/>
                  </a:cubicBezTo>
                  <a:cubicBezTo>
                    <a:pt x="99" y="440"/>
                    <a:pt x="99" y="441"/>
                    <a:pt x="99" y="441"/>
                  </a:cubicBezTo>
                  <a:cubicBezTo>
                    <a:pt x="99" y="441"/>
                    <a:pt x="99" y="441"/>
                    <a:pt x="99" y="441"/>
                  </a:cubicBezTo>
                  <a:cubicBezTo>
                    <a:pt x="99" y="442"/>
                    <a:pt x="99" y="442"/>
                    <a:pt x="99" y="442"/>
                  </a:cubicBezTo>
                  <a:cubicBezTo>
                    <a:pt x="99" y="442"/>
                    <a:pt x="99" y="443"/>
                    <a:pt x="99" y="443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7" y="445"/>
                    <a:pt x="96" y="447"/>
                    <a:pt x="96" y="448"/>
                  </a:cubicBezTo>
                  <a:cubicBezTo>
                    <a:pt x="96" y="448"/>
                    <a:pt x="97" y="449"/>
                    <a:pt x="97" y="449"/>
                  </a:cubicBezTo>
                  <a:cubicBezTo>
                    <a:pt x="97" y="450"/>
                    <a:pt x="98" y="450"/>
                    <a:pt x="98" y="450"/>
                  </a:cubicBezTo>
                  <a:cubicBezTo>
                    <a:pt x="98" y="450"/>
                    <a:pt x="98" y="450"/>
                    <a:pt x="98" y="450"/>
                  </a:cubicBezTo>
                  <a:cubicBezTo>
                    <a:pt x="98" y="451"/>
                    <a:pt x="98" y="451"/>
                    <a:pt x="97" y="452"/>
                  </a:cubicBezTo>
                  <a:cubicBezTo>
                    <a:pt x="97" y="452"/>
                    <a:pt x="97" y="452"/>
                    <a:pt x="97" y="452"/>
                  </a:cubicBezTo>
                  <a:cubicBezTo>
                    <a:pt x="97" y="452"/>
                    <a:pt x="97" y="452"/>
                    <a:pt x="97" y="452"/>
                  </a:cubicBezTo>
                  <a:cubicBezTo>
                    <a:pt x="96" y="452"/>
                    <a:pt x="96" y="453"/>
                    <a:pt x="96" y="453"/>
                  </a:cubicBezTo>
                  <a:cubicBezTo>
                    <a:pt x="96" y="453"/>
                    <a:pt x="96" y="453"/>
                    <a:pt x="95" y="454"/>
                  </a:cubicBezTo>
                  <a:cubicBezTo>
                    <a:pt x="96" y="454"/>
                    <a:pt x="96" y="454"/>
                    <a:pt x="96" y="454"/>
                  </a:cubicBezTo>
                  <a:cubicBezTo>
                    <a:pt x="96" y="454"/>
                    <a:pt x="96" y="454"/>
                    <a:pt x="96" y="454"/>
                  </a:cubicBezTo>
                  <a:cubicBezTo>
                    <a:pt x="95" y="454"/>
                    <a:pt x="95" y="454"/>
                    <a:pt x="95" y="454"/>
                  </a:cubicBezTo>
                  <a:cubicBezTo>
                    <a:pt x="95" y="454"/>
                    <a:pt x="95" y="454"/>
                    <a:pt x="95" y="454"/>
                  </a:cubicBezTo>
                  <a:cubicBezTo>
                    <a:pt x="94" y="455"/>
                    <a:pt x="94" y="455"/>
                    <a:pt x="94" y="455"/>
                  </a:cubicBezTo>
                  <a:cubicBezTo>
                    <a:pt x="94" y="456"/>
                    <a:pt x="94" y="457"/>
                    <a:pt x="94" y="458"/>
                  </a:cubicBezTo>
                  <a:cubicBezTo>
                    <a:pt x="94" y="459"/>
                    <a:pt x="94" y="459"/>
                    <a:pt x="94" y="459"/>
                  </a:cubicBezTo>
                  <a:cubicBezTo>
                    <a:pt x="94" y="459"/>
                    <a:pt x="94" y="460"/>
                    <a:pt x="94" y="460"/>
                  </a:cubicBezTo>
                  <a:cubicBezTo>
                    <a:pt x="94" y="461"/>
                    <a:pt x="94" y="461"/>
                    <a:pt x="94" y="461"/>
                  </a:cubicBezTo>
                  <a:cubicBezTo>
                    <a:pt x="94" y="462"/>
                    <a:pt x="94" y="462"/>
                    <a:pt x="94" y="462"/>
                  </a:cubicBezTo>
                  <a:cubicBezTo>
                    <a:pt x="94" y="462"/>
                    <a:pt x="94" y="462"/>
                    <a:pt x="94" y="463"/>
                  </a:cubicBezTo>
                  <a:cubicBezTo>
                    <a:pt x="94" y="463"/>
                    <a:pt x="94" y="463"/>
                    <a:pt x="94" y="463"/>
                  </a:cubicBezTo>
                  <a:cubicBezTo>
                    <a:pt x="94" y="463"/>
                    <a:pt x="94" y="463"/>
                    <a:pt x="94" y="464"/>
                  </a:cubicBezTo>
                  <a:cubicBezTo>
                    <a:pt x="93" y="464"/>
                    <a:pt x="93" y="465"/>
                    <a:pt x="94" y="466"/>
                  </a:cubicBezTo>
                  <a:cubicBezTo>
                    <a:pt x="94" y="466"/>
                    <a:pt x="94" y="466"/>
                    <a:pt x="94" y="466"/>
                  </a:cubicBezTo>
                  <a:cubicBezTo>
                    <a:pt x="94" y="467"/>
                    <a:pt x="94" y="467"/>
                    <a:pt x="94" y="467"/>
                  </a:cubicBezTo>
                  <a:cubicBezTo>
                    <a:pt x="95" y="467"/>
                    <a:pt x="95" y="468"/>
                    <a:pt x="95" y="468"/>
                  </a:cubicBezTo>
                  <a:cubicBezTo>
                    <a:pt x="95" y="468"/>
                    <a:pt x="94" y="469"/>
                    <a:pt x="94" y="469"/>
                  </a:cubicBezTo>
                  <a:cubicBezTo>
                    <a:pt x="94" y="469"/>
                    <a:pt x="94" y="469"/>
                    <a:pt x="94" y="469"/>
                  </a:cubicBezTo>
                  <a:cubicBezTo>
                    <a:pt x="94" y="469"/>
                    <a:pt x="94" y="470"/>
                    <a:pt x="94" y="470"/>
                  </a:cubicBezTo>
                  <a:cubicBezTo>
                    <a:pt x="94" y="470"/>
                    <a:pt x="94" y="470"/>
                    <a:pt x="94" y="471"/>
                  </a:cubicBezTo>
                  <a:cubicBezTo>
                    <a:pt x="94" y="471"/>
                    <a:pt x="94" y="472"/>
                    <a:pt x="94" y="472"/>
                  </a:cubicBezTo>
                  <a:cubicBezTo>
                    <a:pt x="94" y="472"/>
                    <a:pt x="94" y="472"/>
                    <a:pt x="94" y="472"/>
                  </a:cubicBezTo>
                  <a:cubicBezTo>
                    <a:pt x="94" y="473"/>
                    <a:pt x="93" y="473"/>
                    <a:pt x="93" y="473"/>
                  </a:cubicBezTo>
                  <a:cubicBezTo>
                    <a:pt x="93" y="473"/>
                    <a:pt x="93" y="474"/>
                    <a:pt x="93" y="474"/>
                  </a:cubicBezTo>
                  <a:cubicBezTo>
                    <a:pt x="93" y="474"/>
                    <a:pt x="92" y="475"/>
                    <a:pt x="93" y="476"/>
                  </a:cubicBezTo>
                  <a:cubicBezTo>
                    <a:pt x="93" y="476"/>
                    <a:pt x="92" y="477"/>
                    <a:pt x="92" y="477"/>
                  </a:cubicBezTo>
                  <a:cubicBezTo>
                    <a:pt x="92" y="477"/>
                    <a:pt x="92" y="477"/>
                    <a:pt x="92" y="477"/>
                  </a:cubicBezTo>
                  <a:cubicBezTo>
                    <a:pt x="92" y="478"/>
                    <a:pt x="92" y="478"/>
                    <a:pt x="92" y="478"/>
                  </a:cubicBezTo>
                  <a:cubicBezTo>
                    <a:pt x="92" y="478"/>
                    <a:pt x="92" y="479"/>
                    <a:pt x="92" y="479"/>
                  </a:cubicBezTo>
                  <a:cubicBezTo>
                    <a:pt x="91" y="480"/>
                    <a:pt x="92" y="481"/>
                    <a:pt x="92" y="481"/>
                  </a:cubicBezTo>
                  <a:cubicBezTo>
                    <a:pt x="92" y="482"/>
                    <a:pt x="93" y="482"/>
                    <a:pt x="94" y="482"/>
                  </a:cubicBezTo>
                  <a:cubicBezTo>
                    <a:pt x="94" y="482"/>
                    <a:pt x="94" y="482"/>
                    <a:pt x="94" y="482"/>
                  </a:cubicBezTo>
                  <a:cubicBezTo>
                    <a:pt x="95" y="482"/>
                    <a:pt x="95" y="482"/>
                    <a:pt x="95" y="482"/>
                  </a:cubicBezTo>
                  <a:cubicBezTo>
                    <a:pt x="95" y="482"/>
                    <a:pt x="95" y="482"/>
                    <a:pt x="95" y="482"/>
                  </a:cubicBezTo>
                  <a:cubicBezTo>
                    <a:pt x="96" y="483"/>
                    <a:pt x="96" y="483"/>
                    <a:pt x="97" y="484"/>
                  </a:cubicBezTo>
                  <a:cubicBezTo>
                    <a:pt x="97" y="484"/>
                    <a:pt x="97" y="484"/>
                    <a:pt x="98" y="484"/>
                  </a:cubicBezTo>
                  <a:cubicBezTo>
                    <a:pt x="98" y="484"/>
                    <a:pt x="98" y="484"/>
                    <a:pt x="98" y="484"/>
                  </a:cubicBezTo>
                  <a:cubicBezTo>
                    <a:pt x="98" y="484"/>
                    <a:pt x="98" y="485"/>
                    <a:pt x="99" y="485"/>
                  </a:cubicBezTo>
                  <a:cubicBezTo>
                    <a:pt x="99" y="485"/>
                    <a:pt x="99" y="485"/>
                    <a:pt x="99" y="485"/>
                  </a:cubicBezTo>
                  <a:cubicBezTo>
                    <a:pt x="99" y="486"/>
                    <a:pt x="99" y="486"/>
                    <a:pt x="100" y="487"/>
                  </a:cubicBezTo>
                  <a:cubicBezTo>
                    <a:pt x="100" y="487"/>
                    <a:pt x="100" y="487"/>
                    <a:pt x="101" y="487"/>
                  </a:cubicBezTo>
                  <a:cubicBezTo>
                    <a:pt x="101" y="487"/>
                    <a:pt x="101" y="488"/>
                    <a:pt x="101" y="488"/>
                  </a:cubicBezTo>
                  <a:cubicBezTo>
                    <a:pt x="101" y="488"/>
                    <a:pt x="101" y="488"/>
                    <a:pt x="101" y="488"/>
                  </a:cubicBezTo>
                  <a:cubicBezTo>
                    <a:pt x="101" y="488"/>
                    <a:pt x="101" y="489"/>
                    <a:pt x="101" y="489"/>
                  </a:cubicBezTo>
                  <a:cubicBezTo>
                    <a:pt x="102" y="490"/>
                    <a:pt x="102" y="490"/>
                    <a:pt x="103" y="490"/>
                  </a:cubicBezTo>
                  <a:cubicBezTo>
                    <a:pt x="102" y="491"/>
                    <a:pt x="102" y="492"/>
                    <a:pt x="103" y="493"/>
                  </a:cubicBezTo>
                  <a:cubicBezTo>
                    <a:pt x="103" y="494"/>
                    <a:pt x="104" y="495"/>
                    <a:pt x="104" y="495"/>
                  </a:cubicBezTo>
                  <a:cubicBezTo>
                    <a:pt x="105" y="495"/>
                    <a:pt x="105" y="495"/>
                    <a:pt x="105" y="495"/>
                  </a:cubicBezTo>
                  <a:cubicBezTo>
                    <a:pt x="105" y="495"/>
                    <a:pt x="105" y="496"/>
                    <a:pt x="106" y="496"/>
                  </a:cubicBezTo>
                  <a:cubicBezTo>
                    <a:pt x="106" y="496"/>
                    <a:pt x="106" y="496"/>
                    <a:pt x="106" y="497"/>
                  </a:cubicBezTo>
                  <a:cubicBezTo>
                    <a:pt x="106" y="497"/>
                    <a:pt x="106" y="498"/>
                    <a:pt x="106" y="498"/>
                  </a:cubicBezTo>
                  <a:cubicBezTo>
                    <a:pt x="106" y="499"/>
                    <a:pt x="106" y="500"/>
                    <a:pt x="106" y="501"/>
                  </a:cubicBezTo>
                  <a:cubicBezTo>
                    <a:pt x="105" y="501"/>
                    <a:pt x="105" y="502"/>
                    <a:pt x="105" y="503"/>
                  </a:cubicBezTo>
                  <a:cubicBezTo>
                    <a:pt x="105" y="503"/>
                    <a:pt x="105" y="503"/>
                    <a:pt x="105" y="503"/>
                  </a:cubicBezTo>
                  <a:cubicBezTo>
                    <a:pt x="105" y="504"/>
                    <a:pt x="105" y="504"/>
                    <a:pt x="105" y="504"/>
                  </a:cubicBezTo>
                  <a:cubicBezTo>
                    <a:pt x="104" y="505"/>
                    <a:pt x="104" y="506"/>
                    <a:pt x="104" y="507"/>
                  </a:cubicBezTo>
                  <a:cubicBezTo>
                    <a:pt x="104" y="507"/>
                    <a:pt x="104" y="507"/>
                    <a:pt x="104" y="507"/>
                  </a:cubicBezTo>
                  <a:cubicBezTo>
                    <a:pt x="103" y="508"/>
                    <a:pt x="103" y="508"/>
                    <a:pt x="103" y="508"/>
                  </a:cubicBezTo>
                  <a:cubicBezTo>
                    <a:pt x="103" y="508"/>
                    <a:pt x="103" y="508"/>
                    <a:pt x="103" y="508"/>
                  </a:cubicBezTo>
                  <a:cubicBezTo>
                    <a:pt x="103" y="508"/>
                    <a:pt x="103" y="508"/>
                    <a:pt x="103" y="508"/>
                  </a:cubicBezTo>
                  <a:cubicBezTo>
                    <a:pt x="103" y="509"/>
                    <a:pt x="103" y="509"/>
                    <a:pt x="103" y="509"/>
                  </a:cubicBezTo>
                  <a:cubicBezTo>
                    <a:pt x="103" y="509"/>
                    <a:pt x="103" y="509"/>
                    <a:pt x="103" y="509"/>
                  </a:cubicBezTo>
                  <a:cubicBezTo>
                    <a:pt x="103" y="510"/>
                    <a:pt x="103" y="510"/>
                    <a:pt x="103" y="511"/>
                  </a:cubicBezTo>
                  <a:cubicBezTo>
                    <a:pt x="103" y="511"/>
                    <a:pt x="103" y="511"/>
                    <a:pt x="103" y="511"/>
                  </a:cubicBezTo>
                  <a:cubicBezTo>
                    <a:pt x="103" y="512"/>
                    <a:pt x="102" y="512"/>
                    <a:pt x="102" y="513"/>
                  </a:cubicBezTo>
                  <a:cubicBezTo>
                    <a:pt x="102" y="514"/>
                    <a:pt x="102" y="515"/>
                    <a:pt x="103" y="516"/>
                  </a:cubicBezTo>
                  <a:cubicBezTo>
                    <a:pt x="103" y="516"/>
                    <a:pt x="103" y="516"/>
                    <a:pt x="103" y="516"/>
                  </a:cubicBezTo>
                  <a:cubicBezTo>
                    <a:pt x="103" y="516"/>
                    <a:pt x="103" y="517"/>
                    <a:pt x="103" y="517"/>
                  </a:cubicBezTo>
                  <a:cubicBezTo>
                    <a:pt x="102" y="517"/>
                    <a:pt x="102" y="518"/>
                    <a:pt x="102" y="518"/>
                  </a:cubicBezTo>
                  <a:cubicBezTo>
                    <a:pt x="102" y="519"/>
                    <a:pt x="102" y="519"/>
                    <a:pt x="102" y="519"/>
                  </a:cubicBezTo>
                  <a:cubicBezTo>
                    <a:pt x="102" y="519"/>
                    <a:pt x="102" y="520"/>
                    <a:pt x="102" y="521"/>
                  </a:cubicBezTo>
                  <a:cubicBezTo>
                    <a:pt x="102" y="521"/>
                    <a:pt x="102" y="522"/>
                    <a:pt x="103" y="522"/>
                  </a:cubicBezTo>
                  <a:cubicBezTo>
                    <a:pt x="103" y="523"/>
                    <a:pt x="103" y="523"/>
                    <a:pt x="103" y="523"/>
                  </a:cubicBezTo>
                  <a:cubicBezTo>
                    <a:pt x="103" y="523"/>
                    <a:pt x="103" y="523"/>
                    <a:pt x="103" y="524"/>
                  </a:cubicBezTo>
                  <a:cubicBezTo>
                    <a:pt x="103" y="525"/>
                    <a:pt x="103" y="525"/>
                    <a:pt x="103" y="525"/>
                  </a:cubicBezTo>
                  <a:cubicBezTo>
                    <a:pt x="102" y="526"/>
                    <a:pt x="102" y="527"/>
                    <a:pt x="102" y="528"/>
                  </a:cubicBezTo>
                  <a:cubicBezTo>
                    <a:pt x="102" y="528"/>
                    <a:pt x="102" y="529"/>
                    <a:pt x="102" y="529"/>
                  </a:cubicBezTo>
                  <a:cubicBezTo>
                    <a:pt x="101" y="529"/>
                    <a:pt x="101" y="529"/>
                    <a:pt x="101" y="529"/>
                  </a:cubicBezTo>
                  <a:cubicBezTo>
                    <a:pt x="101" y="530"/>
                    <a:pt x="101" y="530"/>
                    <a:pt x="101" y="531"/>
                  </a:cubicBezTo>
                  <a:cubicBezTo>
                    <a:pt x="101" y="531"/>
                    <a:pt x="101" y="531"/>
                    <a:pt x="101" y="532"/>
                  </a:cubicBezTo>
                  <a:cubicBezTo>
                    <a:pt x="101" y="532"/>
                    <a:pt x="101" y="532"/>
                    <a:pt x="101" y="533"/>
                  </a:cubicBezTo>
                  <a:cubicBezTo>
                    <a:pt x="100" y="533"/>
                    <a:pt x="100" y="534"/>
                    <a:pt x="100" y="535"/>
                  </a:cubicBezTo>
                  <a:cubicBezTo>
                    <a:pt x="101" y="535"/>
                    <a:pt x="101" y="535"/>
                    <a:pt x="102" y="536"/>
                  </a:cubicBezTo>
                  <a:cubicBezTo>
                    <a:pt x="102" y="536"/>
                    <a:pt x="102" y="536"/>
                    <a:pt x="102" y="536"/>
                  </a:cubicBezTo>
                  <a:cubicBezTo>
                    <a:pt x="102" y="536"/>
                    <a:pt x="102" y="536"/>
                    <a:pt x="101" y="536"/>
                  </a:cubicBezTo>
                  <a:cubicBezTo>
                    <a:pt x="101" y="537"/>
                    <a:pt x="101" y="537"/>
                    <a:pt x="101" y="537"/>
                  </a:cubicBezTo>
                  <a:cubicBezTo>
                    <a:pt x="101" y="537"/>
                    <a:pt x="101" y="538"/>
                    <a:pt x="101" y="538"/>
                  </a:cubicBezTo>
                  <a:cubicBezTo>
                    <a:pt x="100" y="539"/>
                    <a:pt x="100" y="539"/>
                    <a:pt x="100" y="539"/>
                  </a:cubicBezTo>
                  <a:cubicBezTo>
                    <a:pt x="100" y="539"/>
                    <a:pt x="100" y="539"/>
                    <a:pt x="100" y="539"/>
                  </a:cubicBezTo>
                  <a:cubicBezTo>
                    <a:pt x="100" y="540"/>
                    <a:pt x="100" y="540"/>
                    <a:pt x="100" y="541"/>
                  </a:cubicBezTo>
                  <a:cubicBezTo>
                    <a:pt x="100" y="541"/>
                    <a:pt x="100" y="542"/>
                    <a:pt x="100" y="542"/>
                  </a:cubicBezTo>
                  <a:cubicBezTo>
                    <a:pt x="100" y="543"/>
                    <a:pt x="100" y="544"/>
                    <a:pt x="100" y="545"/>
                  </a:cubicBezTo>
                  <a:cubicBezTo>
                    <a:pt x="100" y="546"/>
                    <a:pt x="100" y="546"/>
                    <a:pt x="101" y="547"/>
                  </a:cubicBezTo>
                  <a:cubicBezTo>
                    <a:pt x="101" y="547"/>
                    <a:pt x="101" y="547"/>
                    <a:pt x="101" y="547"/>
                  </a:cubicBezTo>
                  <a:cubicBezTo>
                    <a:pt x="102" y="548"/>
                    <a:pt x="102" y="548"/>
                    <a:pt x="102" y="548"/>
                  </a:cubicBezTo>
                  <a:cubicBezTo>
                    <a:pt x="102" y="548"/>
                    <a:pt x="102" y="548"/>
                    <a:pt x="103" y="548"/>
                  </a:cubicBezTo>
                  <a:cubicBezTo>
                    <a:pt x="103" y="549"/>
                    <a:pt x="103" y="549"/>
                    <a:pt x="103" y="550"/>
                  </a:cubicBezTo>
                  <a:cubicBezTo>
                    <a:pt x="103" y="550"/>
                    <a:pt x="104" y="550"/>
                    <a:pt x="104" y="551"/>
                  </a:cubicBezTo>
                  <a:cubicBezTo>
                    <a:pt x="104" y="551"/>
                    <a:pt x="104" y="551"/>
                    <a:pt x="104" y="551"/>
                  </a:cubicBezTo>
                  <a:cubicBezTo>
                    <a:pt x="104" y="552"/>
                    <a:pt x="104" y="552"/>
                    <a:pt x="104" y="553"/>
                  </a:cubicBezTo>
                  <a:cubicBezTo>
                    <a:pt x="104" y="553"/>
                    <a:pt x="104" y="554"/>
                    <a:pt x="104" y="554"/>
                  </a:cubicBezTo>
                  <a:cubicBezTo>
                    <a:pt x="104" y="555"/>
                    <a:pt x="104" y="556"/>
                    <a:pt x="104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4" y="558"/>
                    <a:pt x="104" y="559"/>
                  </a:cubicBezTo>
                  <a:cubicBezTo>
                    <a:pt x="104" y="559"/>
                    <a:pt x="104" y="559"/>
                    <a:pt x="104" y="559"/>
                  </a:cubicBezTo>
                  <a:cubicBezTo>
                    <a:pt x="104" y="560"/>
                    <a:pt x="104" y="560"/>
                    <a:pt x="104" y="560"/>
                  </a:cubicBezTo>
                  <a:cubicBezTo>
                    <a:pt x="104" y="561"/>
                    <a:pt x="104" y="561"/>
                    <a:pt x="104" y="561"/>
                  </a:cubicBezTo>
                  <a:cubicBezTo>
                    <a:pt x="104" y="562"/>
                    <a:pt x="104" y="562"/>
                    <a:pt x="103" y="563"/>
                  </a:cubicBezTo>
                  <a:cubicBezTo>
                    <a:pt x="103" y="563"/>
                    <a:pt x="103" y="563"/>
                    <a:pt x="103" y="563"/>
                  </a:cubicBezTo>
                  <a:cubicBezTo>
                    <a:pt x="103" y="563"/>
                    <a:pt x="103" y="564"/>
                    <a:pt x="103" y="564"/>
                  </a:cubicBezTo>
                  <a:cubicBezTo>
                    <a:pt x="103" y="564"/>
                    <a:pt x="103" y="564"/>
                    <a:pt x="103" y="564"/>
                  </a:cubicBezTo>
                  <a:cubicBezTo>
                    <a:pt x="102" y="565"/>
                    <a:pt x="101" y="565"/>
                    <a:pt x="101" y="566"/>
                  </a:cubicBezTo>
                  <a:cubicBezTo>
                    <a:pt x="101" y="566"/>
                    <a:pt x="101" y="566"/>
                    <a:pt x="100" y="565"/>
                  </a:cubicBezTo>
                  <a:cubicBezTo>
                    <a:pt x="100" y="565"/>
                    <a:pt x="100" y="565"/>
                    <a:pt x="100" y="565"/>
                  </a:cubicBezTo>
                  <a:cubicBezTo>
                    <a:pt x="99" y="565"/>
                    <a:pt x="99" y="565"/>
                    <a:pt x="99" y="565"/>
                  </a:cubicBezTo>
                  <a:cubicBezTo>
                    <a:pt x="99" y="565"/>
                    <a:pt x="99" y="565"/>
                    <a:pt x="98" y="566"/>
                  </a:cubicBezTo>
                  <a:cubicBezTo>
                    <a:pt x="98" y="566"/>
                    <a:pt x="98" y="565"/>
                    <a:pt x="98" y="565"/>
                  </a:cubicBezTo>
                  <a:cubicBezTo>
                    <a:pt x="98" y="565"/>
                    <a:pt x="97" y="565"/>
                    <a:pt x="97" y="565"/>
                  </a:cubicBezTo>
                  <a:cubicBezTo>
                    <a:pt x="96" y="565"/>
                    <a:pt x="96" y="565"/>
                    <a:pt x="96" y="565"/>
                  </a:cubicBezTo>
                  <a:cubicBezTo>
                    <a:pt x="96" y="565"/>
                    <a:pt x="95" y="565"/>
                    <a:pt x="95" y="565"/>
                  </a:cubicBezTo>
                  <a:cubicBezTo>
                    <a:pt x="94" y="567"/>
                    <a:pt x="95" y="568"/>
                    <a:pt x="95" y="568"/>
                  </a:cubicBezTo>
                  <a:cubicBezTo>
                    <a:pt x="95" y="569"/>
                    <a:pt x="95" y="570"/>
                    <a:pt x="96" y="570"/>
                  </a:cubicBezTo>
                  <a:cubicBezTo>
                    <a:pt x="97" y="569"/>
                    <a:pt x="97" y="569"/>
                    <a:pt x="97" y="569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96" y="571"/>
                    <a:pt x="96" y="572"/>
                    <a:pt x="96" y="573"/>
                  </a:cubicBezTo>
                  <a:cubicBezTo>
                    <a:pt x="96" y="573"/>
                    <a:pt x="96" y="574"/>
                    <a:pt x="96" y="574"/>
                  </a:cubicBezTo>
                  <a:cubicBezTo>
                    <a:pt x="97" y="575"/>
                    <a:pt x="97" y="575"/>
                    <a:pt x="97" y="575"/>
                  </a:cubicBezTo>
                  <a:cubicBezTo>
                    <a:pt x="97" y="575"/>
                    <a:pt x="97" y="575"/>
                    <a:pt x="97" y="575"/>
                  </a:cubicBezTo>
                  <a:cubicBezTo>
                    <a:pt x="97" y="576"/>
                    <a:pt x="97" y="576"/>
                    <a:pt x="97" y="576"/>
                  </a:cubicBezTo>
                  <a:cubicBezTo>
                    <a:pt x="98" y="576"/>
                    <a:pt x="98" y="576"/>
                    <a:pt x="98" y="576"/>
                  </a:cubicBezTo>
                  <a:cubicBezTo>
                    <a:pt x="98" y="576"/>
                    <a:pt x="98" y="576"/>
                    <a:pt x="98" y="576"/>
                  </a:cubicBezTo>
                  <a:cubicBezTo>
                    <a:pt x="98" y="577"/>
                    <a:pt x="98" y="577"/>
                    <a:pt x="98" y="577"/>
                  </a:cubicBezTo>
                  <a:cubicBezTo>
                    <a:pt x="98" y="578"/>
                    <a:pt x="99" y="579"/>
                    <a:pt x="100" y="579"/>
                  </a:cubicBezTo>
                  <a:cubicBezTo>
                    <a:pt x="100" y="579"/>
                    <a:pt x="100" y="579"/>
                    <a:pt x="100" y="579"/>
                  </a:cubicBezTo>
                  <a:cubicBezTo>
                    <a:pt x="101" y="579"/>
                    <a:pt x="101" y="579"/>
                    <a:pt x="101" y="579"/>
                  </a:cubicBezTo>
                  <a:cubicBezTo>
                    <a:pt x="101" y="579"/>
                    <a:pt x="101" y="579"/>
                    <a:pt x="101" y="579"/>
                  </a:cubicBezTo>
                  <a:cubicBezTo>
                    <a:pt x="100" y="579"/>
                    <a:pt x="100" y="579"/>
                    <a:pt x="100" y="579"/>
                  </a:cubicBezTo>
                  <a:cubicBezTo>
                    <a:pt x="100" y="580"/>
                    <a:pt x="100" y="580"/>
                    <a:pt x="101" y="581"/>
                  </a:cubicBezTo>
                  <a:cubicBezTo>
                    <a:pt x="101" y="582"/>
                    <a:pt x="102" y="582"/>
                    <a:pt x="103" y="582"/>
                  </a:cubicBezTo>
                  <a:cubicBezTo>
                    <a:pt x="104" y="582"/>
                    <a:pt x="104" y="582"/>
                    <a:pt x="104" y="582"/>
                  </a:cubicBezTo>
                  <a:cubicBezTo>
                    <a:pt x="104" y="582"/>
                    <a:pt x="104" y="582"/>
                    <a:pt x="104" y="582"/>
                  </a:cubicBezTo>
                  <a:cubicBezTo>
                    <a:pt x="104" y="582"/>
                    <a:pt x="104" y="582"/>
                    <a:pt x="104" y="583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4" y="584"/>
                    <a:pt x="104" y="584"/>
                    <a:pt x="104" y="584"/>
                  </a:cubicBezTo>
                  <a:cubicBezTo>
                    <a:pt x="104" y="585"/>
                    <a:pt x="105" y="586"/>
                    <a:pt x="106" y="587"/>
                  </a:cubicBezTo>
                  <a:cubicBezTo>
                    <a:pt x="106" y="588"/>
                    <a:pt x="106" y="588"/>
                    <a:pt x="107" y="589"/>
                  </a:cubicBezTo>
                  <a:cubicBezTo>
                    <a:pt x="107" y="589"/>
                    <a:pt x="107" y="589"/>
                    <a:pt x="107" y="589"/>
                  </a:cubicBezTo>
                  <a:cubicBezTo>
                    <a:pt x="107" y="589"/>
                    <a:pt x="107" y="590"/>
                    <a:pt x="107" y="590"/>
                  </a:cubicBezTo>
                  <a:cubicBezTo>
                    <a:pt x="107" y="591"/>
                    <a:pt x="107" y="591"/>
                    <a:pt x="107" y="591"/>
                  </a:cubicBezTo>
                  <a:cubicBezTo>
                    <a:pt x="107" y="592"/>
                    <a:pt x="107" y="592"/>
                    <a:pt x="107" y="593"/>
                  </a:cubicBezTo>
                  <a:cubicBezTo>
                    <a:pt x="107" y="593"/>
                    <a:pt x="107" y="594"/>
                    <a:pt x="107" y="594"/>
                  </a:cubicBezTo>
                  <a:cubicBezTo>
                    <a:pt x="107" y="594"/>
                    <a:pt x="106" y="594"/>
                    <a:pt x="106" y="594"/>
                  </a:cubicBezTo>
                  <a:cubicBezTo>
                    <a:pt x="106" y="595"/>
                    <a:pt x="106" y="595"/>
                    <a:pt x="106" y="595"/>
                  </a:cubicBezTo>
                  <a:cubicBezTo>
                    <a:pt x="106" y="595"/>
                    <a:pt x="106" y="595"/>
                    <a:pt x="106" y="595"/>
                  </a:cubicBezTo>
                  <a:cubicBezTo>
                    <a:pt x="106" y="595"/>
                    <a:pt x="106" y="596"/>
                    <a:pt x="106" y="596"/>
                  </a:cubicBezTo>
                  <a:cubicBezTo>
                    <a:pt x="106" y="596"/>
                    <a:pt x="105" y="596"/>
                    <a:pt x="105" y="597"/>
                  </a:cubicBezTo>
                  <a:cubicBezTo>
                    <a:pt x="105" y="597"/>
                    <a:pt x="105" y="598"/>
                    <a:pt x="104" y="598"/>
                  </a:cubicBezTo>
                  <a:cubicBezTo>
                    <a:pt x="104" y="599"/>
                    <a:pt x="104" y="599"/>
                    <a:pt x="104" y="599"/>
                  </a:cubicBezTo>
                  <a:cubicBezTo>
                    <a:pt x="104" y="600"/>
                    <a:pt x="104" y="600"/>
                    <a:pt x="104" y="600"/>
                  </a:cubicBezTo>
                  <a:cubicBezTo>
                    <a:pt x="103" y="601"/>
                    <a:pt x="103" y="602"/>
                    <a:pt x="103" y="603"/>
                  </a:cubicBezTo>
                  <a:cubicBezTo>
                    <a:pt x="103" y="604"/>
                    <a:pt x="103" y="604"/>
                    <a:pt x="103" y="605"/>
                  </a:cubicBezTo>
                  <a:cubicBezTo>
                    <a:pt x="102" y="606"/>
                    <a:pt x="103" y="607"/>
                    <a:pt x="103" y="607"/>
                  </a:cubicBezTo>
                  <a:cubicBezTo>
                    <a:pt x="103" y="607"/>
                    <a:pt x="104" y="607"/>
                    <a:pt x="104" y="608"/>
                  </a:cubicBezTo>
                  <a:cubicBezTo>
                    <a:pt x="104" y="608"/>
                    <a:pt x="104" y="608"/>
                    <a:pt x="104" y="609"/>
                  </a:cubicBezTo>
                  <a:cubicBezTo>
                    <a:pt x="104" y="610"/>
                    <a:pt x="104" y="610"/>
                    <a:pt x="104" y="610"/>
                  </a:cubicBezTo>
                  <a:cubicBezTo>
                    <a:pt x="105" y="610"/>
                    <a:pt x="105" y="610"/>
                    <a:pt x="105" y="610"/>
                  </a:cubicBezTo>
                  <a:cubicBezTo>
                    <a:pt x="105" y="610"/>
                    <a:pt x="105" y="610"/>
                    <a:pt x="105" y="610"/>
                  </a:cubicBezTo>
                  <a:cubicBezTo>
                    <a:pt x="105" y="611"/>
                    <a:pt x="105" y="612"/>
                    <a:pt x="106" y="612"/>
                  </a:cubicBezTo>
                  <a:cubicBezTo>
                    <a:pt x="106" y="613"/>
                    <a:pt x="106" y="613"/>
                    <a:pt x="106" y="614"/>
                  </a:cubicBezTo>
                  <a:cubicBezTo>
                    <a:pt x="106" y="614"/>
                    <a:pt x="106" y="615"/>
                    <a:pt x="107" y="615"/>
                  </a:cubicBezTo>
                  <a:cubicBezTo>
                    <a:pt x="107" y="615"/>
                    <a:pt x="107" y="615"/>
                    <a:pt x="107" y="616"/>
                  </a:cubicBezTo>
                  <a:cubicBezTo>
                    <a:pt x="107" y="616"/>
                    <a:pt x="107" y="616"/>
                    <a:pt x="107" y="616"/>
                  </a:cubicBezTo>
                  <a:cubicBezTo>
                    <a:pt x="106" y="617"/>
                    <a:pt x="106" y="618"/>
                    <a:pt x="107" y="619"/>
                  </a:cubicBezTo>
                  <a:cubicBezTo>
                    <a:pt x="107" y="619"/>
                    <a:pt x="108" y="619"/>
                    <a:pt x="108" y="619"/>
                  </a:cubicBezTo>
                  <a:cubicBezTo>
                    <a:pt x="108" y="619"/>
                    <a:pt x="108" y="619"/>
                    <a:pt x="108" y="619"/>
                  </a:cubicBezTo>
                  <a:cubicBezTo>
                    <a:pt x="108" y="619"/>
                    <a:pt x="108" y="620"/>
                    <a:pt x="108" y="620"/>
                  </a:cubicBezTo>
                  <a:cubicBezTo>
                    <a:pt x="109" y="621"/>
                    <a:pt x="109" y="621"/>
                    <a:pt x="109" y="621"/>
                  </a:cubicBezTo>
                  <a:cubicBezTo>
                    <a:pt x="109" y="621"/>
                    <a:pt x="109" y="621"/>
                    <a:pt x="109" y="621"/>
                  </a:cubicBezTo>
                  <a:cubicBezTo>
                    <a:pt x="109" y="621"/>
                    <a:pt x="109" y="621"/>
                    <a:pt x="109" y="621"/>
                  </a:cubicBezTo>
                  <a:cubicBezTo>
                    <a:pt x="110" y="621"/>
                    <a:pt x="110" y="622"/>
                    <a:pt x="110" y="622"/>
                  </a:cubicBezTo>
                  <a:cubicBezTo>
                    <a:pt x="110" y="622"/>
                    <a:pt x="111" y="622"/>
                    <a:pt x="111" y="622"/>
                  </a:cubicBezTo>
                  <a:cubicBezTo>
                    <a:pt x="111" y="622"/>
                    <a:pt x="111" y="623"/>
                    <a:pt x="110" y="623"/>
                  </a:cubicBezTo>
                  <a:cubicBezTo>
                    <a:pt x="110" y="623"/>
                    <a:pt x="110" y="624"/>
                    <a:pt x="110" y="624"/>
                  </a:cubicBezTo>
                  <a:cubicBezTo>
                    <a:pt x="110" y="625"/>
                    <a:pt x="110" y="625"/>
                    <a:pt x="110" y="626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27"/>
                    <a:pt x="110" y="629"/>
                    <a:pt x="111" y="630"/>
                  </a:cubicBezTo>
                  <a:cubicBezTo>
                    <a:pt x="111" y="630"/>
                    <a:pt x="112" y="630"/>
                    <a:pt x="113" y="630"/>
                  </a:cubicBezTo>
                  <a:cubicBezTo>
                    <a:pt x="113" y="630"/>
                    <a:pt x="113" y="630"/>
                    <a:pt x="113" y="630"/>
                  </a:cubicBezTo>
                  <a:cubicBezTo>
                    <a:pt x="114" y="630"/>
                    <a:pt x="116" y="630"/>
                    <a:pt x="117" y="628"/>
                  </a:cubicBezTo>
                  <a:cubicBezTo>
                    <a:pt x="117" y="628"/>
                    <a:pt x="117" y="627"/>
                    <a:pt x="117" y="627"/>
                  </a:cubicBezTo>
                  <a:cubicBezTo>
                    <a:pt x="117" y="627"/>
                    <a:pt x="117" y="626"/>
                    <a:pt x="117" y="626"/>
                  </a:cubicBezTo>
                  <a:cubicBezTo>
                    <a:pt x="118" y="626"/>
                    <a:pt x="118" y="625"/>
                    <a:pt x="118" y="625"/>
                  </a:cubicBezTo>
                  <a:cubicBezTo>
                    <a:pt x="119" y="625"/>
                    <a:pt x="120" y="624"/>
                    <a:pt x="120" y="622"/>
                  </a:cubicBezTo>
                  <a:cubicBezTo>
                    <a:pt x="119" y="621"/>
                    <a:pt x="119" y="620"/>
                    <a:pt x="118" y="620"/>
                  </a:cubicBezTo>
                  <a:cubicBezTo>
                    <a:pt x="118" y="620"/>
                    <a:pt x="118" y="620"/>
                    <a:pt x="118" y="620"/>
                  </a:cubicBezTo>
                  <a:cubicBezTo>
                    <a:pt x="118" y="620"/>
                    <a:pt x="118" y="619"/>
                    <a:pt x="118" y="619"/>
                  </a:cubicBezTo>
                  <a:cubicBezTo>
                    <a:pt x="119" y="619"/>
                    <a:pt x="119" y="618"/>
                    <a:pt x="119" y="617"/>
                  </a:cubicBezTo>
                  <a:cubicBezTo>
                    <a:pt x="119" y="616"/>
                    <a:pt x="118" y="615"/>
                    <a:pt x="118" y="615"/>
                  </a:cubicBezTo>
                  <a:cubicBezTo>
                    <a:pt x="117" y="615"/>
                    <a:pt x="117" y="615"/>
                    <a:pt x="117" y="614"/>
                  </a:cubicBezTo>
                  <a:cubicBezTo>
                    <a:pt x="117" y="614"/>
                    <a:pt x="117" y="612"/>
                    <a:pt x="116" y="612"/>
                  </a:cubicBezTo>
                  <a:cubicBezTo>
                    <a:pt x="116" y="612"/>
                    <a:pt x="116" y="612"/>
                    <a:pt x="116" y="612"/>
                  </a:cubicBezTo>
                  <a:cubicBezTo>
                    <a:pt x="115" y="612"/>
                    <a:pt x="115" y="612"/>
                    <a:pt x="115" y="612"/>
                  </a:cubicBezTo>
                  <a:cubicBezTo>
                    <a:pt x="115" y="612"/>
                    <a:pt x="114" y="612"/>
                    <a:pt x="114" y="613"/>
                  </a:cubicBezTo>
                  <a:cubicBezTo>
                    <a:pt x="114" y="613"/>
                    <a:pt x="114" y="612"/>
                    <a:pt x="114" y="612"/>
                  </a:cubicBezTo>
                  <a:cubicBezTo>
                    <a:pt x="113" y="612"/>
                    <a:pt x="113" y="612"/>
                    <a:pt x="113" y="612"/>
                  </a:cubicBezTo>
                  <a:cubicBezTo>
                    <a:pt x="113" y="612"/>
                    <a:pt x="113" y="611"/>
                    <a:pt x="113" y="611"/>
                  </a:cubicBezTo>
                  <a:cubicBezTo>
                    <a:pt x="113" y="611"/>
                    <a:pt x="113" y="611"/>
                    <a:pt x="113" y="610"/>
                  </a:cubicBezTo>
                  <a:cubicBezTo>
                    <a:pt x="113" y="610"/>
                    <a:pt x="113" y="610"/>
                    <a:pt x="114" y="610"/>
                  </a:cubicBezTo>
                  <a:cubicBezTo>
                    <a:pt x="114" y="609"/>
                    <a:pt x="114" y="609"/>
                    <a:pt x="115" y="608"/>
                  </a:cubicBezTo>
                  <a:cubicBezTo>
                    <a:pt x="115" y="607"/>
                    <a:pt x="115" y="607"/>
                    <a:pt x="115" y="606"/>
                  </a:cubicBezTo>
                  <a:cubicBezTo>
                    <a:pt x="115" y="605"/>
                    <a:pt x="115" y="605"/>
                    <a:pt x="115" y="605"/>
                  </a:cubicBezTo>
                  <a:cubicBezTo>
                    <a:pt x="115" y="604"/>
                    <a:pt x="115" y="604"/>
                    <a:pt x="115" y="604"/>
                  </a:cubicBezTo>
                  <a:cubicBezTo>
                    <a:pt x="115" y="604"/>
                    <a:pt x="115" y="603"/>
                    <a:pt x="115" y="603"/>
                  </a:cubicBezTo>
                  <a:cubicBezTo>
                    <a:pt x="116" y="602"/>
                    <a:pt x="116" y="602"/>
                    <a:pt x="116" y="601"/>
                  </a:cubicBezTo>
                  <a:cubicBezTo>
                    <a:pt x="116" y="599"/>
                    <a:pt x="116" y="597"/>
                    <a:pt x="115" y="596"/>
                  </a:cubicBezTo>
                  <a:cubicBezTo>
                    <a:pt x="115" y="596"/>
                    <a:pt x="115" y="596"/>
                    <a:pt x="115" y="595"/>
                  </a:cubicBezTo>
                  <a:cubicBezTo>
                    <a:pt x="115" y="595"/>
                    <a:pt x="115" y="595"/>
                    <a:pt x="115" y="594"/>
                  </a:cubicBezTo>
                  <a:cubicBezTo>
                    <a:pt x="115" y="594"/>
                    <a:pt x="115" y="594"/>
                    <a:pt x="115" y="593"/>
                  </a:cubicBezTo>
                  <a:cubicBezTo>
                    <a:pt x="116" y="592"/>
                    <a:pt x="116" y="591"/>
                    <a:pt x="116" y="590"/>
                  </a:cubicBezTo>
                  <a:cubicBezTo>
                    <a:pt x="116" y="590"/>
                    <a:pt x="117" y="589"/>
                    <a:pt x="117" y="589"/>
                  </a:cubicBezTo>
                  <a:cubicBezTo>
                    <a:pt x="117" y="588"/>
                    <a:pt x="117" y="588"/>
                    <a:pt x="117" y="588"/>
                  </a:cubicBezTo>
                  <a:cubicBezTo>
                    <a:pt x="119" y="587"/>
                    <a:pt x="118" y="585"/>
                    <a:pt x="118" y="584"/>
                  </a:cubicBezTo>
                  <a:cubicBezTo>
                    <a:pt x="118" y="584"/>
                    <a:pt x="118" y="584"/>
                    <a:pt x="118" y="584"/>
                  </a:cubicBezTo>
                  <a:cubicBezTo>
                    <a:pt x="118" y="583"/>
                    <a:pt x="118" y="583"/>
                    <a:pt x="118" y="583"/>
                  </a:cubicBezTo>
                  <a:cubicBezTo>
                    <a:pt x="117" y="583"/>
                    <a:pt x="118" y="583"/>
                    <a:pt x="118" y="582"/>
                  </a:cubicBezTo>
                  <a:cubicBezTo>
                    <a:pt x="118" y="580"/>
                    <a:pt x="117" y="579"/>
                    <a:pt x="116" y="579"/>
                  </a:cubicBezTo>
                  <a:cubicBezTo>
                    <a:pt x="116" y="579"/>
                    <a:pt x="116" y="579"/>
                    <a:pt x="116" y="579"/>
                  </a:cubicBezTo>
                  <a:cubicBezTo>
                    <a:pt x="116" y="579"/>
                    <a:pt x="116" y="578"/>
                    <a:pt x="116" y="578"/>
                  </a:cubicBezTo>
                  <a:cubicBezTo>
                    <a:pt x="116" y="577"/>
                    <a:pt x="116" y="576"/>
                    <a:pt x="116" y="576"/>
                  </a:cubicBezTo>
                  <a:cubicBezTo>
                    <a:pt x="116" y="576"/>
                    <a:pt x="116" y="575"/>
                    <a:pt x="116" y="575"/>
                  </a:cubicBezTo>
                  <a:cubicBezTo>
                    <a:pt x="116" y="574"/>
                    <a:pt x="116" y="573"/>
                    <a:pt x="116" y="572"/>
                  </a:cubicBezTo>
                  <a:cubicBezTo>
                    <a:pt x="116" y="572"/>
                    <a:pt x="116" y="571"/>
                    <a:pt x="115" y="570"/>
                  </a:cubicBezTo>
                  <a:cubicBezTo>
                    <a:pt x="115" y="570"/>
                    <a:pt x="114" y="570"/>
                    <a:pt x="114" y="570"/>
                  </a:cubicBezTo>
                  <a:cubicBezTo>
                    <a:pt x="114" y="569"/>
                    <a:pt x="115" y="569"/>
                    <a:pt x="115" y="568"/>
                  </a:cubicBezTo>
                  <a:cubicBezTo>
                    <a:pt x="115" y="568"/>
                    <a:pt x="116" y="567"/>
                    <a:pt x="116" y="565"/>
                  </a:cubicBezTo>
                  <a:cubicBezTo>
                    <a:pt x="116" y="565"/>
                    <a:pt x="116" y="565"/>
                    <a:pt x="116" y="565"/>
                  </a:cubicBezTo>
                  <a:cubicBezTo>
                    <a:pt x="117" y="564"/>
                    <a:pt x="117" y="563"/>
                    <a:pt x="117" y="562"/>
                  </a:cubicBezTo>
                  <a:cubicBezTo>
                    <a:pt x="117" y="561"/>
                    <a:pt x="116" y="561"/>
                    <a:pt x="116" y="561"/>
                  </a:cubicBezTo>
                  <a:cubicBezTo>
                    <a:pt x="116" y="560"/>
                    <a:pt x="116" y="560"/>
                    <a:pt x="116" y="560"/>
                  </a:cubicBezTo>
                  <a:cubicBezTo>
                    <a:pt x="115" y="560"/>
                    <a:pt x="115" y="560"/>
                    <a:pt x="115" y="560"/>
                  </a:cubicBezTo>
                  <a:cubicBezTo>
                    <a:pt x="116" y="560"/>
                    <a:pt x="116" y="560"/>
                    <a:pt x="116" y="560"/>
                  </a:cubicBezTo>
                  <a:cubicBezTo>
                    <a:pt x="116" y="560"/>
                    <a:pt x="116" y="559"/>
                    <a:pt x="116" y="559"/>
                  </a:cubicBezTo>
                  <a:cubicBezTo>
                    <a:pt x="117" y="557"/>
                    <a:pt x="116" y="556"/>
                    <a:pt x="115" y="555"/>
                  </a:cubicBezTo>
                  <a:cubicBezTo>
                    <a:pt x="115" y="554"/>
                    <a:pt x="115" y="554"/>
                    <a:pt x="115" y="554"/>
                  </a:cubicBezTo>
                  <a:cubicBezTo>
                    <a:pt x="115" y="554"/>
                    <a:pt x="115" y="553"/>
                    <a:pt x="115" y="553"/>
                  </a:cubicBezTo>
                  <a:cubicBezTo>
                    <a:pt x="115" y="552"/>
                    <a:pt x="115" y="552"/>
                    <a:pt x="115" y="552"/>
                  </a:cubicBezTo>
                  <a:cubicBezTo>
                    <a:pt x="115" y="552"/>
                    <a:pt x="115" y="551"/>
                    <a:pt x="115" y="551"/>
                  </a:cubicBezTo>
                  <a:cubicBezTo>
                    <a:pt x="116" y="550"/>
                    <a:pt x="116" y="549"/>
                    <a:pt x="115" y="549"/>
                  </a:cubicBezTo>
                  <a:cubicBezTo>
                    <a:pt x="114" y="549"/>
                    <a:pt x="114" y="549"/>
                    <a:pt x="114" y="549"/>
                  </a:cubicBezTo>
                  <a:cubicBezTo>
                    <a:pt x="115" y="548"/>
                    <a:pt x="115" y="548"/>
                    <a:pt x="115" y="548"/>
                  </a:cubicBezTo>
                  <a:cubicBezTo>
                    <a:pt x="115" y="548"/>
                    <a:pt x="115" y="547"/>
                    <a:pt x="115" y="547"/>
                  </a:cubicBezTo>
                  <a:cubicBezTo>
                    <a:pt x="115" y="546"/>
                    <a:pt x="114" y="545"/>
                    <a:pt x="114" y="545"/>
                  </a:cubicBezTo>
                  <a:cubicBezTo>
                    <a:pt x="113" y="544"/>
                    <a:pt x="113" y="544"/>
                    <a:pt x="113" y="544"/>
                  </a:cubicBezTo>
                  <a:cubicBezTo>
                    <a:pt x="113" y="544"/>
                    <a:pt x="112" y="543"/>
                    <a:pt x="112" y="543"/>
                  </a:cubicBezTo>
                  <a:cubicBezTo>
                    <a:pt x="112" y="543"/>
                    <a:pt x="112" y="543"/>
                    <a:pt x="112" y="543"/>
                  </a:cubicBezTo>
                  <a:cubicBezTo>
                    <a:pt x="112" y="543"/>
                    <a:pt x="112" y="543"/>
                    <a:pt x="112" y="543"/>
                  </a:cubicBezTo>
                  <a:cubicBezTo>
                    <a:pt x="113" y="542"/>
                    <a:pt x="113" y="542"/>
                    <a:pt x="113" y="541"/>
                  </a:cubicBezTo>
                  <a:cubicBezTo>
                    <a:pt x="113" y="540"/>
                    <a:pt x="113" y="540"/>
                    <a:pt x="113" y="539"/>
                  </a:cubicBezTo>
                  <a:cubicBezTo>
                    <a:pt x="113" y="539"/>
                    <a:pt x="113" y="539"/>
                    <a:pt x="113" y="539"/>
                  </a:cubicBezTo>
                  <a:cubicBezTo>
                    <a:pt x="113" y="538"/>
                    <a:pt x="113" y="538"/>
                    <a:pt x="114" y="538"/>
                  </a:cubicBezTo>
                  <a:cubicBezTo>
                    <a:pt x="114" y="537"/>
                    <a:pt x="115" y="537"/>
                    <a:pt x="115" y="536"/>
                  </a:cubicBezTo>
                  <a:cubicBezTo>
                    <a:pt x="115" y="535"/>
                    <a:pt x="115" y="535"/>
                    <a:pt x="115" y="534"/>
                  </a:cubicBezTo>
                  <a:cubicBezTo>
                    <a:pt x="115" y="534"/>
                    <a:pt x="115" y="534"/>
                    <a:pt x="115" y="534"/>
                  </a:cubicBezTo>
                  <a:cubicBezTo>
                    <a:pt x="115" y="534"/>
                    <a:pt x="115" y="534"/>
                    <a:pt x="115" y="533"/>
                  </a:cubicBezTo>
                  <a:cubicBezTo>
                    <a:pt x="115" y="533"/>
                    <a:pt x="115" y="533"/>
                    <a:pt x="115" y="533"/>
                  </a:cubicBezTo>
                  <a:cubicBezTo>
                    <a:pt x="116" y="532"/>
                    <a:pt x="116" y="532"/>
                    <a:pt x="116" y="531"/>
                  </a:cubicBezTo>
                  <a:cubicBezTo>
                    <a:pt x="117" y="530"/>
                    <a:pt x="117" y="529"/>
                    <a:pt x="117" y="529"/>
                  </a:cubicBezTo>
                  <a:cubicBezTo>
                    <a:pt x="117" y="528"/>
                    <a:pt x="117" y="528"/>
                    <a:pt x="116" y="528"/>
                  </a:cubicBezTo>
                  <a:cubicBezTo>
                    <a:pt x="116" y="527"/>
                    <a:pt x="116" y="527"/>
                    <a:pt x="116" y="527"/>
                  </a:cubicBezTo>
                  <a:cubicBezTo>
                    <a:pt x="116" y="526"/>
                    <a:pt x="116" y="526"/>
                    <a:pt x="117" y="526"/>
                  </a:cubicBezTo>
                  <a:cubicBezTo>
                    <a:pt x="117" y="526"/>
                    <a:pt x="117" y="526"/>
                    <a:pt x="117" y="526"/>
                  </a:cubicBezTo>
                  <a:cubicBezTo>
                    <a:pt x="117" y="526"/>
                    <a:pt x="117" y="526"/>
                    <a:pt x="117" y="526"/>
                  </a:cubicBezTo>
                  <a:cubicBezTo>
                    <a:pt x="118" y="525"/>
                    <a:pt x="119" y="525"/>
                    <a:pt x="119" y="524"/>
                  </a:cubicBezTo>
                  <a:cubicBezTo>
                    <a:pt x="119" y="523"/>
                    <a:pt x="119" y="523"/>
                    <a:pt x="118" y="522"/>
                  </a:cubicBezTo>
                  <a:cubicBezTo>
                    <a:pt x="119" y="522"/>
                    <a:pt x="119" y="522"/>
                    <a:pt x="119" y="522"/>
                  </a:cubicBezTo>
                  <a:cubicBezTo>
                    <a:pt x="120" y="521"/>
                    <a:pt x="120" y="520"/>
                    <a:pt x="120" y="520"/>
                  </a:cubicBezTo>
                  <a:cubicBezTo>
                    <a:pt x="120" y="520"/>
                    <a:pt x="120" y="520"/>
                    <a:pt x="120" y="520"/>
                  </a:cubicBezTo>
                  <a:cubicBezTo>
                    <a:pt x="120" y="521"/>
                    <a:pt x="120" y="522"/>
                    <a:pt x="120" y="522"/>
                  </a:cubicBezTo>
                  <a:cubicBezTo>
                    <a:pt x="120" y="522"/>
                    <a:pt x="121" y="524"/>
                    <a:pt x="122" y="524"/>
                  </a:cubicBezTo>
                  <a:cubicBezTo>
                    <a:pt x="123" y="524"/>
                    <a:pt x="123" y="524"/>
                    <a:pt x="123" y="524"/>
                  </a:cubicBezTo>
                  <a:cubicBezTo>
                    <a:pt x="123" y="524"/>
                    <a:pt x="123" y="524"/>
                    <a:pt x="124" y="524"/>
                  </a:cubicBezTo>
                  <a:cubicBezTo>
                    <a:pt x="124" y="524"/>
                    <a:pt x="124" y="524"/>
                    <a:pt x="124" y="524"/>
                  </a:cubicBezTo>
                  <a:cubicBezTo>
                    <a:pt x="124" y="524"/>
                    <a:pt x="124" y="524"/>
                    <a:pt x="124" y="524"/>
                  </a:cubicBezTo>
                  <a:cubicBezTo>
                    <a:pt x="124" y="524"/>
                    <a:pt x="124" y="524"/>
                    <a:pt x="124" y="524"/>
                  </a:cubicBezTo>
                  <a:cubicBezTo>
                    <a:pt x="124" y="525"/>
                    <a:pt x="125" y="525"/>
                    <a:pt x="125" y="525"/>
                  </a:cubicBezTo>
                  <a:cubicBezTo>
                    <a:pt x="124" y="525"/>
                    <a:pt x="124" y="526"/>
                    <a:pt x="125" y="526"/>
                  </a:cubicBezTo>
                  <a:cubicBezTo>
                    <a:pt x="125" y="527"/>
                    <a:pt x="126" y="527"/>
                    <a:pt x="127" y="527"/>
                  </a:cubicBezTo>
                  <a:cubicBezTo>
                    <a:pt x="126" y="528"/>
                    <a:pt x="126" y="528"/>
                    <a:pt x="126" y="529"/>
                  </a:cubicBezTo>
                  <a:cubicBezTo>
                    <a:pt x="125" y="529"/>
                    <a:pt x="124" y="530"/>
                    <a:pt x="124" y="531"/>
                  </a:cubicBezTo>
                  <a:cubicBezTo>
                    <a:pt x="124" y="532"/>
                    <a:pt x="124" y="532"/>
                    <a:pt x="124" y="533"/>
                  </a:cubicBezTo>
                  <a:cubicBezTo>
                    <a:pt x="124" y="533"/>
                    <a:pt x="124" y="534"/>
                    <a:pt x="124" y="534"/>
                  </a:cubicBezTo>
                  <a:cubicBezTo>
                    <a:pt x="124" y="534"/>
                    <a:pt x="124" y="535"/>
                    <a:pt x="124" y="535"/>
                  </a:cubicBezTo>
                  <a:cubicBezTo>
                    <a:pt x="124" y="536"/>
                    <a:pt x="124" y="537"/>
                    <a:pt x="124" y="538"/>
                  </a:cubicBezTo>
                  <a:cubicBezTo>
                    <a:pt x="124" y="538"/>
                    <a:pt x="124" y="538"/>
                    <a:pt x="124" y="539"/>
                  </a:cubicBezTo>
                  <a:cubicBezTo>
                    <a:pt x="124" y="539"/>
                    <a:pt x="124" y="539"/>
                    <a:pt x="124" y="539"/>
                  </a:cubicBezTo>
                  <a:cubicBezTo>
                    <a:pt x="124" y="539"/>
                    <a:pt x="124" y="539"/>
                    <a:pt x="124" y="539"/>
                  </a:cubicBezTo>
                  <a:cubicBezTo>
                    <a:pt x="124" y="539"/>
                    <a:pt x="123" y="540"/>
                    <a:pt x="123" y="540"/>
                  </a:cubicBezTo>
                  <a:cubicBezTo>
                    <a:pt x="123" y="541"/>
                    <a:pt x="123" y="543"/>
                    <a:pt x="123" y="544"/>
                  </a:cubicBezTo>
                  <a:cubicBezTo>
                    <a:pt x="123" y="545"/>
                    <a:pt x="123" y="545"/>
                    <a:pt x="123" y="545"/>
                  </a:cubicBezTo>
                  <a:cubicBezTo>
                    <a:pt x="123" y="546"/>
                    <a:pt x="123" y="547"/>
                    <a:pt x="122" y="548"/>
                  </a:cubicBezTo>
                  <a:cubicBezTo>
                    <a:pt x="121" y="549"/>
                    <a:pt x="121" y="550"/>
                    <a:pt x="122" y="551"/>
                  </a:cubicBezTo>
                  <a:cubicBezTo>
                    <a:pt x="122" y="552"/>
                    <a:pt x="122" y="552"/>
                    <a:pt x="123" y="552"/>
                  </a:cubicBezTo>
                  <a:cubicBezTo>
                    <a:pt x="123" y="552"/>
                    <a:pt x="123" y="552"/>
                    <a:pt x="122" y="553"/>
                  </a:cubicBezTo>
                  <a:cubicBezTo>
                    <a:pt x="122" y="553"/>
                    <a:pt x="122" y="553"/>
                    <a:pt x="122" y="554"/>
                  </a:cubicBezTo>
                  <a:cubicBezTo>
                    <a:pt x="122" y="555"/>
                    <a:pt x="122" y="556"/>
                    <a:pt x="122" y="557"/>
                  </a:cubicBezTo>
                  <a:cubicBezTo>
                    <a:pt x="122" y="557"/>
                    <a:pt x="122" y="557"/>
                    <a:pt x="122" y="557"/>
                  </a:cubicBezTo>
                  <a:cubicBezTo>
                    <a:pt x="123" y="557"/>
                    <a:pt x="123" y="558"/>
                    <a:pt x="123" y="558"/>
                  </a:cubicBezTo>
                  <a:cubicBezTo>
                    <a:pt x="123" y="558"/>
                    <a:pt x="123" y="558"/>
                    <a:pt x="123" y="559"/>
                  </a:cubicBezTo>
                  <a:cubicBezTo>
                    <a:pt x="122" y="559"/>
                    <a:pt x="122" y="559"/>
                    <a:pt x="122" y="560"/>
                  </a:cubicBezTo>
                  <a:cubicBezTo>
                    <a:pt x="122" y="560"/>
                    <a:pt x="122" y="560"/>
                    <a:pt x="122" y="560"/>
                  </a:cubicBezTo>
                  <a:cubicBezTo>
                    <a:pt x="122" y="561"/>
                    <a:pt x="122" y="561"/>
                    <a:pt x="122" y="562"/>
                  </a:cubicBezTo>
                  <a:cubicBezTo>
                    <a:pt x="122" y="563"/>
                    <a:pt x="123" y="563"/>
                    <a:pt x="123" y="563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63"/>
                    <a:pt x="123" y="564"/>
                    <a:pt x="123" y="564"/>
                  </a:cubicBezTo>
                  <a:cubicBezTo>
                    <a:pt x="123" y="564"/>
                    <a:pt x="123" y="565"/>
                    <a:pt x="123" y="565"/>
                  </a:cubicBezTo>
                  <a:cubicBezTo>
                    <a:pt x="123" y="565"/>
                    <a:pt x="123" y="565"/>
                    <a:pt x="123" y="565"/>
                  </a:cubicBezTo>
                  <a:cubicBezTo>
                    <a:pt x="123" y="566"/>
                    <a:pt x="123" y="566"/>
                    <a:pt x="123" y="566"/>
                  </a:cubicBezTo>
                  <a:cubicBezTo>
                    <a:pt x="123" y="566"/>
                    <a:pt x="123" y="566"/>
                    <a:pt x="123" y="567"/>
                  </a:cubicBezTo>
                  <a:cubicBezTo>
                    <a:pt x="124" y="567"/>
                    <a:pt x="124" y="567"/>
                    <a:pt x="124" y="567"/>
                  </a:cubicBezTo>
                  <a:cubicBezTo>
                    <a:pt x="124" y="567"/>
                    <a:pt x="124" y="568"/>
                    <a:pt x="125" y="569"/>
                  </a:cubicBezTo>
                  <a:cubicBezTo>
                    <a:pt x="125" y="569"/>
                    <a:pt x="125" y="569"/>
                    <a:pt x="125" y="569"/>
                  </a:cubicBezTo>
                  <a:cubicBezTo>
                    <a:pt x="125" y="569"/>
                    <a:pt x="125" y="569"/>
                    <a:pt x="125" y="569"/>
                  </a:cubicBezTo>
                  <a:cubicBezTo>
                    <a:pt x="125" y="569"/>
                    <a:pt x="125" y="569"/>
                    <a:pt x="125" y="569"/>
                  </a:cubicBezTo>
                  <a:cubicBezTo>
                    <a:pt x="125" y="571"/>
                    <a:pt x="126" y="571"/>
                    <a:pt x="126" y="572"/>
                  </a:cubicBezTo>
                  <a:cubicBezTo>
                    <a:pt x="126" y="573"/>
                    <a:pt x="126" y="574"/>
                    <a:pt x="126" y="574"/>
                  </a:cubicBezTo>
                  <a:cubicBezTo>
                    <a:pt x="126" y="575"/>
                    <a:pt x="126" y="575"/>
                    <a:pt x="126" y="575"/>
                  </a:cubicBezTo>
                  <a:cubicBezTo>
                    <a:pt x="126" y="576"/>
                    <a:pt x="126" y="576"/>
                    <a:pt x="126" y="577"/>
                  </a:cubicBezTo>
                  <a:cubicBezTo>
                    <a:pt x="127" y="577"/>
                    <a:pt x="127" y="578"/>
                    <a:pt x="127" y="578"/>
                  </a:cubicBezTo>
                  <a:cubicBezTo>
                    <a:pt x="127" y="578"/>
                    <a:pt x="127" y="579"/>
                    <a:pt x="127" y="579"/>
                  </a:cubicBezTo>
                  <a:cubicBezTo>
                    <a:pt x="127" y="579"/>
                    <a:pt x="128" y="580"/>
                    <a:pt x="128" y="580"/>
                  </a:cubicBezTo>
                  <a:cubicBezTo>
                    <a:pt x="128" y="580"/>
                    <a:pt x="128" y="580"/>
                    <a:pt x="129" y="581"/>
                  </a:cubicBezTo>
                  <a:cubicBezTo>
                    <a:pt x="129" y="581"/>
                    <a:pt x="128" y="581"/>
                    <a:pt x="128" y="582"/>
                  </a:cubicBezTo>
                  <a:cubicBezTo>
                    <a:pt x="130" y="582"/>
                    <a:pt x="130" y="582"/>
                    <a:pt x="130" y="582"/>
                  </a:cubicBezTo>
                  <a:cubicBezTo>
                    <a:pt x="130" y="582"/>
                    <a:pt x="130" y="582"/>
                    <a:pt x="130" y="582"/>
                  </a:cubicBezTo>
                  <a:cubicBezTo>
                    <a:pt x="130" y="582"/>
                    <a:pt x="130" y="582"/>
                    <a:pt x="130" y="582"/>
                  </a:cubicBezTo>
                  <a:cubicBezTo>
                    <a:pt x="128" y="582"/>
                    <a:pt x="128" y="582"/>
                    <a:pt x="128" y="582"/>
                  </a:cubicBezTo>
                  <a:cubicBezTo>
                    <a:pt x="128" y="583"/>
                    <a:pt x="128" y="585"/>
                    <a:pt x="129" y="586"/>
                  </a:cubicBezTo>
                  <a:cubicBezTo>
                    <a:pt x="129" y="586"/>
                    <a:pt x="130" y="587"/>
                    <a:pt x="130" y="587"/>
                  </a:cubicBezTo>
                  <a:cubicBezTo>
                    <a:pt x="130" y="587"/>
                    <a:pt x="130" y="587"/>
                    <a:pt x="131" y="587"/>
                  </a:cubicBezTo>
                  <a:cubicBezTo>
                    <a:pt x="131" y="585"/>
                    <a:pt x="131" y="585"/>
                    <a:pt x="131" y="585"/>
                  </a:cubicBezTo>
                  <a:cubicBezTo>
                    <a:pt x="131" y="586"/>
                    <a:pt x="131" y="586"/>
                    <a:pt x="131" y="586"/>
                  </a:cubicBezTo>
                  <a:cubicBezTo>
                    <a:pt x="131" y="587"/>
                    <a:pt x="131" y="587"/>
                    <a:pt x="131" y="587"/>
                  </a:cubicBezTo>
                  <a:cubicBezTo>
                    <a:pt x="131" y="588"/>
                    <a:pt x="131" y="589"/>
                    <a:pt x="131" y="590"/>
                  </a:cubicBezTo>
                  <a:cubicBezTo>
                    <a:pt x="131" y="590"/>
                    <a:pt x="131" y="590"/>
                    <a:pt x="130" y="590"/>
                  </a:cubicBezTo>
                  <a:cubicBezTo>
                    <a:pt x="130" y="591"/>
                    <a:pt x="130" y="591"/>
                    <a:pt x="130" y="592"/>
                  </a:cubicBezTo>
                  <a:cubicBezTo>
                    <a:pt x="130" y="592"/>
                    <a:pt x="130" y="592"/>
                    <a:pt x="130" y="592"/>
                  </a:cubicBezTo>
                  <a:cubicBezTo>
                    <a:pt x="128" y="592"/>
                    <a:pt x="127" y="593"/>
                    <a:pt x="127" y="594"/>
                  </a:cubicBezTo>
                  <a:cubicBezTo>
                    <a:pt x="127" y="594"/>
                    <a:pt x="127" y="594"/>
                    <a:pt x="127" y="594"/>
                  </a:cubicBezTo>
                  <a:cubicBezTo>
                    <a:pt x="127" y="596"/>
                    <a:pt x="127" y="597"/>
                    <a:pt x="127" y="598"/>
                  </a:cubicBezTo>
                  <a:cubicBezTo>
                    <a:pt x="128" y="599"/>
                    <a:pt x="128" y="599"/>
                    <a:pt x="129" y="599"/>
                  </a:cubicBezTo>
                  <a:cubicBezTo>
                    <a:pt x="129" y="600"/>
                    <a:pt x="129" y="600"/>
                    <a:pt x="130" y="600"/>
                  </a:cubicBezTo>
                  <a:cubicBezTo>
                    <a:pt x="130" y="601"/>
                    <a:pt x="130" y="601"/>
                    <a:pt x="130" y="601"/>
                  </a:cubicBezTo>
                  <a:cubicBezTo>
                    <a:pt x="130" y="601"/>
                    <a:pt x="130" y="602"/>
                    <a:pt x="130" y="602"/>
                  </a:cubicBezTo>
                  <a:cubicBezTo>
                    <a:pt x="130" y="603"/>
                    <a:pt x="130" y="603"/>
                    <a:pt x="130" y="604"/>
                  </a:cubicBezTo>
                  <a:cubicBezTo>
                    <a:pt x="130" y="604"/>
                    <a:pt x="130" y="604"/>
                    <a:pt x="130" y="604"/>
                  </a:cubicBezTo>
                  <a:cubicBezTo>
                    <a:pt x="131" y="604"/>
                    <a:pt x="131" y="605"/>
                    <a:pt x="132" y="606"/>
                  </a:cubicBezTo>
                  <a:cubicBezTo>
                    <a:pt x="134" y="607"/>
                    <a:pt x="134" y="607"/>
                    <a:pt x="134" y="607"/>
                  </a:cubicBezTo>
                  <a:cubicBezTo>
                    <a:pt x="134" y="606"/>
                    <a:pt x="134" y="606"/>
                    <a:pt x="134" y="606"/>
                  </a:cubicBezTo>
                  <a:cubicBezTo>
                    <a:pt x="134" y="606"/>
                    <a:pt x="134" y="607"/>
                    <a:pt x="134" y="607"/>
                  </a:cubicBezTo>
                  <a:cubicBezTo>
                    <a:pt x="134" y="608"/>
                    <a:pt x="134" y="608"/>
                    <a:pt x="134" y="609"/>
                  </a:cubicBezTo>
                  <a:cubicBezTo>
                    <a:pt x="134" y="609"/>
                    <a:pt x="134" y="609"/>
                    <a:pt x="134" y="609"/>
                  </a:cubicBezTo>
                  <a:cubicBezTo>
                    <a:pt x="134" y="609"/>
                    <a:pt x="134" y="610"/>
                    <a:pt x="134" y="610"/>
                  </a:cubicBezTo>
                  <a:cubicBezTo>
                    <a:pt x="134" y="611"/>
                    <a:pt x="133" y="611"/>
                    <a:pt x="134" y="612"/>
                  </a:cubicBezTo>
                  <a:cubicBezTo>
                    <a:pt x="134" y="614"/>
                    <a:pt x="134" y="614"/>
                    <a:pt x="134" y="614"/>
                  </a:cubicBezTo>
                  <a:cubicBezTo>
                    <a:pt x="134" y="614"/>
                    <a:pt x="134" y="615"/>
                    <a:pt x="135" y="616"/>
                  </a:cubicBezTo>
                  <a:cubicBezTo>
                    <a:pt x="135" y="616"/>
                    <a:pt x="136" y="617"/>
                    <a:pt x="136" y="618"/>
                  </a:cubicBezTo>
                  <a:cubicBezTo>
                    <a:pt x="136" y="619"/>
                    <a:pt x="136" y="619"/>
                    <a:pt x="137" y="620"/>
                  </a:cubicBezTo>
                  <a:cubicBezTo>
                    <a:pt x="137" y="620"/>
                    <a:pt x="137" y="620"/>
                    <a:pt x="137" y="621"/>
                  </a:cubicBezTo>
                  <a:cubicBezTo>
                    <a:pt x="137" y="621"/>
                    <a:pt x="137" y="621"/>
                    <a:pt x="137" y="621"/>
                  </a:cubicBezTo>
                  <a:cubicBezTo>
                    <a:pt x="138" y="621"/>
                    <a:pt x="138" y="622"/>
                    <a:pt x="138" y="622"/>
                  </a:cubicBezTo>
                  <a:cubicBezTo>
                    <a:pt x="138" y="623"/>
                    <a:pt x="138" y="624"/>
                    <a:pt x="138" y="625"/>
                  </a:cubicBezTo>
                  <a:cubicBezTo>
                    <a:pt x="138" y="625"/>
                    <a:pt x="138" y="625"/>
                    <a:pt x="138" y="626"/>
                  </a:cubicBezTo>
                  <a:cubicBezTo>
                    <a:pt x="138" y="626"/>
                    <a:pt x="138" y="626"/>
                    <a:pt x="138" y="626"/>
                  </a:cubicBezTo>
                  <a:cubicBezTo>
                    <a:pt x="138" y="626"/>
                    <a:pt x="138" y="626"/>
                    <a:pt x="138" y="626"/>
                  </a:cubicBezTo>
                  <a:cubicBezTo>
                    <a:pt x="138" y="627"/>
                    <a:pt x="139" y="628"/>
                    <a:pt x="139" y="629"/>
                  </a:cubicBezTo>
                  <a:cubicBezTo>
                    <a:pt x="139" y="629"/>
                    <a:pt x="139" y="629"/>
                    <a:pt x="139" y="630"/>
                  </a:cubicBezTo>
                  <a:cubicBezTo>
                    <a:pt x="139" y="630"/>
                    <a:pt x="139" y="630"/>
                    <a:pt x="139" y="630"/>
                  </a:cubicBezTo>
                  <a:cubicBezTo>
                    <a:pt x="140" y="631"/>
                    <a:pt x="140" y="631"/>
                    <a:pt x="140" y="631"/>
                  </a:cubicBezTo>
                  <a:cubicBezTo>
                    <a:pt x="140" y="631"/>
                    <a:pt x="140" y="631"/>
                    <a:pt x="140" y="631"/>
                  </a:cubicBezTo>
                  <a:cubicBezTo>
                    <a:pt x="140" y="632"/>
                    <a:pt x="140" y="632"/>
                    <a:pt x="140" y="632"/>
                  </a:cubicBezTo>
                  <a:cubicBezTo>
                    <a:pt x="140" y="632"/>
                    <a:pt x="140" y="632"/>
                    <a:pt x="140" y="632"/>
                  </a:cubicBezTo>
                  <a:cubicBezTo>
                    <a:pt x="140" y="633"/>
                    <a:pt x="140" y="633"/>
                    <a:pt x="140" y="634"/>
                  </a:cubicBezTo>
                  <a:cubicBezTo>
                    <a:pt x="140" y="634"/>
                    <a:pt x="141" y="635"/>
                    <a:pt x="141" y="635"/>
                  </a:cubicBezTo>
                  <a:cubicBezTo>
                    <a:pt x="141" y="636"/>
                    <a:pt x="141" y="636"/>
                    <a:pt x="141" y="636"/>
                  </a:cubicBezTo>
                  <a:cubicBezTo>
                    <a:pt x="141" y="636"/>
                    <a:pt x="142" y="636"/>
                    <a:pt x="142" y="637"/>
                  </a:cubicBezTo>
                  <a:cubicBezTo>
                    <a:pt x="142" y="637"/>
                    <a:pt x="142" y="637"/>
                    <a:pt x="142" y="637"/>
                  </a:cubicBezTo>
                  <a:cubicBezTo>
                    <a:pt x="141" y="638"/>
                    <a:pt x="141" y="638"/>
                    <a:pt x="141" y="638"/>
                  </a:cubicBezTo>
                  <a:cubicBezTo>
                    <a:pt x="141" y="638"/>
                    <a:pt x="141" y="638"/>
                    <a:pt x="141" y="638"/>
                  </a:cubicBezTo>
                  <a:cubicBezTo>
                    <a:pt x="141" y="639"/>
                    <a:pt x="141" y="639"/>
                    <a:pt x="141" y="639"/>
                  </a:cubicBezTo>
                  <a:cubicBezTo>
                    <a:pt x="141" y="639"/>
                    <a:pt x="141" y="640"/>
                    <a:pt x="141" y="640"/>
                  </a:cubicBezTo>
                  <a:cubicBezTo>
                    <a:pt x="141" y="640"/>
                    <a:pt x="141" y="640"/>
                    <a:pt x="140" y="641"/>
                  </a:cubicBezTo>
                  <a:cubicBezTo>
                    <a:pt x="140" y="641"/>
                    <a:pt x="140" y="641"/>
                    <a:pt x="140" y="641"/>
                  </a:cubicBezTo>
                  <a:cubicBezTo>
                    <a:pt x="140" y="643"/>
                    <a:pt x="139" y="645"/>
                    <a:pt x="140" y="646"/>
                  </a:cubicBezTo>
                  <a:cubicBezTo>
                    <a:pt x="140" y="647"/>
                    <a:pt x="140" y="647"/>
                    <a:pt x="140" y="648"/>
                  </a:cubicBezTo>
                  <a:cubicBezTo>
                    <a:pt x="140" y="648"/>
                    <a:pt x="141" y="648"/>
                    <a:pt x="141" y="648"/>
                  </a:cubicBezTo>
                  <a:cubicBezTo>
                    <a:pt x="141" y="649"/>
                    <a:pt x="140" y="650"/>
                    <a:pt x="140" y="650"/>
                  </a:cubicBezTo>
                  <a:cubicBezTo>
                    <a:pt x="140" y="651"/>
                    <a:pt x="140" y="651"/>
                    <a:pt x="140" y="651"/>
                  </a:cubicBezTo>
                  <a:cubicBezTo>
                    <a:pt x="140" y="651"/>
                    <a:pt x="140" y="651"/>
                    <a:pt x="140" y="651"/>
                  </a:cubicBezTo>
                  <a:cubicBezTo>
                    <a:pt x="140" y="652"/>
                    <a:pt x="140" y="653"/>
                    <a:pt x="139" y="653"/>
                  </a:cubicBezTo>
                  <a:cubicBezTo>
                    <a:pt x="139" y="653"/>
                    <a:pt x="139" y="653"/>
                    <a:pt x="139" y="654"/>
                  </a:cubicBezTo>
                  <a:cubicBezTo>
                    <a:pt x="138" y="654"/>
                    <a:pt x="138" y="654"/>
                    <a:pt x="137" y="655"/>
                  </a:cubicBezTo>
                  <a:cubicBezTo>
                    <a:pt x="136" y="656"/>
                    <a:pt x="136" y="657"/>
                    <a:pt x="138" y="659"/>
                  </a:cubicBezTo>
                  <a:cubicBezTo>
                    <a:pt x="138" y="659"/>
                    <a:pt x="138" y="659"/>
                    <a:pt x="138" y="660"/>
                  </a:cubicBezTo>
                  <a:cubicBezTo>
                    <a:pt x="138" y="660"/>
                    <a:pt x="138" y="660"/>
                    <a:pt x="138" y="660"/>
                  </a:cubicBezTo>
                  <a:cubicBezTo>
                    <a:pt x="138" y="660"/>
                    <a:pt x="138" y="661"/>
                    <a:pt x="138" y="661"/>
                  </a:cubicBezTo>
                  <a:cubicBezTo>
                    <a:pt x="138" y="661"/>
                    <a:pt x="137" y="660"/>
                    <a:pt x="137" y="660"/>
                  </a:cubicBezTo>
                  <a:cubicBezTo>
                    <a:pt x="136" y="660"/>
                    <a:pt x="135" y="660"/>
                    <a:pt x="135" y="661"/>
                  </a:cubicBezTo>
                  <a:cubicBezTo>
                    <a:pt x="134" y="661"/>
                    <a:pt x="134" y="661"/>
                    <a:pt x="134" y="662"/>
                  </a:cubicBezTo>
                  <a:cubicBezTo>
                    <a:pt x="134" y="663"/>
                    <a:pt x="134" y="663"/>
                    <a:pt x="134" y="664"/>
                  </a:cubicBezTo>
                  <a:cubicBezTo>
                    <a:pt x="134" y="664"/>
                    <a:pt x="134" y="665"/>
                    <a:pt x="134" y="665"/>
                  </a:cubicBezTo>
                  <a:cubicBezTo>
                    <a:pt x="134" y="666"/>
                    <a:pt x="134" y="667"/>
                    <a:pt x="135" y="668"/>
                  </a:cubicBezTo>
                  <a:cubicBezTo>
                    <a:pt x="135" y="668"/>
                    <a:pt x="135" y="669"/>
                    <a:pt x="135" y="669"/>
                  </a:cubicBezTo>
                  <a:cubicBezTo>
                    <a:pt x="135" y="669"/>
                    <a:pt x="135" y="670"/>
                    <a:pt x="135" y="670"/>
                  </a:cubicBezTo>
                  <a:cubicBezTo>
                    <a:pt x="136" y="671"/>
                    <a:pt x="136" y="671"/>
                    <a:pt x="136" y="671"/>
                  </a:cubicBezTo>
                  <a:cubicBezTo>
                    <a:pt x="136" y="671"/>
                    <a:pt x="136" y="672"/>
                    <a:pt x="136" y="672"/>
                  </a:cubicBezTo>
                  <a:cubicBezTo>
                    <a:pt x="136" y="673"/>
                    <a:pt x="136" y="675"/>
                    <a:pt x="137" y="676"/>
                  </a:cubicBezTo>
                  <a:cubicBezTo>
                    <a:pt x="137" y="676"/>
                    <a:pt x="137" y="677"/>
                    <a:pt x="138" y="677"/>
                  </a:cubicBezTo>
                  <a:cubicBezTo>
                    <a:pt x="138" y="678"/>
                    <a:pt x="138" y="678"/>
                    <a:pt x="138" y="678"/>
                  </a:cubicBezTo>
                  <a:cubicBezTo>
                    <a:pt x="139" y="679"/>
                    <a:pt x="140" y="679"/>
                    <a:pt x="140" y="679"/>
                  </a:cubicBezTo>
                  <a:cubicBezTo>
                    <a:pt x="140" y="679"/>
                    <a:pt x="140" y="679"/>
                    <a:pt x="140" y="679"/>
                  </a:cubicBezTo>
                  <a:cubicBezTo>
                    <a:pt x="141" y="680"/>
                    <a:pt x="141" y="680"/>
                    <a:pt x="141" y="680"/>
                  </a:cubicBezTo>
                  <a:cubicBezTo>
                    <a:pt x="142" y="681"/>
                    <a:pt x="143" y="681"/>
                    <a:pt x="143" y="682"/>
                  </a:cubicBezTo>
                  <a:cubicBezTo>
                    <a:pt x="144" y="682"/>
                    <a:pt x="144" y="682"/>
                    <a:pt x="144" y="683"/>
                  </a:cubicBezTo>
                  <a:cubicBezTo>
                    <a:pt x="144" y="683"/>
                    <a:pt x="144" y="683"/>
                    <a:pt x="144" y="683"/>
                  </a:cubicBezTo>
                  <a:cubicBezTo>
                    <a:pt x="144" y="684"/>
                    <a:pt x="144" y="684"/>
                    <a:pt x="144" y="684"/>
                  </a:cubicBezTo>
                  <a:cubicBezTo>
                    <a:pt x="144" y="685"/>
                    <a:pt x="144" y="686"/>
                    <a:pt x="144" y="686"/>
                  </a:cubicBezTo>
                  <a:cubicBezTo>
                    <a:pt x="144" y="687"/>
                    <a:pt x="144" y="687"/>
                    <a:pt x="145" y="688"/>
                  </a:cubicBezTo>
                  <a:cubicBezTo>
                    <a:pt x="145" y="688"/>
                    <a:pt x="145" y="688"/>
                    <a:pt x="145" y="688"/>
                  </a:cubicBezTo>
                  <a:cubicBezTo>
                    <a:pt x="145" y="688"/>
                    <a:pt x="145" y="688"/>
                    <a:pt x="145" y="688"/>
                  </a:cubicBezTo>
                  <a:cubicBezTo>
                    <a:pt x="145" y="689"/>
                    <a:pt x="145" y="689"/>
                    <a:pt x="146" y="690"/>
                  </a:cubicBezTo>
                  <a:cubicBezTo>
                    <a:pt x="146" y="690"/>
                    <a:pt x="146" y="690"/>
                    <a:pt x="147" y="690"/>
                  </a:cubicBezTo>
                  <a:cubicBezTo>
                    <a:pt x="148" y="691"/>
                    <a:pt x="148" y="691"/>
                    <a:pt x="148" y="691"/>
                  </a:cubicBezTo>
                  <a:cubicBezTo>
                    <a:pt x="148" y="690"/>
                    <a:pt x="148" y="690"/>
                    <a:pt x="148" y="690"/>
                  </a:cubicBezTo>
                  <a:cubicBezTo>
                    <a:pt x="148" y="690"/>
                    <a:pt x="148" y="691"/>
                    <a:pt x="149" y="691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9" y="691"/>
                    <a:pt x="150" y="691"/>
                    <a:pt x="150" y="691"/>
                  </a:cubicBezTo>
                  <a:cubicBezTo>
                    <a:pt x="150" y="691"/>
                    <a:pt x="150" y="691"/>
                    <a:pt x="150" y="691"/>
                  </a:cubicBezTo>
                  <a:cubicBezTo>
                    <a:pt x="151" y="692"/>
                    <a:pt x="151" y="692"/>
                    <a:pt x="152" y="693"/>
                  </a:cubicBezTo>
                  <a:cubicBezTo>
                    <a:pt x="152" y="693"/>
                    <a:pt x="153" y="693"/>
                    <a:pt x="154" y="693"/>
                  </a:cubicBezTo>
                  <a:cubicBezTo>
                    <a:pt x="154" y="693"/>
                    <a:pt x="154" y="693"/>
                    <a:pt x="155" y="693"/>
                  </a:cubicBezTo>
                  <a:cubicBezTo>
                    <a:pt x="155" y="693"/>
                    <a:pt x="155" y="693"/>
                    <a:pt x="155" y="694"/>
                  </a:cubicBezTo>
                  <a:cubicBezTo>
                    <a:pt x="155" y="694"/>
                    <a:pt x="156" y="694"/>
                    <a:pt x="157" y="694"/>
                  </a:cubicBezTo>
                  <a:cubicBezTo>
                    <a:pt x="157" y="694"/>
                    <a:pt x="157" y="694"/>
                    <a:pt x="157" y="694"/>
                  </a:cubicBezTo>
                  <a:cubicBezTo>
                    <a:pt x="157" y="694"/>
                    <a:pt x="157" y="695"/>
                    <a:pt x="158" y="695"/>
                  </a:cubicBezTo>
                  <a:cubicBezTo>
                    <a:pt x="158" y="696"/>
                    <a:pt x="158" y="696"/>
                    <a:pt x="158" y="696"/>
                  </a:cubicBezTo>
                  <a:cubicBezTo>
                    <a:pt x="158" y="697"/>
                    <a:pt x="159" y="698"/>
                    <a:pt x="159" y="699"/>
                  </a:cubicBezTo>
                  <a:cubicBezTo>
                    <a:pt x="160" y="699"/>
                    <a:pt x="160" y="699"/>
                    <a:pt x="160" y="699"/>
                  </a:cubicBezTo>
                  <a:cubicBezTo>
                    <a:pt x="160" y="699"/>
                    <a:pt x="160" y="700"/>
                    <a:pt x="160" y="700"/>
                  </a:cubicBezTo>
                  <a:cubicBezTo>
                    <a:pt x="160" y="700"/>
                    <a:pt x="160" y="700"/>
                    <a:pt x="160" y="700"/>
                  </a:cubicBezTo>
                  <a:cubicBezTo>
                    <a:pt x="161" y="701"/>
                    <a:pt x="161" y="702"/>
                    <a:pt x="162" y="702"/>
                  </a:cubicBezTo>
                  <a:cubicBezTo>
                    <a:pt x="162" y="702"/>
                    <a:pt x="163" y="702"/>
                    <a:pt x="164" y="703"/>
                  </a:cubicBezTo>
                  <a:cubicBezTo>
                    <a:pt x="164" y="703"/>
                    <a:pt x="164" y="703"/>
                    <a:pt x="164" y="703"/>
                  </a:cubicBezTo>
                  <a:cubicBezTo>
                    <a:pt x="165" y="704"/>
                    <a:pt x="165" y="704"/>
                    <a:pt x="165" y="704"/>
                  </a:cubicBezTo>
                  <a:cubicBezTo>
                    <a:pt x="165" y="705"/>
                    <a:pt x="166" y="705"/>
                    <a:pt x="167" y="705"/>
                  </a:cubicBezTo>
                  <a:cubicBezTo>
                    <a:pt x="167" y="705"/>
                    <a:pt x="167" y="705"/>
                    <a:pt x="168" y="706"/>
                  </a:cubicBezTo>
                  <a:cubicBezTo>
                    <a:pt x="168" y="706"/>
                    <a:pt x="168" y="706"/>
                    <a:pt x="169" y="706"/>
                  </a:cubicBezTo>
                  <a:cubicBezTo>
                    <a:pt x="169" y="706"/>
                    <a:pt x="169" y="706"/>
                    <a:pt x="170" y="706"/>
                  </a:cubicBezTo>
                  <a:cubicBezTo>
                    <a:pt x="170" y="706"/>
                    <a:pt x="170" y="706"/>
                    <a:pt x="170" y="706"/>
                  </a:cubicBezTo>
                  <a:cubicBezTo>
                    <a:pt x="170" y="707"/>
                    <a:pt x="171" y="707"/>
                    <a:pt x="171" y="707"/>
                  </a:cubicBezTo>
                  <a:cubicBezTo>
                    <a:pt x="171" y="708"/>
                    <a:pt x="171" y="708"/>
                    <a:pt x="171" y="708"/>
                  </a:cubicBezTo>
                  <a:cubicBezTo>
                    <a:pt x="172" y="708"/>
                    <a:pt x="172" y="709"/>
                    <a:pt x="173" y="710"/>
                  </a:cubicBezTo>
                  <a:cubicBezTo>
                    <a:pt x="174" y="711"/>
                    <a:pt x="175" y="711"/>
                    <a:pt x="176" y="712"/>
                  </a:cubicBezTo>
                  <a:cubicBezTo>
                    <a:pt x="177" y="712"/>
                    <a:pt x="177" y="712"/>
                    <a:pt x="178" y="712"/>
                  </a:cubicBezTo>
                  <a:cubicBezTo>
                    <a:pt x="178" y="713"/>
                    <a:pt x="178" y="713"/>
                    <a:pt x="179" y="714"/>
                  </a:cubicBezTo>
                  <a:cubicBezTo>
                    <a:pt x="179" y="715"/>
                    <a:pt x="180" y="715"/>
                    <a:pt x="181" y="716"/>
                  </a:cubicBezTo>
                  <a:cubicBezTo>
                    <a:pt x="181" y="716"/>
                    <a:pt x="181" y="717"/>
                    <a:pt x="181" y="717"/>
                  </a:cubicBezTo>
                  <a:cubicBezTo>
                    <a:pt x="181" y="717"/>
                    <a:pt x="182" y="717"/>
                    <a:pt x="182" y="717"/>
                  </a:cubicBezTo>
                  <a:cubicBezTo>
                    <a:pt x="182" y="718"/>
                    <a:pt x="182" y="718"/>
                    <a:pt x="182" y="718"/>
                  </a:cubicBezTo>
                  <a:cubicBezTo>
                    <a:pt x="182" y="719"/>
                    <a:pt x="183" y="719"/>
                    <a:pt x="183" y="719"/>
                  </a:cubicBezTo>
                  <a:cubicBezTo>
                    <a:pt x="184" y="719"/>
                    <a:pt x="184" y="719"/>
                    <a:pt x="184" y="719"/>
                  </a:cubicBezTo>
                  <a:cubicBezTo>
                    <a:pt x="184" y="719"/>
                    <a:pt x="184" y="719"/>
                    <a:pt x="184" y="719"/>
                  </a:cubicBezTo>
                  <a:cubicBezTo>
                    <a:pt x="185" y="719"/>
                    <a:pt x="185" y="719"/>
                    <a:pt x="185" y="719"/>
                  </a:cubicBezTo>
                  <a:cubicBezTo>
                    <a:pt x="186" y="719"/>
                    <a:pt x="186" y="719"/>
                    <a:pt x="187" y="719"/>
                  </a:cubicBezTo>
                  <a:cubicBezTo>
                    <a:pt x="187" y="719"/>
                    <a:pt x="187" y="719"/>
                    <a:pt x="187" y="719"/>
                  </a:cubicBezTo>
                  <a:cubicBezTo>
                    <a:pt x="187" y="719"/>
                    <a:pt x="188" y="720"/>
                    <a:pt x="188" y="720"/>
                  </a:cubicBezTo>
                  <a:cubicBezTo>
                    <a:pt x="188" y="720"/>
                    <a:pt x="188" y="720"/>
                    <a:pt x="188" y="720"/>
                  </a:cubicBezTo>
                  <a:cubicBezTo>
                    <a:pt x="188" y="720"/>
                    <a:pt x="188" y="721"/>
                    <a:pt x="189" y="722"/>
                  </a:cubicBezTo>
                  <a:cubicBezTo>
                    <a:pt x="189" y="722"/>
                    <a:pt x="190" y="722"/>
                    <a:pt x="191" y="723"/>
                  </a:cubicBezTo>
                  <a:cubicBezTo>
                    <a:pt x="191" y="723"/>
                    <a:pt x="192" y="723"/>
                    <a:pt x="192" y="723"/>
                  </a:cubicBezTo>
                  <a:cubicBezTo>
                    <a:pt x="193" y="723"/>
                    <a:pt x="193" y="723"/>
                    <a:pt x="193" y="723"/>
                  </a:cubicBezTo>
                  <a:cubicBezTo>
                    <a:pt x="193" y="723"/>
                    <a:pt x="193" y="723"/>
                    <a:pt x="193" y="723"/>
                  </a:cubicBezTo>
                  <a:cubicBezTo>
                    <a:pt x="193" y="722"/>
                    <a:pt x="193" y="722"/>
                    <a:pt x="193" y="722"/>
                  </a:cubicBezTo>
                  <a:cubicBezTo>
                    <a:pt x="193" y="723"/>
                    <a:pt x="193" y="723"/>
                    <a:pt x="193" y="723"/>
                  </a:cubicBezTo>
                  <a:cubicBezTo>
                    <a:pt x="194" y="723"/>
                    <a:pt x="194" y="723"/>
                    <a:pt x="194" y="723"/>
                  </a:cubicBezTo>
                  <a:cubicBezTo>
                    <a:pt x="194" y="723"/>
                    <a:pt x="195" y="723"/>
                    <a:pt x="196" y="723"/>
                  </a:cubicBezTo>
                  <a:cubicBezTo>
                    <a:pt x="197" y="723"/>
                    <a:pt x="197" y="723"/>
                    <a:pt x="197" y="723"/>
                  </a:cubicBezTo>
                  <a:cubicBezTo>
                    <a:pt x="197" y="723"/>
                    <a:pt x="198" y="723"/>
                    <a:pt x="198" y="722"/>
                  </a:cubicBezTo>
                  <a:cubicBezTo>
                    <a:pt x="198" y="722"/>
                    <a:pt x="199" y="722"/>
                    <a:pt x="199" y="722"/>
                  </a:cubicBezTo>
                  <a:cubicBezTo>
                    <a:pt x="199" y="722"/>
                    <a:pt x="200" y="722"/>
                    <a:pt x="201" y="721"/>
                  </a:cubicBezTo>
                  <a:cubicBezTo>
                    <a:pt x="201" y="721"/>
                    <a:pt x="201" y="721"/>
                    <a:pt x="201" y="721"/>
                  </a:cubicBezTo>
                  <a:cubicBezTo>
                    <a:pt x="202" y="721"/>
                    <a:pt x="202" y="721"/>
                    <a:pt x="203" y="721"/>
                  </a:cubicBezTo>
                  <a:cubicBezTo>
                    <a:pt x="203" y="720"/>
                    <a:pt x="203" y="720"/>
                    <a:pt x="204" y="720"/>
                  </a:cubicBezTo>
                  <a:cubicBezTo>
                    <a:pt x="204" y="720"/>
                    <a:pt x="204" y="720"/>
                    <a:pt x="204" y="720"/>
                  </a:cubicBezTo>
                  <a:cubicBezTo>
                    <a:pt x="204" y="720"/>
                    <a:pt x="205" y="720"/>
                    <a:pt x="205" y="720"/>
                  </a:cubicBezTo>
                  <a:cubicBezTo>
                    <a:pt x="205" y="720"/>
                    <a:pt x="205" y="720"/>
                    <a:pt x="206" y="720"/>
                  </a:cubicBezTo>
                  <a:cubicBezTo>
                    <a:pt x="206" y="720"/>
                    <a:pt x="206" y="720"/>
                    <a:pt x="206" y="720"/>
                  </a:cubicBezTo>
                  <a:cubicBezTo>
                    <a:pt x="206" y="720"/>
                    <a:pt x="207" y="720"/>
                    <a:pt x="207" y="720"/>
                  </a:cubicBezTo>
                  <a:cubicBezTo>
                    <a:pt x="207" y="720"/>
                    <a:pt x="207" y="720"/>
                    <a:pt x="207" y="720"/>
                  </a:cubicBezTo>
                  <a:cubicBezTo>
                    <a:pt x="208" y="720"/>
                    <a:pt x="208" y="720"/>
                    <a:pt x="209" y="719"/>
                  </a:cubicBezTo>
                  <a:cubicBezTo>
                    <a:pt x="210" y="719"/>
                    <a:pt x="210" y="719"/>
                    <a:pt x="210" y="718"/>
                  </a:cubicBezTo>
                  <a:cubicBezTo>
                    <a:pt x="210" y="718"/>
                    <a:pt x="211" y="718"/>
                    <a:pt x="211" y="718"/>
                  </a:cubicBezTo>
                  <a:cubicBezTo>
                    <a:pt x="212" y="718"/>
                    <a:pt x="212" y="718"/>
                    <a:pt x="212" y="718"/>
                  </a:cubicBezTo>
                  <a:cubicBezTo>
                    <a:pt x="212" y="719"/>
                    <a:pt x="213" y="719"/>
                    <a:pt x="213" y="719"/>
                  </a:cubicBezTo>
                  <a:cubicBezTo>
                    <a:pt x="215" y="720"/>
                    <a:pt x="215" y="720"/>
                    <a:pt x="215" y="720"/>
                  </a:cubicBezTo>
                  <a:cubicBezTo>
                    <a:pt x="215" y="721"/>
                    <a:pt x="215" y="721"/>
                    <a:pt x="215" y="721"/>
                  </a:cubicBezTo>
                  <a:cubicBezTo>
                    <a:pt x="215" y="721"/>
                    <a:pt x="216" y="722"/>
                    <a:pt x="216" y="722"/>
                  </a:cubicBezTo>
                  <a:cubicBezTo>
                    <a:pt x="217" y="722"/>
                    <a:pt x="217" y="722"/>
                    <a:pt x="217" y="722"/>
                  </a:cubicBezTo>
                  <a:cubicBezTo>
                    <a:pt x="217" y="722"/>
                    <a:pt x="217" y="723"/>
                    <a:pt x="217" y="723"/>
                  </a:cubicBezTo>
                  <a:cubicBezTo>
                    <a:pt x="218" y="724"/>
                    <a:pt x="218" y="724"/>
                    <a:pt x="219" y="725"/>
                  </a:cubicBezTo>
                  <a:cubicBezTo>
                    <a:pt x="219" y="725"/>
                    <a:pt x="219" y="726"/>
                    <a:pt x="219" y="726"/>
                  </a:cubicBezTo>
                  <a:cubicBezTo>
                    <a:pt x="219" y="727"/>
                    <a:pt x="220" y="727"/>
                    <a:pt x="220" y="727"/>
                  </a:cubicBezTo>
                  <a:cubicBezTo>
                    <a:pt x="220" y="728"/>
                    <a:pt x="220" y="729"/>
                    <a:pt x="221" y="729"/>
                  </a:cubicBezTo>
                  <a:cubicBezTo>
                    <a:pt x="221" y="730"/>
                    <a:pt x="222" y="730"/>
                    <a:pt x="222" y="731"/>
                  </a:cubicBezTo>
                  <a:cubicBezTo>
                    <a:pt x="223" y="731"/>
                    <a:pt x="223" y="731"/>
                    <a:pt x="223" y="731"/>
                  </a:cubicBezTo>
                  <a:cubicBezTo>
                    <a:pt x="223" y="732"/>
                    <a:pt x="224" y="732"/>
                    <a:pt x="224" y="732"/>
                  </a:cubicBezTo>
                  <a:cubicBezTo>
                    <a:pt x="224" y="733"/>
                    <a:pt x="225" y="733"/>
                    <a:pt x="225" y="734"/>
                  </a:cubicBezTo>
                  <a:cubicBezTo>
                    <a:pt x="225" y="734"/>
                    <a:pt x="225" y="734"/>
                    <a:pt x="225" y="734"/>
                  </a:cubicBezTo>
                  <a:cubicBezTo>
                    <a:pt x="225" y="734"/>
                    <a:pt x="225" y="734"/>
                    <a:pt x="225" y="734"/>
                  </a:cubicBezTo>
                  <a:cubicBezTo>
                    <a:pt x="225" y="734"/>
                    <a:pt x="225" y="734"/>
                    <a:pt x="225" y="734"/>
                  </a:cubicBezTo>
                  <a:cubicBezTo>
                    <a:pt x="225" y="734"/>
                    <a:pt x="225" y="735"/>
                    <a:pt x="225" y="735"/>
                  </a:cubicBezTo>
                  <a:cubicBezTo>
                    <a:pt x="225" y="735"/>
                    <a:pt x="225" y="735"/>
                    <a:pt x="225" y="735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7"/>
                    <a:pt x="225" y="737"/>
                    <a:pt x="226" y="738"/>
                  </a:cubicBezTo>
                  <a:cubicBezTo>
                    <a:pt x="226" y="738"/>
                    <a:pt x="226" y="738"/>
                    <a:pt x="226" y="738"/>
                  </a:cubicBezTo>
                  <a:cubicBezTo>
                    <a:pt x="226" y="739"/>
                    <a:pt x="226" y="739"/>
                    <a:pt x="227" y="739"/>
                  </a:cubicBezTo>
                  <a:cubicBezTo>
                    <a:pt x="227" y="740"/>
                    <a:pt x="228" y="740"/>
                    <a:pt x="228" y="740"/>
                  </a:cubicBezTo>
                  <a:cubicBezTo>
                    <a:pt x="228" y="741"/>
                    <a:pt x="228" y="741"/>
                    <a:pt x="229" y="741"/>
                  </a:cubicBezTo>
                  <a:cubicBezTo>
                    <a:pt x="229" y="741"/>
                    <a:pt x="229" y="741"/>
                    <a:pt x="229" y="741"/>
                  </a:cubicBezTo>
                  <a:cubicBezTo>
                    <a:pt x="229" y="742"/>
                    <a:pt x="230" y="742"/>
                    <a:pt x="230" y="742"/>
                  </a:cubicBezTo>
                  <a:cubicBezTo>
                    <a:pt x="230" y="743"/>
                    <a:pt x="230" y="743"/>
                    <a:pt x="230" y="743"/>
                  </a:cubicBezTo>
                  <a:cubicBezTo>
                    <a:pt x="230" y="743"/>
                    <a:pt x="231" y="743"/>
                    <a:pt x="231" y="743"/>
                  </a:cubicBezTo>
                  <a:cubicBezTo>
                    <a:pt x="231" y="743"/>
                    <a:pt x="231" y="743"/>
                    <a:pt x="231" y="744"/>
                  </a:cubicBezTo>
                  <a:cubicBezTo>
                    <a:pt x="232" y="743"/>
                    <a:pt x="232" y="743"/>
                    <a:pt x="232" y="743"/>
                  </a:cubicBezTo>
                  <a:cubicBezTo>
                    <a:pt x="231" y="744"/>
                    <a:pt x="231" y="744"/>
                    <a:pt x="231" y="744"/>
                  </a:cubicBezTo>
                  <a:cubicBezTo>
                    <a:pt x="232" y="744"/>
                    <a:pt x="232" y="745"/>
                    <a:pt x="233" y="745"/>
                  </a:cubicBezTo>
                  <a:cubicBezTo>
                    <a:pt x="234" y="745"/>
                    <a:pt x="235" y="746"/>
                    <a:pt x="236" y="746"/>
                  </a:cubicBezTo>
                  <a:cubicBezTo>
                    <a:pt x="236" y="746"/>
                    <a:pt x="237" y="746"/>
                    <a:pt x="237" y="746"/>
                  </a:cubicBezTo>
                  <a:cubicBezTo>
                    <a:pt x="237" y="746"/>
                    <a:pt x="237" y="746"/>
                    <a:pt x="238" y="746"/>
                  </a:cubicBezTo>
                  <a:cubicBezTo>
                    <a:pt x="238" y="746"/>
                    <a:pt x="238" y="746"/>
                    <a:pt x="238" y="746"/>
                  </a:cubicBezTo>
                  <a:cubicBezTo>
                    <a:pt x="238" y="746"/>
                    <a:pt x="239" y="746"/>
                    <a:pt x="239" y="747"/>
                  </a:cubicBezTo>
                  <a:cubicBezTo>
                    <a:pt x="243" y="749"/>
                    <a:pt x="243" y="749"/>
                    <a:pt x="243" y="749"/>
                  </a:cubicBezTo>
                  <a:cubicBezTo>
                    <a:pt x="244" y="750"/>
                    <a:pt x="244" y="750"/>
                    <a:pt x="244" y="750"/>
                  </a:cubicBezTo>
                  <a:cubicBezTo>
                    <a:pt x="244" y="749"/>
                    <a:pt x="244" y="749"/>
                    <a:pt x="244" y="749"/>
                  </a:cubicBezTo>
                  <a:cubicBezTo>
                    <a:pt x="244" y="749"/>
                    <a:pt x="245" y="750"/>
                    <a:pt x="245" y="750"/>
                  </a:cubicBezTo>
                  <a:cubicBezTo>
                    <a:pt x="246" y="750"/>
                    <a:pt x="246" y="750"/>
                    <a:pt x="247" y="750"/>
                  </a:cubicBezTo>
                  <a:cubicBezTo>
                    <a:pt x="247" y="750"/>
                    <a:pt x="247" y="750"/>
                    <a:pt x="247" y="750"/>
                  </a:cubicBezTo>
                  <a:cubicBezTo>
                    <a:pt x="247" y="750"/>
                    <a:pt x="247" y="750"/>
                    <a:pt x="247" y="750"/>
                  </a:cubicBezTo>
                  <a:cubicBezTo>
                    <a:pt x="248" y="750"/>
                    <a:pt x="248" y="750"/>
                    <a:pt x="248" y="750"/>
                  </a:cubicBezTo>
                  <a:cubicBezTo>
                    <a:pt x="248" y="750"/>
                    <a:pt x="248" y="750"/>
                    <a:pt x="248" y="751"/>
                  </a:cubicBezTo>
                  <a:cubicBezTo>
                    <a:pt x="248" y="751"/>
                    <a:pt x="248" y="752"/>
                    <a:pt x="249" y="753"/>
                  </a:cubicBezTo>
                  <a:cubicBezTo>
                    <a:pt x="249" y="753"/>
                    <a:pt x="250" y="753"/>
                    <a:pt x="250" y="753"/>
                  </a:cubicBezTo>
                  <a:cubicBezTo>
                    <a:pt x="250" y="753"/>
                    <a:pt x="250" y="753"/>
                    <a:pt x="250" y="753"/>
                  </a:cubicBezTo>
                  <a:cubicBezTo>
                    <a:pt x="251" y="753"/>
                    <a:pt x="251" y="753"/>
                    <a:pt x="251" y="753"/>
                  </a:cubicBezTo>
                  <a:cubicBezTo>
                    <a:pt x="251" y="754"/>
                    <a:pt x="252" y="754"/>
                    <a:pt x="252" y="754"/>
                  </a:cubicBezTo>
                  <a:cubicBezTo>
                    <a:pt x="253" y="754"/>
                    <a:pt x="253" y="755"/>
                    <a:pt x="254" y="755"/>
                  </a:cubicBezTo>
                  <a:cubicBezTo>
                    <a:pt x="254" y="755"/>
                    <a:pt x="255" y="755"/>
                    <a:pt x="255" y="755"/>
                  </a:cubicBezTo>
                  <a:cubicBezTo>
                    <a:pt x="256" y="755"/>
                    <a:pt x="256" y="755"/>
                    <a:pt x="256" y="755"/>
                  </a:cubicBezTo>
                  <a:cubicBezTo>
                    <a:pt x="256" y="755"/>
                    <a:pt x="256" y="755"/>
                    <a:pt x="256" y="755"/>
                  </a:cubicBezTo>
                  <a:cubicBezTo>
                    <a:pt x="256" y="755"/>
                    <a:pt x="256" y="755"/>
                    <a:pt x="256" y="755"/>
                  </a:cubicBezTo>
                  <a:cubicBezTo>
                    <a:pt x="257" y="756"/>
                    <a:pt x="257" y="756"/>
                    <a:pt x="257" y="756"/>
                  </a:cubicBezTo>
                  <a:cubicBezTo>
                    <a:pt x="258" y="756"/>
                    <a:pt x="258" y="756"/>
                    <a:pt x="258" y="756"/>
                  </a:cubicBezTo>
                  <a:cubicBezTo>
                    <a:pt x="258" y="756"/>
                    <a:pt x="258" y="756"/>
                    <a:pt x="258" y="756"/>
                  </a:cubicBezTo>
                  <a:cubicBezTo>
                    <a:pt x="258" y="756"/>
                    <a:pt x="259" y="756"/>
                    <a:pt x="259" y="756"/>
                  </a:cubicBezTo>
                  <a:cubicBezTo>
                    <a:pt x="259" y="756"/>
                    <a:pt x="260" y="756"/>
                    <a:pt x="260" y="756"/>
                  </a:cubicBezTo>
                  <a:cubicBezTo>
                    <a:pt x="260" y="756"/>
                    <a:pt x="260" y="757"/>
                    <a:pt x="260" y="757"/>
                  </a:cubicBezTo>
                  <a:cubicBezTo>
                    <a:pt x="261" y="758"/>
                    <a:pt x="261" y="758"/>
                    <a:pt x="262" y="759"/>
                  </a:cubicBezTo>
                  <a:cubicBezTo>
                    <a:pt x="262" y="759"/>
                    <a:pt x="262" y="760"/>
                    <a:pt x="262" y="760"/>
                  </a:cubicBezTo>
                  <a:cubicBezTo>
                    <a:pt x="262" y="760"/>
                    <a:pt x="262" y="760"/>
                    <a:pt x="262" y="761"/>
                  </a:cubicBezTo>
                  <a:cubicBezTo>
                    <a:pt x="262" y="761"/>
                    <a:pt x="262" y="761"/>
                    <a:pt x="262" y="761"/>
                  </a:cubicBezTo>
                  <a:cubicBezTo>
                    <a:pt x="263" y="762"/>
                    <a:pt x="263" y="764"/>
                    <a:pt x="264" y="765"/>
                  </a:cubicBezTo>
                  <a:cubicBezTo>
                    <a:pt x="264" y="766"/>
                    <a:pt x="265" y="767"/>
                    <a:pt x="266" y="767"/>
                  </a:cubicBezTo>
                  <a:cubicBezTo>
                    <a:pt x="266" y="768"/>
                    <a:pt x="266" y="768"/>
                    <a:pt x="266" y="768"/>
                  </a:cubicBezTo>
                  <a:cubicBezTo>
                    <a:pt x="266" y="769"/>
                    <a:pt x="266" y="770"/>
                    <a:pt x="266" y="771"/>
                  </a:cubicBezTo>
                  <a:cubicBezTo>
                    <a:pt x="267" y="771"/>
                    <a:pt x="267" y="772"/>
                    <a:pt x="267" y="773"/>
                  </a:cubicBezTo>
                  <a:cubicBezTo>
                    <a:pt x="268" y="773"/>
                    <a:pt x="268" y="773"/>
                    <a:pt x="268" y="773"/>
                  </a:cubicBezTo>
                  <a:cubicBezTo>
                    <a:pt x="268" y="773"/>
                    <a:pt x="268" y="774"/>
                    <a:pt x="268" y="774"/>
                  </a:cubicBezTo>
                  <a:cubicBezTo>
                    <a:pt x="268" y="774"/>
                    <a:pt x="268" y="774"/>
                    <a:pt x="268" y="774"/>
                  </a:cubicBezTo>
                  <a:cubicBezTo>
                    <a:pt x="269" y="775"/>
                    <a:pt x="269" y="775"/>
                    <a:pt x="269" y="776"/>
                  </a:cubicBezTo>
                  <a:cubicBezTo>
                    <a:pt x="269" y="776"/>
                    <a:pt x="269" y="776"/>
                    <a:pt x="270" y="776"/>
                  </a:cubicBezTo>
                  <a:cubicBezTo>
                    <a:pt x="270" y="777"/>
                    <a:pt x="270" y="777"/>
                    <a:pt x="270" y="777"/>
                  </a:cubicBezTo>
                  <a:cubicBezTo>
                    <a:pt x="270" y="777"/>
                    <a:pt x="271" y="778"/>
                    <a:pt x="271" y="778"/>
                  </a:cubicBezTo>
                  <a:cubicBezTo>
                    <a:pt x="271" y="778"/>
                    <a:pt x="272" y="778"/>
                    <a:pt x="272" y="779"/>
                  </a:cubicBezTo>
                  <a:cubicBezTo>
                    <a:pt x="272" y="779"/>
                    <a:pt x="272" y="779"/>
                    <a:pt x="272" y="779"/>
                  </a:cubicBezTo>
                  <a:cubicBezTo>
                    <a:pt x="272" y="779"/>
                    <a:pt x="272" y="779"/>
                    <a:pt x="271" y="779"/>
                  </a:cubicBezTo>
                  <a:cubicBezTo>
                    <a:pt x="269" y="780"/>
                    <a:pt x="270" y="781"/>
                    <a:pt x="270" y="782"/>
                  </a:cubicBezTo>
                  <a:cubicBezTo>
                    <a:pt x="270" y="782"/>
                    <a:pt x="270" y="783"/>
                    <a:pt x="271" y="783"/>
                  </a:cubicBezTo>
                  <a:cubicBezTo>
                    <a:pt x="271" y="783"/>
                    <a:pt x="271" y="783"/>
                    <a:pt x="271" y="783"/>
                  </a:cubicBezTo>
                  <a:cubicBezTo>
                    <a:pt x="271" y="783"/>
                    <a:pt x="271" y="784"/>
                    <a:pt x="271" y="784"/>
                  </a:cubicBezTo>
                  <a:cubicBezTo>
                    <a:pt x="271" y="785"/>
                    <a:pt x="271" y="785"/>
                    <a:pt x="271" y="785"/>
                  </a:cubicBezTo>
                  <a:cubicBezTo>
                    <a:pt x="270" y="785"/>
                    <a:pt x="270" y="785"/>
                    <a:pt x="270" y="786"/>
                  </a:cubicBezTo>
                  <a:cubicBezTo>
                    <a:pt x="270" y="787"/>
                    <a:pt x="270" y="787"/>
                    <a:pt x="270" y="788"/>
                  </a:cubicBezTo>
                  <a:cubicBezTo>
                    <a:pt x="270" y="788"/>
                    <a:pt x="270" y="789"/>
                    <a:pt x="270" y="789"/>
                  </a:cubicBezTo>
                  <a:cubicBezTo>
                    <a:pt x="270" y="789"/>
                    <a:pt x="270" y="789"/>
                    <a:pt x="270" y="789"/>
                  </a:cubicBezTo>
                  <a:cubicBezTo>
                    <a:pt x="270" y="789"/>
                    <a:pt x="270" y="790"/>
                    <a:pt x="270" y="790"/>
                  </a:cubicBezTo>
                  <a:cubicBezTo>
                    <a:pt x="270" y="790"/>
                    <a:pt x="270" y="791"/>
                    <a:pt x="270" y="792"/>
                  </a:cubicBezTo>
                  <a:cubicBezTo>
                    <a:pt x="271" y="792"/>
                    <a:pt x="271" y="793"/>
                    <a:pt x="272" y="793"/>
                  </a:cubicBezTo>
                  <a:cubicBezTo>
                    <a:pt x="272" y="793"/>
                    <a:pt x="273" y="793"/>
                    <a:pt x="273" y="793"/>
                  </a:cubicBezTo>
                  <a:cubicBezTo>
                    <a:pt x="273" y="793"/>
                    <a:pt x="274" y="794"/>
                    <a:pt x="274" y="793"/>
                  </a:cubicBezTo>
                  <a:cubicBezTo>
                    <a:pt x="274" y="794"/>
                    <a:pt x="274" y="794"/>
                    <a:pt x="273" y="794"/>
                  </a:cubicBezTo>
                  <a:cubicBezTo>
                    <a:pt x="273" y="795"/>
                    <a:pt x="273" y="795"/>
                    <a:pt x="273" y="796"/>
                  </a:cubicBezTo>
                  <a:cubicBezTo>
                    <a:pt x="274" y="798"/>
                    <a:pt x="275" y="798"/>
                    <a:pt x="275" y="798"/>
                  </a:cubicBezTo>
                  <a:cubicBezTo>
                    <a:pt x="276" y="798"/>
                    <a:pt x="277" y="797"/>
                    <a:pt x="277" y="796"/>
                  </a:cubicBezTo>
                  <a:cubicBezTo>
                    <a:pt x="277" y="796"/>
                    <a:pt x="277" y="796"/>
                    <a:pt x="278" y="795"/>
                  </a:cubicBezTo>
                  <a:cubicBezTo>
                    <a:pt x="278" y="795"/>
                    <a:pt x="278" y="795"/>
                    <a:pt x="278" y="795"/>
                  </a:cubicBezTo>
                  <a:cubicBezTo>
                    <a:pt x="278" y="795"/>
                    <a:pt x="279" y="795"/>
                    <a:pt x="279" y="794"/>
                  </a:cubicBezTo>
                  <a:cubicBezTo>
                    <a:pt x="279" y="794"/>
                    <a:pt x="279" y="794"/>
                    <a:pt x="279" y="794"/>
                  </a:cubicBezTo>
                  <a:cubicBezTo>
                    <a:pt x="279" y="794"/>
                    <a:pt x="279" y="795"/>
                    <a:pt x="279" y="795"/>
                  </a:cubicBezTo>
                  <a:cubicBezTo>
                    <a:pt x="279" y="795"/>
                    <a:pt x="279" y="795"/>
                    <a:pt x="279" y="795"/>
                  </a:cubicBezTo>
                  <a:cubicBezTo>
                    <a:pt x="279" y="796"/>
                    <a:pt x="279" y="796"/>
                    <a:pt x="279" y="796"/>
                  </a:cubicBezTo>
                  <a:cubicBezTo>
                    <a:pt x="279" y="796"/>
                    <a:pt x="279" y="797"/>
                    <a:pt x="280" y="797"/>
                  </a:cubicBezTo>
                  <a:cubicBezTo>
                    <a:pt x="280" y="797"/>
                    <a:pt x="280" y="797"/>
                    <a:pt x="280" y="797"/>
                  </a:cubicBezTo>
                  <a:cubicBezTo>
                    <a:pt x="281" y="798"/>
                    <a:pt x="281" y="798"/>
                    <a:pt x="281" y="798"/>
                  </a:cubicBezTo>
                  <a:cubicBezTo>
                    <a:pt x="282" y="798"/>
                    <a:pt x="282" y="799"/>
                    <a:pt x="282" y="799"/>
                  </a:cubicBezTo>
                  <a:cubicBezTo>
                    <a:pt x="284" y="801"/>
                    <a:pt x="284" y="801"/>
                    <a:pt x="284" y="801"/>
                  </a:cubicBezTo>
                  <a:cubicBezTo>
                    <a:pt x="284" y="800"/>
                    <a:pt x="284" y="800"/>
                    <a:pt x="284" y="800"/>
                  </a:cubicBezTo>
                  <a:cubicBezTo>
                    <a:pt x="284" y="801"/>
                    <a:pt x="284" y="801"/>
                    <a:pt x="284" y="801"/>
                  </a:cubicBezTo>
                  <a:cubicBezTo>
                    <a:pt x="284" y="802"/>
                    <a:pt x="284" y="802"/>
                    <a:pt x="284" y="802"/>
                  </a:cubicBezTo>
                  <a:cubicBezTo>
                    <a:pt x="285" y="802"/>
                    <a:pt x="285" y="803"/>
                    <a:pt x="285" y="803"/>
                  </a:cubicBezTo>
                  <a:cubicBezTo>
                    <a:pt x="285" y="804"/>
                    <a:pt x="285" y="805"/>
                    <a:pt x="285" y="806"/>
                  </a:cubicBezTo>
                  <a:cubicBezTo>
                    <a:pt x="285" y="806"/>
                    <a:pt x="285" y="806"/>
                    <a:pt x="285" y="807"/>
                  </a:cubicBezTo>
                  <a:cubicBezTo>
                    <a:pt x="285" y="807"/>
                    <a:pt x="285" y="807"/>
                    <a:pt x="285" y="807"/>
                  </a:cubicBezTo>
                  <a:cubicBezTo>
                    <a:pt x="285" y="807"/>
                    <a:pt x="285" y="807"/>
                    <a:pt x="284" y="808"/>
                  </a:cubicBezTo>
                  <a:cubicBezTo>
                    <a:pt x="284" y="809"/>
                    <a:pt x="285" y="810"/>
                    <a:pt x="286" y="811"/>
                  </a:cubicBezTo>
                  <a:cubicBezTo>
                    <a:pt x="287" y="812"/>
                    <a:pt x="289" y="812"/>
                    <a:pt x="290" y="811"/>
                  </a:cubicBezTo>
                  <a:cubicBezTo>
                    <a:pt x="290" y="811"/>
                    <a:pt x="290" y="811"/>
                    <a:pt x="290" y="811"/>
                  </a:cubicBezTo>
                  <a:cubicBezTo>
                    <a:pt x="290" y="812"/>
                    <a:pt x="291" y="813"/>
                    <a:pt x="291" y="814"/>
                  </a:cubicBezTo>
                  <a:cubicBezTo>
                    <a:pt x="291" y="814"/>
                    <a:pt x="291" y="814"/>
                    <a:pt x="291" y="814"/>
                  </a:cubicBezTo>
                  <a:cubicBezTo>
                    <a:pt x="291" y="817"/>
                    <a:pt x="291" y="817"/>
                    <a:pt x="291" y="817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2"/>
                    <a:pt x="294" y="812"/>
                    <a:pt x="295" y="812"/>
                  </a:cubicBezTo>
                  <a:cubicBezTo>
                    <a:pt x="295" y="812"/>
                    <a:pt x="295" y="812"/>
                    <a:pt x="295" y="812"/>
                  </a:cubicBezTo>
                  <a:cubicBezTo>
                    <a:pt x="296" y="813"/>
                    <a:pt x="296" y="813"/>
                    <a:pt x="297" y="813"/>
                  </a:cubicBezTo>
                  <a:cubicBezTo>
                    <a:pt x="297" y="813"/>
                    <a:pt x="297" y="813"/>
                    <a:pt x="297" y="813"/>
                  </a:cubicBezTo>
                  <a:cubicBezTo>
                    <a:pt x="297" y="813"/>
                    <a:pt x="297" y="813"/>
                    <a:pt x="297" y="813"/>
                  </a:cubicBezTo>
                  <a:cubicBezTo>
                    <a:pt x="298" y="814"/>
                    <a:pt x="299" y="815"/>
                    <a:pt x="300" y="814"/>
                  </a:cubicBezTo>
                  <a:cubicBezTo>
                    <a:pt x="300" y="814"/>
                    <a:pt x="301" y="814"/>
                    <a:pt x="301" y="814"/>
                  </a:cubicBezTo>
                  <a:cubicBezTo>
                    <a:pt x="301" y="814"/>
                    <a:pt x="301" y="815"/>
                    <a:pt x="301" y="815"/>
                  </a:cubicBezTo>
                  <a:cubicBezTo>
                    <a:pt x="301" y="817"/>
                    <a:pt x="301" y="819"/>
                    <a:pt x="302" y="820"/>
                  </a:cubicBezTo>
                  <a:cubicBezTo>
                    <a:pt x="302" y="820"/>
                    <a:pt x="303" y="821"/>
                    <a:pt x="304" y="821"/>
                  </a:cubicBezTo>
                  <a:cubicBezTo>
                    <a:pt x="304" y="821"/>
                    <a:pt x="304" y="821"/>
                    <a:pt x="304" y="821"/>
                  </a:cubicBezTo>
                  <a:cubicBezTo>
                    <a:pt x="305" y="820"/>
                    <a:pt x="305" y="820"/>
                    <a:pt x="305" y="820"/>
                  </a:cubicBezTo>
                  <a:cubicBezTo>
                    <a:pt x="306" y="820"/>
                    <a:pt x="306" y="821"/>
                    <a:pt x="306" y="821"/>
                  </a:cubicBezTo>
                  <a:cubicBezTo>
                    <a:pt x="307" y="821"/>
                    <a:pt x="307" y="821"/>
                    <a:pt x="307" y="821"/>
                  </a:cubicBezTo>
                  <a:cubicBezTo>
                    <a:pt x="307" y="821"/>
                    <a:pt x="307" y="822"/>
                    <a:pt x="307" y="822"/>
                  </a:cubicBezTo>
                  <a:cubicBezTo>
                    <a:pt x="307" y="823"/>
                    <a:pt x="307" y="824"/>
                    <a:pt x="308" y="825"/>
                  </a:cubicBezTo>
                  <a:cubicBezTo>
                    <a:pt x="308" y="825"/>
                    <a:pt x="309" y="825"/>
                    <a:pt x="309" y="825"/>
                  </a:cubicBezTo>
                  <a:cubicBezTo>
                    <a:pt x="310" y="825"/>
                    <a:pt x="310" y="825"/>
                    <a:pt x="311" y="825"/>
                  </a:cubicBezTo>
                  <a:cubicBezTo>
                    <a:pt x="312" y="825"/>
                    <a:pt x="313" y="825"/>
                    <a:pt x="313" y="824"/>
                  </a:cubicBezTo>
                  <a:cubicBezTo>
                    <a:pt x="313" y="823"/>
                    <a:pt x="314" y="823"/>
                    <a:pt x="314" y="823"/>
                  </a:cubicBezTo>
                  <a:cubicBezTo>
                    <a:pt x="314" y="823"/>
                    <a:pt x="314" y="823"/>
                    <a:pt x="314" y="823"/>
                  </a:cubicBezTo>
                  <a:cubicBezTo>
                    <a:pt x="314" y="823"/>
                    <a:pt x="315" y="823"/>
                    <a:pt x="315" y="823"/>
                  </a:cubicBezTo>
                  <a:cubicBezTo>
                    <a:pt x="316" y="823"/>
                    <a:pt x="317" y="822"/>
                    <a:pt x="317" y="820"/>
                  </a:cubicBezTo>
                  <a:cubicBezTo>
                    <a:pt x="317" y="820"/>
                    <a:pt x="317" y="819"/>
                    <a:pt x="317" y="819"/>
                  </a:cubicBezTo>
                  <a:cubicBezTo>
                    <a:pt x="318" y="818"/>
                    <a:pt x="318" y="818"/>
                    <a:pt x="318" y="818"/>
                  </a:cubicBezTo>
                  <a:cubicBezTo>
                    <a:pt x="317" y="818"/>
                    <a:pt x="317" y="818"/>
                    <a:pt x="317" y="818"/>
                  </a:cubicBezTo>
                  <a:cubicBezTo>
                    <a:pt x="317" y="817"/>
                    <a:pt x="316" y="817"/>
                    <a:pt x="316" y="817"/>
                  </a:cubicBezTo>
                  <a:cubicBezTo>
                    <a:pt x="316" y="817"/>
                    <a:pt x="316" y="817"/>
                    <a:pt x="316" y="817"/>
                  </a:cubicBezTo>
                  <a:cubicBezTo>
                    <a:pt x="316" y="817"/>
                    <a:pt x="316" y="817"/>
                    <a:pt x="316" y="817"/>
                  </a:cubicBezTo>
                  <a:cubicBezTo>
                    <a:pt x="316" y="816"/>
                    <a:pt x="316" y="815"/>
                    <a:pt x="315" y="814"/>
                  </a:cubicBezTo>
                  <a:cubicBezTo>
                    <a:pt x="315" y="814"/>
                    <a:pt x="315" y="814"/>
                    <a:pt x="315" y="814"/>
                  </a:cubicBezTo>
                  <a:cubicBezTo>
                    <a:pt x="315" y="814"/>
                    <a:pt x="315" y="814"/>
                    <a:pt x="315" y="814"/>
                  </a:cubicBezTo>
                  <a:cubicBezTo>
                    <a:pt x="315" y="814"/>
                    <a:pt x="316" y="813"/>
                    <a:pt x="316" y="813"/>
                  </a:cubicBezTo>
                  <a:cubicBezTo>
                    <a:pt x="316" y="813"/>
                    <a:pt x="317" y="813"/>
                    <a:pt x="318" y="812"/>
                  </a:cubicBezTo>
                  <a:cubicBezTo>
                    <a:pt x="318" y="812"/>
                    <a:pt x="318" y="812"/>
                    <a:pt x="318" y="812"/>
                  </a:cubicBezTo>
                  <a:cubicBezTo>
                    <a:pt x="319" y="812"/>
                    <a:pt x="320" y="811"/>
                    <a:pt x="320" y="810"/>
                  </a:cubicBezTo>
                  <a:cubicBezTo>
                    <a:pt x="321" y="810"/>
                    <a:pt x="321" y="810"/>
                    <a:pt x="321" y="809"/>
                  </a:cubicBezTo>
                  <a:cubicBezTo>
                    <a:pt x="321" y="808"/>
                    <a:pt x="321" y="808"/>
                    <a:pt x="321" y="808"/>
                  </a:cubicBezTo>
                  <a:cubicBezTo>
                    <a:pt x="321" y="808"/>
                    <a:pt x="321" y="808"/>
                    <a:pt x="321" y="808"/>
                  </a:cubicBezTo>
                  <a:cubicBezTo>
                    <a:pt x="322" y="807"/>
                    <a:pt x="322" y="806"/>
                    <a:pt x="322" y="806"/>
                  </a:cubicBezTo>
                  <a:cubicBezTo>
                    <a:pt x="322" y="806"/>
                    <a:pt x="322" y="805"/>
                    <a:pt x="323" y="805"/>
                  </a:cubicBezTo>
                  <a:cubicBezTo>
                    <a:pt x="322" y="805"/>
                    <a:pt x="322" y="805"/>
                    <a:pt x="322" y="805"/>
                  </a:cubicBezTo>
                  <a:cubicBezTo>
                    <a:pt x="322" y="804"/>
                    <a:pt x="322" y="804"/>
                    <a:pt x="322" y="804"/>
                  </a:cubicBezTo>
                  <a:cubicBezTo>
                    <a:pt x="323" y="805"/>
                    <a:pt x="323" y="805"/>
                    <a:pt x="323" y="805"/>
                  </a:cubicBezTo>
                  <a:cubicBezTo>
                    <a:pt x="323" y="805"/>
                    <a:pt x="323" y="805"/>
                    <a:pt x="323" y="805"/>
                  </a:cubicBezTo>
                  <a:cubicBezTo>
                    <a:pt x="323" y="805"/>
                    <a:pt x="323" y="804"/>
                    <a:pt x="324" y="804"/>
                  </a:cubicBezTo>
                  <a:cubicBezTo>
                    <a:pt x="324" y="804"/>
                    <a:pt x="324" y="804"/>
                    <a:pt x="324" y="804"/>
                  </a:cubicBezTo>
                  <a:cubicBezTo>
                    <a:pt x="324" y="804"/>
                    <a:pt x="324" y="804"/>
                    <a:pt x="324" y="804"/>
                  </a:cubicBezTo>
                  <a:cubicBezTo>
                    <a:pt x="324" y="804"/>
                    <a:pt x="324" y="804"/>
                    <a:pt x="324" y="804"/>
                  </a:cubicBezTo>
                  <a:cubicBezTo>
                    <a:pt x="324" y="805"/>
                    <a:pt x="324" y="806"/>
                    <a:pt x="325" y="806"/>
                  </a:cubicBezTo>
                  <a:cubicBezTo>
                    <a:pt x="325" y="807"/>
                    <a:pt x="326" y="807"/>
                    <a:pt x="327" y="807"/>
                  </a:cubicBezTo>
                  <a:cubicBezTo>
                    <a:pt x="327" y="808"/>
                    <a:pt x="327" y="808"/>
                    <a:pt x="327" y="809"/>
                  </a:cubicBezTo>
                  <a:cubicBezTo>
                    <a:pt x="328" y="810"/>
                    <a:pt x="328" y="810"/>
                    <a:pt x="328" y="810"/>
                  </a:cubicBezTo>
                  <a:cubicBezTo>
                    <a:pt x="328" y="810"/>
                    <a:pt x="328" y="811"/>
                    <a:pt x="329" y="812"/>
                  </a:cubicBezTo>
                  <a:cubicBezTo>
                    <a:pt x="329" y="812"/>
                    <a:pt x="329" y="812"/>
                    <a:pt x="329" y="812"/>
                  </a:cubicBezTo>
                  <a:cubicBezTo>
                    <a:pt x="329" y="812"/>
                    <a:pt x="329" y="813"/>
                    <a:pt x="329" y="813"/>
                  </a:cubicBezTo>
                  <a:cubicBezTo>
                    <a:pt x="327" y="814"/>
                    <a:pt x="328" y="815"/>
                    <a:pt x="328" y="816"/>
                  </a:cubicBezTo>
                  <a:cubicBezTo>
                    <a:pt x="328" y="816"/>
                    <a:pt x="328" y="816"/>
                    <a:pt x="328" y="816"/>
                  </a:cubicBezTo>
                  <a:cubicBezTo>
                    <a:pt x="329" y="817"/>
                    <a:pt x="328" y="817"/>
                    <a:pt x="328" y="818"/>
                  </a:cubicBezTo>
                  <a:cubicBezTo>
                    <a:pt x="328" y="818"/>
                    <a:pt x="328" y="819"/>
                    <a:pt x="328" y="820"/>
                  </a:cubicBezTo>
                  <a:cubicBezTo>
                    <a:pt x="329" y="821"/>
                    <a:pt x="329" y="822"/>
                    <a:pt x="330" y="823"/>
                  </a:cubicBezTo>
                  <a:cubicBezTo>
                    <a:pt x="330" y="823"/>
                    <a:pt x="330" y="823"/>
                    <a:pt x="330" y="823"/>
                  </a:cubicBezTo>
                  <a:cubicBezTo>
                    <a:pt x="330" y="823"/>
                    <a:pt x="331" y="823"/>
                    <a:pt x="331" y="823"/>
                  </a:cubicBezTo>
                  <a:cubicBezTo>
                    <a:pt x="331" y="823"/>
                    <a:pt x="331" y="823"/>
                    <a:pt x="331" y="823"/>
                  </a:cubicBezTo>
                  <a:cubicBezTo>
                    <a:pt x="331" y="823"/>
                    <a:pt x="331" y="823"/>
                    <a:pt x="331" y="823"/>
                  </a:cubicBezTo>
                  <a:cubicBezTo>
                    <a:pt x="331" y="823"/>
                    <a:pt x="331" y="824"/>
                    <a:pt x="331" y="824"/>
                  </a:cubicBezTo>
                  <a:cubicBezTo>
                    <a:pt x="331" y="824"/>
                    <a:pt x="331" y="824"/>
                    <a:pt x="331" y="824"/>
                  </a:cubicBezTo>
                  <a:cubicBezTo>
                    <a:pt x="331" y="827"/>
                    <a:pt x="331" y="827"/>
                    <a:pt x="331" y="827"/>
                  </a:cubicBezTo>
                  <a:cubicBezTo>
                    <a:pt x="331" y="827"/>
                    <a:pt x="331" y="828"/>
                    <a:pt x="331" y="828"/>
                  </a:cubicBezTo>
                  <a:cubicBezTo>
                    <a:pt x="331" y="829"/>
                    <a:pt x="332" y="829"/>
                    <a:pt x="332" y="829"/>
                  </a:cubicBezTo>
                  <a:cubicBezTo>
                    <a:pt x="332" y="829"/>
                    <a:pt x="332" y="829"/>
                    <a:pt x="332" y="830"/>
                  </a:cubicBezTo>
                  <a:cubicBezTo>
                    <a:pt x="333" y="830"/>
                    <a:pt x="333" y="830"/>
                    <a:pt x="333" y="830"/>
                  </a:cubicBezTo>
                  <a:cubicBezTo>
                    <a:pt x="333" y="831"/>
                    <a:pt x="333" y="831"/>
                    <a:pt x="333" y="831"/>
                  </a:cubicBezTo>
                  <a:cubicBezTo>
                    <a:pt x="334" y="832"/>
                    <a:pt x="334" y="832"/>
                    <a:pt x="334" y="832"/>
                  </a:cubicBezTo>
                  <a:cubicBezTo>
                    <a:pt x="334" y="833"/>
                    <a:pt x="334" y="833"/>
                    <a:pt x="334" y="833"/>
                  </a:cubicBezTo>
                  <a:cubicBezTo>
                    <a:pt x="333" y="833"/>
                    <a:pt x="333" y="834"/>
                    <a:pt x="333" y="834"/>
                  </a:cubicBezTo>
                  <a:cubicBezTo>
                    <a:pt x="332" y="835"/>
                    <a:pt x="333" y="836"/>
                    <a:pt x="333" y="837"/>
                  </a:cubicBezTo>
                  <a:cubicBezTo>
                    <a:pt x="333" y="837"/>
                    <a:pt x="333" y="837"/>
                    <a:pt x="333" y="837"/>
                  </a:cubicBezTo>
                  <a:cubicBezTo>
                    <a:pt x="334" y="838"/>
                    <a:pt x="334" y="840"/>
                    <a:pt x="333" y="840"/>
                  </a:cubicBezTo>
                  <a:cubicBezTo>
                    <a:pt x="333" y="840"/>
                    <a:pt x="333" y="840"/>
                    <a:pt x="333" y="841"/>
                  </a:cubicBezTo>
                  <a:cubicBezTo>
                    <a:pt x="332" y="841"/>
                    <a:pt x="331" y="842"/>
                    <a:pt x="332" y="843"/>
                  </a:cubicBezTo>
                  <a:cubicBezTo>
                    <a:pt x="332" y="844"/>
                    <a:pt x="332" y="845"/>
                    <a:pt x="333" y="845"/>
                  </a:cubicBezTo>
                  <a:cubicBezTo>
                    <a:pt x="333" y="845"/>
                    <a:pt x="333" y="845"/>
                    <a:pt x="333" y="845"/>
                  </a:cubicBezTo>
                  <a:cubicBezTo>
                    <a:pt x="333" y="846"/>
                    <a:pt x="333" y="846"/>
                    <a:pt x="333" y="847"/>
                  </a:cubicBezTo>
                  <a:cubicBezTo>
                    <a:pt x="333" y="847"/>
                    <a:pt x="333" y="848"/>
                    <a:pt x="333" y="848"/>
                  </a:cubicBezTo>
                  <a:cubicBezTo>
                    <a:pt x="332" y="849"/>
                    <a:pt x="332" y="851"/>
                    <a:pt x="332" y="852"/>
                  </a:cubicBezTo>
                  <a:cubicBezTo>
                    <a:pt x="332" y="852"/>
                    <a:pt x="332" y="852"/>
                    <a:pt x="332" y="853"/>
                  </a:cubicBezTo>
                  <a:cubicBezTo>
                    <a:pt x="332" y="854"/>
                    <a:pt x="332" y="855"/>
                    <a:pt x="332" y="856"/>
                  </a:cubicBezTo>
                  <a:cubicBezTo>
                    <a:pt x="332" y="856"/>
                    <a:pt x="332" y="856"/>
                    <a:pt x="333" y="856"/>
                  </a:cubicBezTo>
                  <a:cubicBezTo>
                    <a:pt x="332" y="856"/>
                    <a:pt x="332" y="856"/>
                    <a:pt x="332" y="856"/>
                  </a:cubicBezTo>
                  <a:cubicBezTo>
                    <a:pt x="332" y="857"/>
                    <a:pt x="330" y="858"/>
                    <a:pt x="331" y="859"/>
                  </a:cubicBezTo>
                  <a:cubicBezTo>
                    <a:pt x="331" y="860"/>
                    <a:pt x="332" y="861"/>
                    <a:pt x="333" y="861"/>
                  </a:cubicBezTo>
                  <a:cubicBezTo>
                    <a:pt x="333" y="861"/>
                    <a:pt x="333" y="861"/>
                    <a:pt x="334" y="861"/>
                  </a:cubicBezTo>
                  <a:cubicBezTo>
                    <a:pt x="334" y="861"/>
                    <a:pt x="334" y="861"/>
                    <a:pt x="334" y="861"/>
                  </a:cubicBezTo>
                  <a:cubicBezTo>
                    <a:pt x="334" y="862"/>
                    <a:pt x="333" y="862"/>
                    <a:pt x="334" y="863"/>
                  </a:cubicBezTo>
                  <a:cubicBezTo>
                    <a:pt x="334" y="864"/>
                    <a:pt x="334" y="864"/>
                    <a:pt x="335" y="864"/>
                  </a:cubicBezTo>
                  <a:cubicBezTo>
                    <a:pt x="334" y="864"/>
                    <a:pt x="334" y="864"/>
                    <a:pt x="334" y="864"/>
                  </a:cubicBezTo>
                  <a:cubicBezTo>
                    <a:pt x="332" y="865"/>
                    <a:pt x="332" y="866"/>
                    <a:pt x="332" y="867"/>
                  </a:cubicBezTo>
                  <a:cubicBezTo>
                    <a:pt x="332" y="867"/>
                    <a:pt x="332" y="868"/>
                    <a:pt x="332" y="868"/>
                  </a:cubicBezTo>
                  <a:cubicBezTo>
                    <a:pt x="332" y="868"/>
                    <a:pt x="332" y="868"/>
                    <a:pt x="332" y="868"/>
                  </a:cubicBezTo>
                  <a:cubicBezTo>
                    <a:pt x="332" y="868"/>
                    <a:pt x="332" y="868"/>
                    <a:pt x="331" y="869"/>
                  </a:cubicBezTo>
                  <a:cubicBezTo>
                    <a:pt x="330" y="870"/>
                    <a:pt x="330" y="871"/>
                    <a:pt x="330" y="872"/>
                  </a:cubicBezTo>
                  <a:cubicBezTo>
                    <a:pt x="330" y="872"/>
                    <a:pt x="330" y="872"/>
                    <a:pt x="330" y="872"/>
                  </a:cubicBezTo>
                  <a:cubicBezTo>
                    <a:pt x="329" y="873"/>
                    <a:pt x="329" y="874"/>
                    <a:pt x="329" y="874"/>
                  </a:cubicBezTo>
                  <a:cubicBezTo>
                    <a:pt x="329" y="875"/>
                    <a:pt x="328" y="875"/>
                    <a:pt x="327" y="875"/>
                  </a:cubicBezTo>
                  <a:cubicBezTo>
                    <a:pt x="326" y="875"/>
                    <a:pt x="326" y="875"/>
                    <a:pt x="326" y="875"/>
                  </a:cubicBezTo>
                  <a:cubicBezTo>
                    <a:pt x="324" y="875"/>
                    <a:pt x="323" y="877"/>
                    <a:pt x="323" y="878"/>
                  </a:cubicBezTo>
                  <a:cubicBezTo>
                    <a:pt x="323" y="879"/>
                    <a:pt x="323" y="879"/>
                    <a:pt x="323" y="880"/>
                  </a:cubicBezTo>
                  <a:cubicBezTo>
                    <a:pt x="323" y="881"/>
                    <a:pt x="323" y="881"/>
                    <a:pt x="323" y="882"/>
                  </a:cubicBezTo>
                  <a:cubicBezTo>
                    <a:pt x="323" y="882"/>
                    <a:pt x="323" y="882"/>
                    <a:pt x="323" y="882"/>
                  </a:cubicBezTo>
                  <a:cubicBezTo>
                    <a:pt x="323" y="882"/>
                    <a:pt x="323" y="883"/>
                    <a:pt x="323" y="883"/>
                  </a:cubicBezTo>
                  <a:cubicBezTo>
                    <a:pt x="322" y="883"/>
                    <a:pt x="322" y="883"/>
                    <a:pt x="322" y="883"/>
                  </a:cubicBezTo>
                  <a:cubicBezTo>
                    <a:pt x="321" y="882"/>
                    <a:pt x="320" y="882"/>
                    <a:pt x="319" y="883"/>
                  </a:cubicBezTo>
                  <a:cubicBezTo>
                    <a:pt x="318" y="884"/>
                    <a:pt x="318" y="886"/>
                    <a:pt x="319" y="888"/>
                  </a:cubicBezTo>
                  <a:cubicBezTo>
                    <a:pt x="319" y="888"/>
                    <a:pt x="319" y="888"/>
                    <a:pt x="319" y="889"/>
                  </a:cubicBezTo>
                  <a:cubicBezTo>
                    <a:pt x="319" y="889"/>
                    <a:pt x="319" y="889"/>
                    <a:pt x="320" y="889"/>
                  </a:cubicBezTo>
                  <a:cubicBezTo>
                    <a:pt x="320" y="889"/>
                    <a:pt x="320" y="889"/>
                    <a:pt x="320" y="889"/>
                  </a:cubicBezTo>
                  <a:cubicBezTo>
                    <a:pt x="320" y="889"/>
                    <a:pt x="319" y="889"/>
                    <a:pt x="319" y="889"/>
                  </a:cubicBezTo>
                  <a:cubicBezTo>
                    <a:pt x="319" y="889"/>
                    <a:pt x="318" y="889"/>
                    <a:pt x="317" y="890"/>
                  </a:cubicBezTo>
                  <a:cubicBezTo>
                    <a:pt x="317" y="890"/>
                    <a:pt x="317" y="890"/>
                    <a:pt x="316" y="891"/>
                  </a:cubicBezTo>
                  <a:cubicBezTo>
                    <a:pt x="316" y="891"/>
                    <a:pt x="316" y="891"/>
                    <a:pt x="315" y="891"/>
                  </a:cubicBezTo>
                  <a:cubicBezTo>
                    <a:pt x="314" y="891"/>
                    <a:pt x="313" y="892"/>
                    <a:pt x="313" y="893"/>
                  </a:cubicBezTo>
                  <a:cubicBezTo>
                    <a:pt x="313" y="893"/>
                    <a:pt x="313" y="893"/>
                    <a:pt x="313" y="894"/>
                  </a:cubicBezTo>
                  <a:cubicBezTo>
                    <a:pt x="312" y="894"/>
                    <a:pt x="312" y="895"/>
                    <a:pt x="312" y="895"/>
                  </a:cubicBezTo>
                  <a:cubicBezTo>
                    <a:pt x="311" y="896"/>
                    <a:pt x="311" y="897"/>
                    <a:pt x="311" y="897"/>
                  </a:cubicBezTo>
                  <a:cubicBezTo>
                    <a:pt x="313" y="897"/>
                    <a:pt x="313" y="897"/>
                    <a:pt x="313" y="897"/>
                  </a:cubicBezTo>
                  <a:cubicBezTo>
                    <a:pt x="313" y="897"/>
                    <a:pt x="313" y="897"/>
                    <a:pt x="313" y="897"/>
                  </a:cubicBezTo>
                  <a:cubicBezTo>
                    <a:pt x="311" y="898"/>
                    <a:pt x="311" y="898"/>
                    <a:pt x="311" y="898"/>
                  </a:cubicBezTo>
                  <a:cubicBezTo>
                    <a:pt x="311" y="898"/>
                    <a:pt x="311" y="899"/>
                    <a:pt x="311" y="899"/>
                  </a:cubicBezTo>
                  <a:cubicBezTo>
                    <a:pt x="311" y="900"/>
                    <a:pt x="311" y="900"/>
                    <a:pt x="311" y="900"/>
                  </a:cubicBezTo>
                  <a:cubicBezTo>
                    <a:pt x="310" y="901"/>
                    <a:pt x="310" y="902"/>
                    <a:pt x="310" y="903"/>
                  </a:cubicBezTo>
                  <a:cubicBezTo>
                    <a:pt x="310" y="903"/>
                    <a:pt x="310" y="904"/>
                    <a:pt x="310" y="904"/>
                  </a:cubicBezTo>
                  <a:cubicBezTo>
                    <a:pt x="310" y="905"/>
                    <a:pt x="310" y="906"/>
                    <a:pt x="309" y="907"/>
                  </a:cubicBezTo>
                  <a:cubicBezTo>
                    <a:pt x="309" y="908"/>
                    <a:pt x="309" y="908"/>
                    <a:pt x="309" y="909"/>
                  </a:cubicBezTo>
                  <a:cubicBezTo>
                    <a:pt x="309" y="909"/>
                    <a:pt x="308" y="910"/>
                    <a:pt x="308" y="910"/>
                  </a:cubicBezTo>
                  <a:cubicBezTo>
                    <a:pt x="308" y="911"/>
                    <a:pt x="307" y="912"/>
                    <a:pt x="307" y="913"/>
                  </a:cubicBezTo>
                  <a:cubicBezTo>
                    <a:pt x="307" y="913"/>
                    <a:pt x="307" y="913"/>
                    <a:pt x="307" y="913"/>
                  </a:cubicBezTo>
                  <a:cubicBezTo>
                    <a:pt x="307" y="914"/>
                    <a:pt x="307" y="914"/>
                    <a:pt x="307" y="914"/>
                  </a:cubicBezTo>
                  <a:cubicBezTo>
                    <a:pt x="307" y="914"/>
                    <a:pt x="307" y="914"/>
                    <a:pt x="307" y="914"/>
                  </a:cubicBezTo>
                  <a:cubicBezTo>
                    <a:pt x="307" y="914"/>
                    <a:pt x="306" y="913"/>
                    <a:pt x="305" y="914"/>
                  </a:cubicBezTo>
                  <a:cubicBezTo>
                    <a:pt x="304" y="914"/>
                    <a:pt x="304" y="914"/>
                    <a:pt x="304" y="915"/>
                  </a:cubicBezTo>
                  <a:cubicBezTo>
                    <a:pt x="303" y="916"/>
                    <a:pt x="304" y="917"/>
                    <a:pt x="304" y="918"/>
                  </a:cubicBezTo>
                  <a:cubicBezTo>
                    <a:pt x="305" y="918"/>
                    <a:pt x="305" y="918"/>
                    <a:pt x="305" y="918"/>
                  </a:cubicBezTo>
                  <a:cubicBezTo>
                    <a:pt x="305" y="919"/>
                    <a:pt x="305" y="919"/>
                    <a:pt x="305" y="920"/>
                  </a:cubicBezTo>
                  <a:cubicBezTo>
                    <a:pt x="304" y="922"/>
                    <a:pt x="304" y="923"/>
                    <a:pt x="305" y="924"/>
                  </a:cubicBezTo>
                  <a:cubicBezTo>
                    <a:pt x="305" y="924"/>
                    <a:pt x="305" y="925"/>
                    <a:pt x="305" y="925"/>
                  </a:cubicBezTo>
                  <a:cubicBezTo>
                    <a:pt x="305" y="926"/>
                    <a:pt x="306" y="926"/>
                    <a:pt x="306" y="926"/>
                  </a:cubicBezTo>
                  <a:cubicBezTo>
                    <a:pt x="306" y="926"/>
                    <a:pt x="305" y="926"/>
                    <a:pt x="305" y="927"/>
                  </a:cubicBezTo>
                  <a:cubicBezTo>
                    <a:pt x="305" y="927"/>
                    <a:pt x="305" y="927"/>
                    <a:pt x="305" y="928"/>
                  </a:cubicBezTo>
                  <a:cubicBezTo>
                    <a:pt x="305" y="928"/>
                    <a:pt x="305" y="928"/>
                    <a:pt x="305" y="928"/>
                  </a:cubicBezTo>
                  <a:cubicBezTo>
                    <a:pt x="305" y="928"/>
                    <a:pt x="304" y="928"/>
                    <a:pt x="304" y="929"/>
                  </a:cubicBezTo>
                  <a:cubicBezTo>
                    <a:pt x="304" y="929"/>
                    <a:pt x="303" y="929"/>
                    <a:pt x="303" y="930"/>
                  </a:cubicBezTo>
                  <a:cubicBezTo>
                    <a:pt x="303" y="931"/>
                    <a:pt x="304" y="932"/>
                    <a:pt x="305" y="932"/>
                  </a:cubicBezTo>
                  <a:cubicBezTo>
                    <a:pt x="305" y="932"/>
                    <a:pt x="305" y="932"/>
                    <a:pt x="306" y="933"/>
                  </a:cubicBezTo>
                  <a:cubicBezTo>
                    <a:pt x="306" y="933"/>
                    <a:pt x="306" y="934"/>
                    <a:pt x="306" y="934"/>
                  </a:cubicBezTo>
                  <a:cubicBezTo>
                    <a:pt x="307" y="934"/>
                    <a:pt x="307" y="935"/>
                    <a:pt x="307" y="935"/>
                  </a:cubicBezTo>
                  <a:cubicBezTo>
                    <a:pt x="307" y="935"/>
                    <a:pt x="307" y="935"/>
                    <a:pt x="307" y="935"/>
                  </a:cubicBezTo>
                  <a:cubicBezTo>
                    <a:pt x="307" y="935"/>
                    <a:pt x="307" y="935"/>
                    <a:pt x="307" y="935"/>
                  </a:cubicBezTo>
                  <a:cubicBezTo>
                    <a:pt x="308" y="936"/>
                    <a:pt x="308" y="936"/>
                    <a:pt x="308" y="937"/>
                  </a:cubicBezTo>
                  <a:cubicBezTo>
                    <a:pt x="309" y="937"/>
                    <a:pt x="309" y="937"/>
                    <a:pt x="310" y="937"/>
                  </a:cubicBezTo>
                  <a:cubicBezTo>
                    <a:pt x="311" y="937"/>
                    <a:pt x="312" y="936"/>
                    <a:pt x="313" y="934"/>
                  </a:cubicBezTo>
                  <a:cubicBezTo>
                    <a:pt x="313" y="934"/>
                    <a:pt x="314" y="934"/>
                    <a:pt x="314" y="934"/>
                  </a:cubicBezTo>
                  <a:cubicBezTo>
                    <a:pt x="314" y="934"/>
                    <a:pt x="314" y="934"/>
                    <a:pt x="314" y="935"/>
                  </a:cubicBezTo>
                  <a:cubicBezTo>
                    <a:pt x="314" y="935"/>
                    <a:pt x="314" y="936"/>
                    <a:pt x="314" y="936"/>
                  </a:cubicBezTo>
                  <a:cubicBezTo>
                    <a:pt x="314" y="937"/>
                    <a:pt x="314" y="938"/>
                    <a:pt x="312" y="939"/>
                  </a:cubicBezTo>
                  <a:cubicBezTo>
                    <a:pt x="312" y="939"/>
                    <a:pt x="312" y="939"/>
                    <a:pt x="312" y="939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1"/>
                    <a:pt x="310" y="941"/>
                  </a:cubicBezTo>
                  <a:cubicBezTo>
                    <a:pt x="310" y="941"/>
                    <a:pt x="310" y="941"/>
                    <a:pt x="310" y="941"/>
                  </a:cubicBezTo>
                  <a:cubicBezTo>
                    <a:pt x="309" y="941"/>
                    <a:pt x="309" y="941"/>
                    <a:pt x="309" y="941"/>
                  </a:cubicBezTo>
                  <a:cubicBezTo>
                    <a:pt x="309" y="941"/>
                    <a:pt x="309" y="941"/>
                    <a:pt x="309" y="941"/>
                  </a:cubicBezTo>
                  <a:cubicBezTo>
                    <a:pt x="309" y="941"/>
                    <a:pt x="309" y="941"/>
                    <a:pt x="309" y="942"/>
                  </a:cubicBezTo>
                  <a:cubicBezTo>
                    <a:pt x="309" y="942"/>
                    <a:pt x="309" y="942"/>
                    <a:pt x="309" y="942"/>
                  </a:cubicBezTo>
                  <a:cubicBezTo>
                    <a:pt x="308" y="942"/>
                    <a:pt x="308" y="942"/>
                    <a:pt x="308" y="943"/>
                  </a:cubicBezTo>
                  <a:cubicBezTo>
                    <a:pt x="308" y="943"/>
                    <a:pt x="308" y="943"/>
                    <a:pt x="307" y="943"/>
                  </a:cubicBezTo>
                  <a:cubicBezTo>
                    <a:pt x="307" y="944"/>
                    <a:pt x="307" y="944"/>
                    <a:pt x="307" y="944"/>
                  </a:cubicBezTo>
                  <a:cubicBezTo>
                    <a:pt x="307" y="944"/>
                    <a:pt x="307" y="945"/>
                    <a:pt x="306" y="945"/>
                  </a:cubicBezTo>
                  <a:cubicBezTo>
                    <a:pt x="306" y="945"/>
                    <a:pt x="306" y="945"/>
                    <a:pt x="305" y="945"/>
                  </a:cubicBezTo>
                  <a:cubicBezTo>
                    <a:pt x="304" y="946"/>
                    <a:pt x="304" y="947"/>
                    <a:pt x="304" y="948"/>
                  </a:cubicBezTo>
                  <a:cubicBezTo>
                    <a:pt x="304" y="948"/>
                    <a:pt x="304" y="949"/>
                    <a:pt x="304" y="949"/>
                  </a:cubicBezTo>
                  <a:cubicBezTo>
                    <a:pt x="303" y="950"/>
                    <a:pt x="303" y="950"/>
                    <a:pt x="303" y="951"/>
                  </a:cubicBezTo>
                  <a:cubicBezTo>
                    <a:pt x="303" y="951"/>
                    <a:pt x="303" y="951"/>
                    <a:pt x="303" y="952"/>
                  </a:cubicBezTo>
                  <a:cubicBezTo>
                    <a:pt x="303" y="952"/>
                    <a:pt x="303" y="952"/>
                    <a:pt x="303" y="952"/>
                  </a:cubicBezTo>
                  <a:cubicBezTo>
                    <a:pt x="301" y="952"/>
                    <a:pt x="301" y="954"/>
                    <a:pt x="302" y="955"/>
                  </a:cubicBezTo>
                  <a:cubicBezTo>
                    <a:pt x="302" y="955"/>
                    <a:pt x="302" y="955"/>
                    <a:pt x="302" y="955"/>
                  </a:cubicBezTo>
                  <a:cubicBezTo>
                    <a:pt x="301" y="955"/>
                    <a:pt x="301" y="956"/>
                    <a:pt x="301" y="956"/>
                  </a:cubicBezTo>
                  <a:cubicBezTo>
                    <a:pt x="301" y="957"/>
                    <a:pt x="301" y="957"/>
                    <a:pt x="301" y="958"/>
                  </a:cubicBezTo>
                  <a:cubicBezTo>
                    <a:pt x="301" y="959"/>
                    <a:pt x="301" y="960"/>
                    <a:pt x="302" y="960"/>
                  </a:cubicBezTo>
                  <a:cubicBezTo>
                    <a:pt x="302" y="961"/>
                    <a:pt x="302" y="961"/>
                    <a:pt x="302" y="961"/>
                  </a:cubicBezTo>
                  <a:cubicBezTo>
                    <a:pt x="302" y="962"/>
                    <a:pt x="303" y="962"/>
                    <a:pt x="303" y="962"/>
                  </a:cubicBezTo>
                  <a:cubicBezTo>
                    <a:pt x="303" y="962"/>
                    <a:pt x="303" y="963"/>
                    <a:pt x="303" y="963"/>
                  </a:cubicBezTo>
                  <a:cubicBezTo>
                    <a:pt x="302" y="964"/>
                    <a:pt x="302" y="964"/>
                    <a:pt x="302" y="965"/>
                  </a:cubicBezTo>
                  <a:cubicBezTo>
                    <a:pt x="303" y="966"/>
                    <a:pt x="303" y="967"/>
                    <a:pt x="304" y="968"/>
                  </a:cubicBezTo>
                  <a:cubicBezTo>
                    <a:pt x="304" y="968"/>
                    <a:pt x="305" y="968"/>
                    <a:pt x="305" y="968"/>
                  </a:cubicBezTo>
                  <a:cubicBezTo>
                    <a:pt x="305" y="969"/>
                    <a:pt x="305" y="969"/>
                    <a:pt x="305" y="969"/>
                  </a:cubicBezTo>
                  <a:cubicBezTo>
                    <a:pt x="305" y="969"/>
                    <a:pt x="304" y="969"/>
                    <a:pt x="304" y="969"/>
                  </a:cubicBezTo>
                  <a:cubicBezTo>
                    <a:pt x="303" y="970"/>
                    <a:pt x="303" y="973"/>
                    <a:pt x="303" y="974"/>
                  </a:cubicBezTo>
                  <a:cubicBezTo>
                    <a:pt x="304" y="975"/>
                    <a:pt x="305" y="975"/>
                    <a:pt x="306" y="976"/>
                  </a:cubicBezTo>
                  <a:cubicBezTo>
                    <a:pt x="306" y="976"/>
                    <a:pt x="307" y="976"/>
                    <a:pt x="307" y="976"/>
                  </a:cubicBezTo>
                  <a:cubicBezTo>
                    <a:pt x="307" y="977"/>
                    <a:pt x="308" y="977"/>
                    <a:pt x="308" y="978"/>
                  </a:cubicBezTo>
                  <a:cubicBezTo>
                    <a:pt x="309" y="978"/>
                    <a:pt x="310" y="979"/>
                    <a:pt x="310" y="979"/>
                  </a:cubicBezTo>
                  <a:cubicBezTo>
                    <a:pt x="311" y="980"/>
                    <a:pt x="312" y="981"/>
                    <a:pt x="313" y="982"/>
                  </a:cubicBezTo>
                  <a:cubicBezTo>
                    <a:pt x="314" y="983"/>
                    <a:pt x="315" y="984"/>
                    <a:pt x="316" y="986"/>
                  </a:cubicBezTo>
                  <a:cubicBezTo>
                    <a:pt x="317" y="987"/>
                    <a:pt x="317" y="988"/>
                    <a:pt x="317" y="989"/>
                  </a:cubicBezTo>
                  <a:cubicBezTo>
                    <a:pt x="318" y="989"/>
                    <a:pt x="318" y="989"/>
                    <a:pt x="318" y="989"/>
                  </a:cubicBezTo>
                  <a:cubicBezTo>
                    <a:pt x="318" y="990"/>
                    <a:pt x="319" y="992"/>
                    <a:pt x="319" y="993"/>
                  </a:cubicBezTo>
                  <a:cubicBezTo>
                    <a:pt x="320" y="993"/>
                    <a:pt x="320" y="993"/>
                    <a:pt x="320" y="993"/>
                  </a:cubicBezTo>
                  <a:cubicBezTo>
                    <a:pt x="320" y="994"/>
                    <a:pt x="321" y="995"/>
                    <a:pt x="321" y="996"/>
                  </a:cubicBezTo>
                  <a:cubicBezTo>
                    <a:pt x="322" y="997"/>
                    <a:pt x="322" y="997"/>
                    <a:pt x="323" y="998"/>
                  </a:cubicBezTo>
                  <a:cubicBezTo>
                    <a:pt x="323" y="998"/>
                    <a:pt x="324" y="998"/>
                    <a:pt x="324" y="998"/>
                  </a:cubicBezTo>
                  <a:cubicBezTo>
                    <a:pt x="325" y="998"/>
                    <a:pt x="325" y="998"/>
                    <a:pt x="325" y="999"/>
                  </a:cubicBezTo>
                  <a:cubicBezTo>
                    <a:pt x="325" y="999"/>
                    <a:pt x="325" y="1000"/>
                    <a:pt x="325" y="1001"/>
                  </a:cubicBezTo>
                  <a:cubicBezTo>
                    <a:pt x="325" y="1001"/>
                    <a:pt x="325" y="1001"/>
                    <a:pt x="325" y="1001"/>
                  </a:cubicBezTo>
                  <a:cubicBezTo>
                    <a:pt x="325" y="1004"/>
                    <a:pt x="326" y="1007"/>
                    <a:pt x="328" y="1009"/>
                  </a:cubicBezTo>
                  <a:cubicBezTo>
                    <a:pt x="328" y="1010"/>
                    <a:pt x="329" y="1011"/>
                    <a:pt x="329" y="1012"/>
                  </a:cubicBezTo>
                  <a:cubicBezTo>
                    <a:pt x="329" y="1012"/>
                    <a:pt x="329" y="1012"/>
                    <a:pt x="329" y="1012"/>
                  </a:cubicBezTo>
                  <a:cubicBezTo>
                    <a:pt x="330" y="1014"/>
                    <a:pt x="330" y="1015"/>
                    <a:pt x="332" y="1016"/>
                  </a:cubicBezTo>
                  <a:cubicBezTo>
                    <a:pt x="332" y="1017"/>
                    <a:pt x="332" y="1017"/>
                    <a:pt x="332" y="1017"/>
                  </a:cubicBezTo>
                  <a:cubicBezTo>
                    <a:pt x="332" y="1017"/>
                    <a:pt x="332" y="1017"/>
                    <a:pt x="332" y="1017"/>
                  </a:cubicBezTo>
                  <a:cubicBezTo>
                    <a:pt x="332" y="1018"/>
                    <a:pt x="332" y="1018"/>
                    <a:pt x="332" y="1019"/>
                  </a:cubicBezTo>
                  <a:cubicBezTo>
                    <a:pt x="332" y="1020"/>
                    <a:pt x="333" y="1021"/>
                    <a:pt x="334" y="1021"/>
                  </a:cubicBezTo>
                  <a:cubicBezTo>
                    <a:pt x="334" y="1021"/>
                    <a:pt x="334" y="1022"/>
                    <a:pt x="334" y="1022"/>
                  </a:cubicBezTo>
                  <a:cubicBezTo>
                    <a:pt x="334" y="1022"/>
                    <a:pt x="334" y="1023"/>
                    <a:pt x="334" y="1023"/>
                  </a:cubicBezTo>
                  <a:cubicBezTo>
                    <a:pt x="334" y="1024"/>
                    <a:pt x="335" y="1025"/>
                    <a:pt x="335" y="1025"/>
                  </a:cubicBezTo>
                  <a:cubicBezTo>
                    <a:pt x="335" y="1026"/>
                    <a:pt x="335" y="1027"/>
                    <a:pt x="336" y="1028"/>
                  </a:cubicBezTo>
                  <a:cubicBezTo>
                    <a:pt x="337" y="1028"/>
                    <a:pt x="337" y="1028"/>
                    <a:pt x="337" y="1028"/>
                  </a:cubicBezTo>
                  <a:cubicBezTo>
                    <a:pt x="337" y="1028"/>
                    <a:pt x="337" y="1028"/>
                    <a:pt x="337" y="1028"/>
                  </a:cubicBezTo>
                  <a:cubicBezTo>
                    <a:pt x="337" y="1029"/>
                    <a:pt x="337" y="1029"/>
                    <a:pt x="338" y="1029"/>
                  </a:cubicBezTo>
                  <a:cubicBezTo>
                    <a:pt x="338" y="1030"/>
                    <a:pt x="338" y="1031"/>
                    <a:pt x="339" y="1032"/>
                  </a:cubicBezTo>
                  <a:cubicBezTo>
                    <a:pt x="339" y="1033"/>
                    <a:pt x="339" y="1033"/>
                    <a:pt x="339" y="1033"/>
                  </a:cubicBezTo>
                  <a:cubicBezTo>
                    <a:pt x="340" y="1034"/>
                    <a:pt x="340" y="1035"/>
                    <a:pt x="341" y="1035"/>
                  </a:cubicBezTo>
                  <a:cubicBezTo>
                    <a:pt x="341" y="1036"/>
                    <a:pt x="341" y="1036"/>
                    <a:pt x="341" y="1036"/>
                  </a:cubicBezTo>
                  <a:cubicBezTo>
                    <a:pt x="341" y="1037"/>
                    <a:pt x="341" y="1038"/>
                    <a:pt x="342" y="1039"/>
                  </a:cubicBezTo>
                  <a:cubicBezTo>
                    <a:pt x="342" y="1040"/>
                    <a:pt x="342" y="1040"/>
                    <a:pt x="343" y="1041"/>
                  </a:cubicBezTo>
                  <a:cubicBezTo>
                    <a:pt x="343" y="1041"/>
                    <a:pt x="343" y="1041"/>
                    <a:pt x="343" y="1041"/>
                  </a:cubicBezTo>
                  <a:cubicBezTo>
                    <a:pt x="344" y="1043"/>
                    <a:pt x="344" y="1043"/>
                    <a:pt x="345" y="1044"/>
                  </a:cubicBezTo>
                  <a:cubicBezTo>
                    <a:pt x="345" y="1044"/>
                    <a:pt x="346" y="1045"/>
                    <a:pt x="346" y="1045"/>
                  </a:cubicBezTo>
                  <a:cubicBezTo>
                    <a:pt x="346" y="1045"/>
                    <a:pt x="346" y="1045"/>
                    <a:pt x="346" y="1046"/>
                  </a:cubicBezTo>
                  <a:cubicBezTo>
                    <a:pt x="346" y="1046"/>
                    <a:pt x="346" y="1046"/>
                    <a:pt x="346" y="1046"/>
                  </a:cubicBezTo>
                  <a:cubicBezTo>
                    <a:pt x="347" y="1047"/>
                    <a:pt x="347" y="1048"/>
                    <a:pt x="348" y="1049"/>
                  </a:cubicBezTo>
                  <a:cubicBezTo>
                    <a:pt x="349" y="1049"/>
                    <a:pt x="349" y="1049"/>
                    <a:pt x="349" y="1049"/>
                  </a:cubicBezTo>
                  <a:cubicBezTo>
                    <a:pt x="349" y="1050"/>
                    <a:pt x="349" y="1050"/>
                    <a:pt x="349" y="1050"/>
                  </a:cubicBezTo>
                  <a:cubicBezTo>
                    <a:pt x="349" y="1050"/>
                    <a:pt x="349" y="1050"/>
                    <a:pt x="349" y="1050"/>
                  </a:cubicBezTo>
                  <a:cubicBezTo>
                    <a:pt x="349" y="1051"/>
                    <a:pt x="349" y="1051"/>
                    <a:pt x="350" y="1052"/>
                  </a:cubicBezTo>
                  <a:cubicBezTo>
                    <a:pt x="350" y="1052"/>
                    <a:pt x="351" y="1053"/>
                    <a:pt x="351" y="1054"/>
                  </a:cubicBezTo>
                  <a:cubicBezTo>
                    <a:pt x="351" y="1054"/>
                    <a:pt x="352" y="1054"/>
                    <a:pt x="352" y="1054"/>
                  </a:cubicBezTo>
                  <a:cubicBezTo>
                    <a:pt x="352" y="1055"/>
                    <a:pt x="352" y="1055"/>
                    <a:pt x="353" y="1056"/>
                  </a:cubicBezTo>
                  <a:cubicBezTo>
                    <a:pt x="353" y="1056"/>
                    <a:pt x="353" y="1057"/>
                    <a:pt x="353" y="1057"/>
                  </a:cubicBezTo>
                  <a:cubicBezTo>
                    <a:pt x="353" y="1057"/>
                    <a:pt x="353" y="1058"/>
                    <a:pt x="354" y="1058"/>
                  </a:cubicBezTo>
                  <a:cubicBezTo>
                    <a:pt x="353" y="1058"/>
                    <a:pt x="353" y="1058"/>
                    <a:pt x="353" y="1058"/>
                  </a:cubicBezTo>
                  <a:cubicBezTo>
                    <a:pt x="352" y="1059"/>
                    <a:pt x="353" y="1060"/>
                    <a:pt x="353" y="1061"/>
                  </a:cubicBezTo>
                  <a:cubicBezTo>
                    <a:pt x="353" y="1062"/>
                    <a:pt x="355" y="1063"/>
                    <a:pt x="355" y="1063"/>
                  </a:cubicBezTo>
                  <a:cubicBezTo>
                    <a:pt x="356" y="1064"/>
                    <a:pt x="356" y="1064"/>
                    <a:pt x="356" y="1064"/>
                  </a:cubicBezTo>
                  <a:cubicBezTo>
                    <a:pt x="357" y="1065"/>
                    <a:pt x="358" y="1065"/>
                    <a:pt x="358" y="1066"/>
                  </a:cubicBezTo>
                  <a:cubicBezTo>
                    <a:pt x="358" y="1066"/>
                    <a:pt x="358" y="1067"/>
                    <a:pt x="358" y="1067"/>
                  </a:cubicBezTo>
                  <a:cubicBezTo>
                    <a:pt x="358" y="1068"/>
                    <a:pt x="359" y="1069"/>
                    <a:pt x="361" y="1070"/>
                  </a:cubicBezTo>
                  <a:cubicBezTo>
                    <a:pt x="361" y="1070"/>
                    <a:pt x="363" y="1071"/>
                    <a:pt x="364" y="1071"/>
                  </a:cubicBezTo>
                  <a:cubicBezTo>
                    <a:pt x="364" y="1072"/>
                    <a:pt x="365" y="1073"/>
                    <a:pt x="365" y="1074"/>
                  </a:cubicBezTo>
                  <a:cubicBezTo>
                    <a:pt x="366" y="1076"/>
                    <a:pt x="366" y="1077"/>
                    <a:pt x="368" y="1077"/>
                  </a:cubicBezTo>
                  <a:cubicBezTo>
                    <a:pt x="369" y="1078"/>
                    <a:pt x="369" y="1078"/>
                    <a:pt x="369" y="1078"/>
                  </a:cubicBezTo>
                  <a:cubicBezTo>
                    <a:pt x="369" y="1078"/>
                    <a:pt x="369" y="1078"/>
                    <a:pt x="369" y="1078"/>
                  </a:cubicBezTo>
                  <a:cubicBezTo>
                    <a:pt x="370" y="1078"/>
                    <a:pt x="370" y="1078"/>
                    <a:pt x="370" y="1079"/>
                  </a:cubicBezTo>
                  <a:cubicBezTo>
                    <a:pt x="370" y="1079"/>
                    <a:pt x="371" y="1079"/>
                    <a:pt x="371" y="1080"/>
                  </a:cubicBezTo>
                  <a:cubicBezTo>
                    <a:pt x="372" y="1081"/>
                    <a:pt x="373" y="1081"/>
                    <a:pt x="374" y="1081"/>
                  </a:cubicBezTo>
                  <a:cubicBezTo>
                    <a:pt x="374" y="1081"/>
                    <a:pt x="375" y="1081"/>
                    <a:pt x="375" y="1081"/>
                  </a:cubicBezTo>
                  <a:cubicBezTo>
                    <a:pt x="375" y="1081"/>
                    <a:pt x="375" y="1082"/>
                    <a:pt x="376" y="1082"/>
                  </a:cubicBezTo>
                  <a:cubicBezTo>
                    <a:pt x="376" y="1082"/>
                    <a:pt x="376" y="1083"/>
                    <a:pt x="377" y="1083"/>
                  </a:cubicBezTo>
                  <a:cubicBezTo>
                    <a:pt x="377" y="1084"/>
                    <a:pt x="377" y="1084"/>
                    <a:pt x="377" y="1084"/>
                  </a:cubicBezTo>
                  <a:cubicBezTo>
                    <a:pt x="378" y="1084"/>
                    <a:pt x="379" y="1085"/>
                    <a:pt x="380" y="1086"/>
                  </a:cubicBezTo>
                  <a:cubicBezTo>
                    <a:pt x="380" y="1086"/>
                    <a:pt x="381" y="1086"/>
                    <a:pt x="382" y="1087"/>
                  </a:cubicBezTo>
                  <a:cubicBezTo>
                    <a:pt x="382" y="1087"/>
                    <a:pt x="383" y="1087"/>
                    <a:pt x="383" y="1087"/>
                  </a:cubicBezTo>
                  <a:cubicBezTo>
                    <a:pt x="383" y="1087"/>
                    <a:pt x="384" y="1087"/>
                    <a:pt x="384" y="1088"/>
                  </a:cubicBezTo>
                  <a:cubicBezTo>
                    <a:pt x="385" y="1088"/>
                    <a:pt x="385" y="1089"/>
                    <a:pt x="386" y="1089"/>
                  </a:cubicBezTo>
                  <a:cubicBezTo>
                    <a:pt x="387" y="1089"/>
                    <a:pt x="389" y="1090"/>
                    <a:pt x="390" y="1090"/>
                  </a:cubicBezTo>
                  <a:cubicBezTo>
                    <a:pt x="391" y="1091"/>
                    <a:pt x="391" y="1091"/>
                    <a:pt x="391" y="1091"/>
                  </a:cubicBezTo>
                  <a:cubicBezTo>
                    <a:pt x="392" y="1091"/>
                    <a:pt x="393" y="1092"/>
                    <a:pt x="395" y="1092"/>
                  </a:cubicBezTo>
                  <a:cubicBezTo>
                    <a:pt x="395" y="1092"/>
                    <a:pt x="395" y="1092"/>
                    <a:pt x="395" y="1092"/>
                  </a:cubicBezTo>
                  <a:cubicBezTo>
                    <a:pt x="395" y="1093"/>
                    <a:pt x="395" y="1093"/>
                    <a:pt x="396" y="1094"/>
                  </a:cubicBezTo>
                  <a:cubicBezTo>
                    <a:pt x="397" y="1095"/>
                    <a:pt x="398" y="1096"/>
                    <a:pt x="399" y="1096"/>
                  </a:cubicBezTo>
                  <a:cubicBezTo>
                    <a:pt x="400" y="1096"/>
                    <a:pt x="401" y="1097"/>
                    <a:pt x="401" y="1098"/>
                  </a:cubicBezTo>
                  <a:cubicBezTo>
                    <a:pt x="402" y="1099"/>
                    <a:pt x="402" y="1100"/>
                    <a:pt x="403" y="1101"/>
                  </a:cubicBezTo>
                  <a:cubicBezTo>
                    <a:pt x="404" y="1102"/>
                    <a:pt x="405" y="1102"/>
                    <a:pt x="405" y="1102"/>
                  </a:cubicBezTo>
                  <a:cubicBezTo>
                    <a:pt x="406" y="1102"/>
                    <a:pt x="406" y="1103"/>
                    <a:pt x="406" y="1103"/>
                  </a:cubicBezTo>
                  <a:cubicBezTo>
                    <a:pt x="407" y="1103"/>
                    <a:pt x="407" y="1104"/>
                    <a:pt x="408" y="1104"/>
                  </a:cubicBezTo>
                  <a:cubicBezTo>
                    <a:pt x="408" y="1105"/>
                    <a:pt x="409" y="1105"/>
                    <a:pt x="409" y="1106"/>
                  </a:cubicBezTo>
                  <a:cubicBezTo>
                    <a:pt x="410" y="1107"/>
                    <a:pt x="411" y="1107"/>
                    <a:pt x="412" y="1108"/>
                  </a:cubicBezTo>
                  <a:cubicBezTo>
                    <a:pt x="412" y="1108"/>
                    <a:pt x="412" y="1108"/>
                    <a:pt x="412" y="1108"/>
                  </a:cubicBezTo>
                  <a:cubicBezTo>
                    <a:pt x="412" y="1108"/>
                    <a:pt x="412" y="1108"/>
                    <a:pt x="412" y="1108"/>
                  </a:cubicBezTo>
                  <a:cubicBezTo>
                    <a:pt x="413" y="1109"/>
                    <a:pt x="413" y="1109"/>
                    <a:pt x="413" y="1110"/>
                  </a:cubicBezTo>
                  <a:cubicBezTo>
                    <a:pt x="413" y="1111"/>
                    <a:pt x="413" y="1111"/>
                    <a:pt x="413" y="1112"/>
                  </a:cubicBezTo>
                  <a:cubicBezTo>
                    <a:pt x="413" y="1113"/>
                    <a:pt x="413" y="1113"/>
                    <a:pt x="413" y="1113"/>
                  </a:cubicBezTo>
                  <a:cubicBezTo>
                    <a:pt x="414" y="1113"/>
                    <a:pt x="414" y="1114"/>
                    <a:pt x="414" y="1115"/>
                  </a:cubicBezTo>
                  <a:cubicBezTo>
                    <a:pt x="414" y="1115"/>
                    <a:pt x="414" y="1115"/>
                    <a:pt x="414" y="1116"/>
                  </a:cubicBezTo>
                  <a:cubicBezTo>
                    <a:pt x="414" y="1116"/>
                    <a:pt x="414" y="1117"/>
                    <a:pt x="415" y="1117"/>
                  </a:cubicBezTo>
                  <a:cubicBezTo>
                    <a:pt x="415" y="1118"/>
                    <a:pt x="415" y="1118"/>
                    <a:pt x="415" y="1119"/>
                  </a:cubicBezTo>
                  <a:cubicBezTo>
                    <a:pt x="415" y="1119"/>
                    <a:pt x="415" y="1119"/>
                    <a:pt x="415" y="1119"/>
                  </a:cubicBezTo>
                  <a:cubicBezTo>
                    <a:pt x="415" y="1120"/>
                    <a:pt x="416" y="1122"/>
                    <a:pt x="416" y="1123"/>
                  </a:cubicBezTo>
                  <a:cubicBezTo>
                    <a:pt x="417" y="1123"/>
                    <a:pt x="417" y="1124"/>
                    <a:pt x="417" y="1125"/>
                  </a:cubicBezTo>
                  <a:cubicBezTo>
                    <a:pt x="418" y="1125"/>
                    <a:pt x="418" y="1125"/>
                    <a:pt x="418" y="1126"/>
                  </a:cubicBezTo>
                  <a:cubicBezTo>
                    <a:pt x="418" y="1127"/>
                    <a:pt x="418" y="1128"/>
                    <a:pt x="418" y="1129"/>
                  </a:cubicBezTo>
                  <a:cubicBezTo>
                    <a:pt x="418" y="1129"/>
                    <a:pt x="418" y="1129"/>
                    <a:pt x="418" y="1129"/>
                  </a:cubicBezTo>
                  <a:cubicBezTo>
                    <a:pt x="418" y="1130"/>
                    <a:pt x="418" y="1132"/>
                    <a:pt x="418" y="1133"/>
                  </a:cubicBezTo>
                  <a:cubicBezTo>
                    <a:pt x="419" y="1134"/>
                    <a:pt x="419" y="1135"/>
                    <a:pt x="419" y="1135"/>
                  </a:cubicBezTo>
                  <a:cubicBezTo>
                    <a:pt x="419" y="1136"/>
                    <a:pt x="420" y="1136"/>
                    <a:pt x="420" y="1136"/>
                  </a:cubicBezTo>
                  <a:cubicBezTo>
                    <a:pt x="420" y="1137"/>
                    <a:pt x="420" y="1138"/>
                    <a:pt x="421" y="1140"/>
                  </a:cubicBezTo>
                  <a:cubicBezTo>
                    <a:pt x="421" y="1140"/>
                    <a:pt x="421" y="1141"/>
                    <a:pt x="422" y="1142"/>
                  </a:cubicBezTo>
                  <a:cubicBezTo>
                    <a:pt x="422" y="1142"/>
                    <a:pt x="422" y="1142"/>
                    <a:pt x="422" y="1143"/>
                  </a:cubicBezTo>
                  <a:cubicBezTo>
                    <a:pt x="422" y="1143"/>
                    <a:pt x="422" y="1144"/>
                    <a:pt x="423" y="1144"/>
                  </a:cubicBezTo>
                  <a:cubicBezTo>
                    <a:pt x="423" y="1145"/>
                    <a:pt x="423" y="1145"/>
                    <a:pt x="423" y="1146"/>
                  </a:cubicBezTo>
                  <a:cubicBezTo>
                    <a:pt x="423" y="1146"/>
                    <a:pt x="423" y="1147"/>
                    <a:pt x="424" y="1148"/>
                  </a:cubicBezTo>
                  <a:cubicBezTo>
                    <a:pt x="424" y="1148"/>
                    <a:pt x="424" y="1149"/>
                    <a:pt x="424" y="1149"/>
                  </a:cubicBezTo>
                  <a:cubicBezTo>
                    <a:pt x="424" y="1150"/>
                    <a:pt x="424" y="1151"/>
                    <a:pt x="424" y="1152"/>
                  </a:cubicBezTo>
                  <a:cubicBezTo>
                    <a:pt x="424" y="1152"/>
                    <a:pt x="424" y="1152"/>
                    <a:pt x="424" y="1152"/>
                  </a:cubicBezTo>
                  <a:cubicBezTo>
                    <a:pt x="424" y="1153"/>
                    <a:pt x="424" y="1153"/>
                    <a:pt x="424" y="1153"/>
                  </a:cubicBezTo>
                  <a:cubicBezTo>
                    <a:pt x="424" y="1154"/>
                    <a:pt x="424" y="1155"/>
                    <a:pt x="424" y="1156"/>
                  </a:cubicBezTo>
                  <a:cubicBezTo>
                    <a:pt x="424" y="1156"/>
                    <a:pt x="424" y="1157"/>
                    <a:pt x="424" y="1158"/>
                  </a:cubicBezTo>
                  <a:cubicBezTo>
                    <a:pt x="425" y="1158"/>
                    <a:pt x="425" y="1158"/>
                    <a:pt x="425" y="1158"/>
                  </a:cubicBezTo>
                  <a:cubicBezTo>
                    <a:pt x="425" y="1158"/>
                    <a:pt x="424" y="1159"/>
                    <a:pt x="424" y="1159"/>
                  </a:cubicBezTo>
                  <a:cubicBezTo>
                    <a:pt x="424" y="1160"/>
                    <a:pt x="424" y="1161"/>
                    <a:pt x="424" y="1162"/>
                  </a:cubicBezTo>
                  <a:cubicBezTo>
                    <a:pt x="424" y="1162"/>
                    <a:pt x="424" y="1162"/>
                    <a:pt x="424" y="1163"/>
                  </a:cubicBezTo>
                  <a:cubicBezTo>
                    <a:pt x="424" y="1163"/>
                    <a:pt x="424" y="1164"/>
                    <a:pt x="425" y="1165"/>
                  </a:cubicBezTo>
                  <a:cubicBezTo>
                    <a:pt x="425" y="1166"/>
                    <a:pt x="426" y="1166"/>
                    <a:pt x="426" y="1166"/>
                  </a:cubicBezTo>
                  <a:cubicBezTo>
                    <a:pt x="426" y="1166"/>
                    <a:pt x="426" y="1166"/>
                    <a:pt x="426" y="1166"/>
                  </a:cubicBezTo>
                  <a:cubicBezTo>
                    <a:pt x="426" y="1166"/>
                    <a:pt x="426" y="1166"/>
                    <a:pt x="426" y="1167"/>
                  </a:cubicBezTo>
                  <a:cubicBezTo>
                    <a:pt x="426" y="1168"/>
                    <a:pt x="426" y="1169"/>
                    <a:pt x="426" y="1169"/>
                  </a:cubicBezTo>
                  <a:cubicBezTo>
                    <a:pt x="426" y="1170"/>
                    <a:pt x="426" y="1170"/>
                    <a:pt x="426" y="1170"/>
                  </a:cubicBezTo>
                  <a:cubicBezTo>
                    <a:pt x="426" y="1170"/>
                    <a:pt x="427" y="1171"/>
                    <a:pt x="427" y="1172"/>
                  </a:cubicBezTo>
                  <a:cubicBezTo>
                    <a:pt x="427" y="1172"/>
                    <a:pt x="427" y="1172"/>
                    <a:pt x="428" y="1172"/>
                  </a:cubicBezTo>
                  <a:cubicBezTo>
                    <a:pt x="428" y="1174"/>
                    <a:pt x="428" y="1175"/>
                    <a:pt x="428" y="1176"/>
                  </a:cubicBezTo>
                  <a:cubicBezTo>
                    <a:pt x="428" y="1177"/>
                    <a:pt x="429" y="1177"/>
                    <a:pt x="429" y="1178"/>
                  </a:cubicBezTo>
                  <a:cubicBezTo>
                    <a:pt x="429" y="1178"/>
                    <a:pt x="429" y="1178"/>
                    <a:pt x="429" y="1178"/>
                  </a:cubicBezTo>
                  <a:cubicBezTo>
                    <a:pt x="429" y="1178"/>
                    <a:pt x="429" y="1178"/>
                    <a:pt x="429" y="1179"/>
                  </a:cubicBezTo>
                  <a:cubicBezTo>
                    <a:pt x="429" y="1179"/>
                    <a:pt x="429" y="1179"/>
                    <a:pt x="429" y="1179"/>
                  </a:cubicBezTo>
                  <a:cubicBezTo>
                    <a:pt x="429" y="1181"/>
                    <a:pt x="429" y="1182"/>
                    <a:pt x="430" y="1184"/>
                  </a:cubicBezTo>
                  <a:cubicBezTo>
                    <a:pt x="430" y="1184"/>
                    <a:pt x="430" y="1184"/>
                    <a:pt x="430" y="1184"/>
                  </a:cubicBezTo>
                  <a:cubicBezTo>
                    <a:pt x="430" y="1184"/>
                    <a:pt x="430" y="1184"/>
                    <a:pt x="430" y="1184"/>
                  </a:cubicBezTo>
                  <a:cubicBezTo>
                    <a:pt x="430" y="1184"/>
                    <a:pt x="430" y="1184"/>
                    <a:pt x="430" y="1184"/>
                  </a:cubicBezTo>
                  <a:cubicBezTo>
                    <a:pt x="430" y="1185"/>
                    <a:pt x="430" y="1185"/>
                    <a:pt x="430" y="1185"/>
                  </a:cubicBezTo>
                  <a:cubicBezTo>
                    <a:pt x="430" y="1187"/>
                    <a:pt x="430" y="1188"/>
                    <a:pt x="430" y="1189"/>
                  </a:cubicBezTo>
                  <a:cubicBezTo>
                    <a:pt x="431" y="1190"/>
                    <a:pt x="431" y="1190"/>
                    <a:pt x="431" y="1190"/>
                  </a:cubicBezTo>
                  <a:cubicBezTo>
                    <a:pt x="431" y="1190"/>
                    <a:pt x="431" y="1190"/>
                    <a:pt x="431" y="1191"/>
                  </a:cubicBezTo>
                  <a:cubicBezTo>
                    <a:pt x="431" y="1191"/>
                    <a:pt x="431" y="1192"/>
                    <a:pt x="431" y="1192"/>
                  </a:cubicBezTo>
                  <a:cubicBezTo>
                    <a:pt x="431" y="1193"/>
                    <a:pt x="432" y="1194"/>
                    <a:pt x="432" y="1194"/>
                  </a:cubicBezTo>
                  <a:cubicBezTo>
                    <a:pt x="432" y="1194"/>
                    <a:pt x="433" y="1195"/>
                    <a:pt x="433" y="1195"/>
                  </a:cubicBezTo>
                  <a:cubicBezTo>
                    <a:pt x="433" y="1195"/>
                    <a:pt x="433" y="1195"/>
                    <a:pt x="433" y="1195"/>
                  </a:cubicBezTo>
                  <a:cubicBezTo>
                    <a:pt x="433" y="1195"/>
                    <a:pt x="432" y="1196"/>
                    <a:pt x="432" y="1196"/>
                  </a:cubicBezTo>
                  <a:cubicBezTo>
                    <a:pt x="432" y="1197"/>
                    <a:pt x="432" y="1198"/>
                    <a:pt x="433" y="1198"/>
                  </a:cubicBezTo>
                  <a:cubicBezTo>
                    <a:pt x="433" y="1199"/>
                    <a:pt x="433" y="1200"/>
                    <a:pt x="433" y="1201"/>
                  </a:cubicBezTo>
                  <a:cubicBezTo>
                    <a:pt x="433" y="1201"/>
                    <a:pt x="433" y="1201"/>
                    <a:pt x="433" y="1201"/>
                  </a:cubicBezTo>
                  <a:cubicBezTo>
                    <a:pt x="432" y="1203"/>
                    <a:pt x="432" y="1204"/>
                    <a:pt x="433" y="1206"/>
                  </a:cubicBezTo>
                  <a:cubicBezTo>
                    <a:pt x="434" y="1207"/>
                    <a:pt x="434" y="1207"/>
                    <a:pt x="434" y="1208"/>
                  </a:cubicBezTo>
                  <a:cubicBezTo>
                    <a:pt x="434" y="1208"/>
                    <a:pt x="434" y="1208"/>
                    <a:pt x="434" y="1208"/>
                  </a:cubicBezTo>
                  <a:cubicBezTo>
                    <a:pt x="434" y="1209"/>
                    <a:pt x="434" y="1210"/>
                    <a:pt x="434" y="1210"/>
                  </a:cubicBezTo>
                  <a:cubicBezTo>
                    <a:pt x="434" y="1211"/>
                    <a:pt x="434" y="1212"/>
                    <a:pt x="435" y="1213"/>
                  </a:cubicBezTo>
                  <a:cubicBezTo>
                    <a:pt x="435" y="1214"/>
                    <a:pt x="435" y="1214"/>
                    <a:pt x="435" y="1214"/>
                  </a:cubicBezTo>
                  <a:cubicBezTo>
                    <a:pt x="435" y="1214"/>
                    <a:pt x="435" y="1215"/>
                    <a:pt x="435" y="1215"/>
                  </a:cubicBezTo>
                  <a:cubicBezTo>
                    <a:pt x="436" y="1216"/>
                    <a:pt x="436" y="1216"/>
                    <a:pt x="436" y="1217"/>
                  </a:cubicBezTo>
                  <a:cubicBezTo>
                    <a:pt x="436" y="1218"/>
                    <a:pt x="436" y="1218"/>
                    <a:pt x="436" y="1219"/>
                  </a:cubicBezTo>
                  <a:cubicBezTo>
                    <a:pt x="436" y="1220"/>
                    <a:pt x="436" y="1220"/>
                    <a:pt x="436" y="1220"/>
                  </a:cubicBezTo>
                  <a:cubicBezTo>
                    <a:pt x="436" y="1221"/>
                    <a:pt x="436" y="1221"/>
                    <a:pt x="436" y="1221"/>
                  </a:cubicBezTo>
                  <a:cubicBezTo>
                    <a:pt x="436" y="1223"/>
                    <a:pt x="435" y="1226"/>
                    <a:pt x="438" y="1228"/>
                  </a:cubicBezTo>
                  <a:cubicBezTo>
                    <a:pt x="438" y="1229"/>
                    <a:pt x="438" y="1229"/>
                    <a:pt x="438" y="1229"/>
                  </a:cubicBezTo>
                  <a:cubicBezTo>
                    <a:pt x="438" y="1229"/>
                    <a:pt x="438" y="1229"/>
                    <a:pt x="438" y="1229"/>
                  </a:cubicBezTo>
                  <a:cubicBezTo>
                    <a:pt x="438" y="1229"/>
                    <a:pt x="438" y="1230"/>
                    <a:pt x="438" y="1230"/>
                  </a:cubicBezTo>
                  <a:cubicBezTo>
                    <a:pt x="438" y="1232"/>
                    <a:pt x="439" y="1233"/>
                    <a:pt x="440" y="1234"/>
                  </a:cubicBezTo>
                  <a:cubicBezTo>
                    <a:pt x="440" y="1234"/>
                    <a:pt x="440" y="1234"/>
                    <a:pt x="440" y="1234"/>
                  </a:cubicBezTo>
                  <a:cubicBezTo>
                    <a:pt x="440" y="1234"/>
                    <a:pt x="440" y="1234"/>
                    <a:pt x="440" y="1234"/>
                  </a:cubicBezTo>
                  <a:cubicBezTo>
                    <a:pt x="440" y="1235"/>
                    <a:pt x="440" y="1235"/>
                    <a:pt x="440" y="1236"/>
                  </a:cubicBezTo>
                  <a:cubicBezTo>
                    <a:pt x="440" y="1236"/>
                    <a:pt x="440" y="1237"/>
                    <a:pt x="441" y="1237"/>
                  </a:cubicBezTo>
                  <a:cubicBezTo>
                    <a:pt x="441" y="1238"/>
                    <a:pt x="441" y="1238"/>
                    <a:pt x="441" y="1238"/>
                  </a:cubicBezTo>
                  <a:cubicBezTo>
                    <a:pt x="440" y="1238"/>
                    <a:pt x="440" y="1239"/>
                    <a:pt x="440" y="1240"/>
                  </a:cubicBezTo>
                  <a:cubicBezTo>
                    <a:pt x="440" y="1240"/>
                    <a:pt x="440" y="1241"/>
                    <a:pt x="440" y="1242"/>
                  </a:cubicBezTo>
                  <a:cubicBezTo>
                    <a:pt x="440" y="1242"/>
                    <a:pt x="441" y="1243"/>
                    <a:pt x="441" y="1244"/>
                  </a:cubicBezTo>
                  <a:cubicBezTo>
                    <a:pt x="441" y="1245"/>
                    <a:pt x="441" y="1245"/>
                    <a:pt x="441" y="1245"/>
                  </a:cubicBezTo>
                  <a:cubicBezTo>
                    <a:pt x="442" y="1246"/>
                    <a:pt x="442" y="1247"/>
                    <a:pt x="442" y="1248"/>
                  </a:cubicBezTo>
                  <a:cubicBezTo>
                    <a:pt x="442" y="1248"/>
                    <a:pt x="442" y="1250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2"/>
                    <a:pt x="445" y="1252"/>
                    <a:pt x="445" y="1252"/>
                  </a:cubicBezTo>
                  <a:cubicBezTo>
                    <a:pt x="445" y="1252"/>
                    <a:pt x="445" y="1252"/>
                    <a:pt x="445" y="1253"/>
                  </a:cubicBezTo>
                  <a:cubicBezTo>
                    <a:pt x="445" y="1253"/>
                    <a:pt x="446" y="1253"/>
                    <a:pt x="446" y="1253"/>
                  </a:cubicBezTo>
                  <a:cubicBezTo>
                    <a:pt x="446" y="1253"/>
                    <a:pt x="446" y="1254"/>
                    <a:pt x="446" y="1254"/>
                  </a:cubicBezTo>
                  <a:cubicBezTo>
                    <a:pt x="446" y="1255"/>
                    <a:pt x="446" y="1255"/>
                    <a:pt x="446" y="1255"/>
                  </a:cubicBezTo>
                  <a:cubicBezTo>
                    <a:pt x="446" y="1255"/>
                    <a:pt x="446" y="1255"/>
                    <a:pt x="447" y="1255"/>
                  </a:cubicBezTo>
                  <a:cubicBezTo>
                    <a:pt x="447" y="1255"/>
                    <a:pt x="447" y="1255"/>
                    <a:pt x="447" y="1256"/>
                  </a:cubicBezTo>
                  <a:cubicBezTo>
                    <a:pt x="447" y="1256"/>
                    <a:pt x="447" y="1257"/>
                    <a:pt x="447" y="1257"/>
                  </a:cubicBezTo>
                  <a:cubicBezTo>
                    <a:pt x="447" y="1257"/>
                    <a:pt x="447" y="1258"/>
                    <a:pt x="447" y="1258"/>
                  </a:cubicBezTo>
                  <a:cubicBezTo>
                    <a:pt x="447" y="1259"/>
                    <a:pt x="447" y="1260"/>
                    <a:pt x="448" y="1261"/>
                  </a:cubicBezTo>
                  <a:cubicBezTo>
                    <a:pt x="448" y="1261"/>
                    <a:pt x="448" y="1261"/>
                    <a:pt x="448" y="1261"/>
                  </a:cubicBezTo>
                  <a:cubicBezTo>
                    <a:pt x="448" y="1261"/>
                    <a:pt x="449" y="1262"/>
                    <a:pt x="449" y="1262"/>
                  </a:cubicBezTo>
                  <a:cubicBezTo>
                    <a:pt x="449" y="1263"/>
                    <a:pt x="449" y="1263"/>
                    <a:pt x="449" y="1263"/>
                  </a:cubicBezTo>
                  <a:cubicBezTo>
                    <a:pt x="450" y="1264"/>
                    <a:pt x="450" y="1264"/>
                    <a:pt x="450" y="1264"/>
                  </a:cubicBezTo>
                  <a:cubicBezTo>
                    <a:pt x="450" y="1265"/>
                    <a:pt x="451" y="1265"/>
                    <a:pt x="451" y="1265"/>
                  </a:cubicBezTo>
                  <a:cubicBezTo>
                    <a:pt x="451" y="1266"/>
                    <a:pt x="451" y="1266"/>
                    <a:pt x="451" y="1266"/>
                  </a:cubicBezTo>
                  <a:cubicBezTo>
                    <a:pt x="451" y="1267"/>
                    <a:pt x="451" y="1267"/>
                    <a:pt x="451" y="1268"/>
                  </a:cubicBezTo>
                  <a:cubicBezTo>
                    <a:pt x="451" y="1268"/>
                    <a:pt x="451" y="1269"/>
                    <a:pt x="452" y="1269"/>
                  </a:cubicBezTo>
                  <a:cubicBezTo>
                    <a:pt x="452" y="1269"/>
                    <a:pt x="452" y="1269"/>
                    <a:pt x="452" y="1270"/>
                  </a:cubicBezTo>
                  <a:cubicBezTo>
                    <a:pt x="452" y="1270"/>
                    <a:pt x="452" y="1270"/>
                    <a:pt x="452" y="1270"/>
                  </a:cubicBezTo>
                  <a:cubicBezTo>
                    <a:pt x="452" y="1271"/>
                    <a:pt x="452" y="1272"/>
                    <a:pt x="453" y="1272"/>
                  </a:cubicBezTo>
                  <a:cubicBezTo>
                    <a:pt x="453" y="1272"/>
                    <a:pt x="453" y="1272"/>
                    <a:pt x="453" y="1273"/>
                  </a:cubicBezTo>
                  <a:cubicBezTo>
                    <a:pt x="454" y="1272"/>
                    <a:pt x="454" y="1272"/>
                    <a:pt x="454" y="1272"/>
                  </a:cubicBezTo>
                  <a:cubicBezTo>
                    <a:pt x="453" y="1273"/>
                    <a:pt x="453" y="1273"/>
                    <a:pt x="453" y="1273"/>
                  </a:cubicBezTo>
                  <a:cubicBezTo>
                    <a:pt x="453" y="1273"/>
                    <a:pt x="453" y="1273"/>
                    <a:pt x="453" y="1274"/>
                  </a:cubicBezTo>
                  <a:cubicBezTo>
                    <a:pt x="454" y="1274"/>
                    <a:pt x="454" y="1274"/>
                    <a:pt x="454" y="1275"/>
                  </a:cubicBezTo>
                  <a:cubicBezTo>
                    <a:pt x="454" y="1275"/>
                    <a:pt x="455" y="1276"/>
                    <a:pt x="455" y="1276"/>
                  </a:cubicBezTo>
                  <a:cubicBezTo>
                    <a:pt x="455" y="1276"/>
                    <a:pt x="455" y="1276"/>
                    <a:pt x="455" y="1276"/>
                  </a:cubicBezTo>
                  <a:cubicBezTo>
                    <a:pt x="455" y="1276"/>
                    <a:pt x="455" y="1276"/>
                    <a:pt x="454" y="1277"/>
                  </a:cubicBezTo>
                  <a:cubicBezTo>
                    <a:pt x="454" y="1277"/>
                    <a:pt x="454" y="1277"/>
                    <a:pt x="454" y="1277"/>
                  </a:cubicBezTo>
                  <a:cubicBezTo>
                    <a:pt x="453" y="1279"/>
                    <a:pt x="453" y="1280"/>
                    <a:pt x="454" y="1282"/>
                  </a:cubicBezTo>
                  <a:cubicBezTo>
                    <a:pt x="454" y="1282"/>
                    <a:pt x="455" y="1283"/>
                    <a:pt x="455" y="1284"/>
                  </a:cubicBezTo>
                  <a:cubicBezTo>
                    <a:pt x="455" y="1285"/>
                    <a:pt x="455" y="1285"/>
                    <a:pt x="455" y="1286"/>
                  </a:cubicBezTo>
                  <a:cubicBezTo>
                    <a:pt x="455" y="1287"/>
                    <a:pt x="455" y="1289"/>
                    <a:pt x="456" y="1289"/>
                  </a:cubicBezTo>
                  <a:cubicBezTo>
                    <a:pt x="456" y="1290"/>
                    <a:pt x="456" y="1290"/>
                    <a:pt x="456" y="1290"/>
                  </a:cubicBezTo>
                  <a:cubicBezTo>
                    <a:pt x="456" y="1291"/>
                    <a:pt x="456" y="1291"/>
                    <a:pt x="456" y="1292"/>
                  </a:cubicBezTo>
                  <a:cubicBezTo>
                    <a:pt x="456" y="1293"/>
                    <a:pt x="456" y="1294"/>
                    <a:pt x="456" y="1295"/>
                  </a:cubicBezTo>
                  <a:cubicBezTo>
                    <a:pt x="456" y="1296"/>
                    <a:pt x="456" y="1296"/>
                    <a:pt x="456" y="1297"/>
                  </a:cubicBezTo>
                  <a:cubicBezTo>
                    <a:pt x="456" y="1297"/>
                    <a:pt x="456" y="1298"/>
                    <a:pt x="456" y="1299"/>
                  </a:cubicBezTo>
                  <a:cubicBezTo>
                    <a:pt x="456" y="1300"/>
                    <a:pt x="457" y="1301"/>
                    <a:pt x="457" y="1302"/>
                  </a:cubicBezTo>
                  <a:cubicBezTo>
                    <a:pt x="458" y="1303"/>
                    <a:pt x="458" y="1304"/>
                    <a:pt x="458" y="1304"/>
                  </a:cubicBezTo>
                  <a:cubicBezTo>
                    <a:pt x="458" y="1305"/>
                    <a:pt x="458" y="1306"/>
                    <a:pt x="458" y="1307"/>
                  </a:cubicBezTo>
                  <a:cubicBezTo>
                    <a:pt x="458" y="1307"/>
                    <a:pt x="458" y="1308"/>
                    <a:pt x="458" y="1308"/>
                  </a:cubicBezTo>
                  <a:cubicBezTo>
                    <a:pt x="458" y="1310"/>
                    <a:pt x="458" y="1310"/>
                    <a:pt x="458" y="1310"/>
                  </a:cubicBezTo>
                  <a:cubicBezTo>
                    <a:pt x="458" y="1310"/>
                    <a:pt x="458" y="1310"/>
                    <a:pt x="458" y="1310"/>
                  </a:cubicBezTo>
                  <a:cubicBezTo>
                    <a:pt x="458" y="1310"/>
                    <a:pt x="458" y="1310"/>
                    <a:pt x="458" y="1311"/>
                  </a:cubicBezTo>
                  <a:cubicBezTo>
                    <a:pt x="457" y="1311"/>
                    <a:pt x="457" y="1312"/>
                    <a:pt x="457" y="1313"/>
                  </a:cubicBezTo>
                  <a:cubicBezTo>
                    <a:pt x="457" y="1314"/>
                    <a:pt x="457" y="1314"/>
                    <a:pt x="457" y="1314"/>
                  </a:cubicBezTo>
                  <a:cubicBezTo>
                    <a:pt x="457" y="1314"/>
                    <a:pt x="457" y="1314"/>
                    <a:pt x="457" y="1314"/>
                  </a:cubicBezTo>
                  <a:cubicBezTo>
                    <a:pt x="457" y="1315"/>
                    <a:pt x="457" y="1315"/>
                    <a:pt x="457" y="1316"/>
                  </a:cubicBezTo>
                  <a:cubicBezTo>
                    <a:pt x="457" y="1317"/>
                    <a:pt x="458" y="1317"/>
                    <a:pt x="458" y="1317"/>
                  </a:cubicBezTo>
                  <a:cubicBezTo>
                    <a:pt x="458" y="1318"/>
                    <a:pt x="458" y="1319"/>
                    <a:pt x="458" y="1320"/>
                  </a:cubicBezTo>
                  <a:cubicBezTo>
                    <a:pt x="458" y="1321"/>
                    <a:pt x="458" y="1322"/>
                    <a:pt x="459" y="1323"/>
                  </a:cubicBezTo>
                  <a:cubicBezTo>
                    <a:pt x="460" y="1323"/>
                    <a:pt x="460" y="1323"/>
                    <a:pt x="460" y="1323"/>
                  </a:cubicBezTo>
                  <a:cubicBezTo>
                    <a:pt x="460" y="1324"/>
                    <a:pt x="460" y="1324"/>
                    <a:pt x="460" y="1325"/>
                  </a:cubicBezTo>
                  <a:cubicBezTo>
                    <a:pt x="461" y="1326"/>
                    <a:pt x="461" y="1326"/>
                    <a:pt x="462" y="1327"/>
                  </a:cubicBezTo>
                  <a:cubicBezTo>
                    <a:pt x="462" y="1328"/>
                    <a:pt x="463" y="1329"/>
                    <a:pt x="463" y="1329"/>
                  </a:cubicBezTo>
                  <a:cubicBezTo>
                    <a:pt x="464" y="1330"/>
                    <a:pt x="464" y="1330"/>
                    <a:pt x="464" y="1331"/>
                  </a:cubicBezTo>
                  <a:cubicBezTo>
                    <a:pt x="464" y="1331"/>
                    <a:pt x="464" y="1331"/>
                    <a:pt x="464" y="1331"/>
                  </a:cubicBezTo>
                  <a:cubicBezTo>
                    <a:pt x="465" y="1332"/>
                    <a:pt x="465" y="1332"/>
                    <a:pt x="465" y="1333"/>
                  </a:cubicBezTo>
                  <a:cubicBezTo>
                    <a:pt x="465" y="1333"/>
                    <a:pt x="465" y="1333"/>
                    <a:pt x="465" y="1333"/>
                  </a:cubicBezTo>
                  <a:cubicBezTo>
                    <a:pt x="465" y="1334"/>
                    <a:pt x="465" y="1334"/>
                    <a:pt x="466" y="1334"/>
                  </a:cubicBezTo>
                  <a:cubicBezTo>
                    <a:pt x="466" y="1335"/>
                    <a:pt x="466" y="1335"/>
                    <a:pt x="466" y="1335"/>
                  </a:cubicBezTo>
                  <a:cubicBezTo>
                    <a:pt x="466" y="1337"/>
                    <a:pt x="467" y="1337"/>
                    <a:pt x="468" y="1338"/>
                  </a:cubicBezTo>
                  <a:cubicBezTo>
                    <a:pt x="468" y="1338"/>
                    <a:pt x="469" y="1338"/>
                    <a:pt x="469" y="1339"/>
                  </a:cubicBezTo>
                  <a:cubicBezTo>
                    <a:pt x="469" y="1339"/>
                    <a:pt x="470" y="1339"/>
                    <a:pt x="470" y="1339"/>
                  </a:cubicBezTo>
                  <a:cubicBezTo>
                    <a:pt x="470" y="1339"/>
                    <a:pt x="470" y="1339"/>
                    <a:pt x="470" y="1340"/>
                  </a:cubicBezTo>
                  <a:cubicBezTo>
                    <a:pt x="471" y="1340"/>
                    <a:pt x="471" y="1340"/>
                    <a:pt x="471" y="1341"/>
                  </a:cubicBezTo>
                  <a:cubicBezTo>
                    <a:pt x="471" y="1341"/>
                    <a:pt x="472" y="1341"/>
                    <a:pt x="472" y="1341"/>
                  </a:cubicBezTo>
                  <a:cubicBezTo>
                    <a:pt x="472" y="1341"/>
                    <a:pt x="472" y="1341"/>
                    <a:pt x="471" y="1342"/>
                  </a:cubicBezTo>
                  <a:cubicBezTo>
                    <a:pt x="471" y="1342"/>
                    <a:pt x="471" y="1343"/>
                    <a:pt x="472" y="1344"/>
                  </a:cubicBezTo>
                  <a:cubicBezTo>
                    <a:pt x="472" y="1345"/>
                    <a:pt x="472" y="1345"/>
                    <a:pt x="472" y="1345"/>
                  </a:cubicBezTo>
                  <a:cubicBezTo>
                    <a:pt x="473" y="1345"/>
                    <a:pt x="473" y="1346"/>
                    <a:pt x="473" y="1346"/>
                  </a:cubicBezTo>
                  <a:cubicBezTo>
                    <a:pt x="473" y="1346"/>
                    <a:pt x="473" y="1346"/>
                    <a:pt x="472" y="1346"/>
                  </a:cubicBezTo>
                  <a:cubicBezTo>
                    <a:pt x="471" y="1348"/>
                    <a:pt x="472" y="1349"/>
                    <a:pt x="472" y="1350"/>
                  </a:cubicBezTo>
                  <a:cubicBezTo>
                    <a:pt x="473" y="1350"/>
                    <a:pt x="473" y="1351"/>
                    <a:pt x="473" y="1352"/>
                  </a:cubicBezTo>
                  <a:cubicBezTo>
                    <a:pt x="473" y="1353"/>
                    <a:pt x="474" y="1354"/>
                    <a:pt x="475" y="1355"/>
                  </a:cubicBezTo>
                  <a:cubicBezTo>
                    <a:pt x="475" y="1356"/>
                    <a:pt x="475" y="1357"/>
                    <a:pt x="476" y="1358"/>
                  </a:cubicBezTo>
                  <a:cubicBezTo>
                    <a:pt x="476" y="1358"/>
                    <a:pt x="476" y="1358"/>
                    <a:pt x="476" y="1359"/>
                  </a:cubicBezTo>
                  <a:cubicBezTo>
                    <a:pt x="476" y="1359"/>
                    <a:pt x="476" y="1360"/>
                    <a:pt x="476" y="1360"/>
                  </a:cubicBezTo>
                  <a:cubicBezTo>
                    <a:pt x="476" y="1361"/>
                    <a:pt x="477" y="1362"/>
                    <a:pt x="478" y="1363"/>
                  </a:cubicBezTo>
                  <a:cubicBezTo>
                    <a:pt x="478" y="1364"/>
                    <a:pt x="479" y="1365"/>
                    <a:pt x="479" y="1366"/>
                  </a:cubicBezTo>
                  <a:cubicBezTo>
                    <a:pt x="479" y="1367"/>
                    <a:pt x="479" y="1369"/>
                    <a:pt x="481" y="1369"/>
                  </a:cubicBezTo>
                  <a:cubicBezTo>
                    <a:pt x="481" y="1369"/>
                    <a:pt x="482" y="1368"/>
                    <a:pt x="482" y="1368"/>
                  </a:cubicBezTo>
                  <a:cubicBezTo>
                    <a:pt x="482" y="1368"/>
                    <a:pt x="482" y="1368"/>
                    <a:pt x="482" y="1368"/>
                  </a:cubicBezTo>
                  <a:cubicBezTo>
                    <a:pt x="481" y="1369"/>
                    <a:pt x="481" y="1369"/>
                    <a:pt x="481" y="1370"/>
                  </a:cubicBezTo>
                  <a:cubicBezTo>
                    <a:pt x="481" y="1372"/>
                    <a:pt x="481" y="1373"/>
                    <a:pt x="482" y="1374"/>
                  </a:cubicBezTo>
                  <a:cubicBezTo>
                    <a:pt x="482" y="1375"/>
                    <a:pt x="483" y="1376"/>
                    <a:pt x="483" y="1376"/>
                  </a:cubicBezTo>
                  <a:cubicBezTo>
                    <a:pt x="483" y="1376"/>
                    <a:pt x="483" y="1376"/>
                    <a:pt x="484" y="1377"/>
                  </a:cubicBezTo>
                  <a:cubicBezTo>
                    <a:pt x="484" y="1378"/>
                    <a:pt x="484" y="1378"/>
                    <a:pt x="485" y="1379"/>
                  </a:cubicBezTo>
                  <a:cubicBezTo>
                    <a:pt x="485" y="1379"/>
                    <a:pt x="485" y="1379"/>
                    <a:pt x="485" y="1380"/>
                  </a:cubicBezTo>
                  <a:cubicBezTo>
                    <a:pt x="486" y="1381"/>
                    <a:pt x="486" y="1382"/>
                    <a:pt x="487" y="1383"/>
                  </a:cubicBezTo>
                  <a:cubicBezTo>
                    <a:pt x="487" y="1383"/>
                    <a:pt x="487" y="1384"/>
                    <a:pt x="487" y="1384"/>
                  </a:cubicBezTo>
                  <a:cubicBezTo>
                    <a:pt x="487" y="1385"/>
                    <a:pt x="487" y="1385"/>
                    <a:pt x="487" y="1386"/>
                  </a:cubicBezTo>
                  <a:cubicBezTo>
                    <a:pt x="487" y="1387"/>
                    <a:pt x="488" y="1388"/>
                    <a:pt x="489" y="1388"/>
                  </a:cubicBezTo>
                  <a:cubicBezTo>
                    <a:pt x="489" y="1388"/>
                    <a:pt x="489" y="1388"/>
                    <a:pt x="489" y="1388"/>
                  </a:cubicBezTo>
                  <a:cubicBezTo>
                    <a:pt x="489" y="1388"/>
                    <a:pt x="489" y="1388"/>
                    <a:pt x="490" y="1389"/>
                  </a:cubicBezTo>
                  <a:cubicBezTo>
                    <a:pt x="490" y="1389"/>
                    <a:pt x="490" y="1389"/>
                    <a:pt x="490" y="1389"/>
                  </a:cubicBezTo>
                  <a:cubicBezTo>
                    <a:pt x="491" y="1389"/>
                    <a:pt x="491" y="1390"/>
                    <a:pt x="492" y="1390"/>
                  </a:cubicBezTo>
                  <a:cubicBezTo>
                    <a:pt x="492" y="1390"/>
                    <a:pt x="492" y="1390"/>
                    <a:pt x="492" y="1390"/>
                  </a:cubicBezTo>
                  <a:cubicBezTo>
                    <a:pt x="492" y="1390"/>
                    <a:pt x="493" y="1390"/>
                    <a:pt x="493" y="1389"/>
                  </a:cubicBezTo>
                  <a:cubicBezTo>
                    <a:pt x="493" y="1389"/>
                    <a:pt x="493" y="1389"/>
                    <a:pt x="493" y="1389"/>
                  </a:cubicBezTo>
                  <a:cubicBezTo>
                    <a:pt x="494" y="1389"/>
                    <a:pt x="496" y="1389"/>
                    <a:pt x="496" y="1387"/>
                  </a:cubicBezTo>
                  <a:cubicBezTo>
                    <a:pt x="496" y="1385"/>
                    <a:pt x="495" y="1384"/>
                    <a:pt x="495" y="1383"/>
                  </a:cubicBezTo>
                  <a:cubicBezTo>
                    <a:pt x="494" y="1383"/>
                    <a:pt x="494" y="1382"/>
                    <a:pt x="494" y="1382"/>
                  </a:cubicBezTo>
                  <a:cubicBezTo>
                    <a:pt x="494" y="1382"/>
                    <a:pt x="494" y="1381"/>
                    <a:pt x="494" y="1381"/>
                  </a:cubicBezTo>
                  <a:cubicBezTo>
                    <a:pt x="493" y="1380"/>
                    <a:pt x="492" y="1379"/>
                    <a:pt x="491" y="1379"/>
                  </a:cubicBezTo>
                  <a:cubicBezTo>
                    <a:pt x="491" y="1379"/>
                    <a:pt x="491" y="1379"/>
                    <a:pt x="491" y="1378"/>
                  </a:cubicBezTo>
                  <a:cubicBezTo>
                    <a:pt x="491" y="1378"/>
                    <a:pt x="490" y="1378"/>
                    <a:pt x="490" y="1378"/>
                  </a:cubicBezTo>
                  <a:cubicBezTo>
                    <a:pt x="490" y="1378"/>
                    <a:pt x="490" y="1377"/>
                    <a:pt x="490" y="1377"/>
                  </a:cubicBezTo>
                  <a:cubicBezTo>
                    <a:pt x="491" y="1377"/>
                    <a:pt x="491" y="1376"/>
                    <a:pt x="491" y="1374"/>
                  </a:cubicBezTo>
                  <a:cubicBezTo>
                    <a:pt x="490" y="1374"/>
                    <a:pt x="490" y="1373"/>
                    <a:pt x="490" y="1373"/>
                  </a:cubicBezTo>
                  <a:cubicBezTo>
                    <a:pt x="489" y="1373"/>
                    <a:pt x="489" y="1372"/>
                    <a:pt x="489" y="1372"/>
                  </a:cubicBezTo>
                  <a:cubicBezTo>
                    <a:pt x="489" y="1372"/>
                    <a:pt x="489" y="1371"/>
                    <a:pt x="489" y="1371"/>
                  </a:cubicBezTo>
                  <a:cubicBezTo>
                    <a:pt x="489" y="1371"/>
                    <a:pt x="489" y="1371"/>
                    <a:pt x="489" y="1371"/>
                  </a:cubicBezTo>
                  <a:cubicBezTo>
                    <a:pt x="489" y="1370"/>
                    <a:pt x="489" y="1370"/>
                    <a:pt x="489" y="1370"/>
                  </a:cubicBezTo>
                  <a:cubicBezTo>
                    <a:pt x="489" y="1370"/>
                    <a:pt x="489" y="1370"/>
                    <a:pt x="489" y="1370"/>
                  </a:cubicBezTo>
                  <a:cubicBezTo>
                    <a:pt x="489" y="1370"/>
                    <a:pt x="489" y="1369"/>
                    <a:pt x="489" y="1369"/>
                  </a:cubicBezTo>
                  <a:cubicBezTo>
                    <a:pt x="489" y="1369"/>
                    <a:pt x="489" y="1369"/>
                    <a:pt x="489" y="1369"/>
                  </a:cubicBezTo>
                  <a:cubicBezTo>
                    <a:pt x="490" y="1369"/>
                    <a:pt x="490" y="1369"/>
                    <a:pt x="490" y="1369"/>
                  </a:cubicBezTo>
                  <a:cubicBezTo>
                    <a:pt x="491" y="1369"/>
                    <a:pt x="491" y="1369"/>
                    <a:pt x="492" y="1369"/>
                  </a:cubicBezTo>
                  <a:cubicBezTo>
                    <a:pt x="492" y="1370"/>
                    <a:pt x="492" y="1370"/>
                    <a:pt x="492" y="1371"/>
                  </a:cubicBezTo>
                  <a:cubicBezTo>
                    <a:pt x="492" y="1372"/>
                    <a:pt x="493" y="1372"/>
                    <a:pt x="493" y="1372"/>
                  </a:cubicBezTo>
                  <a:cubicBezTo>
                    <a:pt x="493" y="1372"/>
                    <a:pt x="493" y="1372"/>
                    <a:pt x="493" y="1372"/>
                  </a:cubicBezTo>
                  <a:cubicBezTo>
                    <a:pt x="494" y="1373"/>
                    <a:pt x="494" y="1373"/>
                    <a:pt x="494" y="1373"/>
                  </a:cubicBezTo>
                  <a:cubicBezTo>
                    <a:pt x="494" y="1374"/>
                    <a:pt x="493" y="1374"/>
                    <a:pt x="493" y="1374"/>
                  </a:cubicBezTo>
                  <a:cubicBezTo>
                    <a:pt x="493" y="1375"/>
                    <a:pt x="493" y="1375"/>
                    <a:pt x="493" y="1376"/>
                  </a:cubicBezTo>
                  <a:cubicBezTo>
                    <a:pt x="493" y="1377"/>
                    <a:pt x="494" y="1378"/>
                    <a:pt x="495" y="1378"/>
                  </a:cubicBezTo>
                  <a:cubicBezTo>
                    <a:pt x="495" y="1379"/>
                    <a:pt x="495" y="1379"/>
                    <a:pt x="495" y="1379"/>
                  </a:cubicBezTo>
                  <a:cubicBezTo>
                    <a:pt x="495" y="1379"/>
                    <a:pt x="496" y="1379"/>
                    <a:pt x="496" y="1379"/>
                  </a:cubicBezTo>
                  <a:cubicBezTo>
                    <a:pt x="496" y="1380"/>
                    <a:pt x="496" y="1380"/>
                    <a:pt x="496" y="1381"/>
                  </a:cubicBezTo>
                  <a:cubicBezTo>
                    <a:pt x="496" y="1382"/>
                    <a:pt x="496" y="1383"/>
                    <a:pt x="497" y="1384"/>
                  </a:cubicBezTo>
                  <a:cubicBezTo>
                    <a:pt x="497" y="1384"/>
                    <a:pt x="497" y="1385"/>
                    <a:pt x="497" y="1386"/>
                  </a:cubicBezTo>
                  <a:cubicBezTo>
                    <a:pt x="498" y="1386"/>
                    <a:pt x="498" y="1386"/>
                    <a:pt x="498" y="1386"/>
                  </a:cubicBezTo>
                  <a:cubicBezTo>
                    <a:pt x="498" y="1386"/>
                    <a:pt x="498" y="1387"/>
                    <a:pt x="498" y="1387"/>
                  </a:cubicBezTo>
                  <a:cubicBezTo>
                    <a:pt x="498" y="1388"/>
                    <a:pt x="498" y="1388"/>
                    <a:pt x="498" y="1389"/>
                  </a:cubicBezTo>
                  <a:cubicBezTo>
                    <a:pt x="498" y="1390"/>
                    <a:pt x="499" y="1391"/>
                    <a:pt x="500" y="1391"/>
                  </a:cubicBezTo>
                  <a:cubicBezTo>
                    <a:pt x="500" y="1392"/>
                    <a:pt x="501" y="1392"/>
                    <a:pt x="501" y="1393"/>
                  </a:cubicBezTo>
                  <a:cubicBezTo>
                    <a:pt x="501" y="1393"/>
                    <a:pt x="501" y="1394"/>
                    <a:pt x="501" y="1395"/>
                  </a:cubicBezTo>
                  <a:cubicBezTo>
                    <a:pt x="501" y="1395"/>
                    <a:pt x="501" y="1395"/>
                    <a:pt x="501" y="1395"/>
                  </a:cubicBezTo>
                  <a:cubicBezTo>
                    <a:pt x="501" y="1396"/>
                    <a:pt x="501" y="1398"/>
                    <a:pt x="504" y="1398"/>
                  </a:cubicBezTo>
                  <a:cubicBezTo>
                    <a:pt x="504" y="1398"/>
                    <a:pt x="505" y="1398"/>
                    <a:pt x="505" y="1399"/>
                  </a:cubicBezTo>
                  <a:cubicBezTo>
                    <a:pt x="505" y="1399"/>
                    <a:pt x="506" y="1400"/>
                    <a:pt x="507" y="1400"/>
                  </a:cubicBezTo>
                  <a:cubicBezTo>
                    <a:pt x="507" y="1400"/>
                    <a:pt x="507" y="1400"/>
                    <a:pt x="508" y="1399"/>
                  </a:cubicBezTo>
                  <a:cubicBezTo>
                    <a:pt x="508" y="1399"/>
                    <a:pt x="508" y="1399"/>
                    <a:pt x="508" y="1399"/>
                  </a:cubicBezTo>
                  <a:cubicBezTo>
                    <a:pt x="508" y="1400"/>
                    <a:pt x="508" y="1400"/>
                    <a:pt x="508" y="1401"/>
                  </a:cubicBezTo>
                  <a:cubicBezTo>
                    <a:pt x="508" y="1401"/>
                    <a:pt x="508" y="1401"/>
                    <a:pt x="508" y="1402"/>
                  </a:cubicBezTo>
                  <a:cubicBezTo>
                    <a:pt x="508" y="1402"/>
                    <a:pt x="508" y="1403"/>
                    <a:pt x="508" y="1403"/>
                  </a:cubicBezTo>
                  <a:cubicBezTo>
                    <a:pt x="508" y="1403"/>
                    <a:pt x="508" y="1403"/>
                    <a:pt x="507" y="1403"/>
                  </a:cubicBezTo>
                  <a:cubicBezTo>
                    <a:pt x="507" y="1404"/>
                    <a:pt x="507" y="1404"/>
                    <a:pt x="506" y="1405"/>
                  </a:cubicBezTo>
                  <a:cubicBezTo>
                    <a:pt x="506" y="1406"/>
                    <a:pt x="506" y="1408"/>
                    <a:pt x="507" y="1409"/>
                  </a:cubicBezTo>
                  <a:cubicBezTo>
                    <a:pt x="507" y="1409"/>
                    <a:pt x="507" y="1409"/>
                    <a:pt x="508" y="1410"/>
                  </a:cubicBezTo>
                  <a:cubicBezTo>
                    <a:pt x="507" y="1411"/>
                    <a:pt x="508" y="1412"/>
                    <a:pt x="508" y="1412"/>
                  </a:cubicBezTo>
                  <a:cubicBezTo>
                    <a:pt x="508" y="1413"/>
                    <a:pt x="508" y="1414"/>
                    <a:pt x="509" y="1414"/>
                  </a:cubicBezTo>
                  <a:cubicBezTo>
                    <a:pt x="510" y="1415"/>
                    <a:pt x="511" y="1415"/>
                    <a:pt x="511" y="1414"/>
                  </a:cubicBezTo>
                  <a:cubicBezTo>
                    <a:pt x="511" y="1415"/>
                    <a:pt x="511" y="1415"/>
                    <a:pt x="511" y="1415"/>
                  </a:cubicBezTo>
                  <a:cubicBezTo>
                    <a:pt x="511" y="1416"/>
                    <a:pt x="511" y="1416"/>
                    <a:pt x="511" y="1416"/>
                  </a:cubicBezTo>
                  <a:cubicBezTo>
                    <a:pt x="511" y="1416"/>
                    <a:pt x="511" y="1417"/>
                    <a:pt x="511" y="1418"/>
                  </a:cubicBezTo>
                  <a:cubicBezTo>
                    <a:pt x="511" y="1418"/>
                    <a:pt x="511" y="1418"/>
                    <a:pt x="510" y="1418"/>
                  </a:cubicBezTo>
                  <a:cubicBezTo>
                    <a:pt x="510" y="1418"/>
                    <a:pt x="510" y="1418"/>
                    <a:pt x="510" y="1418"/>
                  </a:cubicBezTo>
                  <a:cubicBezTo>
                    <a:pt x="510" y="1418"/>
                    <a:pt x="510" y="1418"/>
                    <a:pt x="510" y="1418"/>
                  </a:cubicBezTo>
                  <a:cubicBezTo>
                    <a:pt x="510" y="1417"/>
                    <a:pt x="510" y="1417"/>
                    <a:pt x="509" y="1417"/>
                  </a:cubicBezTo>
                  <a:cubicBezTo>
                    <a:pt x="509" y="1416"/>
                    <a:pt x="509" y="1416"/>
                    <a:pt x="509" y="1416"/>
                  </a:cubicBezTo>
                  <a:cubicBezTo>
                    <a:pt x="508" y="1415"/>
                    <a:pt x="508" y="1415"/>
                    <a:pt x="508" y="1415"/>
                  </a:cubicBezTo>
                  <a:cubicBezTo>
                    <a:pt x="508" y="1415"/>
                    <a:pt x="507" y="1414"/>
                    <a:pt x="506" y="1415"/>
                  </a:cubicBezTo>
                  <a:cubicBezTo>
                    <a:pt x="505" y="1415"/>
                    <a:pt x="505" y="1415"/>
                    <a:pt x="504" y="1416"/>
                  </a:cubicBezTo>
                  <a:cubicBezTo>
                    <a:pt x="504" y="1415"/>
                    <a:pt x="504" y="1415"/>
                    <a:pt x="504" y="1415"/>
                  </a:cubicBezTo>
                  <a:cubicBezTo>
                    <a:pt x="503" y="1415"/>
                    <a:pt x="502" y="1415"/>
                    <a:pt x="501" y="1416"/>
                  </a:cubicBezTo>
                  <a:cubicBezTo>
                    <a:pt x="500" y="1416"/>
                    <a:pt x="500" y="1416"/>
                    <a:pt x="500" y="1417"/>
                  </a:cubicBezTo>
                  <a:cubicBezTo>
                    <a:pt x="500" y="1418"/>
                    <a:pt x="500" y="1418"/>
                    <a:pt x="500" y="1419"/>
                  </a:cubicBezTo>
                  <a:cubicBezTo>
                    <a:pt x="501" y="1419"/>
                    <a:pt x="501" y="1419"/>
                    <a:pt x="501" y="1419"/>
                  </a:cubicBezTo>
                  <a:cubicBezTo>
                    <a:pt x="502" y="1419"/>
                    <a:pt x="502" y="1419"/>
                    <a:pt x="502" y="1419"/>
                  </a:cubicBezTo>
                  <a:cubicBezTo>
                    <a:pt x="501" y="1419"/>
                    <a:pt x="501" y="1419"/>
                    <a:pt x="501" y="1419"/>
                  </a:cubicBezTo>
                  <a:cubicBezTo>
                    <a:pt x="501" y="1420"/>
                    <a:pt x="501" y="1421"/>
                    <a:pt x="501" y="1421"/>
                  </a:cubicBezTo>
                  <a:cubicBezTo>
                    <a:pt x="502" y="1422"/>
                    <a:pt x="502" y="1422"/>
                    <a:pt x="502" y="1422"/>
                  </a:cubicBezTo>
                  <a:cubicBezTo>
                    <a:pt x="502" y="1422"/>
                    <a:pt x="502" y="1422"/>
                    <a:pt x="502" y="1423"/>
                  </a:cubicBezTo>
                  <a:cubicBezTo>
                    <a:pt x="501" y="1423"/>
                    <a:pt x="502" y="1424"/>
                    <a:pt x="502" y="1425"/>
                  </a:cubicBezTo>
                  <a:cubicBezTo>
                    <a:pt x="502" y="1425"/>
                    <a:pt x="502" y="1425"/>
                    <a:pt x="502" y="1426"/>
                  </a:cubicBezTo>
                  <a:cubicBezTo>
                    <a:pt x="502" y="1426"/>
                    <a:pt x="502" y="1426"/>
                    <a:pt x="502" y="1427"/>
                  </a:cubicBezTo>
                  <a:cubicBezTo>
                    <a:pt x="502" y="1428"/>
                    <a:pt x="502" y="1428"/>
                    <a:pt x="503" y="1429"/>
                  </a:cubicBezTo>
                  <a:cubicBezTo>
                    <a:pt x="503" y="1429"/>
                    <a:pt x="503" y="1429"/>
                    <a:pt x="503" y="1429"/>
                  </a:cubicBezTo>
                  <a:cubicBezTo>
                    <a:pt x="504" y="1430"/>
                    <a:pt x="504" y="1431"/>
                    <a:pt x="506" y="1431"/>
                  </a:cubicBezTo>
                  <a:cubicBezTo>
                    <a:pt x="506" y="1431"/>
                    <a:pt x="506" y="1431"/>
                    <a:pt x="507" y="1431"/>
                  </a:cubicBezTo>
                  <a:cubicBezTo>
                    <a:pt x="508" y="1431"/>
                    <a:pt x="508" y="1430"/>
                    <a:pt x="508" y="1429"/>
                  </a:cubicBezTo>
                  <a:cubicBezTo>
                    <a:pt x="508" y="1429"/>
                    <a:pt x="508" y="1428"/>
                    <a:pt x="508" y="1428"/>
                  </a:cubicBezTo>
                  <a:cubicBezTo>
                    <a:pt x="509" y="1428"/>
                    <a:pt x="509" y="1428"/>
                    <a:pt x="509" y="1428"/>
                  </a:cubicBezTo>
                  <a:cubicBezTo>
                    <a:pt x="510" y="1429"/>
                    <a:pt x="510" y="1429"/>
                    <a:pt x="511" y="1429"/>
                  </a:cubicBezTo>
                  <a:cubicBezTo>
                    <a:pt x="511" y="1429"/>
                    <a:pt x="511" y="1429"/>
                    <a:pt x="511" y="1429"/>
                  </a:cubicBezTo>
                  <a:cubicBezTo>
                    <a:pt x="512" y="1429"/>
                    <a:pt x="512" y="1429"/>
                    <a:pt x="513" y="1429"/>
                  </a:cubicBezTo>
                  <a:cubicBezTo>
                    <a:pt x="513" y="1429"/>
                    <a:pt x="513" y="1429"/>
                    <a:pt x="513" y="1429"/>
                  </a:cubicBezTo>
                  <a:cubicBezTo>
                    <a:pt x="514" y="1429"/>
                    <a:pt x="514" y="1429"/>
                    <a:pt x="514" y="1430"/>
                  </a:cubicBezTo>
                  <a:cubicBezTo>
                    <a:pt x="514" y="1430"/>
                    <a:pt x="514" y="1430"/>
                    <a:pt x="514" y="1430"/>
                  </a:cubicBezTo>
                  <a:cubicBezTo>
                    <a:pt x="515" y="1430"/>
                    <a:pt x="515" y="1430"/>
                    <a:pt x="515" y="1431"/>
                  </a:cubicBezTo>
                  <a:cubicBezTo>
                    <a:pt x="515" y="1431"/>
                    <a:pt x="515" y="1431"/>
                    <a:pt x="514" y="1431"/>
                  </a:cubicBezTo>
                  <a:cubicBezTo>
                    <a:pt x="513" y="1432"/>
                    <a:pt x="514" y="1433"/>
                    <a:pt x="514" y="1434"/>
                  </a:cubicBezTo>
                  <a:cubicBezTo>
                    <a:pt x="514" y="1434"/>
                    <a:pt x="515" y="1436"/>
                    <a:pt x="516" y="1437"/>
                  </a:cubicBezTo>
                  <a:cubicBezTo>
                    <a:pt x="516" y="1437"/>
                    <a:pt x="516" y="1438"/>
                    <a:pt x="517" y="1439"/>
                  </a:cubicBezTo>
                  <a:cubicBezTo>
                    <a:pt x="517" y="1439"/>
                    <a:pt x="517" y="1440"/>
                    <a:pt x="518" y="1440"/>
                  </a:cubicBezTo>
                  <a:cubicBezTo>
                    <a:pt x="518" y="1440"/>
                    <a:pt x="518" y="1440"/>
                    <a:pt x="518" y="1440"/>
                  </a:cubicBezTo>
                  <a:cubicBezTo>
                    <a:pt x="517" y="1440"/>
                    <a:pt x="518" y="1441"/>
                    <a:pt x="518" y="1442"/>
                  </a:cubicBezTo>
                  <a:cubicBezTo>
                    <a:pt x="518" y="1442"/>
                    <a:pt x="519" y="1443"/>
                    <a:pt x="520" y="1443"/>
                  </a:cubicBezTo>
                  <a:cubicBezTo>
                    <a:pt x="521" y="1443"/>
                    <a:pt x="521" y="1444"/>
                    <a:pt x="521" y="1444"/>
                  </a:cubicBezTo>
                  <a:cubicBezTo>
                    <a:pt x="521" y="1444"/>
                    <a:pt x="521" y="1444"/>
                    <a:pt x="521" y="1444"/>
                  </a:cubicBezTo>
                  <a:cubicBezTo>
                    <a:pt x="522" y="1445"/>
                    <a:pt x="522" y="1446"/>
                    <a:pt x="524" y="1446"/>
                  </a:cubicBezTo>
                  <a:cubicBezTo>
                    <a:pt x="524" y="1446"/>
                    <a:pt x="524" y="1446"/>
                    <a:pt x="524" y="1446"/>
                  </a:cubicBezTo>
                  <a:cubicBezTo>
                    <a:pt x="524" y="1446"/>
                    <a:pt x="524" y="1446"/>
                    <a:pt x="524" y="1446"/>
                  </a:cubicBezTo>
                  <a:cubicBezTo>
                    <a:pt x="524" y="1447"/>
                    <a:pt x="525" y="1447"/>
                    <a:pt x="525" y="1447"/>
                  </a:cubicBezTo>
                  <a:cubicBezTo>
                    <a:pt x="525" y="1448"/>
                    <a:pt x="525" y="1448"/>
                    <a:pt x="525" y="1448"/>
                  </a:cubicBezTo>
                  <a:cubicBezTo>
                    <a:pt x="525" y="1448"/>
                    <a:pt x="525" y="1448"/>
                    <a:pt x="525" y="1448"/>
                  </a:cubicBezTo>
                  <a:cubicBezTo>
                    <a:pt x="524" y="1448"/>
                    <a:pt x="524" y="1448"/>
                    <a:pt x="523" y="1448"/>
                  </a:cubicBezTo>
                  <a:cubicBezTo>
                    <a:pt x="522" y="1448"/>
                    <a:pt x="522" y="1448"/>
                    <a:pt x="521" y="1448"/>
                  </a:cubicBezTo>
                  <a:cubicBezTo>
                    <a:pt x="521" y="1449"/>
                    <a:pt x="521" y="1449"/>
                    <a:pt x="521" y="1450"/>
                  </a:cubicBezTo>
                  <a:cubicBezTo>
                    <a:pt x="521" y="1451"/>
                    <a:pt x="522" y="1452"/>
                    <a:pt x="523" y="1452"/>
                  </a:cubicBezTo>
                  <a:cubicBezTo>
                    <a:pt x="523" y="1452"/>
                    <a:pt x="523" y="1452"/>
                    <a:pt x="523" y="1452"/>
                  </a:cubicBezTo>
                  <a:cubicBezTo>
                    <a:pt x="523" y="1452"/>
                    <a:pt x="523" y="1453"/>
                    <a:pt x="524" y="1453"/>
                  </a:cubicBezTo>
                  <a:cubicBezTo>
                    <a:pt x="523" y="1453"/>
                    <a:pt x="523" y="1453"/>
                    <a:pt x="523" y="1454"/>
                  </a:cubicBezTo>
                  <a:cubicBezTo>
                    <a:pt x="523" y="1454"/>
                    <a:pt x="523" y="1454"/>
                    <a:pt x="523" y="1454"/>
                  </a:cubicBezTo>
                  <a:cubicBezTo>
                    <a:pt x="522" y="1453"/>
                    <a:pt x="521" y="1453"/>
                    <a:pt x="520" y="1455"/>
                  </a:cubicBezTo>
                  <a:cubicBezTo>
                    <a:pt x="520" y="1456"/>
                    <a:pt x="520" y="1456"/>
                    <a:pt x="520" y="1456"/>
                  </a:cubicBezTo>
                  <a:cubicBezTo>
                    <a:pt x="521" y="1456"/>
                    <a:pt x="521" y="1456"/>
                    <a:pt x="521" y="1456"/>
                  </a:cubicBezTo>
                  <a:cubicBezTo>
                    <a:pt x="521" y="1457"/>
                    <a:pt x="521" y="1457"/>
                    <a:pt x="521" y="1457"/>
                  </a:cubicBezTo>
                  <a:cubicBezTo>
                    <a:pt x="521" y="1457"/>
                    <a:pt x="522" y="1457"/>
                    <a:pt x="522" y="1458"/>
                  </a:cubicBezTo>
                  <a:cubicBezTo>
                    <a:pt x="523" y="1459"/>
                    <a:pt x="524" y="1459"/>
                    <a:pt x="525" y="1461"/>
                  </a:cubicBezTo>
                  <a:cubicBezTo>
                    <a:pt x="525" y="1461"/>
                    <a:pt x="526" y="1462"/>
                    <a:pt x="527" y="1462"/>
                  </a:cubicBezTo>
                  <a:cubicBezTo>
                    <a:pt x="528" y="1462"/>
                    <a:pt x="528" y="1462"/>
                    <a:pt x="528" y="1462"/>
                  </a:cubicBezTo>
                  <a:cubicBezTo>
                    <a:pt x="529" y="1462"/>
                    <a:pt x="529" y="1462"/>
                    <a:pt x="529" y="1462"/>
                  </a:cubicBezTo>
                  <a:cubicBezTo>
                    <a:pt x="529" y="1462"/>
                    <a:pt x="529" y="1462"/>
                    <a:pt x="529" y="1462"/>
                  </a:cubicBezTo>
                  <a:cubicBezTo>
                    <a:pt x="529" y="1463"/>
                    <a:pt x="530" y="1464"/>
                    <a:pt x="531" y="1464"/>
                  </a:cubicBezTo>
                  <a:cubicBezTo>
                    <a:pt x="532" y="1464"/>
                    <a:pt x="532" y="1463"/>
                    <a:pt x="532" y="1463"/>
                  </a:cubicBezTo>
                  <a:cubicBezTo>
                    <a:pt x="532" y="1464"/>
                    <a:pt x="533" y="1464"/>
                    <a:pt x="533" y="1464"/>
                  </a:cubicBezTo>
                  <a:cubicBezTo>
                    <a:pt x="533" y="1465"/>
                    <a:pt x="534" y="1465"/>
                    <a:pt x="535" y="1465"/>
                  </a:cubicBezTo>
                  <a:cubicBezTo>
                    <a:pt x="535" y="1465"/>
                    <a:pt x="536" y="1465"/>
                    <a:pt x="536" y="1465"/>
                  </a:cubicBezTo>
                  <a:cubicBezTo>
                    <a:pt x="537" y="1465"/>
                    <a:pt x="537" y="1465"/>
                    <a:pt x="537" y="1465"/>
                  </a:cubicBezTo>
                  <a:cubicBezTo>
                    <a:pt x="537" y="1465"/>
                    <a:pt x="537" y="1465"/>
                    <a:pt x="537" y="1465"/>
                  </a:cubicBezTo>
                  <a:cubicBezTo>
                    <a:pt x="537" y="1465"/>
                    <a:pt x="538" y="1466"/>
                    <a:pt x="538" y="1466"/>
                  </a:cubicBezTo>
                  <a:cubicBezTo>
                    <a:pt x="538" y="1466"/>
                    <a:pt x="538" y="1466"/>
                    <a:pt x="538" y="1466"/>
                  </a:cubicBezTo>
                  <a:cubicBezTo>
                    <a:pt x="538" y="1467"/>
                    <a:pt x="538" y="1468"/>
                    <a:pt x="539" y="1469"/>
                  </a:cubicBezTo>
                  <a:cubicBezTo>
                    <a:pt x="540" y="1469"/>
                    <a:pt x="540" y="1469"/>
                    <a:pt x="540" y="1469"/>
                  </a:cubicBezTo>
                  <a:cubicBezTo>
                    <a:pt x="540" y="1470"/>
                    <a:pt x="541" y="1470"/>
                    <a:pt x="541" y="1470"/>
                  </a:cubicBezTo>
                  <a:cubicBezTo>
                    <a:pt x="541" y="1472"/>
                    <a:pt x="542" y="1472"/>
                    <a:pt x="543" y="1472"/>
                  </a:cubicBezTo>
                  <a:cubicBezTo>
                    <a:pt x="543" y="1472"/>
                    <a:pt x="543" y="1472"/>
                    <a:pt x="543" y="1472"/>
                  </a:cubicBezTo>
                  <a:cubicBezTo>
                    <a:pt x="543" y="1472"/>
                    <a:pt x="543" y="1472"/>
                    <a:pt x="543" y="1472"/>
                  </a:cubicBezTo>
                  <a:cubicBezTo>
                    <a:pt x="543" y="1473"/>
                    <a:pt x="543" y="1473"/>
                    <a:pt x="543" y="1473"/>
                  </a:cubicBezTo>
                  <a:cubicBezTo>
                    <a:pt x="544" y="1474"/>
                    <a:pt x="544" y="1475"/>
                    <a:pt x="545" y="1476"/>
                  </a:cubicBezTo>
                  <a:cubicBezTo>
                    <a:pt x="546" y="1476"/>
                    <a:pt x="546" y="1476"/>
                    <a:pt x="546" y="1476"/>
                  </a:cubicBezTo>
                  <a:cubicBezTo>
                    <a:pt x="546" y="1477"/>
                    <a:pt x="547" y="1477"/>
                    <a:pt x="547" y="1477"/>
                  </a:cubicBezTo>
                  <a:cubicBezTo>
                    <a:pt x="547" y="1477"/>
                    <a:pt x="547" y="1478"/>
                    <a:pt x="547" y="1478"/>
                  </a:cubicBezTo>
                  <a:cubicBezTo>
                    <a:pt x="548" y="1478"/>
                    <a:pt x="548" y="1478"/>
                    <a:pt x="548" y="1478"/>
                  </a:cubicBezTo>
                  <a:cubicBezTo>
                    <a:pt x="548" y="1478"/>
                    <a:pt x="548" y="1478"/>
                    <a:pt x="548" y="1479"/>
                  </a:cubicBezTo>
                  <a:cubicBezTo>
                    <a:pt x="548" y="1479"/>
                    <a:pt x="548" y="1479"/>
                    <a:pt x="549" y="1479"/>
                  </a:cubicBezTo>
                  <a:cubicBezTo>
                    <a:pt x="549" y="1480"/>
                    <a:pt x="549" y="1480"/>
                    <a:pt x="550" y="1480"/>
                  </a:cubicBezTo>
                  <a:cubicBezTo>
                    <a:pt x="550" y="1480"/>
                    <a:pt x="550" y="1481"/>
                    <a:pt x="550" y="1481"/>
                  </a:cubicBezTo>
                  <a:cubicBezTo>
                    <a:pt x="550" y="1481"/>
                    <a:pt x="551" y="1482"/>
                    <a:pt x="552" y="1482"/>
                  </a:cubicBezTo>
                  <a:cubicBezTo>
                    <a:pt x="552" y="1482"/>
                    <a:pt x="552" y="1482"/>
                    <a:pt x="552" y="1482"/>
                  </a:cubicBezTo>
                  <a:cubicBezTo>
                    <a:pt x="552" y="1482"/>
                    <a:pt x="552" y="1483"/>
                    <a:pt x="553" y="1483"/>
                  </a:cubicBezTo>
                  <a:cubicBezTo>
                    <a:pt x="553" y="1484"/>
                    <a:pt x="553" y="1486"/>
                    <a:pt x="555" y="1486"/>
                  </a:cubicBezTo>
                  <a:cubicBezTo>
                    <a:pt x="555" y="1486"/>
                    <a:pt x="555" y="1486"/>
                    <a:pt x="556" y="1485"/>
                  </a:cubicBezTo>
                  <a:cubicBezTo>
                    <a:pt x="556" y="1485"/>
                    <a:pt x="556" y="1485"/>
                    <a:pt x="556" y="1485"/>
                  </a:cubicBezTo>
                  <a:cubicBezTo>
                    <a:pt x="555" y="1486"/>
                    <a:pt x="555" y="1487"/>
                    <a:pt x="555" y="1487"/>
                  </a:cubicBezTo>
                  <a:cubicBezTo>
                    <a:pt x="555" y="1488"/>
                    <a:pt x="556" y="1489"/>
                    <a:pt x="556" y="1490"/>
                  </a:cubicBezTo>
                  <a:cubicBezTo>
                    <a:pt x="557" y="1490"/>
                    <a:pt x="557" y="1490"/>
                    <a:pt x="557" y="1490"/>
                  </a:cubicBezTo>
                  <a:cubicBezTo>
                    <a:pt x="557" y="1490"/>
                    <a:pt x="557" y="1491"/>
                    <a:pt x="559" y="1491"/>
                  </a:cubicBezTo>
                  <a:cubicBezTo>
                    <a:pt x="559" y="1491"/>
                    <a:pt x="559" y="1491"/>
                    <a:pt x="559" y="1491"/>
                  </a:cubicBezTo>
                  <a:cubicBezTo>
                    <a:pt x="559" y="1491"/>
                    <a:pt x="560" y="1491"/>
                    <a:pt x="560" y="1491"/>
                  </a:cubicBezTo>
                  <a:cubicBezTo>
                    <a:pt x="560" y="1491"/>
                    <a:pt x="560" y="1492"/>
                    <a:pt x="560" y="1492"/>
                  </a:cubicBezTo>
                  <a:cubicBezTo>
                    <a:pt x="561" y="1493"/>
                    <a:pt x="561" y="1494"/>
                    <a:pt x="562" y="1494"/>
                  </a:cubicBezTo>
                  <a:cubicBezTo>
                    <a:pt x="562" y="1494"/>
                    <a:pt x="562" y="1494"/>
                    <a:pt x="562" y="1494"/>
                  </a:cubicBezTo>
                  <a:cubicBezTo>
                    <a:pt x="562" y="1495"/>
                    <a:pt x="562" y="1495"/>
                    <a:pt x="562" y="1495"/>
                  </a:cubicBezTo>
                  <a:cubicBezTo>
                    <a:pt x="563" y="1495"/>
                    <a:pt x="563" y="1496"/>
                    <a:pt x="564" y="1497"/>
                  </a:cubicBezTo>
                  <a:cubicBezTo>
                    <a:pt x="564" y="1495"/>
                    <a:pt x="564" y="1495"/>
                    <a:pt x="564" y="1495"/>
                  </a:cubicBezTo>
                  <a:cubicBezTo>
                    <a:pt x="564" y="1496"/>
                    <a:pt x="564" y="1496"/>
                    <a:pt x="564" y="1496"/>
                  </a:cubicBezTo>
                  <a:cubicBezTo>
                    <a:pt x="564" y="1496"/>
                    <a:pt x="564" y="1496"/>
                    <a:pt x="564" y="1496"/>
                  </a:cubicBezTo>
                  <a:cubicBezTo>
                    <a:pt x="564" y="1496"/>
                    <a:pt x="564" y="1496"/>
                    <a:pt x="564" y="1497"/>
                  </a:cubicBezTo>
                  <a:cubicBezTo>
                    <a:pt x="564" y="1497"/>
                    <a:pt x="564" y="1497"/>
                    <a:pt x="564" y="1497"/>
                  </a:cubicBezTo>
                  <a:cubicBezTo>
                    <a:pt x="564" y="1497"/>
                    <a:pt x="564" y="1497"/>
                    <a:pt x="564" y="1497"/>
                  </a:cubicBezTo>
                  <a:cubicBezTo>
                    <a:pt x="564" y="1497"/>
                    <a:pt x="565" y="1497"/>
                    <a:pt x="565" y="1498"/>
                  </a:cubicBezTo>
                  <a:cubicBezTo>
                    <a:pt x="566" y="1498"/>
                    <a:pt x="566" y="1498"/>
                    <a:pt x="567" y="1498"/>
                  </a:cubicBezTo>
                  <a:cubicBezTo>
                    <a:pt x="568" y="1498"/>
                    <a:pt x="568" y="1498"/>
                    <a:pt x="568" y="1498"/>
                  </a:cubicBezTo>
                  <a:cubicBezTo>
                    <a:pt x="568" y="1498"/>
                    <a:pt x="568" y="1498"/>
                    <a:pt x="568" y="1498"/>
                  </a:cubicBezTo>
                  <a:cubicBezTo>
                    <a:pt x="566" y="1498"/>
                    <a:pt x="565" y="1499"/>
                    <a:pt x="565" y="1500"/>
                  </a:cubicBezTo>
                  <a:cubicBezTo>
                    <a:pt x="565" y="1502"/>
                    <a:pt x="566" y="1504"/>
                    <a:pt x="567" y="1505"/>
                  </a:cubicBezTo>
                  <a:cubicBezTo>
                    <a:pt x="567" y="1505"/>
                    <a:pt x="568" y="1505"/>
                    <a:pt x="568" y="1505"/>
                  </a:cubicBezTo>
                  <a:cubicBezTo>
                    <a:pt x="568" y="1505"/>
                    <a:pt x="568" y="1506"/>
                    <a:pt x="569" y="1506"/>
                  </a:cubicBezTo>
                  <a:cubicBezTo>
                    <a:pt x="569" y="1506"/>
                    <a:pt x="570" y="1507"/>
                    <a:pt x="570" y="1507"/>
                  </a:cubicBezTo>
                  <a:cubicBezTo>
                    <a:pt x="571" y="1507"/>
                    <a:pt x="571" y="1507"/>
                    <a:pt x="571" y="1507"/>
                  </a:cubicBezTo>
                  <a:cubicBezTo>
                    <a:pt x="572" y="1506"/>
                    <a:pt x="572" y="1505"/>
                    <a:pt x="572" y="1504"/>
                  </a:cubicBezTo>
                  <a:cubicBezTo>
                    <a:pt x="572" y="1505"/>
                    <a:pt x="572" y="1505"/>
                    <a:pt x="572" y="1505"/>
                  </a:cubicBezTo>
                  <a:cubicBezTo>
                    <a:pt x="573" y="1505"/>
                    <a:pt x="573" y="1506"/>
                    <a:pt x="573" y="1506"/>
                  </a:cubicBezTo>
                  <a:cubicBezTo>
                    <a:pt x="573" y="1507"/>
                    <a:pt x="574" y="1507"/>
                    <a:pt x="575" y="1507"/>
                  </a:cubicBezTo>
                  <a:cubicBezTo>
                    <a:pt x="575" y="1507"/>
                    <a:pt x="576" y="1507"/>
                    <a:pt x="576" y="1506"/>
                  </a:cubicBezTo>
                  <a:cubicBezTo>
                    <a:pt x="577" y="1506"/>
                    <a:pt x="577" y="1504"/>
                    <a:pt x="577" y="1504"/>
                  </a:cubicBezTo>
                  <a:cubicBezTo>
                    <a:pt x="577" y="1502"/>
                    <a:pt x="576" y="1501"/>
                    <a:pt x="575" y="1500"/>
                  </a:cubicBezTo>
                  <a:cubicBezTo>
                    <a:pt x="574" y="1500"/>
                    <a:pt x="574" y="1500"/>
                    <a:pt x="574" y="1500"/>
                  </a:cubicBezTo>
                  <a:cubicBezTo>
                    <a:pt x="574" y="1500"/>
                    <a:pt x="574" y="1500"/>
                    <a:pt x="573" y="1499"/>
                  </a:cubicBezTo>
                  <a:cubicBezTo>
                    <a:pt x="574" y="1500"/>
                    <a:pt x="575" y="1500"/>
                    <a:pt x="577" y="1500"/>
                  </a:cubicBezTo>
                  <a:cubicBezTo>
                    <a:pt x="578" y="1500"/>
                    <a:pt x="579" y="1501"/>
                    <a:pt x="581" y="1502"/>
                  </a:cubicBezTo>
                  <a:cubicBezTo>
                    <a:pt x="581" y="1502"/>
                    <a:pt x="581" y="1502"/>
                    <a:pt x="582" y="1502"/>
                  </a:cubicBezTo>
                  <a:cubicBezTo>
                    <a:pt x="582" y="1502"/>
                    <a:pt x="583" y="1502"/>
                    <a:pt x="583" y="1501"/>
                  </a:cubicBezTo>
                  <a:cubicBezTo>
                    <a:pt x="584" y="1500"/>
                    <a:pt x="584" y="1499"/>
                    <a:pt x="584" y="1499"/>
                  </a:cubicBezTo>
                  <a:cubicBezTo>
                    <a:pt x="584" y="1498"/>
                    <a:pt x="583" y="1497"/>
                    <a:pt x="583" y="1496"/>
                  </a:cubicBezTo>
                  <a:cubicBezTo>
                    <a:pt x="582" y="1495"/>
                    <a:pt x="582" y="1495"/>
                    <a:pt x="582" y="1495"/>
                  </a:cubicBezTo>
                  <a:cubicBezTo>
                    <a:pt x="582" y="1495"/>
                    <a:pt x="582" y="1495"/>
                    <a:pt x="582" y="1495"/>
                  </a:cubicBezTo>
                  <a:cubicBezTo>
                    <a:pt x="582" y="1495"/>
                    <a:pt x="582" y="1495"/>
                    <a:pt x="583" y="1495"/>
                  </a:cubicBezTo>
                  <a:cubicBezTo>
                    <a:pt x="583" y="1496"/>
                    <a:pt x="583" y="1496"/>
                    <a:pt x="584" y="1496"/>
                  </a:cubicBezTo>
                  <a:cubicBezTo>
                    <a:pt x="584" y="1496"/>
                    <a:pt x="584" y="1496"/>
                    <a:pt x="584" y="1496"/>
                  </a:cubicBezTo>
                  <a:cubicBezTo>
                    <a:pt x="584" y="1496"/>
                    <a:pt x="584" y="1496"/>
                    <a:pt x="585" y="1497"/>
                  </a:cubicBezTo>
                  <a:cubicBezTo>
                    <a:pt x="585" y="1497"/>
                    <a:pt x="585" y="1497"/>
                    <a:pt x="586" y="1497"/>
                  </a:cubicBezTo>
                  <a:cubicBezTo>
                    <a:pt x="587" y="1498"/>
                    <a:pt x="588" y="1497"/>
                    <a:pt x="588" y="1497"/>
                  </a:cubicBezTo>
                  <a:cubicBezTo>
                    <a:pt x="588" y="1497"/>
                    <a:pt x="589" y="1497"/>
                    <a:pt x="589" y="1497"/>
                  </a:cubicBezTo>
                  <a:cubicBezTo>
                    <a:pt x="589" y="1497"/>
                    <a:pt x="589" y="1497"/>
                    <a:pt x="589" y="1497"/>
                  </a:cubicBezTo>
                  <a:cubicBezTo>
                    <a:pt x="589" y="1497"/>
                    <a:pt x="589" y="1497"/>
                    <a:pt x="590" y="1497"/>
                  </a:cubicBezTo>
                  <a:cubicBezTo>
                    <a:pt x="589" y="1497"/>
                    <a:pt x="589" y="1497"/>
                    <a:pt x="589" y="1497"/>
                  </a:cubicBezTo>
                  <a:cubicBezTo>
                    <a:pt x="588" y="1498"/>
                    <a:pt x="588" y="1499"/>
                    <a:pt x="588" y="1499"/>
                  </a:cubicBezTo>
                  <a:cubicBezTo>
                    <a:pt x="588" y="1500"/>
                    <a:pt x="589" y="1501"/>
                    <a:pt x="589" y="1502"/>
                  </a:cubicBezTo>
                  <a:cubicBezTo>
                    <a:pt x="590" y="1502"/>
                    <a:pt x="590" y="1502"/>
                    <a:pt x="590" y="1502"/>
                  </a:cubicBezTo>
                  <a:cubicBezTo>
                    <a:pt x="590" y="1503"/>
                    <a:pt x="590" y="1503"/>
                    <a:pt x="590" y="1503"/>
                  </a:cubicBezTo>
                  <a:cubicBezTo>
                    <a:pt x="591" y="1503"/>
                    <a:pt x="591" y="1503"/>
                    <a:pt x="591" y="1503"/>
                  </a:cubicBezTo>
                  <a:cubicBezTo>
                    <a:pt x="590" y="1503"/>
                    <a:pt x="590" y="1503"/>
                    <a:pt x="590" y="1503"/>
                  </a:cubicBezTo>
                  <a:cubicBezTo>
                    <a:pt x="589" y="1503"/>
                    <a:pt x="588" y="1504"/>
                    <a:pt x="588" y="1504"/>
                  </a:cubicBezTo>
                  <a:cubicBezTo>
                    <a:pt x="588" y="1505"/>
                    <a:pt x="588" y="1506"/>
                    <a:pt x="588" y="1506"/>
                  </a:cubicBezTo>
                  <a:cubicBezTo>
                    <a:pt x="588" y="1506"/>
                    <a:pt x="588" y="1506"/>
                    <a:pt x="587" y="1506"/>
                  </a:cubicBezTo>
                  <a:cubicBezTo>
                    <a:pt x="586" y="1506"/>
                    <a:pt x="586" y="1506"/>
                    <a:pt x="585" y="1507"/>
                  </a:cubicBezTo>
                  <a:cubicBezTo>
                    <a:pt x="585" y="1507"/>
                    <a:pt x="585" y="1507"/>
                    <a:pt x="585" y="1507"/>
                  </a:cubicBezTo>
                  <a:cubicBezTo>
                    <a:pt x="584" y="1507"/>
                    <a:pt x="582" y="1508"/>
                    <a:pt x="583" y="1511"/>
                  </a:cubicBezTo>
                  <a:cubicBezTo>
                    <a:pt x="583" y="1512"/>
                    <a:pt x="583" y="1512"/>
                    <a:pt x="583" y="1512"/>
                  </a:cubicBezTo>
                  <a:cubicBezTo>
                    <a:pt x="584" y="1512"/>
                    <a:pt x="584" y="1512"/>
                    <a:pt x="584" y="1512"/>
                  </a:cubicBezTo>
                  <a:cubicBezTo>
                    <a:pt x="584" y="1512"/>
                    <a:pt x="584" y="1512"/>
                    <a:pt x="584" y="1512"/>
                  </a:cubicBezTo>
                  <a:cubicBezTo>
                    <a:pt x="584" y="1513"/>
                    <a:pt x="584" y="1513"/>
                    <a:pt x="584" y="1513"/>
                  </a:cubicBezTo>
                  <a:cubicBezTo>
                    <a:pt x="586" y="1513"/>
                    <a:pt x="586" y="1513"/>
                    <a:pt x="586" y="1513"/>
                  </a:cubicBezTo>
                  <a:cubicBezTo>
                    <a:pt x="587" y="1512"/>
                    <a:pt x="587" y="1512"/>
                    <a:pt x="587" y="1512"/>
                  </a:cubicBezTo>
                  <a:cubicBezTo>
                    <a:pt x="587" y="1512"/>
                    <a:pt x="588" y="1512"/>
                    <a:pt x="588" y="1511"/>
                  </a:cubicBezTo>
                  <a:cubicBezTo>
                    <a:pt x="588" y="1512"/>
                    <a:pt x="588" y="1512"/>
                    <a:pt x="589" y="1512"/>
                  </a:cubicBezTo>
                  <a:cubicBezTo>
                    <a:pt x="589" y="1512"/>
                    <a:pt x="589" y="1512"/>
                    <a:pt x="590" y="1512"/>
                  </a:cubicBezTo>
                  <a:cubicBezTo>
                    <a:pt x="590" y="1512"/>
                    <a:pt x="590" y="1512"/>
                    <a:pt x="590" y="1512"/>
                  </a:cubicBezTo>
                  <a:cubicBezTo>
                    <a:pt x="590" y="1512"/>
                    <a:pt x="590" y="1512"/>
                    <a:pt x="591" y="1512"/>
                  </a:cubicBezTo>
                  <a:cubicBezTo>
                    <a:pt x="591" y="1512"/>
                    <a:pt x="591" y="1512"/>
                    <a:pt x="591" y="1512"/>
                  </a:cubicBezTo>
                  <a:cubicBezTo>
                    <a:pt x="592" y="1512"/>
                    <a:pt x="593" y="1511"/>
                    <a:pt x="594" y="1511"/>
                  </a:cubicBezTo>
                  <a:cubicBezTo>
                    <a:pt x="594" y="1511"/>
                    <a:pt x="594" y="1511"/>
                    <a:pt x="594" y="1511"/>
                  </a:cubicBezTo>
                  <a:cubicBezTo>
                    <a:pt x="595" y="1512"/>
                    <a:pt x="597" y="1512"/>
                    <a:pt x="598" y="1511"/>
                  </a:cubicBezTo>
                  <a:cubicBezTo>
                    <a:pt x="598" y="1511"/>
                    <a:pt x="599" y="1511"/>
                    <a:pt x="600" y="1511"/>
                  </a:cubicBezTo>
                  <a:cubicBezTo>
                    <a:pt x="600" y="1511"/>
                    <a:pt x="601" y="1511"/>
                    <a:pt x="601" y="1511"/>
                  </a:cubicBezTo>
                  <a:cubicBezTo>
                    <a:pt x="601" y="1511"/>
                    <a:pt x="602" y="1511"/>
                    <a:pt x="602" y="1511"/>
                  </a:cubicBezTo>
                  <a:cubicBezTo>
                    <a:pt x="602" y="1512"/>
                    <a:pt x="602" y="1512"/>
                    <a:pt x="602" y="1512"/>
                  </a:cubicBezTo>
                  <a:cubicBezTo>
                    <a:pt x="601" y="1512"/>
                    <a:pt x="600" y="1513"/>
                    <a:pt x="600" y="1513"/>
                  </a:cubicBezTo>
                  <a:cubicBezTo>
                    <a:pt x="600" y="1514"/>
                    <a:pt x="600" y="1515"/>
                    <a:pt x="600" y="1516"/>
                  </a:cubicBezTo>
                  <a:cubicBezTo>
                    <a:pt x="601" y="1517"/>
                    <a:pt x="602" y="1517"/>
                    <a:pt x="603" y="1517"/>
                  </a:cubicBezTo>
                  <a:cubicBezTo>
                    <a:pt x="603" y="1518"/>
                    <a:pt x="603" y="1518"/>
                    <a:pt x="604" y="1518"/>
                  </a:cubicBezTo>
                  <a:cubicBezTo>
                    <a:pt x="604" y="1518"/>
                    <a:pt x="604" y="1518"/>
                    <a:pt x="604" y="1518"/>
                  </a:cubicBezTo>
                  <a:cubicBezTo>
                    <a:pt x="604" y="1518"/>
                    <a:pt x="604" y="1518"/>
                    <a:pt x="604" y="1518"/>
                  </a:cubicBezTo>
                  <a:cubicBezTo>
                    <a:pt x="604" y="1518"/>
                    <a:pt x="604" y="1519"/>
                    <a:pt x="606" y="1519"/>
                  </a:cubicBezTo>
                  <a:cubicBezTo>
                    <a:pt x="606" y="1519"/>
                    <a:pt x="606" y="1519"/>
                    <a:pt x="607" y="1519"/>
                  </a:cubicBezTo>
                  <a:cubicBezTo>
                    <a:pt x="607" y="1519"/>
                    <a:pt x="607" y="1519"/>
                    <a:pt x="607" y="1519"/>
                  </a:cubicBezTo>
                  <a:cubicBezTo>
                    <a:pt x="608" y="1519"/>
                    <a:pt x="609" y="1519"/>
                    <a:pt x="609" y="1518"/>
                  </a:cubicBezTo>
                  <a:cubicBezTo>
                    <a:pt x="609" y="1518"/>
                    <a:pt x="609" y="1518"/>
                    <a:pt x="609" y="1518"/>
                  </a:cubicBezTo>
                  <a:cubicBezTo>
                    <a:pt x="610" y="1519"/>
                    <a:pt x="611" y="1519"/>
                    <a:pt x="611" y="1519"/>
                  </a:cubicBezTo>
                  <a:cubicBezTo>
                    <a:pt x="612" y="1519"/>
                    <a:pt x="612" y="1519"/>
                    <a:pt x="613" y="1519"/>
                  </a:cubicBezTo>
                  <a:cubicBezTo>
                    <a:pt x="613" y="1519"/>
                    <a:pt x="613" y="1519"/>
                    <a:pt x="613" y="1519"/>
                  </a:cubicBezTo>
                  <a:cubicBezTo>
                    <a:pt x="613" y="1518"/>
                    <a:pt x="614" y="1519"/>
                    <a:pt x="614" y="1519"/>
                  </a:cubicBezTo>
                  <a:cubicBezTo>
                    <a:pt x="614" y="1519"/>
                    <a:pt x="614" y="1519"/>
                    <a:pt x="615" y="1519"/>
                  </a:cubicBezTo>
                  <a:cubicBezTo>
                    <a:pt x="615" y="1519"/>
                    <a:pt x="615" y="1519"/>
                    <a:pt x="615" y="1519"/>
                  </a:cubicBezTo>
                  <a:cubicBezTo>
                    <a:pt x="615" y="1520"/>
                    <a:pt x="616" y="1520"/>
                    <a:pt x="617" y="1520"/>
                  </a:cubicBezTo>
                  <a:cubicBezTo>
                    <a:pt x="617" y="1520"/>
                    <a:pt x="618" y="1520"/>
                    <a:pt x="618" y="1520"/>
                  </a:cubicBezTo>
                  <a:cubicBezTo>
                    <a:pt x="618" y="1519"/>
                    <a:pt x="619" y="1519"/>
                    <a:pt x="618" y="1518"/>
                  </a:cubicBezTo>
                  <a:cubicBezTo>
                    <a:pt x="618" y="1517"/>
                    <a:pt x="617" y="1516"/>
                    <a:pt x="617" y="1515"/>
                  </a:cubicBezTo>
                  <a:cubicBezTo>
                    <a:pt x="616" y="1515"/>
                    <a:pt x="616" y="1515"/>
                    <a:pt x="616" y="1515"/>
                  </a:cubicBezTo>
                  <a:cubicBezTo>
                    <a:pt x="616" y="1515"/>
                    <a:pt x="617" y="1515"/>
                    <a:pt x="617" y="1514"/>
                  </a:cubicBezTo>
                  <a:cubicBezTo>
                    <a:pt x="617" y="1515"/>
                    <a:pt x="618" y="1515"/>
                    <a:pt x="618" y="1515"/>
                  </a:cubicBezTo>
                  <a:cubicBezTo>
                    <a:pt x="618" y="1515"/>
                    <a:pt x="618" y="1515"/>
                    <a:pt x="618" y="1515"/>
                  </a:cubicBezTo>
                  <a:cubicBezTo>
                    <a:pt x="619" y="1515"/>
                    <a:pt x="620" y="1514"/>
                    <a:pt x="620" y="1514"/>
                  </a:cubicBezTo>
                  <a:cubicBezTo>
                    <a:pt x="620" y="1513"/>
                    <a:pt x="620" y="1513"/>
                    <a:pt x="620" y="1512"/>
                  </a:cubicBezTo>
                  <a:cubicBezTo>
                    <a:pt x="620" y="1511"/>
                    <a:pt x="619" y="1510"/>
                    <a:pt x="619" y="1510"/>
                  </a:cubicBezTo>
                  <a:cubicBezTo>
                    <a:pt x="619" y="1510"/>
                    <a:pt x="619" y="1510"/>
                    <a:pt x="619" y="1510"/>
                  </a:cubicBezTo>
                  <a:cubicBezTo>
                    <a:pt x="619" y="1510"/>
                    <a:pt x="619" y="1509"/>
                    <a:pt x="618" y="1509"/>
                  </a:cubicBezTo>
                  <a:cubicBezTo>
                    <a:pt x="619" y="1509"/>
                    <a:pt x="619" y="1510"/>
                    <a:pt x="619" y="1510"/>
                  </a:cubicBezTo>
                  <a:cubicBezTo>
                    <a:pt x="619" y="1510"/>
                    <a:pt x="619" y="1510"/>
                    <a:pt x="619" y="1510"/>
                  </a:cubicBezTo>
                  <a:cubicBezTo>
                    <a:pt x="620" y="1511"/>
                    <a:pt x="620" y="1511"/>
                    <a:pt x="621" y="1511"/>
                  </a:cubicBezTo>
                  <a:cubicBezTo>
                    <a:pt x="621" y="1511"/>
                    <a:pt x="622" y="1511"/>
                    <a:pt x="622" y="1511"/>
                  </a:cubicBezTo>
                  <a:cubicBezTo>
                    <a:pt x="623" y="1511"/>
                    <a:pt x="623" y="1510"/>
                    <a:pt x="624" y="1510"/>
                  </a:cubicBezTo>
                  <a:cubicBezTo>
                    <a:pt x="624" y="1510"/>
                    <a:pt x="624" y="1510"/>
                    <a:pt x="624" y="1509"/>
                  </a:cubicBezTo>
                  <a:cubicBezTo>
                    <a:pt x="624" y="1509"/>
                    <a:pt x="625" y="1509"/>
                    <a:pt x="625" y="1509"/>
                  </a:cubicBezTo>
                  <a:cubicBezTo>
                    <a:pt x="625" y="1509"/>
                    <a:pt x="626" y="1510"/>
                    <a:pt x="627" y="1510"/>
                  </a:cubicBezTo>
                  <a:cubicBezTo>
                    <a:pt x="627" y="1510"/>
                    <a:pt x="628" y="1510"/>
                    <a:pt x="629" y="1508"/>
                  </a:cubicBezTo>
                  <a:cubicBezTo>
                    <a:pt x="629" y="1508"/>
                    <a:pt x="629" y="1508"/>
                    <a:pt x="629" y="1508"/>
                  </a:cubicBezTo>
                  <a:cubicBezTo>
                    <a:pt x="629" y="1507"/>
                    <a:pt x="630" y="1505"/>
                    <a:pt x="629" y="1504"/>
                  </a:cubicBezTo>
                  <a:cubicBezTo>
                    <a:pt x="628" y="1502"/>
                    <a:pt x="626" y="1502"/>
                    <a:pt x="625" y="1502"/>
                  </a:cubicBezTo>
                  <a:cubicBezTo>
                    <a:pt x="625" y="1502"/>
                    <a:pt x="624" y="1502"/>
                    <a:pt x="624" y="1502"/>
                  </a:cubicBezTo>
                  <a:cubicBezTo>
                    <a:pt x="622" y="1502"/>
                    <a:pt x="622" y="1502"/>
                    <a:pt x="622" y="1502"/>
                  </a:cubicBezTo>
                  <a:cubicBezTo>
                    <a:pt x="622" y="1502"/>
                    <a:pt x="621" y="1502"/>
                    <a:pt x="620" y="1502"/>
                  </a:cubicBezTo>
                  <a:cubicBezTo>
                    <a:pt x="620" y="1502"/>
                    <a:pt x="620" y="1502"/>
                    <a:pt x="620" y="1502"/>
                  </a:cubicBezTo>
                  <a:cubicBezTo>
                    <a:pt x="620" y="1502"/>
                    <a:pt x="619" y="1502"/>
                    <a:pt x="619" y="1501"/>
                  </a:cubicBezTo>
                  <a:cubicBezTo>
                    <a:pt x="619" y="1501"/>
                    <a:pt x="619" y="1501"/>
                    <a:pt x="619" y="1501"/>
                  </a:cubicBezTo>
                  <a:cubicBezTo>
                    <a:pt x="619" y="1501"/>
                    <a:pt x="618" y="1501"/>
                    <a:pt x="618" y="1501"/>
                  </a:cubicBezTo>
                  <a:cubicBezTo>
                    <a:pt x="617" y="1500"/>
                    <a:pt x="616" y="1499"/>
                    <a:pt x="615" y="1499"/>
                  </a:cubicBezTo>
                  <a:cubicBezTo>
                    <a:pt x="614" y="1499"/>
                    <a:pt x="614" y="1499"/>
                    <a:pt x="614" y="1499"/>
                  </a:cubicBezTo>
                  <a:cubicBezTo>
                    <a:pt x="614" y="1499"/>
                    <a:pt x="613" y="1499"/>
                    <a:pt x="613" y="1499"/>
                  </a:cubicBezTo>
                  <a:cubicBezTo>
                    <a:pt x="612" y="1498"/>
                    <a:pt x="611" y="1498"/>
                    <a:pt x="611" y="1498"/>
                  </a:cubicBezTo>
                  <a:cubicBezTo>
                    <a:pt x="610" y="1497"/>
                    <a:pt x="610" y="1497"/>
                    <a:pt x="610" y="1497"/>
                  </a:cubicBezTo>
                  <a:cubicBezTo>
                    <a:pt x="610" y="1497"/>
                    <a:pt x="610" y="1497"/>
                    <a:pt x="609" y="1497"/>
                  </a:cubicBezTo>
                  <a:cubicBezTo>
                    <a:pt x="609" y="1496"/>
                    <a:pt x="608" y="1496"/>
                    <a:pt x="607" y="1495"/>
                  </a:cubicBezTo>
                  <a:cubicBezTo>
                    <a:pt x="607" y="1495"/>
                    <a:pt x="606" y="1495"/>
                    <a:pt x="606" y="1495"/>
                  </a:cubicBezTo>
                  <a:cubicBezTo>
                    <a:pt x="605" y="1495"/>
                    <a:pt x="604" y="1495"/>
                    <a:pt x="604" y="1494"/>
                  </a:cubicBezTo>
                  <a:cubicBezTo>
                    <a:pt x="604" y="1494"/>
                    <a:pt x="603" y="1494"/>
                    <a:pt x="603" y="1493"/>
                  </a:cubicBezTo>
                  <a:cubicBezTo>
                    <a:pt x="603" y="1493"/>
                    <a:pt x="602" y="1492"/>
                    <a:pt x="602" y="1492"/>
                  </a:cubicBezTo>
                  <a:cubicBezTo>
                    <a:pt x="601" y="1491"/>
                    <a:pt x="600" y="1491"/>
                    <a:pt x="599" y="1491"/>
                  </a:cubicBezTo>
                  <a:cubicBezTo>
                    <a:pt x="599" y="1491"/>
                    <a:pt x="599" y="1491"/>
                    <a:pt x="599" y="1491"/>
                  </a:cubicBezTo>
                  <a:cubicBezTo>
                    <a:pt x="599" y="1489"/>
                    <a:pt x="598" y="1486"/>
                    <a:pt x="596" y="1485"/>
                  </a:cubicBezTo>
                  <a:cubicBezTo>
                    <a:pt x="596" y="1485"/>
                    <a:pt x="596" y="1485"/>
                    <a:pt x="595" y="1485"/>
                  </a:cubicBezTo>
                  <a:cubicBezTo>
                    <a:pt x="595" y="1485"/>
                    <a:pt x="594" y="1484"/>
                    <a:pt x="593" y="1484"/>
                  </a:cubicBezTo>
                  <a:cubicBezTo>
                    <a:pt x="593" y="1483"/>
                    <a:pt x="592" y="1483"/>
                    <a:pt x="591" y="1483"/>
                  </a:cubicBezTo>
                  <a:cubicBezTo>
                    <a:pt x="591" y="1483"/>
                    <a:pt x="591" y="1483"/>
                    <a:pt x="591" y="1483"/>
                  </a:cubicBezTo>
                  <a:cubicBezTo>
                    <a:pt x="592" y="1482"/>
                    <a:pt x="592" y="1482"/>
                    <a:pt x="592" y="1482"/>
                  </a:cubicBezTo>
                  <a:cubicBezTo>
                    <a:pt x="591" y="1481"/>
                    <a:pt x="591" y="1481"/>
                    <a:pt x="591" y="1481"/>
                  </a:cubicBezTo>
                  <a:cubicBezTo>
                    <a:pt x="591" y="1481"/>
                    <a:pt x="591" y="1481"/>
                    <a:pt x="591" y="1481"/>
                  </a:cubicBezTo>
                  <a:cubicBezTo>
                    <a:pt x="591" y="1481"/>
                    <a:pt x="591" y="1481"/>
                    <a:pt x="591" y="1481"/>
                  </a:cubicBezTo>
                  <a:cubicBezTo>
                    <a:pt x="591" y="1480"/>
                    <a:pt x="591" y="1480"/>
                    <a:pt x="591" y="1480"/>
                  </a:cubicBezTo>
                  <a:cubicBezTo>
                    <a:pt x="591" y="1480"/>
                    <a:pt x="591" y="1480"/>
                    <a:pt x="591" y="1480"/>
                  </a:cubicBezTo>
                  <a:cubicBezTo>
                    <a:pt x="590" y="1479"/>
                    <a:pt x="589" y="1478"/>
                    <a:pt x="589" y="1478"/>
                  </a:cubicBezTo>
                  <a:cubicBezTo>
                    <a:pt x="588" y="1477"/>
                    <a:pt x="588" y="1477"/>
                    <a:pt x="588" y="1477"/>
                  </a:cubicBezTo>
                  <a:cubicBezTo>
                    <a:pt x="587" y="1476"/>
                    <a:pt x="585" y="1475"/>
                    <a:pt x="584" y="1474"/>
                  </a:cubicBezTo>
                  <a:cubicBezTo>
                    <a:pt x="583" y="1474"/>
                    <a:pt x="583" y="1474"/>
                    <a:pt x="582" y="1474"/>
                  </a:cubicBezTo>
                  <a:cubicBezTo>
                    <a:pt x="582" y="1474"/>
                    <a:pt x="582" y="1473"/>
                    <a:pt x="582" y="1473"/>
                  </a:cubicBezTo>
                  <a:cubicBezTo>
                    <a:pt x="582" y="1473"/>
                    <a:pt x="582" y="1472"/>
                    <a:pt x="582" y="1471"/>
                  </a:cubicBezTo>
                  <a:cubicBezTo>
                    <a:pt x="581" y="1471"/>
                    <a:pt x="581" y="1470"/>
                    <a:pt x="581" y="1470"/>
                  </a:cubicBezTo>
                  <a:cubicBezTo>
                    <a:pt x="580" y="1470"/>
                    <a:pt x="580" y="1470"/>
                    <a:pt x="580" y="1470"/>
                  </a:cubicBezTo>
                  <a:cubicBezTo>
                    <a:pt x="580" y="1469"/>
                    <a:pt x="579" y="1469"/>
                    <a:pt x="579" y="1469"/>
                  </a:cubicBezTo>
                  <a:cubicBezTo>
                    <a:pt x="579" y="1468"/>
                    <a:pt x="579" y="1468"/>
                    <a:pt x="579" y="1468"/>
                  </a:cubicBezTo>
                  <a:cubicBezTo>
                    <a:pt x="579" y="1468"/>
                    <a:pt x="578" y="1466"/>
                    <a:pt x="576" y="1466"/>
                  </a:cubicBezTo>
                  <a:cubicBezTo>
                    <a:pt x="576" y="1466"/>
                    <a:pt x="576" y="1466"/>
                    <a:pt x="576" y="1466"/>
                  </a:cubicBezTo>
                  <a:cubicBezTo>
                    <a:pt x="576" y="1466"/>
                    <a:pt x="576" y="1466"/>
                    <a:pt x="576" y="1465"/>
                  </a:cubicBezTo>
                  <a:cubicBezTo>
                    <a:pt x="576" y="1465"/>
                    <a:pt x="576" y="1464"/>
                    <a:pt x="576" y="1464"/>
                  </a:cubicBezTo>
                  <a:cubicBezTo>
                    <a:pt x="575" y="1463"/>
                    <a:pt x="576" y="1462"/>
                    <a:pt x="576" y="1461"/>
                  </a:cubicBezTo>
                  <a:cubicBezTo>
                    <a:pt x="576" y="1461"/>
                    <a:pt x="576" y="1461"/>
                    <a:pt x="576" y="1461"/>
                  </a:cubicBezTo>
                  <a:cubicBezTo>
                    <a:pt x="576" y="1460"/>
                    <a:pt x="576" y="1459"/>
                    <a:pt x="575" y="1458"/>
                  </a:cubicBezTo>
                  <a:cubicBezTo>
                    <a:pt x="577" y="1458"/>
                    <a:pt x="577" y="1456"/>
                    <a:pt x="577" y="1455"/>
                  </a:cubicBezTo>
                  <a:cubicBezTo>
                    <a:pt x="577" y="1455"/>
                    <a:pt x="577" y="1455"/>
                    <a:pt x="577" y="1455"/>
                  </a:cubicBezTo>
                  <a:cubicBezTo>
                    <a:pt x="578" y="1455"/>
                    <a:pt x="578" y="1454"/>
                    <a:pt x="578" y="1453"/>
                  </a:cubicBezTo>
                  <a:cubicBezTo>
                    <a:pt x="578" y="1452"/>
                    <a:pt x="577" y="1451"/>
                    <a:pt x="577" y="1451"/>
                  </a:cubicBezTo>
                  <a:cubicBezTo>
                    <a:pt x="577" y="1451"/>
                    <a:pt x="577" y="1451"/>
                    <a:pt x="577" y="1451"/>
                  </a:cubicBezTo>
                  <a:cubicBezTo>
                    <a:pt x="577" y="1451"/>
                    <a:pt x="577" y="1450"/>
                    <a:pt x="577" y="1450"/>
                  </a:cubicBezTo>
                  <a:cubicBezTo>
                    <a:pt x="577" y="1450"/>
                    <a:pt x="577" y="1449"/>
                    <a:pt x="576" y="1448"/>
                  </a:cubicBezTo>
                  <a:cubicBezTo>
                    <a:pt x="576" y="1447"/>
                    <a:pt x="575" y="1447"/>
                    <a:pt x="575" y="1447"/>
                  </a:cubicBezTo>
                  <a:cubicBezTo>
                    <a:pt x="575" y="1447"/>
                    <a:pt x="575" y="1447"/>
                    <a:pt x="575" y="1447"/>
                  </a:cubicBezTo>
                  <a:cubicBezTo>
                    <a:pt x="575" y="1447"/>
                    <a:pt x="575" y="1446"/>
                    <a:pt x="575" y="1446"/>
                  </a:cubicBezTo>
                  <a:cubicBezTo>
                    <a:pt x="575" y="1445"/>
                    <a:pt x="575" y="1445"/>
                    <a:pt x="575" y="1444"/>
                  </a:cubicBezTo>
                  <a:cubicBezTo>
                    <a:pt x="575" y="1444"/>
                    <a:pt x="576" y="1443"/>
                    <a:pt x="576" y="1443"/>
                  </a:cubicBezTo>
                  <a:cubicBezTo>
                    <a:pt x="576" y="1443"/>
                    <a:pt x="576" y="1442"/>
                    <a:pt x="576" y="1441"/>
                  </a:cubicBezTo>
                  <a:cubicBezTo>
                    <a:pt x="576" y="1441"/>
                    <a:pt x="576" y="1441"/>
                    <a:pt x="576" y="1441"/>
                  </a:cubicBezTo>
                  <a:cubicBezTo>
                    <a:pt x="576" y="1441"/>
                    <a:pt x="576" y="1440"/>
                    <a:pt x="576" y="1439"/>
                  </a:cubicBezTo>
                  <a:cubicBezTo>
                    <a:pt x="576" y="1439"/>
                    <a:pt x="576" y="1439"/>
                    <a:pt x="576" y="1438"/>
                  </a:cubicBezTo>
                  <a:cubicBezTo>
                    <a:pt x="576" y="1438"/>
                    <a:pt x="577" y="1438"/>
                    <a:pt x="577" y="1438"/>
                  </a:cubicBezTo>
                  <a:cubicBezTo>
                    <a:pt x="577" y="1437"/>
                    <a:pt x="578" y="1436"/>
                    <a:pt x="578" y="1435"/>
                  </a:cubicBezTo>
                  <a:cubicBezTo>
                    <a:pt x="578" y="1434"/>
                    <a:pt x="578" y="1433"/>
                    <a:pt x="578" y="1432"/>
                  </a:cubicBezTo>
                  <a:cubicBezTo>
                    <a:pt x="578" y="1432"/>
                    <a:pt x="578" y="1431"/>
                    <a:pt x="577" y="1430"/>
                  </a:cubicBezTo>
                  <a:cubicBezTo>
                    <a:pt x="577" y="1430"/>
                    <a:pt x="577" y="1430"/>
                    <a:pt x="577" y="1430"/>
                  </a:cubicBezTo>
                  <a:cubicBezTo>
                    <a:pt x="577" y="1430"/>
                    <a:pt x="577" y="1430"/>
                    <a:pt x="577" y="1430"/>
                  </a:cubicBezTo>
                  <a:cubicBezTo>
                    <a:pt x="578" y="1428"/>
                    <a:pt x="576" y="1426"/>
                    <a:pt x="575" y="1425"/>
                  </a:cubicBezTo>
                  <a:cubicBezTo>
                    <a:pt x="575" y="1425"/>
                    <a:pt x="575" y="1424"/>
                    <a:pt x="575" y="1424"/>
                  </a:cubicBezTo>
                  <a:cubicBezTo>
                    <a:pt x="575" y="1424"/>
                    <a:pt x="575" y="1424"/>
                    <a:pt x="575" y="1424"/>
                  </a:cubicBezTo>
                  <a:cubicBezTo>
                    <a:pt x="574" y="1423"/>
                    <a:pt x="572" y="1421"/>
                    <a:pt x="570" y="1421"/>
                  </a:cubicBezTo>
                  <a:cubicBezTo>
                    <a:pt x="570" y="1421"/>
                    <a:pt x="570" y="1421"/>
                    <a:pt x="569" y="1421"/>
                  </a:cubicBezTo>
                  <a:cubicBezTo>
                    <a:pt x="568" y="1421"/>
                    <a:pt x="568" y="1422"/>
                    <a:pt x="568" y="1422"/>
                  </a:cubicBezTo>
                  <a:cubicBezTo>
                    <a:pt x="568" y="1422"/>
                    <a:pt x="568" y="1422"/>
                    <a:pt x="567" y="1422"/>
                  </a:cubicBezTo>
                  <a:cubicBezTo>
                    <a:pt x="567" y="1422"/>
                    <a:pt x="567" y="1422"/>
                    <a:pt x="567" y="1422"/>
                  </a:cubicBezTo>
                  <a:cubicBezTo>
                    <a:pt x="567" y="1422"/>
                    <a:pt x="566" y="1422"/>
                    <a:pt x="567" y="1422"/>
                  </a:cubicBezTo>
                  <a:cubicBezTo>
                    <a:pt x="566" y="1422"/>
                    <a:pt x="566" y="1422"/>
                    <a:pt x="566" y="1422"/>
                  </a:cubicBezTo>
                  <a:cubicBezTo>
                    <a:pt x="566" y="1421"/>
                    <a:pt x="566" y="1421"/>
                    <a:pt x="565" y="1420"/>
                  </a:cubicBezTo>
                  <a:cubicBezTo>
                    <a:pt x="564" y="1419"/>
                    <a:pt x="564" y="1419"/>
                    <a:pt x="562" y="1418"/>
                  </a:cubicBezTo>
                  <a:cubicBezTo>
                    <a:pt x="562" y="1418"/>
                    <a:pt x="562" y="1418"/>
                    <a:pt x="561" y="1417"/>
                  </a:cubicBezTo>
                  <a:cubicBezTo>
                    <a:pt x="561" y="1417"/>
                    <a:pt x="561" y="1417"/>
                    <a:pt x="560" y="1416"/>
                  </a:cubicBezTo>
                  <a:cubicBezTo>
                    <a:pt x="560" y="1416"/>
                    <a:pt x="560" y="1416"/>
                    <a:pt x="560" y="1416"/>
                  </a:cubicBezTo>
                  <a:cubicBezTo>
                    <a:pt x="559" y="1415"/>
                    <a:pt x="559" y="1415"/>
                    <a:pt x="559" y="1415"/>
                  </a:cubicBezTo>
                  <a:cubicBezTo>
                    <a:pt x="558" y="1414"/>
                    <a:pt x="558" y="1414"/>
                    <a:pt x="558" y="1413"/>
                  </a:cubicBezTo>
                  <a:cubicBezTo>
                    <a:pt x="558" y="1413"/>
                    <a:pt x="558" y="1413"/>
                    <a:pt x="558" y="1413"/>
                  </a:cubicBezTo>
                  <a:cubicBezTo>
                    <a:pt x="558" y="1413"/>
                    <a:pt x="558" y="1413"/>
                    <a:pt x="558" y="1412"/>
                  </a:cubicBezTo>
                  <a:cubicBezTo>
                    <a:pt x="558" y="1412"/>
                    <a:pt x="557" y="1412"/>
                    <a:pt x="557" y="1412"/>
                  </a:cubicBezTo>
                  <a:cubicBezTo>
                    <a:pt x="557" y="1411"/>
                    <a:pt x="557" y="1411"/>
                    <a:pt x="557" y="1411"/>
                  </a:cubicBezTo>
                  <a:cubicBezTo>
                    <a:pt x="556" y="1411"/>
                    <a:pt x="556" y="1411"/>
                    <a:pt x="556" y="1410"/>
                  </a:cubicBezTo>
                  <a:cubicBezTo>
                    <a:pt x="556" y="1410"/>
                    <a:pt x="556" y="1410"/>
                    <a:pt x="556" y="1409"/>
                  </a:cubicBezTo>
                  <a:cubicBezTo>
                    <a:pt x="556" y="1409"/>
                    <a:pt x="556" y="1409"/>
                    <a:pt x="556" y="1409"/>
                  </a:cubicBezTo>
                  <a:cubicBezTo>
                    <a:pt x="556" y="1408"/>
                    <a:pt x="555" y="1408"/>
                    <a:pt x="555" y="1407"/>
                  </a:cubicBezTo>
                  <a:cubicBezTo>
                    <a:pt x="555" y="1407"/>
                    <a:pt x="555" y="1407"/>
                    <a:pt x="555" y="1406"/>
                  </a:cubicBezTo>
                  <a:cubicBezTo>
                    <a:pt x="554" y="1406"/>
                    <a:pt x="554" y="1405"/>
                    <a:pt x="554" y="1404"/>
                  </a:cubicBezTo>
                  <a:cubicBezTo>
                    <a:pt x="554" y="1404"/>
                    <a:pt x="554" y="1404"/>
                    <a:pt x="555" y="1404"/>
                  </a:cubicBezTo>
                  <a:cubicBezTo>
                    <a:pt x="556" y="1404"/>
                    <a:pt x="556" y="1404"/>
                    <a:pt x="557" y="1404"/>
                  </a:cubicBezTo>
                  <a:cubicBezTo>
                    <a:pt x="557" y="1403"/>
                    <a:pt x="557" y="1401"/>
                    <a:pt x="557" y="1401"/>
                  </a:cubicBezTo>
                  <a:cubicBezTo>
                    <a:pt x="557" y="1401"/>
                    <a:pt x="557" y="1401"/>
                    <a:pt x="557" y="1401"/>
                  </a:cubicBezTo>
                  <a:cubicBezTo>
                    <a:pt x="557" y="1401"/>
                    <a:pt x="557" y="1401"/>
                    <a:pt x="558" y="1401"/>
                  </a:cubicBezTo>
                  <a:cubicBezTo>
                    <a:pt x="558" y="1400"/>
                    <a:pt x="558" y="1400"/>
                    <a:pt x="559" y="1400"/>
                  </a:cubicBezTo>
                  <a:cubicBezTo>
                    <a:pt x="560" y="1400"/>
                    <a:pt x="561" y="1400"/>
                    <a:pt x="562" y="1398"/>
                  </a:cubicBezTo>
                  <a:cubicBezTo>
                    <a:pt x="562" y="1397"/>
                    <a:pt x="561" y="1396"/>
                    <a:pt x="561" y="1395"/>
                  </a:cubicBezTo>
                  <a:cubicBezTo>
                    <a:pt x="560" y="1395"/>
                    <a:pt x="560" y="1395"/>
                    <a:pt x="560" y="1395"/>
                  </a:cubicBezTo>
                  <a:cubicBezTo>
                    <a:pt x="560" y="1395"/>
                    <a:pt x="560" y="1394"/>
                    <a:pt x="560" y="1393"/>
                  </a:cubicBezTo>
                  <a:cubicBezTo>
                    <a:pt x="560" y="1392"/>
                    <a:pt x="560" y="1391"/>
                    <a:pt x="560" y="1390"/>
                  </a:cubicBezTo>
                  <a:cubicBezTo>
                    <a:pt x="560" y="1389"/>
                    <a:pt x="559" y="1388"/>
                    <a:pt x="559" y="1386"/>
                  </a:cubicBezTo>
                  <a:cubicBezTo>
                    <a:pt x="559" y="1386"/>
                    <a:pt x="558" y="1385"/>
                    <a:pt x="558" y="1385"/>
                  </a:cubicBezTo>
                  <a:cubicBezTo>
                    <a:pt x="558" y="1384"/>
                    <a:pt x="558" y="1384"/>
                    <a:pt x="558" y="1384"/>
                  </a:cubicBezTo>
                  <a:cubicBezTo>
                    <a:pt x="557" y="1383"/>
                    <a:pt x="557" y="1382"/>
                    <a:pt x="557" y="1380"/>
                  </a:cubicBezTo>
                  <a:cubicBezTo>
                    <a:pt x="557" y="1379"/>
                    <a:pt x="557" y="1378"/>
                    <a:pt x="557" y="1378"/>
                  </a:cubicBezTo>
                  <a:cubicBezTo>
                    <a:pt x="557" y="1378"/>
                    <a:pt x="557" y="1377"/>
                    <a:pt x="558" y="1377"/>
                  </a:cubicBezTo>
                  <a:cubicBezTo>
                    <a:pt x="558" y="1376"/>
                    <a:pt x="558" y="1376"/>
                    <a:pt x="558" y="1375"/>
                  </a:cubicBezTo>
                  <a:cubicBezTo>
                    <a:pt x="558" y="1374"/>
                    <a:pt x="557" y="1374"/>
                    <a:pt x="556" y="1374"/>
                  </a:cubicBezTo>
                  <a:cubicBezTo>
                    <a:pt x="556" y="1374"/>
                    <a:pt x="556" y="1374"/>
                    <a:pt x="555" y="1374"/>
                  </a:cubicBezTo>
                  <a:cubicBezTo>
                    <a:pt x="555" y="1374"/>
                    <a:pt x="554" y="1374"/>
                    <a:pt x="554" y="1374"/>
                  </a:cubicBezTo>
                  <a:cubicBezTo>
                    <a:pt x="554" y="1374"/>
                    <a:pt x="554" y="1373"/>
                    <a:pt x="554" y="1373"/>
                  </a:cubicBezTo>
                  <a:cubicBezTo>
                    <a:pt x="554" y="1373"/>
                    <a:pt x="554" y="1373"/>
                    <a:pt x="554" y="1372"/>
                  </a:cubicBezTo>
                  <a:cubicBezTo>
                    <a:pt x="554" y="1372"/>
                    <a:pt x="554" y="1372"/>
                    <a:pt x="554" y="1372"/>
                  </a:cubicBezTo>
                  <a:cubicBezTo>
                    <a:pt x="554" y="1372"/>
                    <a:pt x="554" y="1372"/>
                    <a:pt x="555" y="1372"/>
                  </a:cubicBezTo>
                  <a:cubicBezTo>
                    <a:pt x="556" y="1372"/>
                    <a:pt x="556" y="1372"/>
                    <a:pt x="557" y="1373"/>
                  </a:cubicBezTo>
                  <a:cubicBezTo>
                    <a:pt x="557" y="1373"/>
                    <a:pt x="557" y="1373"/>
                    <a:pt x="557" y="1373"/>
                  </a:cubicBezTo>
                  <a:cubicBezTo>
                    <a:pt x="558" y="1374"/>
                    <a:pt x="559" y="1375"/>
                    <a:pt x="560" y="1374"/>
                  </a:cubicBezTo>
                  <a:cubicBezTo>
                    <a:pt x="561" y="1374"/>
                    <a:pt x="561" y="1373"/>
                    <a:pt x="561" y="1373"/>
                  </a:cubicBezTo>
                  <a:cubicBezTo>
                    <a:pt x="561" y="1372"/>
                    <a:pt x="561" y="1371"/>
                    <a:pt x="561" y="1370"/>
                  </a:cubicBezTo>
                  <a:cubicBezTo>
                    <a:pt x="560" y="1369"/>
                    <a:pt x="560" y="1369"/>
                    <a:pt x="560" y="1368"/>
                  </a:cubicBezTo>
                  <a:cubicBezTo>
                    <a:pt x="560" y="1368"/>
                    <a:pt x="560" y="1368"/>
                    <a:pt x="560" y="1368"/>
                  </a:cubicBezTo>
                  <a:cubicBezTo>
                    <a:pt x="560" y="1367"/>
                    <a:pt x="561" y="1366"/>
                    <a:pt x="560" y="1365"/>
                  </a:cubicBezTo>
                  <a:cubicBezTo>
                    <a:pt x="559" y="1364"/>
                    <a:pt x="558" y="1364"/>
                    <a:pt x="557" y="1364"/>
                  </a:cubicBezTo>
                  <a:cubicBezTo>
                    <a:pt x="556" y="1364"/>
                    <a:pt x="556" y="1364"/>
                    <a:pt x="556" y="1364"/>
                  </a:cubicBezTo>
                  <a:cubicBezTo>
                    <a:pt x="556" y="1364"/>
                    <a:pt x="556" y="1364"/>
                    <a:pt x="555" y="1364"/>
                  </a:cubicBezTo>
                  <a:cubicBezTo>
                    <a:pt x="555" y="1364"/>
                    <a:pt x="555" y="1364"/>
                    <a:pt x="555" y="1364"/>
                  </a:cubicBezTo>
                  <a:cubicBezTo>
                    <a:pt x="554" y="1364"/>
                    <a:pt x="553" y="1365"/>
                    <a:pt x="553" y="1365"/>
                  </a:cubicBezTo>
                  <a:cubicBezTo>
                    <a:pt x="553" y="1365"/>
                    <a:pt x="553" y="1365"/>
                    <a:pt x="553" y="1365"/>
                  </a:cubicBezTo>
                  <a:cubicBezTo>
                    <a:pt x="553" y="1365"/>
                    <a:pt x="552" y="1365"/>
                    <a:pt x="552" y="1365"/>
                  </a:cubicBezTo>
                  <a:cubicBezTo>
                    <a:pt x="551" y="1365"/>
                    <a:pt x="551" y="1365"/>
                    <a:pt x="551" y="1365"/>
                  </a:cubicBezTo>
                  <a:cubicBezTo>
                    <a:pt x="551" y="1365"/>
                    <a:pt x="550" y="1365"/>
                    <a:pt x="550" y="1365"/>
                  </a:cubicBezTo>
                  <a:cubicBezTo>
                    <a:pt x="550" y="1365"/>
                    <a:pt x="549" y="1365"/>
                    <a:pt x="549" y="1365"/>
                  </a:cubicBezTo>
                  <a:cubicBezTo>
                    <a:pt x="549" y="1365"/>
                    <a:pt x="548" y="1365"/>
                    <a:pt x="548" y="1365"/>
                  </a:cubicBezTo>
                  <a:cubicBezTo>
                    <a:pt x="548" y="1365"/>
                    <a:pt x="548" y="1364"/>
                    <a:pt x="548" y="1364"/>
                  </a:cubicBezTo>
                  <a:cubicBezTo>
                    <a:pt x="548" y="1363"/>
                    <a:pt x="548" y="1363"/>
                    <a:pt x="548" y="1363"/>
                  </a:cubicBezTo>
                  <a:cubicBezTo>
                    <a:pt x="547" y="1363"/>
                    <a:pt x="547" y="1362"/>
                    <a:pt x="546" y="1361"/>
                  </a:cubicBezTo>
                  <a:cubicBezTo>
                    <a:pt x="546" y="1361"/>
                    <a:pt x="546" y="1361"/>
                    <a:pt x="546" y="1361"/>
                  </a:cubicBezTo>
                  <a:cubicBezTo>
                    <a:pt x="546" y="1360"/>
                    <a:pt x="546" y="1360"/>
                    <a:pt x="546" y="1360"/>
                  </a:cubicBezTo>
                  <a:cubicBezTo>
                    <a:pt x="545" y="1359"/>
                    <a:pt x="545" y="1359"/>
                    <a:pt x="544" y="1358"/>
                  </a:cubicBezTo>
                  <a:cubicBezTo>
                    <a:pt x="544" y="1358"/>
                    <a:pt x="544" y="1357"/>
                    <a:pt x="544" y="1357"/>
                  </a:cubicBezTo>
                  <a:cubicBezTo>
                    <a:pt x="544" y="1357"/>
                    <a:pt x="543" y="1357"/>
                    <a:pt x="543" y="1357"/>
                  </a:cubicBezTo>
                  <a:cubicBezTo>
                    <a:pt x="543" y="1356"/>
                    <a:pt x="543" y="1356"/>
                    <a:pt x="543" y="1356"/>
                  </a:cubicBezTo>
                  <a:cubicBezTo>
                    <a:pt x="543" y="1356"/>
                    <a:pt x="543" y="1355"/>
                    <a:pt x="542" y="1355"/>
                  </a:cubicBezTo>
                  <a:cubicBezTo>
                    <a:pt x="543" y="1355"/>
                    <a:pt x="544" y="1355"/>
                    <a:pt x="545" y="1355"/>
                  </a:cubicBezTo>
                  <a:cubicBezTo>
                    <a:pt x="545" y="1354"/>
                    <a:pt x="545" y="1354"/>
                    <a:pt x="546" y="1354"/>
                  </a:cubicBezTo>
                  <a:cubicBezTo>
                    <a:pt x="547" y="1355"/>
                    <a:pt x="547" y="1355"/>
                    <a:pt x="547" y="1355"/>
                  </a:cubicBezTo>
                  <a:cubicBezTo>
                    <a:pt x="547" y="1354"/>
                    <a:pt x="547" y="1354"/>
                    <a:pt x="547" y="1354"/>
                  </a:cubicBezTo>
                  <a:cubicBezTo>
                    <a:pt x="547" y="1354"/>
                    <a:pt x="548" y="1355"/>
                    <a:pt x="548" y="1355"/>
                  </a:cubicBezTo>
                  <a:cubicBezTo>
                    <a:pt x="548" y="1355"/>
                    <a:pt x="549" y="1355"/>
                    <a:pt x="549" y="1355"/>
                  </a:cubicBezTo>
                  <a:cubicBezTo>
                    <a:pt x="550" y="1355"/>
                    <a:pt x="550" y="1355"/>
                    <a:pt x="550" y="1355"/>
                  </a:cubicBezTo>
                  <a:cubicBezTo>
                    <a:pt x="550" y="1356"/>
                    <a:pt x="551" y="1356"/>
                    <a:pt x="552" y="1356"/>
                  </a:cubicBezTo>
                  <a:cubicBezTo>
                    <a:pt x="553" y="1356"/>
                    <a:pt x="553" y="1355"/>
                    <a:pt x="554" y="1355"/>
                  </a:cubicBezTo>
                  <a:cubicBezTo>
                    <a:pt x="554" y="1355"/>
                    <a:pt x="554" y="1355"/>
                    <a:pt x="554" y="1355"/>
                  </a:cubicBezTo>
                  <a:cubicBezTo>
                    <a:pt x="554" y="1355"/>
                    <a:pt x="555" y="1355"/>
                    <a:pt x="555" y="1355"/>
                  </a:cubicBezTo>
                  <a:cubicBezTo>
                    <a:pt x="558" y="1355"/>
                    <a:pt x="559" y="1353"/>
                    <a:pt x="559" y="1353"/>
                  </a:cubicBezTo>
                  <a:cubicBezTo>
                    <a:pt x="559" y="1353"/>
                    <a:pt x="559" y="1353"/>
                    <a:pt x="559" y="1353"/>
                  </a:cubicBezTo>
                  <a:cubicBezTo>
                    <a:pt x="560" y="1353"/>
                    <a:pt x="562" y="1352"/>
                    <a:pt x="562" y="1350"/>
                  </a:cubicBezTo>
                  <a:cubicBezTo>
                    <a:pt x="562" y="1350"/>
                    <a:pt x="561" y="1349"/>
                    <a:pt x="560" y="1347"/>
                  </a:cubicBezTo>
                  <a:cubicBezTo>
                    <a:pt x="560" y="1347"/>
                    <a:pt x="560" y="1347"/>
                    <a:pt x="560" y="1347"/>
                  </a:cubicBezTo>
                  <a:cubicBezTo>
                    <a:pt x="560" y="1346"/>
                    <a:pt x="559" y="1346"/>
                    <a:pt x="559" y="1346"/>
                  </a:cubicBezTo>
                  <a:cubicBezTo>
                    <a:pt x="559" y="1345"/>
                    <a:pt x="559" y="1345"/>
                    <a:pt x="558" y="1345"/>
                  </a:cubicBezTo>
                  <a:cubicBezTo>
                    <a:pt x="558" y="1345"/>
                    <a:pt x="558" y="1345"/>
                    <a:pt x="558" y="1345"/>
                  </a:cubicBezTo>
                  <a:cubicBezTo>
                    <a:pt x="558" y="1344"/>
                    <a:pt x="557" y="1344"/>
                    <a:pt x="557" y="1344"/>
                  </a:cubicBezTo>
                  <a:cubicBezTo>
                    <a:pt x="557" y="1344"/>
                    <a:pt x="557" y="1344"/>
                    <a:pt x="557" y="1344"/>
                  </a:cubicBezTo>
                  <a:cubicBezTo>
                    <a:pt x="558" y="1344"/>
                    <a:pt x="558" y="1343"/>
                    <a:pt x="558" y="1343"/>
                  </a:cubicBezTo>
                  <a:cubicBezTo>
                    <a:pt x="558" y="1343"/>
                    <a:pt x="558" y="1343"/>
                    <a:pt x="558" y="1343"/>
                  </a:cubicBezTo>
                  <a:cubicBezTo>
                    <a:pt x="558" y="1342"/>
                    <a:pt x="558" y="1340"/>
                    <a:pt x="557" y="1340"/>
                  </a:cubicBezTo>
                  <a:cubicBezTo>
                    <a:pt x="557" y="1339"/>
                    <a:pt x="557" y="1339"/>
                    <a:pt x="557" y="1339"/>
                  </a:cubicBezTo>
                  <a:cubicBezTo>
                    <a:pt x="558" y="1339"/>
                    <a:pt x="558" y="1338"/>
                    <a:pt x="558" y="1337"/>
                  </a:cubicBezTo>
                  <a:cubicBezTo>
                    <a:pt x="557" y="1337"/>
                    <a:pt x="557" y="1337"/>
                    <a:pt x="557" y="1336"/>
                  </a:cubicBezTo>
                  <a:cubicBezTo>
                    <a:pt x="557" y="1336"/>
                    <a:pt x="557" y="1336"/>
                    <a:pt x="557" y="1336"/>
                  </a:cubicBezTo>
                  <a:cubicBezTo>
                    <a:pt x="557" y="1334"/>
                    <a:pt x="557" y="1333"/>
                    <a:pt x="556" y="1332"/>
                  </a:cubicBezTo>
                  <a:cubicBezTo>
                    <a:pt x="555" y="1332"/>
                    <a:pt x="555" y="1332"/>
                    <a:pt x="554" y="1331"/>
                  </a:cubicBezTo>
                  <a:cubicBezTo>
                    <a:pt x="554" y="1331"/>
                    <a:pt x="553" y="1330"/>
                    <a:pt x="553" y="1329"/>
                  </a:cubicBezTo>
                  <a:cubicBezTo>
                    <a:pt x="553" y="1329"/>
                    <a:pt x="553" y="1329"/>
                    <a:pt x="553" y="1329"/>
                  </a:cubicBezTo>
                  <a:cubicBezTo>
                    <a:pt x="554" y="1329"/>
                    <a:pt x="554" y="1329"/>
                    <a:pt x="555" y="1329"/>
                  </a:cubicBezTo>
                  <a:cubicBezTo>
                    <a:pt x="555" y="1329"/>
                    <a:pt x="555" y="1330"/>
                    <a:pt x="556" y="1330"/>
                  </a:cubicBezTo>
                  <a:cubicBezTo>
                    <a:pt x="557" y="1330"/>
                    <a:pt x="557" y="1330"/>
                    <a:pt x="558" y="1329"/>
                  </a:cubicBezTo>
                  <a:cubicBezTo>
                    <a:pt x="558" y="1329"/>
                    <a:pt x="558" y="1329"/>
                    <a:pt x="558" y="1329"/>
                  </a:cubicBezTo>
                  <a:cubicBezTo>
                    <a:pt x="558" y="1329"/>
                    <a:pt x="559" y="1329"/>
                    <a:pt x="560" y="1328"/>
                  </a:cubicBezTo>
                  <a:cubicBezTo>
                    <a:pt x="560" y="1328"/>
                    <a:pt x="561" y="1328"/>
                    <a:pt x="561" y="1327"/>
                  </a:cubicBezTo>
                  <a:cubicBezTo>
                    <a:pt x="562" y="1327"/>
                    <a:pt x="562" y="1327"/>
                    <a:pt x="562" y="1327"/>
                  </a:cubicBezTo>
                  <a:cubicBezTo>
                    <a:pt x="562" y="1327"/>
                    <a:pt x="562" y="1327"/>
                    <a:pt x="562" y="1327"/>
                  </a:cubicBezTo>
                  <a:cubicBezTo>
                    <a:pt x="563" y="1327"/>
                    <a:pt x="563" y="1327"/>
                    <a:pt x="563" y="1327"/>
                  </a:cubicBezTo>
                  <a:cubicBezTo>
                    <a:pt x="564" y="1327"/>
                    <a:pt x="564" y="1327"/>
                    <a:pt x="564" y="1327"/>
                  </a:cubicBezTo>
                  <a:cubicBezTo>
                    <a:pt x="565" y="1327"/>
                    <a:pt x="566" y="1327"/>
                    <a:pt x="567" y="1327"/>
                  </a:cubicBezTo>
                  <a:cubicBezTo>
                    <a:pt x="567" y="1327"/>
                    <a:pt x="568" y="1327"/>
                    <a:pt x="569" y="1326"/>
                  </a:cubicBezTo>
                  <a:cubicBezTo>
                    <a:pt x="570" y="1326"/>
                    <a:pt x="570" y="1326"/>
                    <a:pt x="571" y="1325"/>
                  </a:cubicBezTo>
                  <a:cubicBezTo>
                    <a:pt x="571" y="1325"/>
                    <a:pt x="571" y="1325"/>
                    <a:pt x="571" y="1325"/>
                  </a:cubicBezTo>
                  <a:cubicBezTo>
                    <a:pt x="572" y="1325"/>
                    <a:pt x="572" y="1324"/>
                    <a:pt x="572" y="1324"/>
                  </a:cubicBezTo>
                  <a:cubicBezTo>
                    <a:pt x="573" y="1324"/>
                    <a:pt x="573" y="1324"/>
                    <a:pt x="573" y="1324"/>
                  </a:cubicBezTo>
                  <a:cubicBezTo>
                    <a:pt x="573" y="1323"/>
                    <a:pt x="574" y="1323"/>
                    <a:pt x="574" y="1323"/>
                  </a:cubicBezTo>
                  <a:cubicBezTo>
                    <a:pt x="574" y="1323"/>
                    <a:pt x="574" y="1323"/>
                    <a:pt x="574" y="1323"/>
                  </a:cubicBezTo>
                  <a:cubicBezTo>
                    <a:pt x="576" y="1322"/>
                    <a:pt x="577" y="1322"/>
                    <a:pt x="578" y="1321"/>
                  </a:cubicBezTo>
                  <a:cubicBezTo>
                    <a:pt x="579" y="1320"/>
                    <a:pt x="579" y="1320"/>
                    <a:pt x="579" y="1319"/>
                  </a:cubicBezTo>
                  <a:cubicBezTo>
                    <a:pt x="579" y="1319"/>
                    <a:pt x="580" y="1319"/>
                    <a:pt x="580" y="1318"/>
                  </a:cubicBezTo>
                  <a:cubicBezTo>
                    <a:pt x="580" y="1318"/>
                    <a:pt x="581" y="1318"/>
                    <a:pt x="581" y="1318"/>
                  </a:cubicBezTo>
                  <a:cubicBezTo>
                    <a:pt x="581" y="1317"/>
                    <a:pt x="581" y="1316"/>
                    <a:pt x="582" y="1316"/>
                  </a:cubicBezTo>
                  <a:cubicBezTo>
                    <a:pt x="582" y="1315"/>
                    <a:pt x="582" y="1314"/>
                    <a:pt x="582" y="1313"/>
                  </a:cubicBezTo>
                  <a:cubicBezTo>
                    <a:pt x="582" y="1313"/>
                    <a:pt x="582" y="1312"/>
                    <a:pt x="582" y="1312"/>
                  </a:cubicBezTo>
                  <a:cubicBezTo>
                    <a:pt x="582" y="1311"/>
                    <a:pt x="582" y="1311"/>
                    <a:pt x="582" y="1311"/>
                  </a:cubicBezTo>
                  <a:cubicBezTo>
                    <a:pt x="582" y="1311"/>
                    <a:pt x="582" y="1311"/>
                    <a:pt x="582" y="1311"/>
                  </a:cubicBezTo>
                  <a:cubicBezTo>
                    <a:pt x="582" y="1311"/>
                    <a:pt x="582" y="1310"/>
                    <a:pt x="582" y="1309"/>
                  </a:cubicBezTo>
                  <a:cubicBezTo>
                    <a:pt x="582" y="1309"/>
                    <a:pt x="582" y="1309"/>
                    <a:pt x="582" y="1309"/>
                  </a:cubicBezTo>
                  <a:cubicBezTo>
                    <a:pt x="582" y="1308"/>
                    <a:pt x="583" y="1307"/>
                    <a:pt x="583" y="1306"/>
                  </a:cubicBezTo>
                  <a:cubicBezTo>
                    <a:pt x="583" y="1305"/>
                    <a:pt x="584" y="1304"/>
                    <a:pt x="584" y="1303"/>
                  </a:cubicBezTo>
                  <a:cubicBezTo>
                    <a:pt x="584" y="1302"/>
                    <a:pt x="584" y="1300"/>
                    <a:pt x="582" y="1299"/>
                  </a:cubicBezTo>
                  <a:cubicBezTo>
                    <a:pt x="582" y="1298"/>
                    <a:pt x="582" y="1298"/>
                    <a:pt x="581" y="1297"/>
                  </a:cubicBezTo>
                  <a:cubicBezTo>
                    <a:pt x="581" y="1297"/>
                    <a:pt x="581" y="1297"/>
                    <a:pt x="581" y="1297"/>
                  </a:cubicBezTo>
                  <a:cubicBezTo>
                    <a:pt x="581" y="1296"/>
                    <a:pt x="581" y="1294"/>
                    <a:pt x="580" y="1293"/>
                  </a:cubicBezTo>
                  <a:cubicBezTo>
                    <a:pt x="578" y="1293"/>
                    <a:pt x="577" y="1294"/>
                    <a:pt x="577" y="1294"/>
                  </a:cubicBezTo>
                  <a:cubicBezTo>
                    <a:pt x="577" y="1294"/>
                    <a:pt x="577" y="1294"/>
                    <a:pt x="577" y="1294"/>
                  </a:cubicBezTo>
                  <a:cubicBezTo>
                    <a:pt x="577" y="1294"/>
                    <a:pt x="577" y="1294"/>
                    <a:pt x="577" y="1294"/>
                  </a:cubicBezTo>
                  <a:cubicBezTo>
                    <a:pt x="576" y="1294"/>
                    <a:pt x="576" y="1294"/>
                    <a:pt x="576" y="1294"/>
                  </a:cubicBezTo>
                  <a:cubicBezTo>
                    <a:pt x="576" y="1293"/>
                    <a:pt x="575" y="1292"/>
                    <a:pt x="574" y="1291"/>
                  </a:cubicBezTo>
                  <a:cubicBezTo>
                    <a:pt x="574" y="1291"/>
                    <a:pt x="574" y="1291"/>
                    <a:pt x="574" y="1291"/>
                  </a:cubicBezTo>
                  <a:cubicBezTo>
                    <a:pt x="574" y="1290"/>
                    <a:pt x="574" y="1290"/>
                    <a:pt x="573" y="1290"/>
                  </a:cubicBezTo>
                  <a:cubicBezTo>
                    <a:pt x="573" y="1290"/>
                    <a:pt x="573" y="1290"/>
                    <a:pt x="574" y="1289"/>
                  </a:cubicBezTo>
                  <a:cubicBezTo>
                    <a:pt x="574" y="1289"/>
                    <a:pt x="574" y="1289"/>
                    <a:pt x="574" y="1289"/>
                  </a:cubicBezTo>
                  <a:cubicBezTo>
                    <a:pt x="574" y="1288"/>
                    <a:pt x="574" y="1288"/>
                    <a:pt x="574" y="1287"/>
                  </a:cubicBezTo>
                  <a:cubicBezTo>
                    <a:pt x="574" y="1286"/>
                    <a:pt x="574" y="1285"/>
                    <a:pt x="573" y="1285"/>
                  </a:cubicBezTo>
                  <a:cubicBezTo>
                    <a:pt x="572" y="1284"/>
                    <a:pt x="571" y="1283"/>
                    <a:pt x="571" y="1282"/>
                  </a:cubicBezTo>
                  <a:cubicBezTo>
                    <a:pt x="570" y="1281"/>
                    <a:pt x="570" y="1281"/>
                    <a:pt x="570" y="1281"/>
                  </a:cubicBezTo>
                  <a:cubicBezTo>
                    <a:pt x="570" y="1281"/>
                    <a:pt x="570" y="1281"/>
                    <a:pt x="569" y="1280"/>
                  </a:cubicBezTo>
                  <a:cubicBezTo>
                    <a:pt x="569" y="1280"/>
                    <a:pt x="568" y="1280"/>
                    <a:pt x="568" y="1279"/>
                  </a:cubicBezTo>
                  <a:cubicBezTo>
                    <a:pt x="567" y="1279"/>
                    <a:pt x="567" y="1279"/>
                    <a:pt x="567" y="1279"/>
                  </a:cubicBezTo>
                  <a:cubicBezTo>
                    <a:pt x="567" y="1279"/>
                    <a:pt x="566" y="1279"/>
                    <a:pt x="565" y="1278"/>
                  </a:cubicBezTo>
                  <a:cubicBezTo>
                    <a:pt x="565" y="1278"/>
                    <a:pt x="565" y="1278"/>
                    <a:pt x="565" y="1278"/>
                  </a:cubicBezTo>
                  <a:cubicBezTo>
                    <a:pt x="565" y="1278"/>
                    <a:pt x="565" y="1278"/>
                    <a:pt x="565" y="1278"/>
                  </a:cubicBezTo>
                  <a:cubicBezTo>
                    <a:pt x="566" y="1278"/>
                    <a:pt x="566" y="1278"/>
                    <a:pt x="566" y="1278"/>
                  </a:cubicBezTo>
                  <a:cubicBezTo>
                    <a:pt x="567" y="1278"/>
                    <a:pt x="568" y="1278"/>
                    <a:pt x="569" y="1278"/>
                  </a:cubicBezTo>
                  <a:cubicBezTo>
                    <a:pt x="570" y="1279"/>
                    <a:pt x="570" y="1279"/>
                    <a:pt x="571" y="1279"/>
                  </a:cubicBezTo>
                  <a:cubicBezTo>
                    <a:pt x="571" y="1280"/>
                    <a:pt x="571" y="1280"/>
                    <a:pt x="572" y="1280"/>
                  </a:cubicBezTo>
                  <a:cubicBezTo>
                    <a:pt x="572" y="1281"/>
                    <a:pt x="573" y="1281"/>
                    <a:pt x="574" y="1282"/>
                  </a:cubicBezTo>
                  <a:cubicBezTo>
                    <a:pt x="575" y="1282"/>
                    <a:pt x="576" y="1282"/>
                    <a:pt x="577" y="1282"/>
                  </a:cubicBezTo>
                  <a:cubicBezTo>
                    <a:pt x="577" y="1282"/>
                    <a:pt x="578" y="1282"/>
                    <a:pt x="579" y="1282"/>
                  </a:cubicBezTo>
                  <a:cubicBezTo>
                    <a:pt x="579" y="1282"/>
                    <a:pt x="579" y="1282"/>
                    <a:pt x="580" y="1281"/>
                  </a:cubicBezTo>
                  <a:cubicBezTo>
                    <a:pt x="580" y="1281"/>
                    <a:pt x="580" y="1281"/>
                    <a:pt x="580" y="1281"/>
                  </a:cubicBezTo>
                  <a:cubicBezTo>
                    <a:pt x="581" y="1281"/>
                    <a:pt x="581" y="1281"/>
                    <a:pt x="582" y="1281"/>
                  </a:cubicBezTo>
                  <a:cubicBezTo>
                    <a:pt x="582" y="1281"/>
                    <a:pt x="583" y="1281"/>
                    <a:pt x="584" y="1281"/>
                  </a:cubicBezTo>
                  <a:cubicBezTo>
                    <a:pt x="585" y="1281"/>
                    <a:pt x="585" y="1281"/>
                    <a:pt x="586" y="1281"/>
                  </a:cubicBezTo>
                  <a:cubicBezTo>
                    <a:pt x="587" y="1281"/>
                    <a:pt x="588" y="1281"/>
                    <a:pt x="589" y="1281"/>
                  </a:cubicBezTo>
                  <a:cubicBezTo>
                    <a:pt x="590" y="1280"/>
                    <a:pt x="590" y="1280"/>
                    <a:pt x="591" y="1279"/>
                  </a:cubicBezTo>
                  <a:cubicBezTo>
                    <a:pt x="590" y="1278"/>
                    <a:pt x="590" y="1278"/>
                    <a:pt x="590" y="1278"/>
                  </a:cubicBezTo>
                  <a:cubicBezTo>
                    <a:pt x="590" y="1278"/>
                    <a:pt x="590" y="1278"/>
                    <a:pt x="590" y="1278"/>
                  </a:cubicBezTo>
                  <a:cubicBezTo>
                    <a:pt x="591" y="1279"/>
                    <a:pt x="591" y="1279"/>
                    <a:pt x="591" y="1279"/>
                  </a:cubicBezTo>
                  <a:cubicBezTo>
                    <a:pt x="591" y="1278"/>
                    <a:pt x="592" y="1278"/>
                    <a:pt x="593" y="1277"/>
                  </a:cubicBezTo>
                  <a:cubicBezTo>
                    <a:pt x="593" y="1277"/>
                    <a:pt x="594" y="1276"/>
                    <a:pt x="594" y="1275"/>
                  </a:cubicBezTo>
                  <a:cubicBezTo>
                    <a:pt x="595" y="1274"/>
                    <a:pt x="595" y="1273"/>
                    <a:pt x="595" y="1273"/>
                  </a:cubicBezTo>
                  <a:cubicBezTo>
                    <a:pt x="595" y="1272"/>
                    <a:pt x="595" y="1272"/>
                    <a:pt x="595" y="1272"/>
                  </a:cubicBezTo>
                  <a:cubicBezTo>
                    <a:pt x="595" y="1272"/>
                    <a:pt x="595" y="1271"/>
                    <a:pt x="595" y="1270"/>
                  </a:cubicBezTo>
                  <a:cubicBezTo>
                    <a:pt x="595" y="1270"/>
                    <a:pt x="595" y="1270"/>
                    <a:pt x="595" y="1270"/>
                  </a:cubicBezTo>
                  <a:cubicBezTo>
                    <a:pt x="595" y="1269"/>
                    <a:pt x="595" y="1269"/>
                    <a:pt x="596" y="1269"/>
                  </a:cubicBezTo>
                  <a:cubicBezTo>
                    <a:pt x="596" y="1268"/>
                    <a:pt x="596" y="1268"/>
                    <a:pt x="596" y="1267"/>
                  </a:cubicBezTo>
                  <a:cubicBezTo>
                    <a:pt x="596" y="1267"/>
                    <a:pt x="596" y="1266"/>
                    <a:pt x="596" y="1266"/>
                  </a:cubicBezTo>
                  <a:cubicBezTo>
                    <a:pt x="596" y="1266"/>
                    <a:pt x="597" y="1265"/>
                    <a:pt x="597" y="1265"/>
                  </a:cubicBezTo>
                  <a:cubicBezTo>
                    <a:pt x="597" y="1265"/>
                    <a:pt x="597" y="1265"/>
                    <a:pt x="597" y="1264"/>
                  </a:cubicBezTo>
                  <a:cubicBezTo>
                    <a:pt x="598" y="1264"/>
                    <a:pt x="598" y="1264"/>
                    <a:pt x="598" y="1263"/>
                  </a:cubicBezTo>
                  <a:cubicBezTo>
                    <a:pt x="599" y="1262"/>
                    <a:pt x="599" y="1262"/>
                    <a:pt x="599" y="1261"/>
                  </a:cubicBezTo>
                  <a:cubicBezTo>
                    <a:pt x="600" y="1259"/>
                    <a:pt x="600" y="1258"/>
                    <a:pt x="600" y="1256"/>
                  </a:cubicBezTo>
                  <a:cubicBezTo>
                    <a:pt x="600" y="1255"/>
                    <a:pt x="599" y="1254"/>
                    <a:pt x="599" y="1253"/>
                  </a:cubicBezTo>
                  <a:cubicBezTo>
                    <a:pt x="600" y="1252"/>
                    <a:pt x="600" y="1252"/>
                    <a:pt x="600" y="1252"/>
                  </a:cubicBezTo>
                  <a:cubicBezTo>
                    <a:pt x="600" y="1252"/>
                    <a:pt x="600" y="1251"/>
                    <a:pt x="600" y="1251"/>
                  </a:cubicBezTo>
                  <a:cubicBezTo>
                    <a:pt x="599" y="1250"/>
                    <a:pt x="599" y="1250"/>
                    <a:pt x="599" y="1249"/>
                  </a:cubicBezTo>
                  <a:cubicBezTo>
                    <a:pt x="599" y="1249"/>
                    <a:pt x="599" y="1248"/>
                    <a:pt x="599" y="1248"/>
                  </a:cubicBezTo>
                  <a:cubicBezTo>
                    <a:pt x="600" y="1247"/>
                    <a:pt x="600" y="1247"/>
                    <a:pt x="600" y="1246"/>
                  </a:cubicBezTo>
                  <a:cubicBezTo>
                    <a:pt x="600" y="1246"/>
                    <a:pt x="600" y="1246"/>
                    <a:pt x="600" y="1246"/>
                  </a:cubicBezTo>
                  <a:cubicBezTo>
                    <a:pt x="601" y="1246"/>
                    <a:pt x="601" y="1246"/>
                    <a:pt x="601" y="1245"/>
                  </a:cubicBezTo>
                  <a:cubicBezTo>
                    <a:pt x="601" y="1245"/>
                    <a:pt x="601" y="1245"/>
                    <a:pt x="601" y="1245"/>
                  </a:cubicBezTo>
                  <a:cubicBezTo>
                    <a:pt x="602" y="1244"/>
                    <a:pt x="602" y="1244"/>
                    <a:pt x="603" y="1243"/>
                  </a:cubicBezTo>
                  <a:cubicBezTo>
                    <a:pt x="603" y="1243"/>
                    <a:pt x="603" y="1242"/>
                    <a:pt x="603" y="1242"/>
                  </a:cubicBezTo>
                  <a:cubicBezTo>
                    <a:pt x="603" y="1242"/>
                    <a:pt x="603" y="1242"/>
                    <a:pt x="603" y="1241"/>
                  </a:cubicBezTo>
                  <a:cubicBezTo>
                    <a:pt x="604" y="1240"/>
                    <a:pt x="604" y="1240"/>
                    <a:pt x="605" y="1239"/>
                  </a:cubicBezTo>
                  <a:cubicBezTo>
                    <a:pt x="605" y="1238"/>
                    <a:pt x="605" y="1238"/>
                    <a:pt x="605" y="1237"/>
                  </a:cubicBezTo>
                  <a:cubicBezTo>
                    <a:pt x="605" y="1236"/>
                    <a:pt x="605" y="1235"/>
                    <a:pt x="606" y="1235"/>
                  </a:cubicBezTo>
                  <a:cubicBezTo>
                    <a:pt x="604" y="1234"/>
                    <a:pt x="604" y="1234"/>
                    <a:pt x="604" y="1234"/>
                  </a:cubicBezTo>
                  <a:cubicBezTo>
                    <a:pt x="606" y="1234"/>
                    <a:pt x="606" y="1234"/>
                    <a:pt x="606" y="1234"/>
                  </a:cubicBezTo>
                  <a:cubicBezTo>
                    <a:pt x="606" y="1234"/>
                    <a:pt x="606" y="1234"/>
                    <a:pt x="606" y="1234"/>
                  </a:cubicBezTo>
                  <a:cubicBezTo>
                    <a:pt x="606" y="1234"/>
                    <a:pt x="606" y="1233"/>
                    <a:pt x="606" y="1233"/>
                  </a:cubicBezTo>
                  <a:cubicBezTo>
                    <a:pt x="606" y="1233"/>
                    <a:pt x="606" y="1233"/>
                    <a:pt x="606" y="1233"/>
                  </a:cubicBezTo>
                  <a:cubicBezTo>
                    <a:pt x="606" y="1232"/>
                    <a:pt x="607" y="1231"/>
                    <a:pt x="607" y="1230"/>
                  </a:cubicBezTo>
                  <a:cubicBezTo>
                    <a:pt x="607" y="1229"/>
                    <a:pt x="607" y="1229"/>
                    <a:pt x="607" y="1228"/>
                  </a:cubicBezTo>
                  <a:cubicBezTo>
                    <a:pt x="607" y="1227"/>
                    <a:pt x="607" y="1227"/>
                    <a:pt x="607" y="1227"/>
                  </a:cubicBezTo>
                  <a:cubicBezTo>
                    <a:pt x="607" y="1227"/>
                    <a:pt x="607" y="1226"/>
                    <a:pt x="607" y="1226"/>
                  </a:cubicBezTo>
                  <a:cubicBezTo>
                    <a:pt x="607" y="1225"/>
                    <a:pt x="607" y="1225"/>
                    <a:pt x="607" y="1224"/>
                  </a:cubicBezTo>
                  <a:cubicBezTo>
                    <a:pt x="607" y="1224"/>
                    <a:pt x="607" y="1224"/>
                    <a:pt x="607" y="1223"/>
                  </a:cubicBezTo>
                  <a:cubicBezTo>
                    <a:pt x="607" y="1223"/>
                    <a:pt x="607" y="1223"/>
                    <a:pt x="608" y="1222"/>
                  </a:cubicBezTo>
                  <a:cubicBezTo>
                    <a:pt x="608" y="1220"/>
                    <a:pt x="608" y="1220"/>
                    <a:pt x="608" y="1220"/>
                  </a:cubicBezTo>
                  <a:cubicBezTo>
                    <a:pt x="608" y="1219"/>
                    <a:pt x="608" y="1219"/>
                    <a:pt x="609" y="1217"/>
                  </a:cubicBezTo>
                  <a:cubicBezTo>
                    <a:pt x="609" y="1217"/>
                    <a:pt x="609" y="1217"/>
                    <a:pt x="609" y="1217"/>
                  </a:cubicBezTo>
                  <a:cubicBezTo>
                    <a:pt x="609" y="1216"/>
                    <a:pt x="609" y="1215"/>
                    <a:pt x="609" y="1214"/>
                  </a:cubicBezTo>
                  <a:cubicBezTo>
                    <a:pt x="609" y="1214"/>
                    <a:pt x="610" y="1214"/>
                    <a:pt x="610" y="1214"/>
                  </a:cubicBezTo>
                  <a:cubicBezTo>
                    <a:pt x="610" y="1213"/>
                    <a:pt x="610" y="1213"/>
                    <a:pt x="610" y="1213"/>
                  </a:cubicBezTo>
                  <a:cubicBezTo>
                    <a:pt x="610" y="1213"/>
                    <a:pt x="610" y="1213"/>
                    <a:pt x="610" y="1212"/>
                  </a:cubicBezTo>
                  <a:cubicBezTo>
                    <a:pt x="610" y="1212"/>
                    <a:pt x="610" y="1212"/>
                    <a:pt x="610" y="1211"/>
                  </a:cubicBezTo>
                  <a:cubicBezTo>
                    <a:pt x="611" y="1211"/>
                    <a:pt x="611" y="1211"/>
                    <a:pt x="611" y="1211"/>
                  </a:cubicBezTo>
                  <a:cubicBezTo>
                    <a:pt x="611" y="1211"/>
                    <a:pt x="611" y="1210"/>
                    <a:pt x="611" y="1210"/>
                  </a:cubicBezTo>
                  <a:cubicBezTo>
                    <a:pt x="611" y="1210"/>
                    <a:pt x="611" y="1210"/>
                    <a:pt x="612" y="1210"/>
                  </a:cubicBezTo>
                  <a:cubicBezTo>
                    <a:pt x="612" y="1210"/>
                    <a:pt x="612" y="1209"/>
                    <a:pt x="612" y="1209"/>
                  </a:cubicBezTo>
                  <a:cubicBezTo>
                    <a:pt x="612" y="1209"/>
                    <a:pt x="613" y="1208"/>
                    <a:pt x="613" y="1207"/>
                  </a:cubicBezTo>
                  <a:cubicBezTo>
                    <a:pt x="613" y="1206"/>
                    <a:pt x="613" y="1206"/>
                    <a:pt x="613" y="1205"/>
                  </a:cubicBezTo>
                  <a:cubicBezTo>
                    <a:pt x="613" y="1205"/>
                    <a:pt x="613" y="1205"/>
                    <a:pt x="613" y="1204"/>
                  </a:cubicBezTo>
                  <a:cubicBezTo>
                    <a:pt x="613" y="1204"/>
                    <a:pt x="613" y="1203"/>
                    <a:pt x="613" y="1202"/>
                  </a:cubicBezTo>
                  <a:cubicBezTo>
                    <a:pt x="613" y="1201"/>
                    <a:pt x="612" y="1200"/>
                    <a:pt x="612" y="1200"/>
                  </a:cubicBezTo>
                  <a:cubicBezTo>
                    <a:pt x="611" y="1199"/>
                    <a:pt x="611" y="1199"/>
                    <a:pt x="611" y="1199"/>
                  </a:cubicBezTo>
                  <a:cubicBezTo>
                    <a:pt x="611" y="1199"/>
                    <a:pt x="611" y="1199"/>
                    <a:pt x="611" y="1199"/>
                  </a:cubicBezTo>
                  <a:cubicBezTo>
                    <a:pt x="611" y="1199"/>
                    <a:pt x="611" y="1199"/>
                    <a:pt x="611" y="1198"/>
                  </a:cubicBezTo>
                  <a:cubicBezTo>
                    <a:pt x="611" y="1198"/>
                    <a:pt x="610" y="1197"/>
                    <a:pt x="610" y="1197"/>
                  </a:cubicBezTo>
                  <a:cubicBezTo>
                    <a:pt x="610" y="1196"/>
                    <a:pt x="610" y="1196"/>
                    <a:pt x="610" y="1196"/>
                  </a:cubicBezTo>
                  <a:cubicBezTo>
                    <a:pt x="610" y="1195"/>
                    <a:pt x="610" y="1195"/>
                    <a:pt x="610" y="1195"/>
                  </a:cubicBezTo>
                  <a:cubicBezTo>
                    <a:pt x="611" y="1194"/>
                    <a:pt x="611" y="1193"/>
                    <a:pt x="610" y="1191"/>
                  </a:cubicBezTo>
                  <a:cubicBezTo>
                    <a:pt x="609" y="1191"/>
                    <a:pt x="609" y="1191"/>
                    <a:pt x="609" y="1191"/>
                  </a:cubicBezTo>
                  <a:cubicBezTo>
                    <a:pt x="609" y="1191"/>
                    <a:pt x="609" y="1191"/>
                    <a:pt x="609" y="1191"/>
                  </a:cubicBezTo>
                  <a:cubicBezTo>
                    <a:pt x="609" y="1191"/>
                    <a:pt x="609" y="1190"/>
                    <a:pt x="609" y="1190"/>
                  </a:cubicBezTo>
                  <a:cubicBezTo>
                    <a:pt x="609" y="1190"/>
                    <a:pt x="609" y="1190"/>
                    <a:pt x="609" y="1190"/>
                  </a:cubicBezTo>
                  <a:cubicBezTo>
                    <a:pt x="609" y="1189"/>
                    <a:pt x="609" y="1189"/>
                    <a:pt x="609" y="1189"/>
                  </a:cubicBezTo>
                  <a:cubicBezTo>
                    <a:pt x="609" y="1188"/>
                    <a:pt x="610" y="1187"/>
                    <a:pt x="609" y="1186"/>
                  </a:cubicBezTo>
                  <a:cubicBezTo>
                    <a:pt x="609" y="1185"/>
                    <a:pt x="608" y="1185"/>
                    <a:pt x="607" y="1184"/>
                  </a:cubicBezTo>
                  <a:cubicBezTo>
                    <a:pt x="607" y="1184"/>
                    <a:pt x="607" y="1184"/>
                    <a:pt x="607" y="1184"/>
                  </a:cubicBezTo>
                  <a:cubicBezTo>
                    <a:pt x="607" y="1183"/>
                    <a:pt x="607" y="1183"/>
                    <a:pt x="607" y="1183"/>
                  </a:cubicBezTo>
                  <a:cubicBezTo>
                    <a:pt x="607" y="1182"/>
                    <a:pt x="607" y="1181"/>
                    <a:pt x="607" y="1180"/>
                  </a:cubicBezTo>
                  <a:cubicBezTo>
                    <a:pt x="607" y="1180"/>
                    <a:pt x="607" y="1180"/>
                    <a:pt x="607" y="1180"/>
                  </a:cubicBezTo>
                  <a:cubicBezTo>
                    <a:pt x="607" y="1180"/>
                    <a:pt x="607" y="1180"/>
                    <a:pt x="607" y="1179"/>
                  </a:cubicBezTo>
                  <a:cubicBezTo>
                    <a:pt x="606" y="1179"/>
                    <a:pt x="606" y="1179"/>
                    <a:pt x="606" y="1179"/>
                  </a:cubicBezTo>
                  <a:cubicBezTo>
                    <a:pt x="606" y="1179"/>
                    <a:pt x="607" y="1179"/>
                    <a:pt x="607" y="1178"/>
                  </a:cubicBezTo>
                  <a:cubicBezTo>
                    <a:pt x="607" y="1178"/>
                    <a:pt x="607" y="1177"/>
                    <a:pt x="607" y="1176"/>
                  </a:cubicBezTo>
                  <a:cubicBezTo>
                    <a:pt x="607" y="1176"/>
                    <a:pt x="608" y="1175"/>
                    <a:pt x="608" y="1174"/>
                  </a:cubicBezTo>
                  <a:cubicBezTo>
                    <a:pt x="609" y="1174"/>
                    <a:pt x="609" y="1173"/>
                    <a:pt x="609" y="1172"/>
                  </a:cubicBezTo>
                  <a:cubicBezTo>
                    <a:pt x="609" y="1172"/>
                    <a:pt x="609" y="1172"/>
                    <a:pt x="609" y="1172"/>
                  </a:cubicBezTo>
                  <a:cubicBezTo>
                    <a:pt x="609" y="1171"/>
                    <a:pt x="609" y="1171"/>
                    <a:pt x="609" y="1171"/>
                  </a:cubicBezTo>
                  <a:cubicBezTo>
                    <a:pt x="609" y="1170"/>
                    <a:pt x="609" y="1170"/>
                    <a:pt x="609" y="1170"/>
                  </a:cubicBezTo>
                  <a:cubicBezTo>
                    <a:pt x="609" y="1170"/>
                    <a:pt x="609" y="1170"/>
                    <a:pt x="610" y="1169"/>
                  </a:cubicBezTo>
                  <a:cubicBezTo>
                    <a:pt x="610" y="1170"/>
                    <a:pt x="611" y="1169"/>
                    <a:pt x="611" y="1169"/>
                  </a:cubicBezTo>
                  <a:cubicBezTo>
                    <a:pt x="612" y="1168"/>
                    <a:pt x="612" y="1168"/>
                    <a:pt x="612" y="1168"/>
                  </a:cubicBezTo>
                  <a:cubicBezTo>
                    <a:pt x="612" y="1167"/>
                    <a:pt x="612" y="1167"/>
                    <a:pt x="612" y="1167"/>
                  </a:cubicBezTo>
                  <a:cubicBezTo>
                    <a:pt x="613" y="1167"/>
                    <a:pt x="613" y="1166"/>
                    <a:pt x="613" y="1166"/>
                  </a:cubicBezTo>
                  <a:cubicBezTo>
                    <a:pt x="613" y="1166"/>
                    <a:pt x="613" y="1166"/>
                    <a:pt x="613" y="1165"/>
                  </a:cubicBezTo>
                  <a:cubicBezTo>
                    <a:pt x="614" y="1165"/>
                    <a:pt x="614" y="1165"/>
                    <a:pt x="614" y="1165"/>
                  </a:cubicBezTo>
                  <a:cubicBezTo>
                    <a:pt x="614" y="1165"/>
                    <a:pt x="614" y="1164"/>
                    <a:pt x="614" y="1164"/>
                  </a:cubicBezTo>
                  <a:cubicBezTo>
                    <a:pt x="614" y="1164"/>
                    <a:pt x="615" y="1164"/>
                    <a:pt x="615" y="1163"/>
                  </a:cubicBezTo>
                  <a:cubicBezTo>
                    <a:pt x="615" y="1163"/>
                    <a:pt x="615" y="1163"/>
                    <a:pt x="615" y="1163"/>
                  </a:cubicBezTo>
                  <a:cubicBezTo>
                    <a:pt x="616" y="1163"/>
                    <a:pt x="616" y="1162"/>
                    <a:pt x="616" y="1162"/>
                  </a:cubicBezTo>
                  <a:cubicBezTo>
                    <a:pt x="616" y="1162"/>
                    <a:pt x="617" y="1161"/>
                    <a:pt x="617" y="1161"/>
                  </a:cubicBezTo>
                  <a:cubicBezTo>
                    <a:pt x="616" y="1160"/>
                    <a:pt x="616" y="1160"/>
                    <a:pt x="616" y="1160"/>
                  </a:cubicBezTo>
                  <a:cubicBezTo>
                    <a:pt x="616" y="1161"/>
                    <a:pt x="616" y="1161"/>
                    <a:pt x="616" y="1161"/>
                  </a:cubicBezTo>
                  <a:cubicBezTo>
                    <a:pt x="617" y="1162"/>
                    <a:pt x="618" y="1162"/>
                    <a:pt x="619" y="1161"/>
                  </a:cubicBezTo>
                  <a:cubicBezTo>
                    <a:pt x="619" y="1161"/>
                    <a:pt x="619" y="1160"/>
                    <a:pt x="620" y="1160"/>
                  </a:cubicBezTo>
                  <a:cubicBezTo>
                    <a:pt x="620" y="1159"/>
                    <a:pt x="621" y="1159"/>
                    <a:pt x="621" y="1158"/>
                  </a:cubicBezTo>
                  <a:cubicBezTo>
                    <a:pt x="622" y="1158"/>
                    <a:pt x="622" y="1158"/>
                    <a:pt x="623" y="1158"/>
                  </a:cubicBezTo>
                  <a:cubicBezTo>
                    <a:pt x="624" y="1158"/>
                    <a:pt x="625" y="1158"/>
                    <a:pt x="626" y="1156"/>
                  </a:cubicBezTo>
                  <a:cubicBezTo>
                    <a:pt x="626" y="1156"/>
                    <a:pt x="626" y="1156"/>
                    <a:pt x="626" y="1155"/>
                  </a:cubicBezTo>
                  <a:cubicBezTo>
                    <a:pt x="626" y="1155"/>
                    <a:pt x="626" y="1155"/>
                    <a:pt x="626" y="1155"/>
                  </a:cubicBezTo>
                  <a:cubicBezTo>
                    <a:pt x="627" y="1155"/>
                    <a:pt x="627" y="1155"/>
                    <a:pt x="627" y="1154"/>
                  </a:cubicBezTo>
                  <a:cubicBezTo>
                    <a:pt x="628" y="1154"/>
                    <a:pt x="628" y="1154"/>
                    <a:pt x="628" y="1154"/>
                  </a:cubicBezTo>
                  <a:cubicBezTo>
                    <a:pt x="629" y="1153"/>
                    <a:pt x="629" y="1152"/>
                    <a:pt x="629" y="1152"/>
                  </a:cubicBezTo>
                  <a:cubicBezTo>
                    <a:pt x="630" y="1152"/>
                    <a:pt x="630" y="1152"/>
                    <a:pt x="630" y="1152"/>
                  </a:cubicBezTo>
                  <a:cubicBezTo>
                    <a:pt x="630" y="1152"/>
                    <a:pt x="630" y="1151"/>
                    <a:pt x="631" y="1151"/>
                  </a:cubicBezTo>
                  <a:cubicBezTo>
                    <a:pt x="631" y="1150"/>
                    <a:pt x="631" y="1150"/>
                    <a:pt x="631" y="1149"/>
                  </a:cubicBezTo>
                  <a:cubicBezTo>
                    <a:pt x="631" y="1149"/>
                    <a:pt x="631" y="1149"/>
                    <a:pt x="631" y="1149"/>
                  </a:cubicBezTo>
                  <a:cubicBezTo>
                    <a:pt x="631" y="1149"/>
                    <a:pt x="631" y="1149"/>
                    <a:pt x="631" y="1149"/>
                  </a:cubicBezTo>
                  <a:cubicBezTo>
                    <a:pt x="632" y="1149"/>
                    <a:pt x="632" y="1149"/>
                    <a:pt x="632" y="1149"/>
                  </a:cubicBezTo>
                  <a:cubicBezTo>
                    <a:pt x="633" y="1149"/>
                    <a:pt x="633" y="1149"/>
                    <a:pt x="633" y="1149"/>
                  </a:cubicBezTo>
                  <a:cubicBezTo>
                    <a:pt x="632" y="1150"/>
                    <a:pt x="632" y="1150"/>
                    <a:pt x="632" y="1150"/>
                  </a:cubicBezTo>
                  <a:cubicBezTo>
                    <a:pt x="635" y="1150"/>
                    <a:pt x="635" y="1150"/>
                    <a:pt x="635" y="1150"/>
                  </a:cubicBezTo>
                  <a:cubicBezTo>
                    <a:pt x="635" y="1150"/>
                    <a:pt x="636" y="1150"/>
                    <a:pt x="636" y="1150"/>
                  </a:cubicBezTo>
                  <a:cubicBezTo>
                    <a:pt x="638" y="1150"/>
                    <a:pt x="639" y="1149"/>
                    <a:pt x="641" y="1148"/>
                  </a:cubicBezTo>
                  <a:cubicBezTo>
                    <a:pt x="641" y="1147"/>
                    <a:pt x="641" y="1147"/>
                    <a:pt x="641" y="1147"/>
                  </a:cubicBezTo>
                  <a:cubicBezTo>
                    <a:pt x="642" y="1147"/>
                    <a:pt x="643" y="1146"/>
                    <a:pt x="644" y="1146"/>
                  </a:cubicBezTo>
                  <a:cubicBezTo>
                    <a:pt x="644" y="1146"/>
                    <a:pt x="645" y="1146"/>
                    <a:pt x="645" y="1146"/>
                  </a:cubicBezTo>
                  <a:cubicBezTo>
                    <a:pt x="646" y="1146"/>
                    <a:pt x="647" y="1146"/>
                    <a:pt x="649" y="1145"/>
                  </a:cubicBezTo>
                  <a:cubicBezTo>
                    <a:pt x="651" y="1144"/>
                    <a:pt x="652" y="1142"/>
                    <a:pt x="652" y="1140"/>
                  </a:cubicBezTo>
                  <a:cubicBezTo>
                    <a:pt x="652" y="1140"/>
                    <a:pt x="652" y="1139"/>
                    <a:pt x="653" y="1139"/>
                  </a:cubicBezTo>
                  <a:cubicBezTo>
                    <a:pt x="653" y="1139"/>
                    <a:pt x="653" y="1138"/>
                    <a:pt x="654" y="1138"/>
                  </a:cubicBezTo>
                  <a:cubicBezTo>
                    <a:pt x="654" y="1138"/>
                    <a:pt x="654" y="1138"/>
                    <a:pt x="654" y="1138"/>
                  </a:cubicBezTo>
                  <a:cubicBezTo>
                    <a:pt x="655" y="1137"/>
                    <a:pt x="656" y="1136"/>
                    <a:pt x="656" y="1135"/>
                  </a:cubicBezTo>
                  <a:cubicBezTo>
                    <a:pt x="656" y="1135"/>
                    <a:pt x="656" y="1134"/>
                    <a:pt x="656" y="1134"/>
                  </a:cubicBezTo>
                  <a:cubicBezTo>
                    <a:pt x="656" y="1134"/>
                    <a:pt x="656" y="1133"/>
                    <a:pt x="656" y="1133"/>
                  </a:cubicBezTo>
                  <a:cubicBezTo>
                    <a:pt x="656" y="1133"/>
                    <a:pt x="656" y="1133"/>
                    <a:pt x="656" y="1132"/>
                  </a:cubicBezTo>
                  <a:cubicBezTo>
                    <a:pt x="656" y="1132"/>
                    <a:pt x="656" y="1132"/>
                    <a:pt x="656" y="1131"/>
                  </a:cubicBezTo>
                  <a:cubicBezTo>
                    <a:pt x="656" y="1131"/>
                    <a:pt x="656" y="1130"/>
                    <a:pt x="655" y="1130"/>
                  </a:cubicBezTo>
                  <a:cubicBezTo>
                    <a:pt x="655" y="1129"/>
                    <a:pt x="655" y="1129"/>
                    <a:pt x="654" y="1129"/>
                  </a:cubicBezTo>
                  <a:cubicBezTo>
                    <a:pt x="654" y="1129"/>
                    <a:pt x="654" y="1129"/>
                    <a:pt x="654" y="1129"/>
                  </a:cubicBezTo>
                  <a:cubicBezTo>
                    <a:pt x="654" y="1129"/>
                    <a:pt x="654" y="1129"/>
                    <a:pt x="654" y="1128"/>
                  </a:cubicBezTo>
                  <a:cubicBezTo>
                    <a:pt x="655" y="1128"/>
                    <a:pt x="655" y="1128"/>
                    <a:pt x="655" y="1128"/>
                  </a:cubicBezTo>
                  <a:cubicBezTo>
                    <a:pt x="656" y="1127"/>
                    <a:pt x="656" y="1126"/>
                    <a:pt x="656" y="1125"/>
                  </a:cubicBezTo>
                  <a:cubicBezTo>
                    <a:pt x="656" y="1125"/>
                    <a:pt x="656" y="1124"/>
                    <a:pt x="656" y="1124"/>
                  </a:cubicBezTo>
                  <a:cubicBezTo>
                    <a:pt x="656" y="1124"/>
                    <a:pt x="656" y="1123"/>
                    <a:pt x="656" y="1123"/>
                  </a:cubicBezTo>
                  <a:cubicBezTo>
                    <a:pt x="656" y="1123"/>
                    <a:pt x="656" y="1122"/>
                    <a:pt x="656" y="1122"/>
                  </a:cubicBezTo>
                  <a:cubicBezTo>
                    <a:pt x="657" y="1122"/>
                    <a:pt x="657" y="1122"/>
                    <a:pt x="657" y="1122"/>
                  </a:cubicBezTo>
                  <a:cubicBezTo>
                    <a:pt x="658" y="1121"/>
                    <a:pt x="658" y="1121"/>
                    <a:pt x="658" y="1120"/>
                  </a:cubicBezTo>
                  <a:cubicBezTo>
                    <a:pt x="658" y="1120"/>
                    <a:pt x="658" y="1119"/>
                    <a:pt x="658" y="1119"/>
                  </a:cubicBezTo>
                  <a:cubicBezTo>
                    <a:pt x="658" y="1119"/>
                    <a:pt x="658" y="1118"/>
                    <a:pt x="658" y="1118"/>
                  </a:cubicBezTo>
                  <a:cubicBezTo>
                    <a:pt x="658" y="1118"/>
                    <a:pt x="658" y="1117"/>
                    <a:pt x="658" y="1117"/>
                  </a:cubicBezTo>
                  <a:cubicBezTo>
                    <a:pt x="658" y="1117"/>
                    <a:pt x="659" y="1117"/>
                    <a:pt x="659" y="1116"/>
                  </a:cubicBezTo>
                  <a:cubicBezTo>
                    <a:pt x="659" y="1115"/>
                    <a:pt x="659" y="1114"/>
                    <a:pt x="659" y="1114"/>
                  </a:cubicBezTo>
                  <a:cubicBezTo>
                    <a:pt x="659" y="1113"/>
                    <a:pt x="659" y="1113"/>
                    <a:pt x="659" y="1113"/>
                  </a:cubicBezTo>
                  <a:cubicBezTo>
                    <a:pt x="659" y="1113"/>
                    <a:pt x="659" y="1112"/>
                    <a:pt x="659" y="1112"/>
                  </a:cubicBezTo>
                  <a:cubicBezTo>
                    <a:pt x="659" y="1112"/>
                    <a:pt x="659" y="1111"/>
                    <a:pt x="659" y="1111"/>
                  </a:cubicBezTo>
                  <a:cubicBezTo>
                    <a:pt x="659" y="1110"/>
                    <a:pt x="659" y="1110"/>
                    <a:pt x="660" y="1109"/>
                  </a:cubicBezTo>
                  <a:cubicBezTo>
                    <a:pt x="660" y="1108"/>
                    <a:pt x="660" y="1108"/>
                    <a:pt x="661" y="1107"/>
                  </a:cubicBezTo>
                  <a:cubicBezTo>
                    <a:pt x="661" y="1106"/>
                    <a:pt x="661" y="1104"/>
                    <a:pt x="661" y="1104"/>
                  </a:cubicBezTo>
                  <a:cubicBezTo>
                    <a:pt x="661" y="1103"/>
                    <a:pt x="661" y="1103"/>
                    <a:pt x="661" y="1102"/>
                  </a:cubicBezTo>
                  <a:cubicBezTo>
                    <a:pt x="661" y="1102"/>
                    <a:pt x="661" y="1102"/>
                    <a:pt x="661" y="1101"/>
                  </a:cubicBezTo>
                  <a:cubicBezTo>
                    <a:pt x="661" y="1101"/>
                    <a:pt x="661" y="1101"/>
                    <a:pt x="661" y="1101"/>
                  </a:cubicBezTo>
                  <a:cubicBezTo>
                    <a:pt x="661" y="1100"/>
                    <a:pt x="660" y="1099"/>
                    <a:pt x="660" y="1099"/>
                  </a:cubicBezTo>
                  <a:cubicBezTo>
                    <a:pt x="660" y="1098"/>
                    <a:pt x="660" y="1098"/>
                    <a:pt x="660" y="1098"/>
                  </a:cubicBezTo>
                  <a:cubicBezTo>
                    <a:pt x="660" y="1097"/>
                    <a:pt x="660" y="1096"/>
                    <a:pt x="660" y="1096"/>
                  </a:cubicBezTo>
                  <a:cubicBezTo>
                    <a:pt x="660" y="1095"/>
                    <a:pt x="660" y="1095"/>
                    <a:pt x="660" y="1094"/>
                  </a:cubicBezTo>
                  <a:cubicBezTo>
                    <a:pt x="660" y="1094"/>
                    <a:pt x="660" y="1094"/>
                    <a:pt x="660" y="1094"/>
                  </a:cubicBezTo>
                  <a:cubicBezTo>
                    <a:pt x="660" y="1094"/>
                    <a:pt x="661" y="1093"/>
                    <a:pt x="661" y="1093"/>
                  </a:cubicBezTo>
                  <a:cubicBezTo>
                    <a:pt x="661" y="1092"/>
                    <a:pt x="661" y="1092"/>
                    <a:pt x="661" y="1092"/>
                  </a:cubicBezTo>
                  <a:cubicBezTo>
                    <a:pt x="661" y="1092"/>
                    <a:pt x="661" y="1092"/>
                    <a:pt x="661" y="1092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2" y="1090"/>
                    <a:pt x="662" y="1089"/>
                    <a:pt x="662" y="1088"/>
                  </a:cubicBezTo>
                  <a:cubicBezTo>
                    <a:pt x="662" y="1087"/>
                    <a:pt x="662" y="1086"/>
                    <a:pt x="661" y="1086"/>
                  </a:cubicBezTo>
                  <a:cubicBezTo>
                    <a:pt x="661" y="1085"/>
                    <a:pt x="661" y="1085"/>
                    <a:pt x="661" y="1084"/>
                  </a:cubicBezTo>
                  <a:cubicBezTo>
                    <a:pt x="661" y="1083"/>
                    <a:pt x="661" y="1083"/>
                    <a:pt x="661" y="1083"/>
                  </a:cubicBezTo>
                  <a:cubicBezTo>
                    <a:pt x="661" y="1083"/>
                    <a:pt x="661" y="1083"/>
                    <a:pt x="661" y="1083"/>
                  </a:cubicBezTo>
                  <a:cubicBezTo>
                    <a:pt x="661" y="1082"/>
                    <a:pt x="661" y="1082"/>
                    <a:pt x="661" y="1082"/>
                  </a:cubicBezTo>
                  <a:cubicBezTo>
                    <a:pt x="661" y="1082"/>
                    <a:pt x="661" y="1082"/>
                    <a:pt x="661" y="1082"/>
                  </a:cubicBezTo>
                  <a:cubicBezTo>
                    <a:pt x="661" y="1081"/>
                    <a:pt x="661" y="1081"/>
                    <a:pt x="661" y="1081"/>
                  </a:cubicBezTo>
                  <a:cubicBezTo>
                    <a:pt x="661" y="1080"/>
                    <a:pt x="661" y="1080"/>
                    <a:pt x="661" y="1079"/>
                  </a:cubicBezTo>
                  <a:cubicBezTo>
                    <a:pt x="661" y="1078"/>
                    <a:pt x="661" y="1078"/>
                    <a:pt x="661" y="1077"/>
                  </a:cubicBezTo>
                  <a:cubicBezTo>
                    <a:pt x="661" y="1077"/>
                    <a:pt x="661" y="1077"/>
                    <a:pt x="661" y="1077"/>
                  </a:cubicBezTo>
                  <a:cubicBezTo>
                    <a:pt x="661" y="1076"/>
                    <a:pt x="661" y="1076"/>
                    <a:pt x="661" y="1076"/>
                  </a:cubicBezTo>
                  <a:cubicBezTo>
                    <a:pt x="661" y="1075"/>
                    <a:pt x="661" y="1075"/>
                    <a:pt x="662" y="1075"/>
                  </a:cubicBezTo>
                  <a:cubicBezTo>
                    <a:pt x="662" y="1074"/>
                    <a:pt x="662" y="1074"/>
                    <a:pt x="662" y="1074"/>
                  </a:cubicBezTo>
                  <a:cubicBezTo>
                    <a:pt x="662" y="1073"/>
                    <a:pt x="662" y="1073"/>
                    <a:pt x="662" y="1073"/>
                  </a:cubicBezTo>
                  <a:cubicBezTo>
                    <a:pt x="662" y="1073"/>
                    <a:pt x="662" y="1073"/>
                    <a:pt x="662" y="1073"/>
                  </a:cubicBezTo>
                  <a:cubicBezTo>
                    <a:pt x="662" y="1072"/>
                    <a:pt x="663" y="1072"/>
                    <a:pt x="663" y="1071"/>
                  </a:cubicBezTo>
                  <a:cubicBezTo>
                    <a:pt x="663" y="1070"/>
                    <a:pt x="663" y="1070"/>
                    <a:pt x="662" y="1069"/>
                  </a:cubicBezTo>
                  <a:cubicBezTo>
                    <a:pt x="662" y="1068"/>
                    <a:pt x="662" y="1068"/>
                    <a:pt x="662" y="1068"/>
                  </a:cubicBezTo>
                  <a:cubicBezTo>
                    <a:pt x="662" y="1067"/>
                    <a:pt x="662" y="1067"/>
                    <a:pt x="662" y="1066"/>
                  </a:cubicBezTo>
                  <a:cubicBezTo>
                    <a:pt x="662" y="1066"/>
                    <a:pt x="662" y="1066"/>
                    <a:pt x="662" y="1066"/>
                  </a:cubicBezTo>
                  <a:cubicBezTo>
                    <a:pt x="662" y="1065"/>
                    <a:pt x="662" y="1065"/>
                    <a:pt x="662" y="1065"/>
                  </a:cubicBezTo>
                  <a:cubicBezTo>
                    <a:pt x="662" y="1065"/>
                    <a:pt x="662" y="1065"/>
                    <a:pt x="662" y="1064"/>
                  </a:cubicBezTo>
                  <a:cubicBezTo>
                    <a:pt x="662" y="1064"/>
                    <a:pt x="662" y="1063"/>
                    <a:pt x="662" y="1063"/>
                  </a:cubicBezTo>
                  <a:cubicBezTo>
                    <a:pt x="662" y="1063"/>
                    <a:pt x="662" y="1062"/>
                    <a:pt x="661" y="1062"/>
                  </a:cubicBezTo>
                  <a:cubicBezTo>
                    <a:pt x="661" y="1061"/>
                    <a:pt x="661" y="1061"/>
                    <a:pt x="661" y="1061"/>
                  </a:cubicBezTo>
                  <a:cubicBezTo>
                    <a:pt x="660" y="1061"/>
                    <a:pt x="660" y="1061"/>
                    <a:pt x="660" y="1061"/>
                  </a:cubicBezTo>
                  <a:cubicBezTo>
                    <a:pt x="661" y="1060"/>
                    <a:pt x="661" y="1060"/>
                    <a:pt x="661" y="1060"/>
                  </a:cubicBezTo>
                  <a:cubicBezTo>
                    <a:pt x="661" y="1060"/>
                    <a:pt x="661" y="1060"/>
                    <a:pt x="661" y="1059"/>
                  </a:cubicBezTo>
                  <a:cubicBezTo>
                    <a:pt x="661" y="1059"/>
                    <a:pt x="661" y="1059"/>
                    <a:pt x="661" y="1059"/>
                  </a:cubicBezTo>
                  <a:cubicBezTo>
                    <a:pt x="661" y="1059"/>
                    <a:pt x="661" y="1058"/>
                    <a:pt x="661" y="1058"/>
                  </a:cubicBezTo>
                  <a:cubicBezTo>
                    <a:pt x="660" y="1058"/>
                    <a:pt x="660" y="1058"/>
                    <a:pt x="660" y="1058"/>
                  </a:cubicBezTo>
                  <a:cubicBezTo>
                    <a:pt x="660" y="1057"/>
                    <a:pt x="660" y="1057"/>
                    <a:pt x="660" y="1057"/>
                  </a:cubicBezTo>
                  <a:cubicBezTo>
                    <a:pt x="660" y="1056"/>
                    <a:pt x="660" y="1056"/>
                    <a:pt x="660" y="1056"/>
                  </a:cubicBezTo>
                  <a:cubicBezTo>
                    <a:pt x="660" y="1056"/>
                    <a:pt x="660" y="1055"/>
                    <a:pt x="660" y="1055"/>
                  </a:cubicBezTo>
                  <a:cubicBezTo>
                    <a:pt x="659" y="1055"/>
                    <a:pt x="660" y="1054"/>
                    <a:pt x="660" y="1054"/>
                  </a:cubicBezTo>
                  <a:cubicBezTo>
                    <a:pt x="660" y="1054"/>
                    <a:pt x="660" y="1054"/>
                    <a:pt x="660" y="1053"/>
                  </a:cubicBezTo>
                  <a:cubicBezTo>
                    <a:pt x="660" y="1053"/>
                    <a:pt x="660" y="1053"/>
                    <a:pt x="660" y="1052"/>
                  </a:cubicBezTo>
                  <a:cubicBezTo>
                    <a:pt x="660" y="1052"/>
                    <a:pt x="660" y="1051"/>
                    <a:pt x="660" y="1050"/>
                  </a:cubicBezTo>
                  <a:cubicBezTo>
                    <a:pt x="660" y="1050"/>
                    <a:pt x="660" y="1049"/>
                    <a:pt x="660" y="1049"/>
                  </a:cubicBezTo>
                  <a:cubicBezTo>
                    <a:pt x="660" y="1049"/>
                    <a:pt x="660" y="1048"/>
                    <a:pt x="660" y="1047"/>
                  </a:cubicBezTo>
                  <a:cubicBezTo>
                    <a:pt x="660" y="1047"/>
                    <a:pt x="659" y="1047"/>
                    <a:pt x="659" y="1047"/>
                  </a:cubicBezTo>
                  <a:cubicBezTo>
                    <a:pt x="659" y="1047"/>
                    <a:pt x="659" y="1046"/>
                    <a:pt x="659" y="1046"/>
                  </a:cubicBezTo>
                  <a:cubicBezTo>
                    <a:pt x="659" y="1045"/>
                    <a:pt x="659" y="1045"/>
                    <a:pt x="658" y="1044"/>
                  </a:cubicBezTo>
                  <a:cubicBezTo>
                    <a:pt x="658" y="1044"/>
                    <a:pt x="658" y="1044"/>
                    <a:pt x="658" y="1044"/>
                  </a:cubicBezTo>
                  <a:cubicBezTo>
                    <a:pt x="658" y="1043"/>
                    <a:pt x="659" y="1043"/>
                    <a:pt x="659" y="1042"/>
                  </a:cubicBezTo>
                  <a:cubicBezTo>
                    <a:pt x="659" y="1041"/>
                    <a:pt x="659" y="1041"/>
                    <a:pt x="658" y="1040"/>
                  </a:cubicBezTo>
                  <a:cubicBezTo>
                    <a:pt x="658" y="1040"/>
                    <a:pt x="658" y="1040"/>
                    <a:pt x="658" y="1040"/>
                  </a:cubicBezTo>
                  <a:cubicBezTo>
                    <a:pt x="658" y="1039"/>
                    <a:pt x="659" y="1039"/>
                    <a:pt x="659" y="1039"/>
                  </a:cubicBezTo>
                  <a:cubicBezTo>
                    <a:pt x="659" y="1038"/>
                    <a:pt x="660" y="1038"/>
                    <a:pt x="660" y="1037"/>
                  </a:cubicBezTo>
                  <a:cubicBezTo>
                    <a:pt x="660" y="1037"/>
                    <a:pt x="660" y="1038"/>
                    <a:pt x="660" y="1038"/>
                  </a:cubicBezTo>
                  <a:cubicBezTo>
                    <a:pt x="660" y="1038"/>
                    <a:pt x="660" y="1038"/>
                    <a:pt x="660" y="1038"/>
                  </a:cubicBezTo>
                  <a:cubicBezTo>
                    <a:pt x="660" y="1039"/>
                    <a:pt x="661" y="1040"/>
                    <a:pt x="662" y="1040"/>
                  </a:cubicBezTo>
                  <a:cubicBezTo>
                    <a:pt x="663" y="1040"/>
                    <a:pt x="664" y="1039"/>
                    <a:pt x="664" y="1038"/>
                  </a:cubicBezTo>
                  <a:cubicBezTo>
                    <a:pt x="664" y="1038"/>
                    <a:pt x="664" y="1038"/>
                    <a:pt x="664" y="1038"/>
                  </a:cubicBezTo>
                  <a:cubicBezTo>
                    <a:pt x="664" y="1038"/>
                    <a:pt x="664" y="1037"/>
                    <a:pt x="665" y="1037"/>
                  </a:cubicBezTo>
                  <a:cubicBezTo>
                    <a:pt x="665" y="1037"/>
                    <a:pt x="665" y="1037"/>
                    <a:pt x="665" y="1037"/>
                  </a:cubicBezTo>
                  <a:cubicBezTo>
                    <a:pt x="665" y="1036"/>
                    <a:pt x="666" y="1036"/>
                    <a:pt x="666" y="1035"/>
                  </a:cubicBezTo>
                  <a:cubicBezTo>
                    <a:pt x="667" y="1034"/>
                    <a:pt x="667" y="1033"/>
                    <a:pt x="667" y="1032"/>
                  </a:cubicBezTo>
                  <a:cubicBezTo>
                    <a:pt x="667" y="1032"/>
                    <a:pt x="667" y="1031"/>
                    <a:pt x="667" y="1031"/>
                  </a:cubicBezTo>
                  <a:cubicBezTo>
                    <a:pt x="667" y="1030"/>
                    <a:pt x="667" y="1030"/>
                    <a:pt x="668" y="1030"/>
                  </a:cubicBezTo>
                  <a:cubicBezTo>
                    <a:pt x="668" y="1029"/>
                    <a:pt x="668" y="1028"/>
                    <a:pt x="668" y="1027"/>
                  </a:cubicBezTo>
                  <a:cubicBezTo>
                    <a:pt x="668" y="1026"/>
                    <a:pt x="668" y="1025"/>
                    <a:pt x="668" y="1025"/>
                  </a:cubicBezTo>
                  <a:cubicBezTo>
                    <a:pt x="668" y="1025"/>
                    <a:pt x="669" y="1025"/>
                    <a:pt x="669" y="1024"/>
                  </a:cubicBezTo>
                  <a:cubicBezTo>
                    <a:pt x="669" y="1024"/>
                    <a:pt x="670" y="1023"/>
                    <a:pt x="670" y="1022"/>
                  </a:cubicBezTo>
                  <a:cubicBezTo>
                    <a:pt x="670" y="1022"/>
                    <a:pt x="670" y="1021"/>
                    <a:pt x="670" y="1021"/>
                  </a:cubicBezTo>
                  <a:cubicBezTo>
                    <a:pt x="670" y="1021"/>
                    <a:pt x="670" y="1020"/>
                    <a:pt x="670" y="1020"/>
                  </a:cubicBezTo>
                  <a:cubicBezTo>
                    <a:pt x="670" y="1020"/>
                    <a:pt x="670" y="1020"/>
                    <a:pt x="671" y="1020"/>
                  </a:cubicBezTo>
                  <a:cubicBezTo>
                    <a:pt x="671" y="1020"/>
                    <a:pt x="671" y="1019"/>
                    <a:pt x="671" y="1019"/>
                  </a:cubicBezTo>
                  <a:cubicBezTo>
                    <a:pt x="671" y="1019"/>
                    <a:pt x="671" y="1018"/>
                    <a:pt x="672" y="1017"/>
                  </a:cubicBezTo>
                  <a:cubicBezTo>
                    <a:pt x="672" y="1017"/>
                    <a:pt x="672" y="1017"/>
                    <a:pt x="672" y="1017"/>
                  </a:cubicBezTo>
                  <a:cubicBezTo>
                    <a:pt x="673" y="1016"/>
                    <a:pt x="674" y="1015"/>
                    <a:pt x="674" y="1015"/>
                  </a:cubicBezTo>
                  <a:cubicBezTo>
                    <a:pt x="674" y="1014"/>
                    <a:pt x="674" y="1014"/>
                    <a:pt x="674" y="1014"/>
                  </a:cubicBezTo>
                  <a:cubicBezTo>
                    <a:pt x="675" y="1014"/>
                    <a:pt x="675" y="1014"/>
                    <a:pt x="675" y="1013"/>
                  </a:cubicBezTo>
                  <a:cubicBezTo>
                    <a:pt x="676" y="1013"/>
                    <a:pt x="676" y="1013"/>
                    <a:pt x="677" y="1012"/>
                  </a:cubicBezTo>
                  <a:cubicBezTo>
                    <a:pt x="677" y="1011"/>
                    <a:pt x="678" y="1010"/>
                    <a:pt x="678" y="1009"/>
                  </a:cubicBezTo>
                  <a:cubicBezTo>
                    <a:pt x="678" y="1008"/>
                    <a:pt x="679" y="1007"/>
                    <a:pt x="679" y="1007"/>
                  </a:cubicBezTo>
                  <a:cubicBezTo>
                    <a:pt x="680" y="1006"/>
                    <a:pt x="680" y="1005"/>
                    <a:pt x="680" y="1004"/>
                  </a:cubicBezTo>
                  <a:cubicBezTo>
                    <a:pt x="681" y="1004"/>
                    <a:pt x="681" y="1004"/>
                    <a:pt x="681" y="1004"/>
                  </a:cubicBezTo>
                  <a:cubicBezTo>
                    <a:pt x="681" y="1003"/>
                    <a:pt x="681" y="1003"/>
                    <a:pt x="681" y="1003"/>
                  </a:cubicBezTo>
                  <a:cubicBezTo>
                    <a:pt x="681" y="1002"/>
                    <a:pt x="682" y="1002"/>
                    <a:pt x="682" y="1002"/>
                  </a:cubicBezTo>
                  <a:cubicBezTo>
                    <a:pt x="683" y="1001"/>
                    <a:pt x="683" y="1001"/>
                    <a:pt x="683" y="1000"/>
                  </a:cubicBezTo>
                  <a:cubicBezTo>
                    <a:pt x="683" y="1000"/>
                    <a:pt x="683" y="999"/>
                    <a:pt x="683" y="999"/>
                  </a:cubicBezTo>
                  <a:cubicBezTo>
                    <a:pt x="683" y="998"/>
                    <a:pt x="684" y="998"/>
                    <a:pt x="684" y="997"/>
                  </a:cubicBezTo>
                  <a:cubicBezTo>
                    <a:pt x="684" y="996"/>
                    <a:pt x="684" y="995"/>
                    <a:pt x="685" y="994"/>
                  </a:cubicBezTo>
                  <a:cubicBezTo>
                    <a:pt x="685" y="994"/>
                    <a:pt x="686" y="993"/>
                    <a:pt x="686" y="992"/>
                  </a:cubicBezTo>
                  <a:cubicBezTo>
                    <a:pt x="686" y="991"/>
                    <a:pt x="686" y="990"/>
                    <a:pt x="686" y="990"/>
                  </a:cubicBezTo>
                  <a:cubicBezTo>
                    <a:pt x="686" y="989"/>
                    <a:pt x="686" y="989"/>
                    <a:pt x="686" y="989"/>
                  </a:cubicBezTo>
                  <a:cubicBezTo>
                    <a:pt x="686" y="989"/>
                    <a:pt x="686" y="989"/>
                    <a:pt x="686" y="989"/>
                  </a:cubicBezTo>
                  <a:cubicBezTo>
                    <a:pt x="686" y="988"/>
                    <a:pt x="686" y="987"/>
                    <a:pt x="686" y="986"/>
                  </a:cubicBezTo>
                  <a:cubicBezTo>
                    <a:pt x="686" y="986"/>
                    <a:pt x="686" y="985"/>
                    <a:pt x="686" y="985"/>
                  </a:cubicBezTo>
                  <a:cubicBezTo>
                    <a:pt x="686" y="984"/>
                    <a:pt x="686" y="984"/>
                    <a:pt x="686" y="983"/>
                  </a:cubicBezTo>
                  <a:cubicBezTo>
                    <a:pt x="686" y="983"/>
                    <a:pt x="686" y="983"/>
                    <a:pt x="686" y="982"/>
                  </a:cubicBezTo>
                  <a:cubicBezTo>
                    <a:pt x="686" y="982"/>
                    <a:pt x="686" y="982"/>
                    <a:pt x="687" y="982"/>
                  </a:cubicBezTo>
                  <a:cubicBezTo>
                    <a:pt x="688" y="981"/>
                    <a:pt x="687" y="979"/>
                    <a:pt x="687" y="979"/>
                  </a:cubicBezTo>
                  <a:cubicBezTo>
                    <a:pt x="687" y="978"/>
                    <a:pt x="687" y="978"/>
                    <a:pt x="687" y="978"/>
                  </a:cubicBezTo>
                  <a:cubicBezTo>
                    <a:pt x="687" y="977"/>
                    <a:pt x="687" y="976"/>
                    <a:pt x="686" y="975"/>
                  </a:cubicBezTo>
                  <a:cubicBezTo>
                    <a:pt x="686" y="974"/>
                    <a:pt x="685" y="974"/>
                    <a:pt x="685" y="973"/>
                  </a:cubicBezTo>
                  <a:cubicBezTo>
                    <a:pt x="685" y="973"/>
                    <a:pt x="685" y="973"/>
                    <a:pt x="685" y="972"/>
                  </a:cubicBezTo>
                  <a:cubicBezTo>
                    <a:pt x="684" y="972"/>
                    <a:pt x="684" y="971"/>
                    <a:pt x="684" y="971"/>
                  </a:cubicBezTo>
                  <a:cubicBezTo>
                    <a:pt x="684" y="970"/>
                    <a:pt x="684" y="970"/>
                    <a:pt x="684" y="969"/>
                  </a:cubicBezTo>
                  <a:cubicBezTo>
                    <a:pt x="684" y="969"/>
                    <a:pt x="684" y="968"/>
                    <a:pt x="684" y="968"/>
                  </a:cubicBezTo>
                  <a:cubicBezTo>
                    <a:pt x="684" y="967"/>
                    <a:pt x="684" y="966"/>
                    <a:pt x="684" y="965"/>
                  </a:cubicBezTo>
                  <a:cubicBezTo>
                    <a:pt x="684" y="964"/>
                    <a:pt x="684" y="964"/>
                    <a:pt x="683" y="963"/>
                  </a:cubicBezTo>
                  <a:cubicBezTo>
                    <a:pt x="683" y="962"/>
                    <a:pt x="683" y="961"/>
                    <a:pt x="682" y="959"/>
                  </a:cubicBezTo>
                  <a:cubicBezTo>
                    <a:pt x="682" y="959"/>
                    <a:pt x="682" y="958"/>
                    <a:pt x="681" y="957"/>
                  </a:cubicBezTo>
                  <a:cubicBezTo>
                    <a:pt x="680" y="957"/>
                    <a:pt x="680" y="957"/>
                    <a:pt x="680" y="957"/>
                  </a:cubicBezTo>
                  <a:cubicBezTo>
                    <a:pt x="680" y="956"/>
                    <a:pt x="679" y="955"/>
                    <a:pt x="678" y="955"/>
                  </a:cubicBezTo>
                  <a:cubicBezTo>
                    <a:pt x="677" y="955"/>
                    <a:pt x="677" y="954"/>
                    <a:pt x="676" y="954"/>
                  </a:cubicBezTo>
                  <a:cubicBezTo>
                    <a:pt x="675" y="955"/>
                    <a:pt x="675" y="955"/>
                    <a:pt x="675" y="955"/>
                  </a:cubicBezTo>
                  <a:cubicBezTo>
                    <a:pt x="675" y="954"/>
                    <a:pt x="674" y="954"/>
                    <a:pt x="674" y="954"/>
                  </a:cubicBezTo>
                  <a:cubicBezTo>
                    <a:pt x="674" y="954"/>
                    <a:pt x="674" y="954"/>
                    <a:pt x="674" y="954"/>
                  </a:cubicBezTo>
                  <a:cubicBezTo>
                    <a:pt x="673" y="954"/>
                    <a:pt x="673" y="954"/>
                    <a:pt x="672" y="954"/>
                  </a:cubicBezTo>
                  <a:cubicBezTo>
                    <a:pt x="671" y="954"/>
                    <a:pt x="671" y="955"/>
                    <a:pt x="671" y="955"/>
                  </a:cubicBezTo>
                  <a:cubicBezTo>
                    <a:pt x="670" y="955"/>
                    <a:pt x="670" y="955"/>
                    <a:pt x="670" y="955"/>
                  </a:cubicBezTo>
                  <a:cubicBezTo>
                    <a:pt x="670" y="955"/>
                    <a:pt x="670" y="955"/>
                    <a:pt x="670" y="954"/>
                  </a:cubicBezTo>
                  <a:cubicBezTo>
                    <a:pt x="670" y="954"/>
                    <a:pt x="670" y="954"/>
                    <a:pt x="669" y="954"/>
                  </a:cubicBezTo>
                  <a:cubicBezTo>
                    <a:pt x="669" y="953"/>
                    <a:pt x="668" y="952"/>
                    <a:pt x="667" y="952"/>
                  </a:cubicBezTo>
                  <a:cubicBezTo>
                    <a:pt x="667" y="952"/>
                    <a:pt x="666" y="952"/>
                    <a:pt x="666" y="951"/>
                  </a:cubicBezTo>
                  <a:cubicBezTo>
                    <a:pt x="665" y="951"/>
                    <a:pt x="664" y="951"/>
                    <a:pt x="663" y="950"/>
                  </a:cubicBezTo>
                  <a:cubicBezTo>
                    <a:pt x="662" y="949"/>
                    <a:pt x="662" y="949"/>
                    <a:pt x="662" y="949"/>
                  </a:cubicBezTo>
                  <a:cubicBezTo>
                    <a:pt x="662" y="949"/>
                    <a:pt x="661" y="949"/>
                    <a:pt x="661" y="948"/>
                  </a:cubicBezTo>
                  <a:cubicBezTo>
                    <a:pt x="660" y="948"/>
                    <a:pt x="659" y="947"/>
                    <a:pt x="659" y="947"/>
                  </a:cubicBezTo>
                  <a:cubicBezTo>
                    <a:pt x="659" y="946"/>
                    <a:pt x="659" y="946"/>
                    <a:pt x="659" y="946"/>
                  </a:cubicBezTo>
                  <a:cubicBezTo>
                    <a:pt x="658" y="946"/>
                    <a:pt x="658" y="945"/>
                    <a:pt x="657" y="944"/>
                  </a:cubicBezTo>
                  <a:cubicBezTo>
                    <a:pt x="657" y="944"/>
                    <a:pt x="656" y="944"/>
                    <a:pt x="656" y="943"/>
                  </a:cubicBezTo>
                  <a:cubicBezTo>
                    <a:pt x="655" y="942"/>
                    <a:pt x="655" y="942"/>
                    <a:pt x="655" y="942"/>
                  </a:cubicBezTo>
                  <a:cubicBezTo>
                    <a:pt x="655" y="942"/>
                    <a:pt x="655" y="942"/>
                    <a:pt x="655" y="942"/>
                  </a:cubicBezTo>
                  <a:cubicBezTo>
                    <a:pt x="654" y="942"/>
                    <a:pt x="654" y="942"/>
                    <a:pt x="654" y="942"/>
                  </a:cubicBezTo>
                  <a:cubicBezTo>
                    <a:pt x="654" y="942"/>
                    <a:pt x="654" y="942"/>
                    <a:pt x="654" y="941"/>
                  </a:cubicBezTo>
                  <a:cubicBezTo>
                    <a:pt x="653" y="941"/>
                    <a:pt x="653" y="940"/>
                    <a:pt x="652" y="940"/>
                  </a:cubicBezTo>
                  <a:cubicBezTo>
                    <a:pt x="652" y="940"/>
                    <a:pt x="651" y="939"/>
                    <a:pt x="651" y="939"/>
                  </a:cubicBezTo>
                  <a:cubicBezTo>
                    <a:pt x="650" y="939"/>
                    <a:pt x="650" y="939"/>
                    <a:pt x="650" y="939"/>
                  </a:cubicBezTo>
                  <a:cubicBezTo>
                    <a:pt x="649" y="938"/>
                    <a:pt x="649" y="938"/>
                    <a:pt x="648" y="937"/>
                  </a:cubicBezTo>
                  <a:cubicBezTo>
                    <a:pt x="648" y="937"/>
                    <a:pt x="648" y="937"/>
                    <a:pt x="647" y="936"/>
                  </a:cubicBezTo>
                  <a:cubicBezTo>
                    <a:pt x="647" y="936"/>
                    <a:pt x="647" y="936"/>
                    <a:pt x="646" y="935"/>
                  </a:cubicBezTo>
                  <a:cubicBezTo>
                    <a:pt x="646" y="935"/>
                    <a:pt x="645" y="934"/>
                    <a:pt x="644" y="934"/>
                  </a:cubicBezTo>
                  <a:cubicBezTo>
                    <a:pt x="644" y="933"/>
                    <a:pt x="643" y="933"/>
                    <a:pt x="643" y="933"/>
                  </a:cubicBezTo>
                  <a:cubicBezTo>
                    <a:pt x="643" y="933"/>
                    <a:pt x="643" y="933"/>
                    <a:pt x="643" y="933"/>
                  </a:cubicBezTo>
                  <a:cubicBezTo>
                    <a:pt x="642" y="931"/>
                    <a:pt x="641" y="931"/>
                    <a:pt x="640" y="931"/>
                  </a:cubicBezTo>
                  <a:cubicBezTo>
                    <a:pt x="640" y="931"/>
                    <a:pt x="639" y="931"/>
                    <a:pt x="638" y="931"/>
                  </a:cubicBezTo>
                  <a:cubicBezTo>
                    <a:pt x="638" y="931"/>
                    <a:pt x="638" y="931"/>
                    <a:pt x="637" y="931"/>
                  </a:cubicBezTo>
                  <a:cubicBezTo>
                    <a:pt x="636" y="931"/>
                    <a:pt x="636" y="931"/>
                    <a:pt x="636" y="931"/>
                  </a:cubicBezTo>
                  <a:cubicBezTo>
                    <a:pt x="636" y="931"/>
                    <a:pt x="635" y="931"/>
                    <a:pt x="635" y="932"/>
                  </a:cubicBezTo>
                  <a:cubicBezTo>
                    <a:pt x="636" y="932"/>
                    <a:pt x="636" y="932"/>
                    <a:pt x="636" y="932"/>
                  </a:cubicBezTo>
                  <a:cubicBezTo>
                    <a:pt x="635" y="932"/>
                    <a:pt x="635" y="932"/>
                    <a:pt x="635" y="932"/>
                  </a:cubicBezTo>
                  <a:cubicBezTo>
                    <a:pt x="634" y="932"/>
                    <a:pt x="634" y="932"/>
                    <a:pt x="634" y="932"/>
                  </a:cubicBezTo>
                  <a:cubicBezTo>
                    <a:pt x="634" y="932"/>
                    <a:pt x="634" y="932"/>
                    <a:pt x="634" y="932"/>
                  </a:cubicBezTo>
                  <a:cubicBezTo>
                    <a:pt x="633" y="932"/>
                    <a:pt x="632" y="932"/>
                    <a:pt x="632" y="932"/>
                  </a:cubicBezTo>
                  <a:cubicBezTo>
                    <a:pt x="630" y="932"/>
                    <a:pt x="630" y="932"/>
                    <a:pt x="630" y="932"/>
                  </a:cubicBezTo>
                  <a:cubicBezTo>
                    <a:pt x="629" y="932"/>
                    <a:pt x="629" y="932"/>
                    <a:pt x="628" y="932"/>
                  </a:cubicBezTo>
                  <a:cubicBezTo>
                    <a:pt x="628" y="932"/>
                    <a:pt x="628" y="931"/>
                    <a:pt x="628" y="931"/>
                  </a:cubicBezTo>
                  <a:cubicBezTo>
                    <a:pt x="627" y="931"/>
                    <a:pt x="627" y="931"/>
                    <a:pt x="627" y="931"/>
                  </a:cubicBezTo>
                  <a:cubicBezTo>
                    <a:pt x="626" y="930"/>
                    <a:pt x="626" y="930"/>
                    <a:pt x="625" y="930"/>
                  </a:cubicBezTo>
                  <a:cubicBezTo>
                    <a:pt x="625" y="930"/>
                    <a:pt x="624" y="930"/>
                    <a:pt x="624" y="932"/>
                  </a:cubicBezTo>
                  <a:cubicBezTo>
                    <a:pt x="624" y="932"/>
                    <a:pt x="624" y="932"/>
                    <a:pt x="623" y="932"/>
                  </a:cubicBezTo>
                  <a:cubicBezTo>
                    <a:pt x="623" y="932"/>
                    <a:pt x="623" y="932"/>
                    <a:pt x="623" y="932"/>
                  </a:cubicBezTo>
                  <a:cubicBezTo>
                    <a:pt x="623" y="932"/>
                    <a:pt x="622" y="932"/>
                    <a:pt x="622" y="932"/>
                  </a:cubicBezTo>
                  <a:cubicBezTo>
                    <a:pt x="622" y="932"/>
                    <a:pt x="621" y="932"/>
                    <a:pt x="621" y="932"/>
                  </a:cubicBezTo>
                  <a:cubicBezTo>
                    <a:pt x="621" y="932"/>
                    <a:pt x="621" y="932"/>
                    <a:pt x="621" y="932"/>
                  </a:cubicBezTo>
                  <a:cubicBezTo>
                    <a:pt x="621" y="931"/>
                    <a:pt x="621" y="930"/>
                    <a:pt x="621" y="930"/>
                  </a:cubicBezTo>
                  <a:cubicBezTo>
                    <a:pt x="620" y="929"/>
                    <a:pt x="619" y="929"/>
                    <a:pt x="619" y="929"/>
                  </a:cubicBezTo>
                  <a:cubicBezTo>
                    <a:pt x="619" y="929"/>
                    <a:pt x="619" y="929"/>
                    <a:pt x="618" y="928"/>
                  </a:cubicBezTo>
                  <a:cubicBezTo>
                    <a:pt x="617" y="927"/>
                    <a:pt x="616" y="927"/>
                    <a:pt x="615" y="927"/>
                  </a:cubicBezTo>
                  <a:cubicBezTo>
                    <a:pt x="614" y="927"/>
                    <a:pt x="614" y="927"/>
                    <a:pt x="614" y="927"/>
                  </a:cubicBezTo>
                  <a:cubicBezTo>
                    <a:pt x="613" y="927"/>
                    <a:pt x="613" y="927"/>
                    <a:pt x="612" y="927"/>
                  </a:cubicBezTo>
                  <a:cubicBezTo>
                    <a:pt x="612" y="927"/>
                    <a:pt x="611" y="928"/>
                    <a:pt x="611" y="928"/>
                  </a:cubicBezTo>
                  <a:cubicBezTo>
                    <a:pt x="611" y="928"/>
                    <a:pt x="611" y="928"/>
                    <a:pt x="611" y="928"/>
                  </a:cubicBezTo>
                  <a:cubicBezTo>
                    <a:pt x="611" y="929"/>
                    <a:pt x="611" y="929"/>
                    <a:pt x="611" y="929"/>
                  </a:cubicBezTo>
                  <a:cubicBezTo>
                    <a:pt x="610" y="928"/>
                    <a:pt x="610" y="928"/>
                    <a:pt x="610" y="928"/>
                  </a:cubicBezTo>
                  <a:cubicBezTo>
                    <a:pt x="610" y="928"/>
                    <a:pt x="610" y="928"/>
                    <a:pt x="609" y="928"/>
                  </a:cubicBezTo>
                  <a:cubicBezTo>
                    <a:pt x="609" y="928"/>
                    <a:pt x="609" y="927"/>
                    <a:pt x="608" y="927"/>
                  </a:cubicBezTo>
                  <a:cubicBezTo>
                    <a:pt x="607" y="926"/>
                    <a:pt x="606" y="927"/>
                    <a:pt x="606" y="927"/>
                  </a:cubicBezTo>
                  <a:cubicBezTo>
                    <a:pt x="606" y="927"/>
                    <a:pt x="605" y="927"/>
                    <a:pt x="605" y="927"/>
                  </a:cubicBezTo>
                  <a:cubicBezTo>
                    <a:pt x="605" y="926"/>
                    <a:pt x="605" y="926"/>
                    <a:pt x="605" y="926"/>
                  </a:cubicBezTo>
                  <a:cubicBezTo>
                    <a:pt x="605" y="926"/>
                    <a:pt x="605" y="926"/>
                    <a:pt x="605" y="926"/>
                  </a:cubicBezTo>
                  <a:cubicBezTo>
                    <a:pt x="605" y="926"/>
                    <a:pt x="605" y="925"/>
                    <a:pt x="605" y="924"/>
                  </a:cubicBezTo>
                  <a:cubicBezTo>
                    <a:pt x="604" y="923"/>
                    <a:pt x="603" y="922"/>
                    <a:pt x="603" y="922"/>
                  </a:cubicBezTo>
                  <a:cubicBezTo>
                    <a:pt x="602" y="922"/>
                    <a:pt x="602" y="922"/>
                    <a:pt x="602" y="922"/>
                  </a:cubicBezTo>
                  <a:cubicBezTo>
                    <a:pt x="602" y="922"/>
                    <a:pt x="602" y="921"/>
                    <a:pt x="602" y="921"/>
                  </a:cubicBezTo>
                  <a:cubicBezTo>
                    <a:pt x="602" y="920"/>
                    <a:pt x="602" y="919"/>
                    <a:pt x="600" y="918"/>
                  </a:cubicBezTo>
                  <a:cubicBezTo>
                    <a:pt x="600" y="918"/>
                    <a:pt x="600" y="918"/>
                    <a:pt x="600" y="918"/>
                  </a:cubicBezTo>
                  <a:cubicBezTo>
                    <a:pt x="600" y="918"/>
                    <a:pt x="600" y="918"/>
                    <a:pt x="600" y="918"/>
                  </a:cubicBezTo>
                  <a:cubicBezTo>
                    <a:pt x="599" y="918"/>
                    <a:pt x="599" y="917"/>
                    <a:pt x="598" y="917"/>
                  </a:cubicBezTo>
                  <a:cubicBezTo>
                    <a:pt x="598" y="917"/>
                    <a:pt x="598" y="917"/>
                    <a:pt x="598" y="917"/>
                  </a:cubicBezTo>
                  <a:cubicBezTo>
                    <a:pt x="598" y="916"/>
                    <a:pt x="596" y="915"/>
                    <a:pt x="595" y="916"/>
                  </a:cubicBezTo>
                  <a:cubicBezTo>
                    <a:pt x="595" y="916"/>
                    <a:pt x="594" y="916"/>
                    <a:pt x="594" y="916"/>
                  </a:cubicBezTo>
                  <a:cubicBezTo>
                    <a:pt x="594" y="916"/>
                    <a:pt x="594" y="916"/>
                    <a:pt x="594" y="916"/>
                  </a:cubicBezTo>
                  <a:cubicBezTo>
                    <a:pt x="594" y="916"/>
                    <a:pt x="594" y="916"/>
                    <a:pt x="594" y="916"/>
                  </a:cubicBezTo>
                  <a:cubicBezTo>
                    <a:pt x="593" y="915"/>
                    <a:pt x="592" y="915"/>
                    <a:pt x="592" y="915"/>
                  </a:cubicBezTo>
                  <a:cubicBezTo>
                    <a:pt x="591" y="915"/>
                    <a:pt x="591" y="915"/>
                    <a:pt x="591" y="915"/>
                  </a:cubicBezTo>
                  <a:cubicBezTo>
                    <a:pt x="591" y="915"/>
                    <a:pt x="591" y="915"/>
                    <a:pt x="590" y="915"/>
                  </a:cubicBezTo>
                  <a:cubicBezTo>
                    <a:pt x="590" y="914"/>
                    <a:pt x="590" y="914"/>
                    <a:pt x="589" y="914"/>
                  </a:cubicBezTo>
                  <a:cubicBezTo>
                    <a:pt x="589" y="914"/>
                    <a:pt x="588" y="914"/>
                    <a:pt x="588" y="914"/>
                  </a:cubicBezTo>
                  <a:cubicBezTo>
                    <a:pt x="587" y="914"/>
                    <a:pt x="587" y="913"/>
                    <a:pt x="587" y="914"/>
                  </a:cubicBezTo>
                  <a:cubicBezTo>
                    <a:pt x="587" y="913"/>
                    <a:pt x="587" y="913"/>
                    <a:pt x="587" y="913"/>
                  </a:cubicBezTo>
                  <a:cubicBezTo>
                    <a:pt x="587" y="913"/>
                    <a:pt x="587" y="911"/>
                    <a:pt x="585" y="911"/>
                  </a:cubicBezTo>
                  <a:cubicBezTo>
                    <a:pt x="585" y="910"/>
                    <a:pt x="584" y="911"/>
                    <a:pt x="583" y="911"/>
                  </a:cubicBezTo>
                  <a:cubicBezTo>
                    <a:pt x="583" y="911"/>
                    <a:pt x="583" y="911"/>
                    <a:pt x="583" y="911"/>
                  </a:cubicBezTo>
                  <a:cubicBezTo>
                    <a:pt x="583" y="911"/>
                    <a:pt x="582" y="911"/>
                    <a:pt x="582" y="910"/>
                  </a:cubicBezTo>
                  <a:cubicBezTo>
                    <a:pt x="581" y="910"/>
                    <a:pt x="580" y="909"/>
                    <a:pt x="578" y="910"/>
                  </a:cubicBezTo>
                  <a:cubicBezTo>
                    <a:pt x="578" y="910"/>
                    <a:pt x="578" y="910"/>
                    <a:pt x="578" y="910"/>
                  </a:cubicBezTo>
                  <a:cubicBezTo>
                    <a:pt x="578" y="910"/>
                    <a:pt x="578" y="910"/>
                    <a:pt x="578" y="910"/>
                  </a:cubicBezTo>
                  <a:cubicBezTo>
                    <a:pt x="577" y="910"/>
                    <a:pt x="576" y="910"/>
                    <a:pt x="575" y="910"/>
                  </a:cubicBezTo>
                  <a:cubicBezTo>
                    <a:pt x="575" y="910"/>
                    <a:pt x="575" y="910"/>
                    <a:pt x="575" y="910"/>
                  </a:cubicBezTo>
                  <a:cubicBezTo>
                    <a:pt x="574" y="910"/>
                    <a:pt x="574" y="910"/>
                    <a:pt x="574" y="910"/>
                  </a:cubicBezTo>
                  <a:cubicBezTo>
                    <a:pt x="573" y="910"/>
                    <a:pt x="572" y="911"/>
                    <a:pt x="572" y="911"/>
                  </a:cubicBezTo>
                  <a:cubicBezTo>
                    <a:pt x="572" y="911"/>
                    <a:pt x="572" y="911"/>
                    <a:pt x="572" y="911"/>
                  </a:cubicBezTo>
                  <a:cubicBezTo>
                    <a:pt x="572" y="910"/>
                    <a:pt x="572" y="910"/>
                    <a:pt x="572" y="909"/>
                  </a:cubicBezTo>
                  <a:cubicBezTo>
                    <a:pt x="573" y="908"/>
                    <a:pt x="572" y="906"/>
                    <a:pt x="570" y="905"/>
                  </a:cubicBezTo>
                  <a:cubicBezTo>
                    <a:pt x="570" y="905"/>
                    <a:pt x="569" y="905"/>
                    <a:pt x="568" y="905"/>
                  </a:cubicBezTo>
                  <a:cubicBezTo>
                    <a:pt x="568" y="905"/>
                    <a:pt x="568" y="905"/>
                    <a:pt x="567" y="905"/>
                  </a:cubicBezTo>
                  <a:cubicBezTo>
                    <a:pt x="567" y="905"/>
                    <a:pt x="566" y="905"/>
                    <a:pt x="566" y="905"/>
                  </a:cubicBezTo>
                  <a:cubicBezTo>
                    <a:pt x="566" y="905"/>
                    <a:pt x="565" y="905"/>
                    <a:pt x="565" y="905"/>
                  </a:cubicBezTo>
                  <a:cubicBezTo>
                    <a:pt x="564" y="904"/>
                    <a:pt x="562" y="904"/>
                    <a:pt x="561" y="905"/>
                  </a:cubicBezTo>
                  <a:cubicBezTo>
                    <a:pt x="560" y="905"/>
                    <a:pt x="560" y="905"/>
                    <a:pt x="560" y="905"/>
                  </a:cubicBezTo>
                  <a:cubicBezTo>
                    <a:pt x="560" y="905"/>
                    <a:pt x="560" y="905"/>
                    <a:pt x="560" y="905"/>
                  </a:cubicBezTo>
                  <a:cubicBezTo>
                    <a:pt x="560" y="906"/>
                    <a:pt x="560" y="906"/>
                    <a:pt x="560" y="906"/>
                  </a:cubicBezTo>
                  <a:cubicBezTo>
                    <a:pt x="560" y="905"/>
                    <a:pt x="560" y="905"/>
                    <a:pt x="560" y="905"/>
                  </a:cubicBezTo>
                  <a:cubicBezTo>
                    <a:pt x="559" y="905"/>
                    <a:pt x="559" y="904"/>
                    <a:pt x="557" y="904"/>
                  </a:cubicBezTo>
                  <a:cubicBezTo>
                    <a:pt x="557" y="904"/>
                    <a:pt x="554" y="904"/>
                    <a:pt x="552" y="906"/>
                  </a:cubicBezTo>
                  <a:cubicBezTo>
                    <a:pt x="551" y="907"/>
                    <a:pt x="551" y="908"/>
                    <a:pt x="551" y="909"/>
                  </a:cubicBezTo>
                  <a:cubicBezTo>
                    <a:pt x="551" y="910"/>
                    <a:pt x="551" y="910"/>
                    <a:pt x="551" y="911"/>
                  </a:cubicBezTo>
                  <a:cubicBezTo>
                    <a:pt x="550" y="912"/>
                    <a:pt x="550" y="913"/>
                    <a:pt x="550" y="914"/>
                  </a:cubicBezTo>
                  <a:cubicBezTo>
                    <a:pt x="549" y="914"/>
                    <a:pt x="548" y="915"/>
                    <a:pt x="548" y="915"/>
                  </a:cubicBezTo>
                  <a:cubicBezTo>
                    <a:pt x="548" y="915"/>
                    <a:pt x="548" y="915"/>
                    <a:pt x="547" y="915"/>
                  </a:cubicBezTo>
                  <a:cubicBezTo>
                    <a:pt x="547" y="915"/>
                    <a:pt x="547" y="915"/>
                    <a:pt x="547" y="915"/>
                  </a:cubicBezTo>
                  <a:cubicBezTo>
                    <a:pt x="547" y="915"/>
                    <a:pt x="546" y="916"/>
                    <a:pt x="546" y="916"/>
                  </a:cubicBezTo>
                  <a:cubicBezTo>
                    <a:pt x="545" y="916"/>
                    <a:pt x="544" y="917"/>
                    <a:pt x="544" y="918"/>
                  </a:cubicBezTo>
                  <a:cubicBezTo>
                    <a:pt x="543" y="918"/>
                    <a:pt x="543" y="919"/>
                    <a:pt x="543" y="919"/>
                  </a:cubicBezTo>
                  <a:cubicBezTo>
                    <a:pt x="543" y="919"/>
                    <a:pt x="543" y="919"/>
                    <a:pt x="542" y="919"/>
                  </a:cubicBezTo>
                  <a:cubicBezTo>
                    <a:pt x="542" y="920"/>
                    <a:pt x="541" y="920"/>
                    <a:pt x="541" y="920"/>
                  </a:cubicBezTo>
                  <a:cubicBezTo>
                    <a:pt x="541" y="920"/>
                    <a:pt x="541" y="920"/>
                    <a:pt x="541" y="920"/>
                  </a:cubicBezTo>
                  <a:cubicBezTo>
                    <a:pt x="542" y="919"/>
                    <a:pt x="543" y="917"/>
                    <a:pt x="543" y="916"/>
                  </a:cubicBezTo>
                  <a:cubicBezTo>
                    <a:pt x="543" y="916"/>
                    <a:pt x="543" y="916"/>
                    <a:pt x="543" y="916"/>
                  </a:cubicBezTo>
                  <a:cubicBezTo>
                    <a:pt x="544" y="915"/>
                    <a:pt x="544" y="915"/>
                    <a:pt x="544" y="915"/>
                  </a:cubicBezTo>
                  <a:cubicBezTo>
                    <a:pt x="544" y="915"/>
                    <a:pt x="545" y="914"/>
                    <a:pt x="545" y="914"/>
                  </a:cubicBezTo>
                  <a:cubicBezTo>
                    <a:pt x="546" y="913"/>
                    <a:pt x="546" y="912"/>
                    <a:pt x="546" y="912"/>
                  </a:cubicBezTo>
                  <a:cubicBezTo>
                    <a:pt x="545" y="911"/>
                    <a:pt x="545" y="911"/>
                    <a:pt x="545" y="911"/>
                  </a:cubicBezTo>
                  <a:cubicBezTo>
                    <a:pt x="546" y="911"/>
                    <a:pt x="546" y="911"/>
                    <a:pt x="546" y="911"/>
                  </a:cubicBezTo>
                  <a:cubicBezTo>
                    <a:pt x="546" y="910"/>
                    <a:pt x="547" y="909"/>
                    <a:pt x="547" y="908"/>
                  </a:cubicBezTo>
                  <a:cubicBezTo>
                    <a:pt x="548" y="906"/>
                    <a:pt x="549" y="906"/>
                    <a:pt x="550" y="905"/>
                  </a:cubicBezTo>
                  <a:cubicBezTo>
                    <a:pt x="551" y="904"/>
                    <a:pt x="552" y="903"/>
                    <a:pt x="553" y="902"/>
                  </a:cubicBezTo>
                  <a:cubicBezTo>
                    <a:pt x="553" y="902"/>
                    <a:pt x="554" y="901"/>
                    <a:pt x="554" y="900"/>
                  </a:cubicBezTo>
                  <a:cubicBezTo>
                    <a:pt x="554" y="899"/>
                    <a:pt x="555" y="899"/>
                    <a:pt x="555" y="898"/>
                  </a:cubicBezTo>
                  <a:cubicBezTo>
                    <a:pt x="555" y="898"/>
                    <a:pt x="555" y="898"/>
                    <a:pt x="555" y="898"/>
                  </a:cubicBezTo>
                  <a:cubicBezTo>
                    <a:pt x="556" y="898"/>
                    <a:pt x="556" y="897"/>
                    <a:pt x="556" y="896"/>
                  </a:cubicBezTo>
                  <a:cubicBezTo>
                    <a:pt x="557" y="895"/>
                    <a:pt x="557" y="895"/>
                    <a:pt x="557" y="895"/>
                  </a:cubicBezTo>
                  <a:cubicBezTo>
                    <a:pt x="559" y="894"/>
                    <a:pt x="561" y="892"/>
                    <a:pt x="559" y="889"/>
                  </a:cubicBezTo>
                  <a:cubicBezTo>
                    <a:pt x="559" y="889"/>
                    <a:pt x="559" y="889"/>
                    <a:pt x="558" y="888"/>
                  </a:cubicBezTo>
                  <a:cubicBezTo>
                    <a:pt x="558" y="888"/>
                    <a:pt x="558" y="888"/>
                    <a:pt x="558" y="888"/>
                  </a:cubicBezTo>
                  <a:cubicBezTo>
                    <a:pt x="559" y="887"/>
                    <a:pt x="559" y="886"/>
                    <a:pt x="558" y="885"/>
                  </a:cubicBezTo>
                  <a:cubicBezTo>
                    <a:pt x="558" y="884"/>
                    <a:pt x="556" y="884"/>
                    <a:pt x="556" y="884"/>
                  </a:cubicBezTo>
                  <a:cubicBezTo>
                    <a:pt x="556" y="884"/>
                    <a:pt x="555" y="884"/>
                    <a:pt x="555" y="884"/>
                  </a:cubicBezTo>
                  <a:cubicBezTo>
                    <a:pt x="555" y="884"/>
                    <a:pt x="554" y="883"/>
                    <a:pt x="554" y="883"/>
                  </a:cubicBezTo>
                  <a:cubicBezTo>
                    <a:pt x="554" y="883"/>
                    <a:pt x="554" y="882"/>
                    <a:pt x="553" y="882"/>
                  </a:cubicBezTo>
                  <a:cubicBezTo>
                    <a:pt x="553" y="881"/>
                    <a:pt x="553" y="881"/>
                    <a:pt x="552" y="880"/>
                  </a:cubicBezTo>
                  <a:cubicBezTo>
                    <a:pt x="552" y="880"/>
                    <a:pt x="552" y="880"/>
                    <a:pt x="552" y="880"/>
                  </a:cubicBezTo>
                  <a:cubicBezTo>
                    <a:pt x="552" y="880"/>
                    <a:pt x="552" y="880"/>
                    <a:pt x="552" y="880"/>
                  </a:cubicBezTo>
                  <a:cubicBezTo>
                    <a:pt x="552" y="878"/>
                    <a:pt x="552" y="877"/>
                    <a:pt x="552" y="877"/>
                  </a:cubicBezTo>
                  <a:cubicBezTo>
                    <a:pt x="552" y="877"/>
                    <a:pt x="552" y="876"/>
                    <a:pt x="552" y="876"/>
                  </a:cubicBezTo>
                  <a:cubicBezTo>
                    <a:pt x="552" y="876"/>
                    <a:pt x="552" y="876"/>
                    <a:pt x="552" y="875"/>
                  </a:cubicBezTo>
                  <a:cubicBezTo>
                    <a:pt x="552" y="874"/>
                    <a:pt x="552" y="874"/>
                    <a:pt x="551" y="873"/>
                  </a:cubicBezTo>
                  <a:cubicBezTo>
                    <a:pt x="551" y="872"/>
                    <a:pt x="551" y="872"/>
                    <a:pt x="551" y="871"/>
                  </a:cubicBezTo>
                  <a:cubicBezTo>
                    <a:pt x="551" y="870"/>
                    <a:pt x="551" y="870"/>
                    <a:pt x="551" y="869"/>
                  </a:cubicBezTo>
                  <a:cubicBezTo>
                    <a:pt x="551" y="869"/>
                    <a:pt x="551" y="868"/>
                    <a:pt x="551" y="868"/>
                  </a:cubicBezTo>
                  <a:cubicBezTo>
                    <a:pt x="551" y="867"/>
                    <a:pt x="551" y="867"/>
                    <a:pt x="551" y="867"/>
                  </a:cubicBezTo>
                  <a:cubicBezTo>
                    <a:pt x="551" y="866"/>
                    <a:pt x="551" y="865"/>
                    <a:pt x="550" y="864"/>
                  </a:cubicBezTo>
                  <a:cubicBezTo>
                    <a:pt x="550" y="863"/>
                    <a:pt x="550" y="863"/>
                    <a:pt x="550" y="863"/>
                  </a:cubicBezTo>
                  <a:cubicBezTo>
                    <a:pt x="549" y="863"/>
                    <a:pt x="549" y="863"/>
                    <a:pt x="549" y="863"/>
                  </a:cubicBezTo>
                  <a:cubicBezTo>
                    <a:pt x="549" y="863"/>
                    <a:pt x="549" y="863"/>
                    <a:pt x="549" y="863"/>
                  </a:cubicBezTo>
                  <a:cubicBezTo>
                    <a:pt x="549" y="863"/>
                    <a:pt x="549" y="862"/>
                    <a:pt x="549" y="862"/>
                  </a:cubicBezTo>
                  <a:cubicBezTo>
                    <a:pt x="549" y="862"/>
                    <a:pt x="549" y="861"/>
                    <a:pt x="548" y="861"/>
                  </a:cubicBezTo>
                  <a:cubicBezTo>
                    <a:pt x="549" y="861"/>
                    <a:pt x="549" y="861"/>
                    <a:pt x="549" y="861"/>
                  </a:cubicBezTo>
                  <a:cubicBezTo>
                    <a:pt x="548" y="861"/>
                    <a:pt x="548" y="861"/>
                    <a:pt x="548" y="861"/>
                  </a:cubicBezTo>
                  <a:cubicBezTo>
                    <a:pt x="548" y="860"/>
                    <a:pt x="547" y="860"/>
                    <a:pt x="547" y="860"/>
                  </a:cubicBezTo>
                  <a:cubicBezTo>
                    <a:pt x="547" y="860"/>
                    <a:pt x="546" y="860"/>
                    <a:pt x="546" y="861"/>
                  </a:cubicBezTo>
                  <a:cubicBezTo>
                    <a:pt x="546" y="860"/>
                    <a:pt x="546" y="860"/>
                    <a:pt x="546" y="860"/>
                  </a:cubicBezTo>
                  <a:cubicBezTo>
                    <a:pt x="545" y="859"/>
                    <a:pt x="545" y="858"/>
                    <a:pt x="545" y="858"/>
                  </a:cubicBezTo>
                  <a:cubicBezTo>
                    <a:pt x="544" y="857"/>
                    <a:pt x="544" y="857"/>
                    <a:pt x="544" y="857"/>
                  </a:cubicBezTo>
                  <a:cubicBezTo>
                    <a:pt x="544" y="856"/>
                    <a:pt x="543" y="855"/>
                    <a:pt x="542" y="854"/>
                  </a:cubicBezTo>
                  <a:cubicBezTo>
                    <a:pt x="541" y="854"/>
                    <a:pt x="541" y="854"/>
                    <a:pt x="541" y="854"/>
                  </a:cubicBezTo>
                  <a:cubicBezTo>
                    <a:pt x="541" y="853"/>
                    <a:pt x="540" y="853"/>
                    <a:pt x="540" y="853"/>
                  </a:cubicBezTo>
                  <a:cubicBezTo>
                    <a:pt x="539" y="852"/>
                    <a:pt x="539" y="852"/>
                    <a:pt x="539" y="851"/>
                  </a:cubicBezTo>
                  <a:cubicBezTo>
                    <a:pt x="539" y="851"/>
                    <a:pt x="539" y="851"/>
                    <a:pt x="538" y="850"/>
                  </a:cubicBezTo>
                  <a:cubicBezTo>
                    <a:pt x="538" y="849"/>
                    <a:pt x="538" y="848"/>
                    <a:pt x="536" y="847"/>
                  </a:cubicBezTo>
                  <a:cubicBezTo>
                    <a:pt x="535" y="846"/>
                    <a:pt x="534" y="846"/>
                    <a:pt x="533" y="846"/>
                  </a:cubicBezTo>
                  <a:cubicBezTo>
                    <a:pt x="533" y="846"/>
                    <a:pt x="532" y="845"/>
                    <a:pt x="532" y="845"/>
                  </a:cubicBezTo>
                  <a:cubicBezTo>
                    <a:pt x="531" y="845"/>
                    <a:pt x="531" y="845"/>
                    <a:pt x="531" y="844"/>
                  </a:cubicBezTo>
                  <a:cubicBezTo>
                    <a:pt x="530" y="844"/>
                    <a:pt x="530" y="844"/>
                    <a:pt x="529" y="843"/>
                  </a:cubicBezTo>
                  <a:cubicBezTo>
                    <a:pt x="529" y="843"/>
                    <a:pt x="528" y="843"/>
                    <a:pt x="528" y="843"/>
                  </a:cubicBezTo>
                  <a:cubicBezTo>
                    <a:pt x="528" y="843"/>
                    <a:pt x="527" y="843"/>
                    <a:pt x="527" y="842"/>
                  </a:cubicBezTo>
                  <a:cubicBezTo>
                    <a:pt x="527" y="842"/>
                    <a:pt x="527" y="842"/>
                    <a:pt x="527" y="842"/>
                  </a:cubicBezTo>
                  <a:cubicBezTo>
                    <a:pt x="527" y="842"/>
                    <a:pt x="527" y="842"/>
                    <a:pt x="527" y="842"/>
                  </a:cubicBezTo>
                  <a:cubicBezTo>
                    <a:pt x="527" y="842"/>
                    <a:pt x="527" y="842"/>
                    <a:pt x="527" y="842"/>
                  </a:cubicBezTo>
                  <a:cubicBezTo>
                    <a:pt x="527" y="841"/>
                    <a:pt x="526" y="841"/>
                    <a:pt x="526" y="840"/>
                  </a:cubicBezTo>
                  <a:cubicBezTo>
                    <a:pt x="525" y="840"/>
                    <a:pt x="524" y="840"/>
                    <a:pt x="523" y="840"/>
                  </a:cubicBezTo>
                  <a:cubicBezTo>
                    <a:pt x="523" y="840"/>
                    <a:pt x="523" y="840"/>
                    <a:pt x="523" y="840"/>
                  </a:cubicBezTo>
                  <a:cubicBezTo>
                    <a:pt x="523" y="840"/>
                    <a:pt x="522" y="840"/>
                    <a:pt x="522" y="840"/>
                  </a:cubicBezTo>
                  <a:cubicBezTo>
                    <a:pt x="521" y="839"/>
                    <a:pt x="521" y="839"/>
                    <a:pt x="520" y="839"/>
                  </a:cubicBezTo>
                  <a:cubicBezTo>
                    <a:pt x="520" y="839"/>
                    <a:pt x="519" y="839"/>
                    <a:pt x="518" y="839"/>
                  </a:cubicBezTo>
                  <a:cubicBezTo>
                    <a:pt x="518" y="839"/>
                    <a:pt x="518" y="839"/>
                    <a:pt x="518" y="840"/>
                  </a:cubicBezTo>
                  <a:cubicBezTo>
                    <a:pt x="517" y="840"/>
                    <a:pt x="517" y="840"/>
                    <a:pt x="517" y="840"/>
                  </a:cubicBezTo>
                  <a:cubicBezTo>
                    <a:pt x="517" y="840"/>
                    <a:pt x="516" y="840"/>
                    <a:pt x="516" y="839"/>
                  </a:cubicBezTo>
                  <a:cubicBezTo>
                    <a:pt x="516" y="839"/>
                    <a:pt x="515" y="839"/>
                    <a:pt x="515" y="839"/>
                  </a:cubicBezTo>
                  <a:cubicBezTo>
                    <a:pt x="513" y="839"/>
                    <a:pt x="511" y="840"/>
                    <a:pt x="511" y="841"/>
                  </a:cubicBezTo>
                  <a:cubicBezTo>
                    <a:pt x="510" y="841"/>
                    <a:pt x="510" y="841"/>
                    <a:pt x="510" y="841"/>
                  </a:cubicBezTo>
                  <a:cubicBezTo>
                    <a:pt x="510" y="841"/>
                    <a:pt x="510" y="841"/>
                    <a:pt x="510" y="840"/>
                  </a:cubicBezTo>
                  <a:cubicBezTo>
                    <a:pt x="509" y="840"/>
                    <a:pt x="509" y="839"/>
                    <a:pt x="507" y="839"/>
                  </a:cubicBezTo>
                  <a:cubicBezTo>
                    <a:pt x="505" y="839"/>
                    <a:pt x="505" y="839"/>
                    <a:pt x="505" y="839"/>
                  </a:cubicBezTo>
                  <a:cubicBezTo>
                    <a:pt x="505" y="839"/>
                    <a:pt x="505" y="839"/>
                    <a:pt x="505" y="839"/>
                  </a:cubicBezTo>
                  <a:cubicBezTo>
                    <a:pt x="505" y="839"/>
                    <a:pt x="504" y="839"/>
                    <a:pt x="504" y="838"/>
                  </a:cubicBezTo>
                  <a:cubicBezTo>
                    <a:pt x="503" y="838"/>
                    <a:pt x="502" y="839"/>
                    <a:pt x="501" y="839"/>
                  </a:cubicBezTo>
                  <a:cubicBezTo>
                    <a:pt x="501" y="839"/>
                    <a:pt x="501" y="839"/>
                    <a:pt x="501" y="838"/>
                  </a:cubicBezTo>
                  <a:cubicBezTo>
                    <a:pt x="501" y="838"/>
                    <a:pt x="501" y="837"/>
                    <a:pt x="501" y="836"/>
                  </a:cubicBezTo>
                  <a:cubicBezTo>
                    <a:pt x="500" y="835"/>
                    <a:pt x="500" y="835"/>
                    <a:pt x="500" y="835"/>
                  </a:cubicBezTo>
                  <a:cubicBezTo>
                    <a:pt x="500" y="835"/>
                    <a:pt x="500" y="835"/>
                    <a:pt x="500" y="835"/>
                  </a:cubicBezTo>
                  <a:cubicBezTo>
                    <a:pt x="500" y="835"/>
                    <a:pt x="499" y="835"/>
                    <a:pt x="499" y="834"/>
                  </a:cubicBezTo>
                  <a:cubicBezTo>
                    <a:pt x="499" y="834"/>
                    <a:pt x="498" y="834"/>
                    <a:pt x="498" y="834"/>
                  </a:cubicBezTo>
                  <a:cubicBezTo>
                    <a:pt x="497" y="833"/>
                    <a:pt x="497" y="833"/>
                    <a:pt x="497" y="833"/>
                  </a:cubicBezTo>
                  <a:cubicBezTo>
                    <a:pt x="497" y="832"/>
                    <a:pt x="496" y="830"/>
                    <a:pt x="495" y="830"/>
                  </a:cubicBezTo>
                  <a:cubicBezTo>
                    <a:pt x="494" y="830"/>
                    <a:pt x="494" y="830"/>
                    <a:pt x="493" y="830"/>
                  </a:cubicBezTo>
                  <a:cubicBezTo>
                    <a:pt x="493" y="830"/>
                    <a:pt x="492" y="830"/>
                    <a:pt x="491" y="830"/>
                  </a:cubicBezTo>
                  <a:cubicBezTo>
                    <a:pt x="491" y="830"/>
                    <a:pt x="491" y="830"/>
                    <a:pt x="491" y="830"/>
                  </a:cubicBezTo>
                  <a:cubicBezTo>
                    <a:pt x="491" y="830"/>
                    <a:pt x="491" y="830"/>
                    <a:pt x="491" y="830"/>
                  </a:cubicBezTo>
                  <a:cubicBezTo>
                    <a:pt x="491" y="830"/>
                    <a:pt x="491" y="830"/>
                    <a:pt x="492" y="829"/>
                  </a:cubicBezTo>
                  <a:cubicBezTo>
                    <a:pt x="493" y="828"/>
                    <a:pt x="493" y="826"/>
                    <a:pt x="492" y="825"/>
                  </a:cubicBezTo>
                  <a:cubicBezTo>
                    <a:pt x="492" y="823"/>
                    <a:pt x="491" y="823"/>
                    <a:pt x="491" y="822"/>
                  </a:cubicBezTo>
                  <a:cubicBezTo>
                    <a:pt x="490" y="822"/>
                    <a:pt x="490" y="822"/>
                    <a:pt x="490" y="822"/>
                  </a:cubicBezTo>
                  <a:cubicBezTo>
                    <a:pt x="490" y="821"/>
                    <a:pt x="490" y="821"/>
                    <a:pt x="489" y="820"/>
                  </a:cubicBezTo>
                  <a:cubicBezTo>
                    <a:pt x="489" y="819"/>
                    <a:pt x="489" y="819"/>
                    <a:pt x="489" y="819"/>
                  </a:cubicBezTo>
                  <a:cubicBezTo>
                    <a:pt x="489" y="819"/>
                    <a:pt x="489" y="818"/>
                    <a:pt x="488" y="817"/>
                  </a:cubicBezTo>
                  <a:cubicBezTo>
                    <a:pt x="488" y="817"/>
                    <a:pt x="488" y="817"/>
                    <a:pt x="488" y="817"/>
                  </a:cubicBezTo>
                  <a:cubicBezTo>
                    <a:pt x="487" y="816"/>
                    <a:pt x="487" y="816"/>
                    <a:pt x="487" y="816"/>
                  </a:cubicBezTo>
                  <a:cubicBezTo>
                    <a:pt x="487" y="816"/>
                    <a:pt x="487" y="816"/>
                    <a:pt x="487" y="815"/>
                  </a:cubicBezTo>
                  <a:cubicBezTo>
                    <a:pt x="487" y="815"/>
                    <a:pt x="486" y="814"/>
                    <a:pt x="486" y="814"/>
                  </a:cubicBezTo>
                  <a:cubicBezTo>
                    <a:pt x="486" y="814"/>
                    <a:pt x="486" y="814"/>
                    <a:pt x="486" y="814"/>
                  </a:cubicBezTo>
                  <a:cubicBezTo>
                    <a:pt x="485" y="814"/>
                    <a:pt x="485" y="813"/>
                    <a:pt x="485" y="813"/>
                  </a:cubicBezTo>
                  <a:cubicBezTo>
                    <a:pt x="485" y="813"/>
                    <a:pt x="485" y="813"/>
                    <a:pt x="485" y="813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2" y="812"/>
                    <a:pt x="482" y="812"/>
                    <a:pt x="482" y="812"/>
                  </a:cubicBezTo>
                  <a:cubicBezTo>
                    <a:pt x="482" y="812"/>
                    <a:pt x="482" y="812"/>
                    <a:pt x="482" y="812"/>
                  </a:cubicBezTo>
                  <a:cubicBezTo>
                    <a:pt x="482" y="811"/>
                    <a:pt x="482" y="811"/>
                    <a:pt x="482" y="811"/>
                  </a:cubicBezTo>
                  <a:cubicBezTo>
                    <a:pt x="481" y="809"/>
                    <a:pt x="479" y="809"/>
                    <a:pt x="477" y="809"/>
                  </a:cubicBezTo>
                  <a:cubicBezTo>
                    <a:pt x="477" y="809"/>
                    <a:pt x="476" y="810"/>
                    <a:pt x="476" y="810"/>
                  </a:cubicBezTo>
                  <a:cubicBezTo>
                    <a:pt x="475" y="810"/>
                    <a:pt x="475" y="810"/>
                    <a:pt x="474" y="810"/>
                  </a:cubicBezTo>
                  <a:cubicBezTo>
                    <a:pt x="475" y="809"/>
                    <a:pt x="475" y="808"/>
                    <a:pt x="474" y="807"/>
                  </a:cubicBezTo>
                  <a:cubicBezTo>
                    <a:pt x="474" y="807"/>
                    <a:pt x="474" y="807"/>
                    <a:pt x="474" y="807"/>
                  </a:cubicBezTo>
                  <a:cubicBezTo>
                    <a:pt x="474" y="807"/>
                    <a:pt x="474" y="806"/>
                    <a:pt x="474" y="807"/>
                  </a:cubicBezTo>
                  <a:cubicBezTo>
                    <a:pt x="474" y="806"/>
                    <a:pt x="474" y="806"/>
                    <a:pt x="474" y="806"/>
                  </a:cubicBezTo>
                  <a:cubicBezTo>
                    <a:pt x="475" y="806"/>
                    <a:pt x="475" y="806"/>
                    <a:pt x="475" y="805"/>
                  </a:cubicBezTo>
                  <a:cubicBezTo>
                    <a:pt x="476" y="803"/>
                    <a:pt x="475" y="802"/>
                    <a:pt x="474" y="801"/>
                  </a:cubicBezTo>
                  <a:cubicBezTo>
                    <a:pt x="474" y="800"/>
                    <a:pt x="474" y="800"/>
                    <a:pt x="473" y="799"/>
                  </a:cubicBezTo>
                  <a:cubicBezTo>
                    <a:pt x="472" y="799"/>
                    <a:pt x="472" y="799"/>
                    <a:pt x="472" y="799"/>
                  </a:cubicBezTo>
                  <a:cubicBezTo>
                    <a:pt x="471" y="799"/>
                    <a:pt x="471" y="799"/>
                    <a:pt x="471" y="799"/>
                  </a:cubicBezTo>
                  <a:cubicBezTo>
                    <a:pt x="471" y="799"/>
                    <a:pt x="470" y="798"/>
                    <a:pt x="470" y="798"/>
                  </a:cubicBezTo>
                  <a:cubicBezTo>
                    <a:pt x="470" y="797"/>
                    <a:pt x="469" y="797"/>
                    <a:pt x="468" y="796"/>
                  </a:cubicBezTo>
                  <a:cubicBezTo>
                    <a:pt x="468" y="796"/>
                    <a:pt x="468" y="796"/>
                    <a:pt x="468" y="796"/>
                  </a:cubicBezTo>
                  <a:cubicBezTo>
                    <a:pt x="468" y="796"/>
                    <a:pt x="468" y="796"/>
                    <a:pt x="468" y="796"/>
                  </a:cubicBezTo>
                  <a:cubicBezTo>
                    <a:pt x="468" y="796"/>
                    <a:pt x="468" y="796"/>
                    <a:pt x="468" y="796"/>
                  </a:cubicBezTo>
                  <a:cubicBezTo>
                    <a:pt x="469" y="796"/>
                    <a:pt x="469" y="796"/>
                    <a:pt x="469" y="796"/>
                  </a:cubicBezTo>
                  <a:cubicBezTo>
                    <a:pt x="469" y="796"/>
                    <a:pt x="469" y="796"/>
                    <a:pt x="469" y="796"/>
                  </a:cubicBezTo>
                  <a:cubicBezTo>
                    <a:pt x="469" y="796"/>
                    <a:pt x="469" y="796"/>
                    <a:pt x="469" y="796"/>
                  </a:cubicBezTo>
                  <a:cubicBezTo>
                    <a:pt x="470" y="796"/>
                    <a:pt x="470" y="796"/>
                    <a:pt x="471" y="796"/>
                  </a:cubicBezTo>
                  <a:cubicBezTo>
                    <a:pt x="472" y="796"/>
                    <a:pt x="472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4" y="795"/>
                    <a:pt x="474" y="795"/>
                    <a:pt x="474" y="795"/>
                  </a:cubicBezTo>
                  <a:cubicBezTo>
                    <a:pt x="474" y="795"/>
                    <a:pt x="475" y="795"/>
                    <a:pt x="475" y="795"/>
                  </a:cubicBezTo>
                  <a:cubicBezTo>
                    <a:pt x="476" y="794"/>
                    <a:pt x="476" y="793"/>
                    <a:pt x="476" y="793"/>
                  </a:cubicBezTo>
                  <a:cubicBezTo>
                    <a:pt x="476" y="792"/>
                    <a:pt x="475" y="791"/>
                    <a:pt x="475" y="790"/>
                  </a:cubicBezTo>
                  <a:cubicBezTo>
                    <a:pt x="475" y="790"/>
                    <a:pt x="475" y="790"/>
                    <a:pt x="475" y="790"/>
                  </a:cubicBezTo>
                  <a:cubicBezTo>
                    <a:pt x="475" y="789"/>
                    <a:pt x="476" y="788"/>
                    <a:pt x="476" y="788"/>
                  </a:cubicBezTo>
                  <a:cubicBezTo>
                    <a:pt x="476" y="787"/>
                    <a:pt x="476" y="787"/>
                    <a:pt x="475" y="786"/>
                  </a:cubicBezTo>
                  <a:cubicBezTo>
                    <a:pt x="475" y="786"/>
                    <a:pt x="474" y="786"/>
                    <a:pt x="473" y="786"/>
                  </a:cubicBezTo>
                  <a:cubicBezTo>
                    <a:pt x="471" y="786"/>
                    <a:pt x="471" y="786"/>
                    <a:pt x="471" y="786"/>
                  </a:cubicBezTo>
                  <a:cubicBezTo>
                    <a:pt x="470" y="786"/>
                    <a:pt x="469" y="786"/>
                    <a:pt x="468" y="787"/>
                  </a:cubicBezTo>
                  <a:cubicBezTo>
                    <a:pt x="468" y="788"/>
                    <a:pt x="468" y="788"/>
                    <a:pt x="468" y="789"/>
                  </a:cubicBezTo>
                  <a:cubicBezTo>
                    <a:pt x="468" y="788"/>
                    <a:pt x="467" y="788"/>
                    <a:pt x="467" y="787"/>
                  </a:cubicBezTo>
                  <a:cubicBezTo>
                    <a:pt x="466" y="787"/>
                    <a:pt x="466" y="787"/>
                    <a:pt x="465" y="788"/>
                  </a:cubicBezTo>
                  <a:cubicBezTo>
                    <a:pt x="465" y="788"/>
                    <a:pt x="464" y="788"/>
                    <a:pt x="464" y="787"/>
                  </a:cubicBezTo>
                  <a:cubicBezTo>
                    <a:pt x="464" y="787"/>
                    <a:pt x="464" y="787"/>
                    <a:pt x="463" y="787"/>
                  </a:cubicBezTo>
                  <a:cubicBezTo>
                    <a:pt x="463" y="787"/>
                    <a:pt x="463" y="787"/>
                    <a:pt x="463" y="787"/>
                  </a:cubicBezTo>
                  <a:cubicBezTo>
                    <a:pt x="462" y="787"/>
                    <a:pt x="462" y="787"/>
                    <a:pt x="462" y="787"/>
                  </a:cubicBezTo>
                  <a:cubicBezTo>
                    <a:pt x="462" y="787"/>
                    <a:pt x="462" y="787"/>
                    <a:pt x="462" y="787"/>
                  </a:cubicBezTo>
                  <a:cubicBezTo>
                    <a:pt x="462" y="787"/>
                    <a:pt x="461" y="786"/>
                    <a:pt x="460" y="786"/>
                  </a:cubicBezTo>
                  <a:cubicBezTo>
                    <a:pt x="460" y="786"/>
                    <a:pt x="459" y="786"/>
                    <a:pt x="459" y="786"/>
                  </a:cubicBezTo>
                  <a:cubicBezTo>
                    <a:pt x="458" y="787"/>
                    <a:pt x="458" y="787"/>
                    <a:pt x="458" y="787"/>
                  </a:cubicBezTo>
                  <a:cubicBezTo>
                    <a:pt x="458" y="787"/>
                    <a:pt x="458" y="787"/>
                    <a:pt x="458" y="787"/>
                  </a:cubicBezTo>
                  <a:cubicBezTo>
                    <a:pt x="457" y="787"/>
                    <a:pt x="457" y="787"/>
                    <a:pt x="456" y="787"/>
                  </a:cubicBezTo>
                  <a:cubicBezTo>
                    <a:pt x="456" y="787"/>
                    <a:pt x="455" y="787"/>
                    <a:pt x="455" y="787"/>
                  </a:cubicBezTo>
                  <a:cubicBezTo>
                    <a:pt x="454" y="787"/>
                    <a:pt x="454" y="787"/>
                    <a:pt x="454" y="787"/>
                  </a:cubicBezTo>
                  <a:cubicBezTo>
                    <a:pt x="454" y="788"/>
                    <a:pt x="454" y="788"/>
                    <a:pt x="454" y="788"/>
                  </a:cubicBezTo>
                  <a:cubicBezTo>
                    <a:pt x="453" y="788"/>
                    <a:pt x="452" y="787"/>
                    <a:pt x="451" y="788"/>
                  </a:cubicBezTo>
                  <a:cubicBezTo>
                    <a:pt x="451" y="788"/>
                    <a:pt x="451" y="788"/>
                    <a:pt x="451" y="788"/>
                  </a:cubicBezTo>
                  <a:cubicBezTo>
                    <a:pt x="451" y="788"/>
                    <a:pt x="451" y="788"/>
                    <a:pt x="451" y="788"/>
                  </a:cubicBezTo>
                  <a:cubicBezTo>
                    <a:pt x="451" y="788"/>
                    <a:pt x="450" y="788"/>
                    <a:pt x="450" y="788"/>
                  </a:cubicBezTo>
                  <a:cubicBezTo>
                    <a:pt x="449" y="787"/>
                    <a:pt x="449" y="787"/>
                    <a:pt x="448" y="787"/>
                  </a:cubicBezTo>
                  <a:cubicBezTo>
                    <a:pt x="448" y="787"/>
                    <a:pt x="448" y="787"/>
                    <a:pt x="448" y="787"/>
                  </a:cubicBezTo>
                  <a:cubicBezTo>
                    <a:pt x="446" y="787"/>
                    <a:pt x="446" y="788"/>
                    <a:pt x="445" y="789"/>
                  </a:cubicBezTo>
                  <a:cubicBezTo>
                    <a:pt x="445" y="789"/>
                    <a:pt x="445" y="790"/>
                    <a:pt x="445" y="790"/>
                  </a:cubicBezTo>
                  <a:cubicBezTo>
                    <a:pt x="445" y="790"/>
                    <a:pt x="445" y="790"/>
                    <a:pt x="444" y="790"/>
                  </a:cubicBezTo>
                  <a:cubicBezTo>
                    <a:pt x="444" y="791"/>
                    <a:pt x="444" y="791"/>
                    <a:pt x="444" y="791"/>
                  </a:cubicBezTo>
                  <a:cubicBezTo>
                    <a:pt x="443" y="791"/>
                    <a:pt x="442" y="791"/>
                    <a:pt x="441" y="792"/>
                  </a:cubicBezTo>
                  <a:cubicBezTo>
                    <a:pt x="441" y="792"/>
                    <a:pt x="441" y="792"/>
                    <a:pt x="441" y="792"/>
                  </a:cubicBezTo>
                  <a:cubicBezTo>
                    <a:pt x="441" y="792"/>
                    <a:pt x="440" y="792"/>
                    <a:pt x="440" y="792"/>
                  </a:cubicBezTo>
                  <a:cubicBezTo>
                    <a:pt x="439" y="792"/>
                    <a:pt x="439" y="792"/>
                    <a:pt x="439" y="792"/>
                  </a:cubicBezTo>
                  <a:cubicBezTo>
                    <a:pt x="438" y="792"/>
                    <a:pt x="438" y="792"/>
                    <a:pt x="438" y="792"/>
                  </a:cubicBezTo>
                  <a:cubicBezTo>
                    <a:pt x="438" y="792"/>
                    <a:pt x="438" y="792"/>
                    <a:pt x="437" y="792"/>
                  </a:cubicBezTo>
                  <a:cubicBezTo>
                    <a:pt x="437" y="792"/>
                    <a:pt x="437" y="792"/>
                    <a:pt x="437" y="792"/>
                  </a:cubicBezTo>
                  <a:cubicBezTo>
                    <a:pt x="437" y="791"/>
                    <a:pt x="436" y="791"/>
                    <a:pt x="436" y="791"/>
                  </a:cubicBezTo>
                  <a:cubicBezTo>
                    <a:pt x="436" y="791"/>
                    <a:pt x="436" y="791"/>
                    <a:pt x="435" y="791"/>
                  </a:cubicBezTo>
                  <a:cubicBezTo>
                    <a:pt x="435" y="791"/>
                    <a:pt x="435" y="790"/>
                    <a:pt x="435" y="790"/>
                  </a:cubicBezTo>
                  <a:cubicBezTo>
                    <a:pt x="434" y="790"/>
                    <a:pt x="434" y="790"/>
                    <a:pt x="434" y="790"/>
                  </a:cubicBezTo>
                  <a:cubicBezTo>
                    <a:pt x="434" y="790"/>
                    <a:pt x="434" y="790"/>
                    <a:pt x="434" y="790"/>
                  </a:cubicBezTo>
                  <a:cubicBezTo>
                    <a:pt x="434" y="789"/>
                    <a:pt x="434" y="789"/>
                    <a:pt x="434" y="789"/>
                  </a:cubicBezTo>
                  <a:cubicBezTo>
                    <a:pt x="434" y="789"/>
                    <a:pt x="434" y="787"/>
                    <a:pt x="432" y="787"/>
                  </a:cubicBezTo>
                  <a:cubicBezTo>
                    <a:pt x="432" y="788"/>
                    <a:pt x="432" y="788"/>
                    <a:pt x="432" y="788"/>
                  </a:cubicBezTo>
                  <a:cubicBezTo>
                    <a:pt x="432" y="787"/>
                    <a:pt x="432" y="787"/>
                    <a:pt x="432" y="787"/>
                  </a:cubicBezTo>
                  <a:cubicBezTo>
                    <a:pt x="431" y="787"/>
                    <a:pt x="431" y="787"/>
                    <a:pt x="430" y="787"/>
                  </a:cubicBezTo>
                  <a:cubicBezTo>
                    <a:pt x="430" y="787"/>
                    <a:pt x="430" y="787"/>
                    <a:pt x="430" y="787"/>
                  </a:cubicBezTo>
                  <a:cubicBezTo>
                    <a:pt x="429" y="787"/>
                    <a:pt x="429" y="787"/>
                    <a:pt x="429" y="787"/>
                  </a:cubicBezTo>
                  <a:cubicBezTo>
                    <a:pt x="429" y="787"/>
                    <a:pt x="428" y="787"/>
                    <a:pt x="428" y="787"/>
                  </a:cubicBezTo>
                  <a:cubicBezTo>
                    <a:pt x="427" y="788"/>
                    <a:pt x="427" y="788"/>
                    <a:pt x="427" y="788"/>
                  </a:cubicBezTo>
                  <a:cubicBezTo>
                    <a:pt x="427" y="787"/>
                    <a:pt x="427" y="787"/>
                    <a:pt x="427" y="787"/>
                  </a:cubicBezTo>
                  <a:cubicBezTo>
                    <a:pt x="426" y="787"/>
                    <a:pt x="425" y="787"/>
                    <a:pt x="424" y="787"/>
                  </a:cubicBezTo>
                  <a:cubicBezTo>
                    <a:pt x="424" y="787"/>
                    <a:pt x="423" y="787"/>
                    <a:pt x="423" y="787"/>
                  </a:cubicBezTo>
                  <a:cubicBezTo>
                    <a:pt x="423" y="788"/>
                    <a:pt x="423" y="788"/>
                    <a:pt x="423" y="788"/>
                  </a:cubicBezTo>
                  <a:cubicBezTo>
                    <a:pt x="423" y="787"/>
                    <a:pt x="423" y="787"/>
                    <a:pt x="423" y="787"/>
                  </a:cubicBezTo>
                  <a:cubicBezTo>
                    <a:pt x="422" y="787"/>
                    <a:pt x="422" y="787"/>
                    <a:pt x="422" y="787"/>
                  </a:cubicBezTo>
                  <a:cubicBezTo>
                    <a:pt x="422" y="787"/>
                    <a:pt x="421" y="787"/>
                    <a:pt x="421" y="787"/>
                  </a:cubicBezTo>
                  <a:cubicBezTo>
                    <a:pt x="421" y="788"/>
                    <a:pt x="421" y="788"/>
                    <a:pt x="421" y="788"/>
                  </a:cubicBezTo>
                  <a:cubicBezTo>
                    <a:pt x="421" y="787"/>
                    <a:pt x="421" y="787"/>
                    <a:pt x="421" y="787"/>
                  </a:cubicBezTo>
                  <a:cubicBezTo>
                    <a:pt x="420" y="787"/>
                    <a:pt x="420" y="787"/>
                    <a:pt x="420" y="787"/>
                  </a:cubicBezTo>
                  <a:cubicBezTo>
                    <a:pt x="420" y="787"/>
                    <a:pt x="420" y="787"/>
                    <a:pt x="420" y="787"/>
                  </a:cubicBezTo>
                  <a:cubicBezTo>
                    <a:pt x="419" y="786"/>
                    <a:pt x="419" y="786"/>
                    <a:pt x="418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5"/>
                    <a:pt x="417" y="785"/>
                    <a:pt x="417" y="784"/>
                  </a:cubicBezTo>
                  <a:cubicBezTo>
                    <a:pt x="416" y="784"/>
                    <a:pt x="416" y="783"/>
                    <a:pt x="416" y="783"/>
                  </a:cubicBezTo>
                  <a:cubicBezTo>
                    <a:pt x="415" y="783"/>
                    <a:pt x="415" y="783"/>
                    <a:pt x="415" y="783"/>
                  </a:cubicBezTo>
                  <a:cubicBezTo>
                    <a:pt x="415" y="782"/>
                    <a:pt x="414" y="782"/>
                    <a:pt x="414" y="782"/>
                  </a:cubicBezTo>
                  <a:cubicBezTo>
                    <a:pt x="414" y="783"/>
                    <a:pt x="414" y="783"/>
                    <a:pt x="414" y="783"/>
                  </a:cubicBezTo>
                  <a:cubicBezTo>
                    <a:pt x="414" y="783"/>
                    <a:pt x="414" y="783"/>
                    <a:pt x="414" y="783"/>
                  </a:cubicBezTo>
                  <a:cubicBezTo>
                    <a:pt x="414" y="782"/>
                    <a:pt x="414" y="782"/>
                    <a:pt x="414" y="782"/>
                  </a:cubicBezTo>
                  <a:cubicBezTo>
                    <a:pt x="414" y="782"/>
                    <a:pt x="414" y="782"/>
                    <a:pt x="414" y="781"/>
                  </a:cubicBezTo>
                  <a:cubicBezTo>
                    <a:pt x="414" y="781"/>
                    <a:pt x="414" y="781"/>
                    <a:pt x="414" y="781"/>
                  </a:cubicBezTo>
                  <a:cubicBezTo>
                    <a:pt x="413" y="779"/>
                    <a:pt x="412" y="778"/>
                    <a:pt x="411" y="778"/>
                  </a:cubicBezTo>
                  <a:cubicBezTo>
                    <a:pt x="411" y="778"/>
                    <a:pt x="411" y="778"/>
                    <a:pt x="411" y="778"/>
                  </a:cubicBezTo>
                  <a:cubicBezTo>
                    <a:pt x="410" y="777"/>
                    <a:pt x="410" y="777"/>
                    <a:pt x="409" y="776"/>
                  </a:cubicBezTo>
                  <a:cubicBezTo>
                    <a:pt x="408" y="776"/>
                    <a:pt x="408" y="776"/>
                    <a:pt x="408" y="776"/>
                  </a:cubicBezTo>
                  <a:cubicBezTo>
                    <a:pt x="408" y="776"/>
                    <a:pt x="407" y="777"/>
                    <a:pt x="406" y="778"/>
                  </a:cubicBezTo>
                  <a:cubicBezTo>
                    <a:pt x="406" y="778"/>
                    <a:pt x="406" y="778"/>
                    <a:pt x="406" y="778"/>
                  </a:cubicBezTo>
                  <a:cubicBezTo>
                    <a:pt x="406" y="778"/>
                    <a:pt x="406" y="777"/>
                    <a:pt x="406" y="777"/>
                  </a:cubicBezTo>
                  <a:cubicBezTo>
                    <a:pt x="406" y="777"/>
                    <a:pt x="406" y="776"/>
                    <a:pt x="406" y="775"/>
                  </a:cubicBezTo>
                  <a:cubicBezTo>
                    <a:pt x="406" y="775"/>
                    <a:pt x="406" y="775"/>
                    <a:pt x="406" y="774"/>
                  </a:cubicBezTo>
                  <a:cubicBezTo>
                    <a:pt x="406" y="774"/>
                    <a:pt x="406" y="773"/>
                    <a:pt x="406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2"/>
                    <a:pt x="407" y="771"/>
                    <a:pt x="406" y="770"/>
                  </a:cubicBezTo>
                  <a:cubicBezTo>
                    <a:pt x="405" y="769"/>
                    <a:pt x="404" y="769"/>
                    <a:pt x="403" y="769"/>
                  </a:cubicBezTo>
                  <a:cubicBezTo>
                    <a:pt x="403" y="769"/>
                    <a:pt x="403" y="769"/>
                    <a:pt x="403" y="769"/>
                  </a:cubicBezTo>
                  <a:cubicBezTo>
                    <a:pt x="402" y="769"/>
                    <a:pt x="402" y="769"/>
                    <a:pt x="401" y="769"/>
                  </a:cubicBezTo>
                  <a:cubicBezTo>
                    <a:pt x="400" y="770"/>
                    <a:pt x="400" y="770"/>
                    <a:pt x="399" y="771"/>
                  </a:cubicBezTo>
                  <a:cubicBezTo>
                    <a:pt x="399" y="772"/>
                    <a:pt x="399" y="772"/>
                    <a:pt x="399" y="773"/>
                  </a:cubicBezTo>
                  <a:cubicBezTo>
                    <a:pt x="399" y="774"/>
                    <a:pt x="399" y="774"/>
                    <a:pt x="399" y="774"/>
                  </a:cubicBezTo>
                  <a:cubicBezTo>
                    <a:pt x="399" y="774"/>
                    <a:pt x="399" y="774"/>
                    <a:pt x="399" y="774"/>
                  </a:cubicBezTo>
                  <a:cubicBezTo>
                    <a:pt x="399" y="775"/>
                    <a:pt x="399" y="776"/>
                    <a:pt x="399" y="776"/>
                  </a:cubicBezTo>
                  <a:cubicBezTo>
                    <a:pt x="400" y="777"/>
                    <a:pt x="400" y="777"/>
                    <a:pt x="400" y="777"/>
                  </a:cubicBezTo>
                  <a:cubicBezTo>
                    <a:pt x="400" y="777"/>
                    <a:pt x="400" y="777"/>
                    <a:pt x="400" y="777"/>
                  </a:cubicBezTo>
                  <a:cubicBezTo>
                    <a:pt x="400" y="777"/>
                    <a:pt x="400" y="777"/>
                    <a:pt x="400" y="777"/>
                  </a:cubicBezTo>
                  <a:cubicBezTo>
                    <a:pt x="399" y="777"/>
                    <a:pt x="399" y="777"/>
                    <a:pt x="399" y="777"/>
                  </a:cubicBezTo>
                  <a:cubicBezTo>
                    <a:pt x="399" y="778"/>
                    <a:pt x="399" y="778"/>
                    <a:pt x="399" y="778"/>
                  </a:cubicBezTo>
                  <a:cubicBezTo>
                    <a:pt x="399" y="778"/>
                    <a:pt x="399" y="778"/>
                    <a:pt x="399" y="778"/>
                  </a:cubicBezTo>
                  <a:cubicBezTo>
                    <a:pt x="398" y="778"/>
                    <a:pt x="398" y="778"/>
                    <a:pt x="398" y="778"/>
                  </a:cubicBezTo>
                  <a:cubicBezTo>
                    <a:pt x="398" y="778"/>
                    <a:pt x="398" y="778"/>
                    <a:pt x="398" y="778"/>
                  </a:cubicBezTo>
                  <a:cubicBezTo>
                    <a:pt x="397" y="778"/>
                    <a:pt x="397" y="779"/>
                    <a:pt x="397" y="779"/>
                  </a:cubicBezTo>
                  <a:cubicBezTo>
                    <a:pt x="397" y="779"/>
                    <a:pt x="396" y="779"/>
                    <a:pt x="396" y="779"/>
                  </a:cubicBezTo>
                  <a:cubicBezTo>
                    <a:pt x="395" y="779"/>
                    <a:pt x="395" y="779"/>
                    <a:pt x="395" y="779"/>
                  </a:cubicBezTo>
                  <a:cubicBezTo>
                    <a:pt x="394" y="779"/>
                    <a:pt x="394" y="779"/>
                    <a:pt x="394" y="780"/>
                  </a:cubicBezTo>
                  <a:cubicBezTo>
                    <a:pt x="393" y="780"/>
                    <a:pt x="393" y="780"/>
                    <a:pt x="392" y="781"/>
                  </a:cubicBezTo>
                  <a:cubicBezTo>
                    <a:pt x="392" y="781"/>
                    <a:pt x="392" y="781"/>
                    <a:pt x="392" y="781"/>
                  </a:cubicBezTo>
                  <a:cubicBezTo>
                    <a:pt x="392" y="781"/>
                    <a:pt x="392" y="781"/>
                    <a:pt x="392" y="782"/>
                  </a:cubicBezTo>
                  <a:cubicBezTo>
                    <a:pt x="392" y="782"/>
                    <a:pt x="391" y="782"/>
                    <a:pt x="391" y="782"/>
                  </a:cubicBezTo>
                  <a:cubicBezTo>
                    <a:pt x="391" y="782"/>
                    <a:pt x="391" y="782"/>
                    <a:pt x="390" y="782"/>
                  </a:cubicBezTo>
                  <a:cubicBezTo>
                    <a:pt x="390" y="782"/>
                    <a:pt x="389" y="782"/>
                    <a:pt x="388" y="782"/>
                  </a:cubicBezTo>
                  <a:cubicBezTo>
                    <a:pt x="388" y="782"/>
                    <a:pt x="388" y="782"/>
                    <a:pt x="388" y="782"/>
                  </a:cubicBezTo>
                  <a:cubicBezTo>
                    <a:pt x="389" y="781"/>
                    <a:pt x="389" y="780"/>
                    <a:pt x="389" y="780"/>
                  </a:cubicBezTo>
                  <a:cubicBezTo>
                    <a:pt x="389" y="779"/>
                    <a:pt x="389" y="779"/>
                    <a:pt x="389" y="779"/>
                  </a:cubicBezTo>
                  <a:cubicBezTo>
                    <a:pt x="389" y="779"/>
                    <a:pt x="389" y="779"/>
                    <a:pt x="389" y="778"/>
                  </a:cubicBezTo>
                  <a:cubicBezTo>
                    <a:pt x="389" y="778"/>
                    <a:pt x="389" y="778"/>
                    <a:pt x="389" y="778"/>
                  </a:cubicBezTo>
                  <a:cubicBezTo>
                    <a:pt x="389" y="778"/>
                    <a:pt x="389" y="778"/>
                    <a:pt x="389" y="778"/>
                  </a:cubicBezTo>
                  <a:cubicBezTo>
                    <a:pt x="389" y="777"/>
                    <a:pt x="389" y="777"/>
                    <a:pt x="389" y="777"/>
                  </a:cubicBezTo>
                  <a:cubicBezTo>
                    <a:pt x="390" y="778"/>
                    <a:pt x="390" y="778"/>
                    <a:pt x="390" y="778"/>
                  </a:cubicBezTo>
                  <a:cubicBezTo>
                    <a:pt x="390" y="777"/>
                    <a:pt x="390" y="777"/>
                    <a:pt x="390" y="777"/>
                  </a:cubicBezTo>
                  <a:cubicBezTo>
                    <a:pt x="390" y="777"/>
                    <a:pt x="391" y="777"/>
                    <a:pt x="391" y="777"/>
                  </a:cubicBezTo>
                  <a:cubicBezTo>
                    <a:pt x="391" y="777"/>
                    <a:pt x="391" y="777"/>
                    <a:pt x="391" y="777"/>
                  </a:cubicBezTo>
                  <a:cubicBezTo>
                    <a:pt x="392" y="776"/>
                    <a:pt x="393" y="776"/>
                    <a:pt x="393" y="775"/>
                  </a:cubicBezTo>
                  <a:cubicBezTo>
                    <a:pt x="393" y="775"/>
                    <a:pt x="393" y="775"/>
                    <a:pt x="393" y="775"/>
                  </a:cubicBezTo>
                  <a:cubicBezTo>
                    <a:pt x="393" y="774"/>
                    <a:pt x="393" y="774"/>
                    <a:pt x="394" y="774"/>
                  </a:cubicBezTo>
                  <a:cubicBezTo>
                    <a:pt x="394" y="774"/>
                    <a:pt x="394" y="774"/>
                    <a:pt x="394" y="774"/>
                  </a:cubicBezTo>
                  <a:cubicBezTo>
                    <a:pt x="394" y="773"/>
                    <a:pt x="395" y="772"/>
                    <a:pt x="395" y="771"/>
                  </a:cubicBezTo>
                  <a:cubicBezTo>
                    <a:pt x="395" y="771"/>
                    <a:pt x="395" y="771"/>
                    <a:pt x="395" y="771"/>
                  </a:cubicBezTo>
                  <a:cubicBezTo>
                    <a:pt x="395" y="771"/>
                    <a:pt x="395" y="771"/>
                    <a:pt x="395" y="771"/>
                  </a:cubicBezTo>
                  <a:cubicBezTo>
                    <a:pt x="395" y="771"/>
                    <a:pt x="395" y="770"/>
                    <a:pt x="395" y="769"/>
                  </a:cubicBezTo>
                  <a:cubicBezTo>
                    <a:pt x="394" y="769"/>
                    <a:pt x="394" y="768"/>
                    <a:pt x="393" y="768"/>
                  </a:cubicBezTo>
                  <a:cubicBezTo>
                    <a:pt x="393" y="768"/>
                    <a:pt x="393" y="768"/>
                    <a:pt x="393" y="768"/>
                  </a:cubicBezTo>
                  <a:cubicBezTo>
                    <a:pt x="393" y="767"/>
                    <a:pt x="393" y="767"/>
                    <a:pt x="392" y="766"/>
                  </a:cubicBezTo>
                  <a:cubicBezTo>
                    <a:pt x="391" y="766"/>
                    <a:pt x="391" y="766"/>
                    <a:pt x="390" y="766"/>
                  </a:cubicBezTo>
                  <a:cubicBezTo>
                    <a:pt x="389" y="766"/>
                    <a:pt x="388" y="766"/>
                    <a:pt x="388" y="767"/>
                  </a:cubicBezTo>
                  <a:cubicBezTo>
                    <a:pt x="388" y="767"/>
                    <a:pt x="388" y="767"/>
                    <a:pt x="388" y="767"/>
                  </a:cubicBezTo>
                  <a:cubicBezTo>
                    <a:pt x="387" y="767"/>
                    <a:pt x="387" y="767"/>
                    <a:pt x="387" y="767"/>
                  </a:cubicBezTo>
                  <a:cubicBezTo>
                    <a:pt x="387" y="767"/>
                    <a:pt x="387" y="767"/>
                    <a:pt x="386" y="767"/>
                  </a:cubicBezTo>
                  <a:cubicBezTo>
                    <a:pt x="386" y="767"/>
                    <a:pt x="386" y="767"/>
                    <a:pt x="386" y="767"/>
                  </a:cubicBezTo>
                  <a:cubicBezTo>
                    <a:pt x="385" y="767"/>
                    <a:pt x="385" y="767"/>
                    <a:pt x="384" y="768"/>
                  </a:cubicBezTo>
                  <a:cubicBezTo>
                    <a:pt x="383" y="768"/>
                    <a:pt x="383" y="769"/>
                    <a:pt x="383" y="770"/>
                  </a:cubicBezTo>
                  <a:cubicBezTo>
                    <a:pt x="383" y="770"/>
                    <a:pt x="383" y="771"/>
                    <a:pt x="383" y="772"/>
                  </a:cubicBezTo>
                  <a:cubicBezTo>
                    <a:pt x="383" y="772"/>
                    <a:pt x="383" y="772"/>
                    <a:pt x="383" y="772"/>
                  </a:cubicBezTo>
                  <a:cubicBezTo>
                    <a:pt x="383" y="773"/>
                    <a:pt x="383" y="773"/>
                    <a:pt x="383" y="773"/>
                  </a:cubicBezTo>
                  <a:cubicBezTo>
                    <a:pt x="383" y="773"/>
                    <a:pt x="383" y="773"/>
                    <a:pt x="382" y="773"/>
                  </a:cubicBezTo>
                  <a:cubicBezTo>
                    <a:pt x="382" y="773"/>
                    <a:pt x="382" y="773"/>
                    <a:pt x="382" y="773"/>
                  </a:cubicBezTo>
                  <a:cubicBezTo>
                    <a:pt x="381" y="773"/>
                    <a:pt x="381" y="773"/>
                    <a:pt x="381" y="773"/>
                  </a:cubicBezTo>
                  <a:cubicBezTo>
                    <a:pt x="381" y="774"/>
                    <a:pt x="381" y="774"/>
                    <a:pt x="380" y="774"/>
                  </a:cubicBezTo>
                  <a:cubicBezTo>
                    <a:pt x="380" y="774"/>
                    <a:pt x="379" y="774"/>
                    <a:pt x="379" y="774"/>
                  </a:cubicBezTo>
                  <a:cubicBezTo>
                    <a:pt x="378" y="775"/>
                    <a:pt x="378" y="775"/>
                    <a:pt x="378" y="775"/>
                  </a:cubicBezTo>
                  <a:cubicBezTo>
                    <a:pt x="378" y="775"/>
                    <a:pt x="378" y="775"/>
                    <a:pt x="377" y="775"/>
                  </a:cubicBezTo>
                  <a:cubicBezTo>
                    <a:pt x="377" y="775"/>
                    <a:pt x="376" y="776"/>
                    <a:pt x="376" y="776"/>
                  </a:cubicBezTo>
                  <a:cubicBezTo>
                    <a:pt x="376" y="777"/>
                    <a:pt x="376" y="777"/>
                    <a:pt x="376" y="777"/>
                  </a:cubicBezTo>
                  <a:cubicBezTo>
                    <a:pt x="375" y="777"/>
                    <a:pt x="375" y="777"/>
                    <a:pt x="375" y="778"/>
                  </a:cubicBezTo>
                  <a:cubicBezTo>
                    <a:pt x="374" y="778"/>
                    <a:pt x="374" y="778"/>
                    <a:pt x="374" y="778"/>
                  </a:cubicBezTo>
                  <a:cubicBezTo>
                    <a:pt x="374" y="779"/>
                    <a:pt x="374" y="779"/>
                    <a:pt x="374" y="779"/>
                  </a:cubicBezTo>
                  <a:cubicBezTo>
                    <a:pt x="374" y="779"/>
                    <a:pt x="373" y="779"/>
                    <a:pt x="373" y="779"/>
                  </a:cubicBezTo>
                  <a:cubicBezTo>
                    <a:pt x="373" y="779"/>
                    <a:pt x="373" y="778"/>
                    <a:pt x="373" y="778"/>
                  </a:cubicBezTo>
                  <a:cubicBezTo>
                    <a:pt x="372" y="778"/>
                    <a:pt x="372" y="778"/>
                    <a:pt x="372" y="778"/>
                  </a:cubicBezTo>
                  <a:cubicBezTo>
                    <a:pt x="372" y="779"/>
                    <a:pt x="372" y="778"/>
                    <a:pt x="371" y="778"/>
                  </a:cubicBezTo>
                  <a:cubicBezTo>
                    <a:pt x="371" y="778"/>
                    <a:pt x="371" y="778"/>
                    <a:pt x="370" y="778"/>
                  </a:cubicBezTo>
                  <a:cubicBezTo>
                    <a:pt x="370" y="779"/>
                    <a:pt x="370" y="779"/>
                    <a:pt x="370" y="779"/>
                  </a:cubicBezTo>
                  <a:cubicBezTo>
                    <a:pt x="369" y="778"/>
                    <a:pt x="369" y="778"/>
                    <a:pt x="369" y="779"/>
                  </a:cubicBezTo>
                  <a:cubicBezTo>
                    <a:pt x="368" y="779"/>
                    <a:pt x="368" y="779"/>
                    <a:pt x="368" y="779"/>
                  </a:cubicBezTo>
                  <a:cubicBezTo>
                    <a:pt x="367" y="779"/>
                    <a:pt x="367" y="779"/>
                    <a:pt x="366" y="780"/>
                  </a:cubicBezTo>
                  <a:cubicBezTo>
                    <a:pt x="366" y="780"/>
                    <a:pt x="366" y="780"/>
                    <a:pt x="366" y="781"/>
                  </a:cubicBezTo>
                  <a:cubicBezTo>
                    <a:pt x="365" y="780"/>
                    <a:pt x="364" y="780"/>
                    <a:pt x="363" y="780"/>
                  </a:cubicBezTo>
                  <a:cubicBezTo>
                    <a:pt x="363" y="781"/>
                    <a:pt x="362" y="781"/>
                    <a:pt x="362" y="781"/>
                  </a:cubicBezTo>
                  <a:cubicBezTo>
                    <a:pt x="362" y="781"/>
                    <a:pt x="362" y="781"/>
                    <a:pt x="362" y="781"/>
                  </a:cubicBezTo>
                  <a:cubicBezTo>
                    <a:pt x="361" y="782"/>
                    <a:pt x="361" y="782"/>
                    <a:pt x="361" y="782"/>
                  </a:cubicBezTo>
                  <a:cubicBezTo>
                    <a:pt x="361" y="782"/>
                    <a:pt x="360" y="782"/>
                    <a:pt x="360" y="782"/>
                  </a:cubicBezTo>
                  <a:cubicBezTo>
                    <a:pt x="360" y="783"/>
                    <a:pt x="359" y="783"/>
                    <a:pt x="359" y="783"/>
                  </a:cubicBezTo>
                  <a:cubicBezTo>
                    <a:pt x="359" y="783"/>
                    <a:pt x="358" y="784"/>
                    <a:pt x="358" y="784"/>
                  </a:cubicBezTo>
                  <a:cubicBezTo>
                    <a:pt x="357" y="785"/>
                    <a:pt x="357" y="785"/>
                    <a:pt x="357" y="785"/>
                  </a:cubicBezTo>
                  <a:cubicBezTo>
                    <a:pt x="357" y="785"/>
                    <a:pt x="357" y="785"/>
                    <a:pt x="357" y="785"/>
                  </a:cubicBezTo>
                  <a:cubicBezTo>
                    <a:pt x="356" y="785"/>
                    <a:pt x="356" y="786"/>
                    <a:pt x="356" y="786"/>
                  </a:cubicBezTo>
                  <a:cubicBezTo>
                    <a:pt x="356" y="786"/>
                    <a:pt x="356" y="786"/>
                    <a:pt x="356" y="787"/>
                  </a:cubicBezTo>
                  <a:cubicBezTo>
                    <a:pt x="355" y="787"/>
                    <a:pt x="355" y="787"/>
                    <a:pt x="355" y="787"/>
                  </a:cubicBezTo>
                  <a:cubicBezTo>
                    <a:pt x="354" y="788"/>
                    <a:pt x="354" y="788"/>
                    <a:pt x="354" y="788"/>
                  </a:cubicBezTo>
                  <a:cubicBezTo>
                    <a:pt x="354" y="788"/>
                    <a:pt x="354" y="788"/>
                    <a:pt x="354" y="788"/>
                  </a:cubicBezTo>
                  <a:cubicBezTo>
                    <a:pt x="354" y="789"/>
                    <a:pt x="352" y="789"/>
                    <a:pt x="352" y="790"/>
                  </a:cubicBezTo>
                  <a:cubicBezTo>
                    <a:pt x="352" y="791"/>
                    <a:pt x="353" y="791"/>
                    <a:pt x="353" y="791"/>
                  </a:cubicBezTo>
                  <a:cubicBezTo>
                    <a:pt x="352" y="792"/>
                    <a:pt x="352" y="792"/>
                    <a:pt x="352" y="793"/>
                  </a:cubicBezTo>
                  <a:cubicBezTo>
                    <a:pt x="352" y="793"/>
                    <a:pt x="353" y="794"/>
                    <a:pt x="354" y="794"/>
                  </a:cubicBezTo>
                  <a:cubicBezTo>
                    <a:pt x="353" y="794"/>
                    <a:pt x="353" y="794"/>
                    <a:pt x="353" y="795"/>
                  </a:cubicBezTo>
                  <a:cubicBezTo>
                    <a:pt x="351" y="796"/>
                    <a:pt x="351" y="797"/>
                    <a:pt x="352" y="797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1" y="797"/>
                    <a:pt x="350" y="797"/>
                  </a:cubicBezTo>
                  <a:cubicBezTo>
                    <a:pt x="350" y="797"/>
                    <a:pt x="350" y="798"/>
                    <a:pt x="349" y="798"/>
                  </a:cubicBezTo>
                  <a:cubicBezTo>
                    <a:pt x="349" y="798"/>
                    <a:pt x="349" y="798"/>
                    <a:pt x="348" y="799"/>
                  </a:cubicBezTo>
                  <a:cubicBezTo>
                    <a:pt x="348" y="799"/>
                    <a:pt x="347" y="800"/>
                    <a:pt x="347" y="800"/>
                  </a:cubicBezTo>
                  <a:cubicBezTo>
                    <a:pt x="347" y="801"/>
                    <a:pt x="347" y="801"/>
                    <a:pt x="347" y="801"/>
                  </a:cubicBezTo>
                  <a:cubicBezTo>
                    <a:pt x="347" y="801"/>
                    <a:pt x="347" y="801"/>
                    <a:pt x="347" y="801"/>
                  </a:cubicBezTo>
                  <a:cubicBezTo>
                    <a:pt x="347" y="801"/>
                    <a:pt x="346" y="801"/>
                    <a:pt x="346" y="801"/>
                  </a:cubicBezTo>
                  <a:cubicBezTo>
                    <a:pt x="346" y="802"/>
                    <a:pt x="346" y="802"/>
                    <a:pt x="346" y="803"/>
                  </a:cubicBezTo>
                  <a:cubicBezTo>
                    <a:pt x="346" y="803"/>
                    <a:pt x="346" y="803"/>
                    <a:pt x="345" y="803"/>
                  </a:cubicBezTo>
                  <a:cubicBezTo>
                    <a:pt x="345" y="803"/>
                    <a:pt x="345" y="804"/>
                    <a:pt x="345" y="804"/>
                  </a:cubicBezTo>
                  <a:cubicBezTo>
                    <a:pt x="344" y="804"/>
                    <a:pt x="344" y="804"/>
                    <a:pt x="344" y="804"/>
                  </a:cubicBezTo>
                  <a:cubicBezTo>
                    <a:pt x="344" y="805"/>
                    <a:pt x="344" y="805"/>
                    <a:pt x="343" y="806"/>
                  </a:cubicBezTo>
                  <a:cubicBezTo>
                    <a:pt x="343" y="806"/>
                    <a:pt x="343" y="806"/>
                    <a:pt x="343" y="806"/>
                  </a:cubicBezTo>
                  <a:cubicBezTo>
                    <a:pt x="343" y="806"/>
                    <a:pt x="343" y="806"/>
                    <a:pt x="343" y="806"/>
                  </a:cubicBezTo>
                  <a:cubicBezTo>
                    <a:pt x="343" y="806"/>
                    <a:pt x="343" y="807"/>
                    <a:pt x="343" y="807"/>
                  </a:cubicBezTo>
                  <a:cubicBezTo>
                    <a:pt x="343" y="807"/>
                    <a:pt x="342" y="807"/>
                    <a:pt x="342" y="807"/>
                  </a:cubicBezTo>
                  <a:cubicBezTo>
                    <a:pt x="342" y="807"/>
                    <a:pt x="342" y="807"/>
                    <a:pt x="341" y="807"/>
                  </a:cubicBezTo>
                  <a:cubicBezTo>
                    <a:pt x="341" y="807"/>
                    <a:pt x="341" y="808"/>
                    <a:pt x="340" y="808"/>
                  </a:cubicBezTo>
                  <a:cubicBezTo>
                    <a:pt x="340" y="808"/>
                    <a:pt x="340" y="808"/>
                    <a:pt x="340" y="808"/>
                  </a:cubicBezTo>
                  <a:cubicBezTo>
                    <a:pt x="340" y="808"/>
                    <a:pt x="340" y="808"/>
                    <a:pt x="340" y="807"/>
                  </a:cubicBezTo>
                  <a:cubicBezTo>
                    <a:pt x="340" y="807"/>
                    <a:pt x="340" y="807"/>
                    <a:pt x="340" y="807"/>
                  </a:cubicBezTo>
                  <a:cubicBezTo>
                    <a:pt x="340" y="807"/>
                    <a:pt x="340" y="807"/>
                    <a:pt x="340" y="807"/>
                  </a:cubicBezTo>
                  <a:cubicBezTo>
                    <a:pt x="340" y="805"/>
                    <a:pt x="340" y="805"/>
                    <a:pt x="340" y="805"/>
                  </a:cubicBezTo>
                  <a:cubicBezTo>
                    <a:pt x="339" y="805"/>
                    <a:pt x="339" y="805"/>
                    <a:pt x="339" y="805"/>
                  </a:cubicBezTo>
                  <a:cubicBezTo>
                    <a:pt x="338" y="805"/>
                    <a:pt x="338" y="805"/>
                    <a:pt x="337" y="805"/>
                  </a:cubicBezTo>
                  <a:cubicBezTo>
                    <a:pt x="337" y="805"/>
                    <a:pt x="337" y="805"/>
                    <a:pt x="337" y="805"/>
                  </a:cubicBezTo>
                  <a:cubicBezTo>
                    <a:pt x="337" y="805"/>
                    <a:pt x="337" y="805"/>
                    <a:pt x="337" y="805"/>
                  </a:cubicBezTo>
                  <a:cubicBezTo>
                    <a:pt x="336" y="804"/>
                    <a:pt x="336" y="804"/>
                    <a:pt x="336" y="804"/>
                  </a:cubicBezTo>
                  <a:cubicBezTo>
                    <a:pt x="336" y="804"/>
                    <a:pt x="336" y="804"/>
                    <a:pt x="336" y="804"/>
                  </a:cubicBezTo>
                  <a:cubicBezTo>
                    <a:pt x="336" y="804"/>
                    <a:pt x="336" y="804"/>
                    <a:pt x="336" y="804"/>
                  </a:cubicBezTo>
                  <a:cubicBezTo>
                    <a:pt x="335" y="802"/>
                    <a:pt x="334" y="801"/>
                    <a:pt x="333" y="800"/>
                  </a:cubicBezTo>
                  <a:cubicBezTo>
                    <a:pt x="333" y="800"/>
                    <a:pt x="333" y="800"/>
                    <a:pt x="332" y="800"/>
                  </a:cubicBezTo>
                  <a:cubicBezTo>
                    <a:pt x="332" y="799"/>
                    <a:pt x="330" y="798"/>
                    <a:pt x="329" y="797"/>
                  </a:cubicBezTo>
                  <a:cubicBezTo>
                    <a:pt x="328" y="797"/>
                    <a:pt x="328" y="797"/>
                    <a:pt x="328" y="797"/>
                  </a:cubicBezTo>
                  <a:cubicBezTo>
                    <a:pt x="328" y="797"/>
                    <a:pt x="327" y="796"/>
                    <a:pt x="327" y="796"/>
                  </a:cubicBezTo>
                  <a:cubicBezTo>
                    <a:pt x="327" y="796"/>
                    <a:pt x="326" y="796"/>
                    <a:pt x="326" y="796"/>
                  </a:cubicBezTo>
                  <a:cubicBezTo>
                    <a:pt x="325" y="796"/>
                    <a:pt x="325" y="796"/>
                    <a:pt x="324" y="796"/>
                  </a:cubicBezTo>
                  <a:cubicBezTo>
                    <a:pt x="324" y="796"/>
                    <a:pt x="324" y="796"/>
                    <a:pt x="324" y="796"/>
                  </a:cubicBezTo>
                  <a:cubicBezTo>
                    <a:pt x="323" y="795"/>
                    <a:pt x="323" y="795"/>
                    <a:pt x="323" y="795"/>
                  </a:cubicBezTo>
                  <a:cubicBezTo>
                    <a:pt x="323" y="795"/>
                    <a:pt x="323" y="795"/>
                    <a:pt x="322" y="795"/>
                  </a:cubicBezTo>
                  <a:cubicBezTo>
                    <a:pt x="322" y="795"/>
                    <a:pt x="322" y="795"/>
                    <a:pt x="321" y="795"/>
                  </a:cubicBezTo>
                  <a:cubicBezTo>
                    <a:pt x="320" y="795"/>
                    <a:pt x="319" y="795"/>
                    <a:pt x="319" y="796"/>
                  </a:cubicBezTo>
                  <a:cubicBezTo>
                    <a:pt x="320" y="797"/>
                    <a:pt x="320" y="797"/>
                    <a:pt x="320" y="797"/>
                  </a:cubicBezTo>
                  <a:cubicBezTo>
                    <a:pt x="319" y="796"/>
                    <a:pt x="319" y="796"/>
                    <a:pt x="319" y="796"/>
                  </a:cubicBezTo>
                  <a:cubicBezTo>
                    <a:pt x="319" y="796"/>
                    <a:pt x="319" y="796"/>
                    <a:pt x="318" y="796"/>
                  </a:cubicBezTo>
                  <a:cubicBezTo>
                    <a:pt x="318" y="797"/>
                    <a:pt x="317" y="798"/>
                    <a:pt x="317" y="798"/>
                  </a:cubicBezTo>
                  <a:cubicBezTo>
                    <a:pt x="317" y="798"/>
                    <a:pt x="317" y="798"/>
                    <a:pt x="317" y="799"/>
                  </a:cubicBezTo>
                  <a:cubicBezTo>
                    <a:pt x="317" y="799"/>
                    <a:pt x="317" y="799"/>
                    <a:pt x="317" y="799"/>
                  </a:cubicBezTo>
                  <a:cubicBezTo>
                    <a:pt x="317" y="799"/>
                    <a:pt x="317" y="799"/>
                    <a:pt x="316" y="799"/>
                  </a:cubicBezTo>
                  <a:cubicBezTo>
                    <a:pt x="316" y="799"/>
                    <a:pt x="316" y="799"/>
                    <a:pt x="316" y="799"/>
                  </a:cubicBezTo>
                  <a:cubicBezTo>
                    <a:pt x="315" y="799"/>
                    <a:pt x="315" y="800"/>
                    <a:pt x="314" y="800"/>
                  </a:cubicBezTo>
                  <a:cubicBezTo>
                    <a:pt x="314" y="800"/>
                    <a:pt x="313" y="800"/>
                    <a:pt x="313" y="801"/>
                  </a:cubicBezTo>
                  <a:cubicBezTo>
                    <a:pt x="312" y="801"/>
                    <a:pt x="312" y="801"/>
                    <a:pt x="312" y="801"/>
                  </a:cubicBezTo>
                  <a:cubicBezTo>
                    <a:pt x="311" y="801"/>
                    <a:pt x="310" y="801"/>
                    <a:pt x="310" y="802"/>
                  </a:cubicBezTo>
                  <a:cubicBezTo>
                    <a:pt x="309" y="802"/>
                    <a:pt x="309" y="803"/>
                    <a:pt x="308" y="803"/>
                  </a:cubicBezTo>
                  <a:cubicBezTo>
                    <a:pt x="308" y="803"/>
                    <a:pt x="308" y="803"/>
                    <a:pt x="308" y="803"/>
                  </a:cubicBezTo>
                  <a:cubicBezTo>
                    <a:pt x="308" y="804"/>
                    <a:pt x="307" y="804"/>
                    <a:pt x="307" y="804"/>
                  </a:cubicBezTo>
                  <a:cubicBezTo>
                    <a:pt x="306" y="804"/>
                    <a:pt x="306" y="804"/>
                    <a:pt x="306" y="804"/>
                  </a:cubicBezTo>
                  <a:cubicBezTo>
                    <a:pt x="306" y="804"/>
                    <a:pt x="306" y="804"/>
                    <a:pt x="305" y="804"/>
                  </a:cubicBezTo>
                  <a:cubicBezTo>
                    <a:pt x="305" y="804"/>
                    <a:pt x="305" y="803"/>
                    <a:pt x="304" y="803"/>
                  </a:cubicBezTo>
                  <a:cubicBezTo>
                    <a:pt x="304" y="802"/>
                    <a:pt x="304" y="802"/>
                    <a:pt x="303" y="802"/>
                  </a:cubicBezTo>
                  <a:cubicBezTo>
                    <a:pt x="302" y="802"/>
                    <a:pt x="302" y="802"/>
                    <a:pt x="302" y="802"/>
                  </a:cubicBezTo>
                  <a:cubicBezTo>
                    <a:pt x="302" y="802"/>
                    <a:pt x="301" y="802"/>
                    <a:pt x="301" y="802"/>
                  </a:cubicBezTo>
                  <a:cubicBezTo>
                    <a:pt x="301" y="802"/>
                    <a:pt x="301" y="802"/>
                    <a:pt x="300" y="802"/>
                  </a:cubicBezTo>
                  <a:cubicBezTo>
                    <a:pt x="300" y="802"/>
                    <a:pt x="300" y="802"/>
                    <a:pt x="300" y="802"/>
                  </a:cubicBezTo>
                  <a:cubicBezTo>
                    <a:pt x="300" y="802"/>
                    <a:pt x="300" y="802"/>
                    <a:pt x="300" y="802"/>
                  </a:cubicBezTo>
                  <a:cubicBezTo>
                    <a:pt x="300" y="801"/>
                    <a:pt x="300" y="801"/>
                    <a:pt x="300" y="800"/>
                  </a:cubicBezTo>
                  <a:cubicBezTo>
                    <a:pt x="300" y="800"/>
                    <a:pt x="300" y="800"/>
                    <a:pt x="300" y="800"/>
                  </a:cubicBezTo>
                  <a:cubicBezTo>
                    <a:pt x="300" y="798"/>
                    <a:pt x="300" y="798"/>
                    <a:pt x="300" y="798"/>
                  </a:cubicBezTo>
                  <a:cubicBezTo>
                    <a:pt x="300" y="798"/>
                    <a:pt x="300" y="798"/>
                    <a:pt x="300" y="798"/>
                  </a:cubicBezTo>
                  <a:cubicBezTo>
                    <a:pt x="300" y="798"/>
                    <a:pt x="300" y="797"/>
                    <a:pt x="300" y="797"/>
                  </a:cubicBezTo>
                  <a:cubicBezTo>
                    <a:pt x="300" y="797"/>
                    <a:pt x="300" y="797"/>
                    <a:pt x="300" y="797"/>
                  </a:cubicBezTo>
                  <a:cubicBezTo>
                    <a:pt x="299" y="797"/>
                    <a:pt x="299" y="797"/>
                    <a:pt x="299" y="797"/>
                  </a:cubicBezTo>
                  <a:cubicBezTo>
                    <a:pt x="299" y="796"/>
                    <a:pt x="299" y="795"/>
                    <a:pt x="298" y="795"/>
                  </a:cubicBezTo>
                  <a:cubicBezTo>
                    <a:pt x="298" y="794"/>
                    <a:pt x="298" y="794"/>
                    <a:pt x="297" y="793"/>
                  </a:cubicBezTo>
                  <a:cubicBezTo>
                    <a:pt x="297" y="793"/>
                    <a:pt x="297" y="793"/>
                    <a:pt x="297" y="793"/>
                  </a:cubicBezTo>
                  <a:cubicBezTo>
                    <a:pt x="297" y="793"/>
                    <a:pt x="297" y="792"/>
                    <a:pt x="297" y="792"/>
                  </a:cubicBezTo>
                  <a:cubicBezTo>
                    <a:pt x="297" y="791"/>
                    <a:pt x="297" y="790"/>
                    <a:pt x="296" y="789"/>
                  </a:cubicBezTo>
                  <a:cubicBezTo>
                    <a:pt x="296" y="789"/>
                    <a:pt x="295" y="788"/>
                    <a:pt x="294" y="788"/>
                  </a:cubicBezTo>
                  <a:cubicBezTo>
                    <a:pt x="294" y="788"/>
                    <a:pt x="294" y="788"/>
                    <a:pt x="293" y="788"/>
                  </a:cubicBezTo>
                  <a:cubicBezTo>
                    <a:pt x="293" y="787"/>
                    <a:pt x="293" y="787"/>
                    <a:pt x="293" y="787"/>
                  </a:cubicBezTo>
                  <a:cubicBezTo>
                    <a:pt x="293" y="787"/>
                    <a:pt x="293" y="787"/>
                    <a:pt x="293" y="787"/>
                  </a:cubicBezTo>
                  <a:cubicBezTo>
                    <a:pt x="293" y="786"/>
                    <a:pt x="293" y="786"/>
                    <a:pt x="293" y="785"/>
                  </a:cubicBezTo>
                  <a:cubicBezTo>
                    <a:pt x="293" y="785"/>
                    <a:pt x="293" y="785"/>
                    <a:pt x="293" y="785"/>
                  </a:cubicBezTo>
                  <a:cubicBezTo>
                    <a:pt x="293" y="784"/>
                    <a:pt x="293" y="784"/>
                    <a:pt x="293" y="783"/>
                  </a:cubicBezTo>
                  <a:cubicBezTo>
                    <a:pt x="293" y="783"/>
                    <a:pt x="293" y="783"/>
                    <a:pt x="293" y="783"/>
                  </a:cubicBezTo>
                  <a:cubicBezTo>
                    <a:pt x="293" y="782"/>
                    <a:pt x="293" y="782"/>
                    <a:pt x="293" y="782"/>
                  </a:cubicBezTo>
                  <a:cubicBezTo>
                    <a:pt x="293" y="782"/>
                    <a:pt x="293" y="782"/>
                    <a:pt x="293" y="782"/>
                  </a:cubicBezTo>
                  <a:cubicBezTo>
                    <a:pt x="292" y="780"/>
                    <a:pt x="292" y="780"/>
                    <a:pt x="292" y="780"/>
                  </a:cubicBezTo>
                  <a:cubicBezTo>
                    <a:pt x="292" y="781"/>
                    <a:pt x="292" y="781"/>
                    <a:pt x="292" y="781"/>
                  </a:cubicBezTo>
                  <a:cubicBezTo>
                    <a:pt x="292" y="781"/>
                    <a:pt x="292" y="781"/>
                    <a:pt x="292" y="781"/>
                  </a:cubicBezTo>
                  <a:cubicBezTo>
                    <a:pt x="292" y="780"/>
                    <a:pt x="292" y="780"/>
                    <a:pt x="292" y="780"/>
                  </a:cubicBezTo>
                  <a:cubicBezTo>
                    <a:pt x="292" y="779"/>
                    <a:pt x="292" y="779"/>
                    <a:pt x="292" y="779"/>
                  </a:cubicBezTo>
                  <a:cubicBezTo>
                    <a:pt x="292" y="778"/>
                    <a:pt x="292" y="778"/>
                    <a:pt x="292" y="778"/>
                  </a:cubicBezTo>
                  <a:cubicBezTo>
                    <a:pt x="292" y="778"/>
                    <a:pt x="292" y="777"/>
                    <a:pt x="291" y="776"/>
                  </a:cubicBezTo>
                  <a:cubicBezTo>
                    <a:pt x="291" y="776"/>
                    <a:pt x="291" y="776"/>
                    <a:pt x="291" y="775"/>
                  </a:cubicBezTo>
                  <a:cubicBezTo>
                    <a:pt x="291" y="775"/>
                    <a:pt x="291" y="775"/>
                    <a:pt x="291" y="775"/>
                  </a:cubicBezTo>
                  <a:cubicBezTo>
                    <a:pt x="291" y="774"/>
                    <a:pt x="291" y="774"/>
                    <a:pt x="292" y="774"/>
                  </a:cubicBezTo>
                  <a:cubicBezTo>
                    <a:pt x="292" y="774"/>
                    <a:pt x="292" y="774"/>
                    <a:pt x="292" y="774"/>
                  </a:cubicBezTo>
                  <a:cubicBezTo>
                    <a:pt x="292" y="773"/>
                    <a:pt x="293" y="773"/>
                    <a:pt x="293" y="772"/>
                  </a:cubicBezTo>
                  <a:cubicBezTo>
                    <a:pt x="294" y="771"/>
                    <a:pt x="294" y="770"/>
                    <a:pt x="294" y="769"/>
                  </a:cubicBezTo>
                  <a:cubicBezTo>
                    <a:pt x="293" y="769"/>
                    <a:pt x="293" y="768"/>
                    <a:pt x="293" y="768"/>
                  </a:cubicBezTo>
                  <a:cubicBezTo>
                    <a:pt x="293" y="768"/>
                    <a:pt x="293" y="768"/>
                    <a:pt x="293" y="768"/>
                  </a:cubicBezTo>
                  <a:cubicBezTo>
                    <a:pt x="294" y="767"/>
                    <a:pt x="295" y="767"/>
                    <a:pt x="295" y="765"/>
                  </a:cubicBezTo>
                  <a:cubicBezTo>
                    <a:pt x="294" y="765"/>
                    <a:pt x="294" y="764"/>
                    <a:pt x="294" y="764"/>
                  </a:cubicBezTo>
                  <a:cubicBezTo>
                    <a:pt x="294" y="764"/>
                    <a:pt x="294" y="764"/>
                    <a:pt x="294" y="763"/>
                  </a:cubicBezTo>
                  <a:cubicBezTo>
                    <a:pt x="294" y="763"/>
                    <a:pt x="294" y="763"/>
                    <a:pt x="294" y="762"/>
                  </a:cubicBezTo>
                  <a:cubicBezTo>
                    <a:pt x="294" y="762"/>
                    <a:pt x="294" y="762"/>
                    <a:pt x="294" y="761"/>
                  </a:cubicBezTo>
                  <a:cubicBezTo>
                    <a:pt x="294" y="761"/>
                    <a:pt x="294" y="761"/>
                    <a:pt x="294" y="761"/>
                  </a:cubicBezTo>
                  <a:cubicBezTo>
                    <a:pt x="294" y="761"/>
                    <a:pt x="295" y="761"/>
                    <a:pt x="295" y="761"/>
                  </a:cubicBezTo>
                  <a:cubicBezTo>
                    <a:pt x="296" y="760"/>
                    <a:pt x="296" y="759"/>
                    <a:pt x="296" y="758"/>
                  </a:cubicBezTo>
                  <a:cubicBezTo>
                    <a:pt x="296" y="758"/>
                    <a:pt x="296" y="758"/>
                    <a:pt x="296" y="757"/>
                  </a:cubicBezTo>
                  <a:cubicBezTo>
                    <a:pt x="296" y="757"/>
                    <a:pt x="296" y="756"/>
                    <a:pt x="296" y="756"/>
                  </a:cubicBezTo>
                  <a:cubicBezTo>
                    <a:pt x="296" y="756"/>
                    <a:pt x="296" y="755"/>
                    <a:pt x="297" y="755"/>
                  </a:cubicBezTo>
                  <a:cubicBezTo>
                    <a:pt x="297" y="754"/>
                    <a:pt x="297" y="753"/>
                    <a:pt x="297" y="752"/>
                  </a:cubicBezTo>
                  <a:cubicBezTo>
                    <a:pt x="297" y="751"/>
                    <a:pt x="298" y="751"/>
                    <a:pt x="298" y="751"/>
                  </a:cubicBezTo>
                  <a:cubicBezTo>
                    <a:pt x="299" y="750"/>
                    <a:pt x="299" y="749"/>
                    <a:pt x="299" y="748"/>
                  </a:cubicBezTo>
                  <a:cubicBezTo>
                    <a:pt x="299" y="748"/>
                    <a:pt x="299" y="748"/>
                    <a:pt x="299" y="748"/>
                  </a:cubicBezTo>
                  <a:cubicBezTo>
                    <a:pt x="299" y="747"/>
                    <a:pt x="299" y="746"/>
                    <a:pt x="299" y="745"/>
                  </a:cubicBezTo>
                  <a:cubicBezTo>
                    <a:pt x="299" y="745"/>
                    <a:pt x="299" y="745"/>
                    <a:pt x="299" y="745"/>
                  </a:cubicBezTo>
                  <a:cubicBezTo>
                    <a:pt x="299" y="744"/>
                    <a:pt x="299" y="744"/>
                    <a:pt x="299" y="744"/>
                  </a:cubicBezTo>
                  <a:cubicBezTo>
                    <a:pt x="299" y="744"/>
                    <a:pt x="299" y="744"/>
                    <a:pt x="299" y="744"/>
                  </a:cubicBezTo>
                  <a:cubicBezTo>
                    <a:pt x="300" y="744"/>
                    <a:pt x="300" y="744"/>
                    <a:pt x="300" y="744"/>
                  </a:cubicBezTo>
                  <a:cubicBezTo>
                    <a:pt x="300" y="744"/>
                    <a:pt x="301" y="744"/>
                    <a:pt x="302" y="743"/>
                  </a:cubicBezTo>
                  <a:cubicBezTo>
                    <a:pt x="302" y="742"/>
                    <a:pt x="302" y="742"/>
                    <a:pt x="302" y="742"/>
                  </a:cubicBezTo>
                  <a:cubicBezTo>
                    <a:pt x="302" y="742"/>
                    <a:pt x="302" y="742"/>
                    <a:pt x="302" y="741"/>
                  </a:cubicBezTo>
                  <a:cubicBezTo>
                    <a:pt x="302" y="741"/>
                    <a:pt x="302" y="740"/>
                    <a:pt x="301" y="739"/>
                  </a:cubicBezTo>
                  <a:cubicBezTo>
                    <a:pt x="301" y="739"/>
                    <a:pt x="301" y="739"/>
                    <a:pt x="301" y="739"/>
                  </a:cubicBezTo>
                  <a:cubicBezTo>
                    <a:pt x="301" y="738"/>
                    <a:pt x="301" y="737"/>
                    <a:pt x="301" y="737"/>
                  </a:cubicBezTo>
                  <a:cubicBezTo>
                    <a:pt x="301" y="737"/>
                    <a:pt x="301" y="736"/>
                    <a:pt x="301" y="736"/>
                  </a:cubicBezTo>
                  <a:cubicBezTo>
                    <a:pt x="302" y="736"/>
                    <a:pt x="302" y="736"/>
                    <a:pt x="302" y="735"/>
                  </a:cubicBezTo>
                  <a:cubicBezTo>
                    <a:pt x="303" y="735"/>
                    <a:pt x="303" y="735"/>
                    <a:pt x="303" y="735"/>
                  </a:cubicBezTo>
                  <a:cubicBezTo>
                    <a:pt x="303" y="734"/>
                    <a:pt x="303" y="734"/>
                    <a:pt x="303" y="734"/>
                  </a:cubicBezTo>
                  <a:cubicBezTo>
                    <a:pt x="303" y="733"/>
                    <a:pt x="303" y="732"/>
                    <a:pt x="303" y="732"/>
                  </a:cubicBezTo>
                  <a:cubicBezTo>
                    <a:pt x="302" y="731"/>
                    <a:pt x="302" y="730"/>
                    <a:pt x="301" y="729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0" y="728"/>
                    <a:pt x="300" y="728"/>
                    <a:pt x="299" y="728"/>
                  </a:cubicBezTo>
                  <a:cubicBezTo>
                    <a:pt x="299" y="727"/>
                    <a:pt x="299" y="727"/>
                    <a:pt x="299" y="727"/>
                  </a:cubicBezTo>
                  <a:cubicBezTo>
                    <a:pt x="298" y="727"/>
                    <a:pt x="298" y="727"/>
                    <a:pt x="298" y="728"/>
                  </a:cubicBezTo>
                  <a:cubicBezTo>
                    <a:pt x="298" y="727"/>
                    <a:pt x="298" y="727"/>
                    <a:pt x="298" y="727"/>
                  </a:cubicBezTo>
                  <a:cubicBezTo>
                    <a:pt x="298" y="726"/>
                    <a:pt x="297" y="726"/>
                    <a:pt x="297" y="725"/>
                  </a:cubicBezTo>
                  <a:cubicBezTo>
                    <a:pt x="297" y="725"/>
                    <a:pt x="297" y="725"/>
                    <a:pt x="296" y="725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295" y="723"/>
                    <a:pt x="295" y="723"/>
                    <a:pt x="295" y="723"/>
                  </a:cubicBezTo>
                  <a:cubicBezTo>
                    <a:pt x="294" y="722"/>
                    <a:pt x="294" y="722"/>
                    <a:pt x="293" y="722"/>
                  </a:cubicBezTo>
                  <a:cubicBezTo>
                    <a:pt x="293" y="722"/>
                    <a:pt x="293" y="722"/>
                    <a:pt x="292" y="722"/>
                  </a:cubicBezTo>
                  <a:cubicBezTo>
                    <a:pt x="292" y="722"/>
                    <a:pt x="292" y="722"/>
                    <a:pt x="292" y="722"/>
                  </a:cubicBezTo>
                  <a:cubicBezTo>
                    <a:pt x="292" y="722"/>
                    <a:pt x="292" y="721"/>
                    <a:pt x="291" y="721"/>
                  </a:cubicBezTo>
                  <a:cubicBezTo>
                    <a:pt x="290" y="721"/>
                    <a:pt x="289" y="721"/>
                    <a:pt x="289" y="722"/>
                  </a:cubicBezTo>
                  <a:cubicBezTo>
                    <a:pt x="289" y="722"/>
                    <a:pt x="289" y="722"/>
                    <a:pt x="288" y="722"/>
                  </a:cubicBezTo>
                  <a:cubicBezTo>
                    <a:pt x="288" y="722"/>
                    <a:pt x="288" y="722"/>
                    <a:pt x="287" y="722"/>
                  </a:cubicBezTo>
                  <a:cubicBezTo>
                    <a:pt x="286" y="722"/>
                    <a:pt x="285" y="722"/>
                    <a:pt x="285" y="721"/>
                  </a:cubicBezTo>
                  <a:cubicBezTo>
                    <a:pt x="285" y="721"/>
                    <a:pt x="284" y="721"/>
                    <a:pt x="284" y="721"/>
                  </a:cubicBezTo>
                  <a:cubicBezTo>
                    <a:pt x="284" y="721"/>
                    <a:pt x="284" y="721"/>
                    <a:pt x="284" y="721"/>
                  </a:cubicBezTo>
                  <a:cubicBezTo>
                    <a:pt x="283" y="721"/>
                    <a:pt x="283" y="720"/>
                    <a:pt x="282" y="720"/>
                  </a:cubicBezTo>
                  <a:cubicBezTo>
                    <a:pt x="282" y="720"/>
                    <a:pt x="281" y="720"/>
                    <a:pt x="281" y="720"/>
                  </a:cubicBezTo>
                  <a:cubicBezTo>
                    <a:pt x="281" y="720"/>
                    <a:pt x="281" y="720"/>
                    <a:pt x="281" y="720"/>
                  </a:cubicBezTo>
                  <a:cubicBezTo>
                    <a:pt x="280" y="721"/>
                    <a:pt x="280" y="721"/>
                    <a:pt x="280" y="721"/>
                  </a:cubicBezTo>
                  <a:cubicBezTo>
                    <a:pt x="280" y="721"/>
                    <a:pt x="280" y="721"/>
                    <a:pt x="280" y="721"/>
                  </a:cubicBezTo>
                  <a:cubicBezTo>
                    <a:pt x="279" y="721"/>
                    <a:pt x="279" y="721"/>
                    <a:pt x="279" y="721"/>
                  </a:cubicBezTo>
                  <a:cubicBezTo>
                    <a:pt x="279" y="721"/>
                    <a:pt x="278" y="721"/>
                    <a:pt x="278" y="722"/>
                  </a:cubicBezTo>
                  <a:cubicBezTo>
                    <a:pt x="278" y="722"/>
                    <a:pt x="277" y="722"/>
                    <a:pt x="277" y="722"/>
                  </a:cubicBezTo>
                  <a:cubicBezTo>
                    <a:pt x="277" y="722"/>
                    <a:pt x="277" y="722"/>
                    <a:pt x="277" y="722"/>
                  </a:cubicBezTo>
                  <a:cubicBezTo>
                    <a:pt x="277" y="722"/>
                    <a:pt x="276" y="722"/>
                    <a:pt x="276" y="722"/>
                  </a:cubicBezTo>
                  <a:cubicBezTo>
                    <a:pt x="276" y="722"/>
                    <a:pt x="276" y="722"/>
                    <a:pt x="275" y="722"/>
                  </a:cubicBezTo>
                  <a:cubicBezTo>
                    <a:pt x="275" y="722"/>
                    <a:pt x="275" y="722"/>
                    <a:pt x="274" y="722"/>
                  </a:cubicBezTo>
                  <a:cubicBezTo>
                    <a:pt x="273" y="722"/>
                    <a:pt x="272" y="722"/>
                    <a:pt x="272" y="722"/>
                  </a:cubicBezTo>
                  <a:cubicBezTo>
                    <a:pt x="272" y="722"/>
                    <a:pt x="272" y="722"/>
                    <a:pt x="272" y="722"/>
                  </a:cubicBezTo>
                  <a:cubicBezTo>
                    <a:pt x="272" y="722"/>
                    <a:pt x="271" y="722"/>
                    <a:pt x="271" y="722"/>
                  </a:cubicBezTo>
                  <a:cubicBezTo>
                    <a:pt x="271" y="722"/>
                    <a:pt x="271" y="721"/>
                    <a:pt x="270" y="721"/>
                  </a:cubicBezTo>
                  <a:cubicBezTo>
                    <a:pt x="270" y="721"/>
                    <a:pt x="269" y="721"/>
                    <a:pt x="268" y="721"/>
                  </a:cubicBezTo>
                  <a:cubicBezTo>
                    <a:pt x="268" y="721"/>
                    <a:pt x="268" y="721"/>
                    <a:pt x="268" y="721"/>
                  </a:cubicBezTo>
                  <a:cubicBezTo>
                    <a:pt x="267" y="721"/>
                    <a:pt x="267" y="721"/>
                    <a:pt x="267" y="720"/>
                  </a:cubicBezTo>
                  <a:cubicBezTo>
                    <a:pt x="267" y="720"/>
                    <a:pt x="266" y="720"/>
                    <a:pt x="266" y="720"/>
                  </a:cubicBezTo>
                  <a:cubicBezTo>
                    <a:pt x="265" y="720"/>
                    <a:pt x="264" y="721"/>
                    <a:pt x="264" y="721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2" y="721"/>
                    <a:pt x="262" y="721"/>
                    <a:pt x="262" y="721"/>
                  </a:cubicBezTo>
                  <a:cubicBezTo>
                    <a:pt x="261" y="720"/>
                    <a:pt x="261" y="720"/>
                    <a:pt x="260" y="720"/>
                  </a:cubicBezTo>
                  <a:cubicBezTo>
                    <a:pt x="260" y="720"/>
                    <a:pt x="260" y="720"/>
                    <a:pt x="260" y="719"/>
                  </a:cubicBezTo>
                  <a:cubicBezTo>
                    <a:pt x="260" y="719"/>
                    <a:pt x="260" y="719"/>
                    <a:pt x="260" y="719"/>
                  </a:cubicBezTo>
                  <a:cubicBezTo>
                    <a:pt x="261" y="719"/>
                    <a:pt x="261" y="719"/>
                    <a:pt x="261" y="719"/>
                  </a:cubicBezTo>
                  <a:cubicBezTo>
                    <a:pt x="262" y="719"/>
                    <a:pt x="263" y="718"/>
                    <a:pt x="263" y="717"/>
                  </a:cubicBezTo>
                  <a:cubicBezTo>
                    <a:pt x="263" y="717"/>
                    <a:pt x="263" y="717"/>
                    <a:pt x="263" y="716"/>
                  </a:cubicBezTo>
                  <a:cubicBezTo>
                    <a:pt x="264" y="716"/>
                    <a:pt x="264" y="716"/>
                    <a:pt x="264" y="716"/>
                  </a:cubicBezTo>
                  <a:cubicBezTo>
                    <a:pt x="264" y="716"/>
                    <a:pt x="264" y="715"/>
                    <a:pt x="264" y="715"/>
                  </a:cubicBezTo>
                  <a:cubicBezTo>
                    <a:pt x="264" y="714"/>
                    <a:pt x="264" y="714"/>
                    <a:pt x="265" y="714"/>
                  </a:cubicBezTo>
                  <a:cubicBezTo>
                    <a:pt x="265" y="714"/>
                    <a:pt x="265" y="714"/>
                    <a:pt x="265" y="714"/>
                  </a:cubicBezTo>
                  <a:cubicBezTo>
                    <a:pt x="266" y="713"/>
                    <a:pt x="266" y="713"/>
                    <a:pt x="267" y="712"/>
                  </a:cubicBezTo>
                  <a:cubicBezTo>
                    <a:pt x="267" y="711"/>
                    <a:pt x="267" y="710"/>
                    <a:pt x="267" y="709"/>
                  </a:cubicBezTo>
                  <a:cubicBezTo>
                    <a:pt x="267" y="708"/>
                    <a:pt x="267" y="708"/>
                    <a:pt x="267" y="708"/>
                  </a:cubicBezTo>
                  <a:cubicBezTo>
                    <a:pt x="267" y="708"/>
                    <a:pt x="268" y="707"/>
                    <a:pt x="268" y="706"/>
                  </a:cubicBezTo>
                  <a:cubicBezTo>
                    <a:pt x="268" y="706"/>
                    <a:pt x="268" y="706"/>
                    <a:pt x="268" y="706"/>
                  </a:cubicBezTo>
                  <a:cubicBezTo>
                    <a:pt x="268" y="706"/>
                    <a:pt x="268" y="705"/>
                    <a:pt x="268" y="705"/>
                  </a:cubicBezTo>
                  <a:cubicBezTo>
                    <a:pt x="268" y="705"/>
                    <a:pt x="269" y="705"/>
                    <a:pt x="269" y="704"/>
                  </a:cubicBezTo>
                  <a:cubicBezTo>
                    <a:pt x="269" y="704"/>
                    <a:pt x="269" y="703"/>
                    <a:pt x="269" y="703"/>
                  </a:cubicBezTo>
                  <a:cubicBezTo>
                    <a:pt x="268" y="703"/>
                    <a:pt x="268" y="703"/>
                    <a:pt x="268" y="703"/>
                  </a:cubicBezTo>
                  <a:cubicBezTo>
                    <a:pt x="269" y="703"/>
                    <a:pt x="269" y="703"/>
                    <a:pt x="269" y="703"/>
                  </a:cubicBezTo>
                  <a:cubicBezTo>
                    <a:pt x="269" y="702"/>
                    <a:pt x="269" y="702"/>
                    <a:pt x="269" y="702"/>
                  </a:cubicBezTo>
                  <a:cubicBezTo>
                    <a:pt x="269" y="701"/>
                    <a:pt x="269" y="701"/>
                    <a:pt x="269" y="700"/>
                  </a:cubicBezTo>
                  <a:cubicBezTo>
                    <a:pt x="269" y="699"/>
                    <a:pt x="269" y="699"/>
                    <a:pt x="270" y="699"/>
                  </a:cubicBezTo>
                  <a:cubicBezTo>
                    <a:pt x="270" y="698"/>
                    <a:pt x="270" y="698"/>
                    <a:pt x="270" y="697"/>
                  </a:cubicBezTo>
                  <a:cubicBezTo>
                    <a:pt x="270" y="697"/>
                    <a:pt x="270" y="697"/>
                    <a:pt x="270" y="697"/>
                  </a:cubicBezTo>
                  <a:cubicBezTo>
                    <a:pt x="271" y="697"/>
                    <a:pt x="271" y="696"/>
                    <a:pt x="272" y="696"/>
                  </a:cubicBezTo>
                  <a:cubicBezTo>
                    <a:pt x="272" y="696"/>
                    <a:pt x="272" y="696"/>
                    <a:pt x="272" y="696"/>
                  </a:cubicBezTo>
                  <a:cubicBezTo>
                    <a:pt x="273" y="695"/>
                    <a:pt x="273" y="695"/>
                    <a:pt x="274" y="695"/>
                  </a:cubicBezTo>
                  <a:cubicBezTo>
                    <a:pt x="274" y="694"/>
                    <a:pt x="274" y="694"/>
                    <a:pt x="275" y="693"/>
                  </a:cubicBezTo>
                  <a:cubicBezTo>
                    <a:pt x="275" y="693"/>
                    <a:pt x="275" y="693"/>
                    <a:pt x="275" y="692"/>
                  </a:cubicBezTo>
                  <a:cubicBezTo>
                    <a:pt x="275" y="692"/>
                    <a:pt x="275" y="692"/>
                    <a:pt x="275" y="692"/>
                  </a:cubicBezTo>
                  <a:cubicBezTo>
                    <a:pt x="274" y="691"/>
                    <a:pt x="274" y="691"/>
                    <a:pt x="274" y="691"/>
                  </a:cubicBezTo>
                  <a:cubicBezTo>
                    <a:pt x="275" y="692"/>
                    <a:pt x="275" y="692"/>
                    <a:pt x="275" y="692"/>
                  </a:cubicBezTo>
                  <a:cubicBezTo>
                    <a:pt x="276" y="691"/>
                    <a:pt x="276" y="691"/>
                    <a:pt x="276" y="690"/>
                  </a:cubicBezTo>
                  <a:cubicBezTo>
                    <a:pt x="277" y="690"/>
                    <a:pt x="277" y="689"/>
                    <a:pt x="278" y="688"/>
                  </a:cubicBezTo>
                  <a:cubicBezTo>
                    <a:pt x="278" y="688"/>
                    <a:pt x="278" y="688"/>
                    <a:pt x="278" y="688"/>
                  </a:cubicBezTo>
                  <a:cubicBezTo>
                    <a:pt x="278" y="687"/>
                    <a:pt x="278" y="687"/>
                    <a:pt x="278" y="686"/>
                  </a:cubicBezTo>
                  <a:cubicBezTo>
                    <a:pt x="279" y="686"/>
                    <a:pt x="279" y="686"/>
                    <a:pt x="279" y="685"/>
                  </a:cubicBezTo>
                  <a:cubicBezTo>
                    <a:pt x="279" y="685"/>
                    <a:pt x="279" y="684"/>
                    <a:pt x="279" y="684"/>
                  </a:cubicBezTo>
                  <a:cubicBezTo>
                    <a:pt x="280" y="683"/>
                    <a:pt x="280" y="682"/>
                    <a:pt x="280" y="681"/>
                  </a:cubicBezTo>
                  <a:cubicBezTo>
                    <a:pt x="279" y="680"/>
                    <a:pt x="279" y="680"/>
                    <a:pt x="279" y="680"/>
                  </a:cubicBezTo>
                  <a:cubicBezTo>
                    <a:pt x="279" y="680"/>
                    <a:pt x="279" y="680"/>
                    <a:pt x="279" y="680"/>
                  </a:cubicBezTo>
                  <a:cubicBezTo>
                    <a:pt x="278" y="680"/>
                    <a:pt x="278" y="680"/>
                    <a:pt x="278" y="680"/>
                  </a:cubicBezTo>
                  <a:cubicBezTo>
                    <a:pt x="278" y="680"/>
                    <a:pt x="279" y="680"/>
                    <a:pt x="279" y="679"/>
                  </a:cubicBezTo>
                  <a:cubicBezTo>
                    <a:pt x="279" y="679"/>
                    <a:pt x="280" y="679"/>
                    <a:pt x="280" y="678"/>
                  </a:cubicBezTo>
                  <a:cubicBezTo>
                    <a:pt x="281" y="678"/>
                    <a:pt x="282" y="676"/>
                    <a:pt x="282" y="675"/>
                  </a:cubicBezTo>
                  <a:cubicBezTo>
                    <a:pt x="282" y="675"/>
                    <a:pt x="283" y="674"/>
                    <a:pt x="283" y="673"/>
                  </a:cubicBezTo>
                  <a:cubicBezTo>
                    <a:pt x="283" y="673"/>
                    <a:pt x="284" y="673"/>
                    <a:pt x="284" y="672"/>
                  </a:cubicBezTo>
                  <a:cubicBezTo>
                    <a:pt x="285" y="672"/>
                    <a:pt x="285" y="671"/>
                    <a:pt x="285" y="671"/>
                  </a:cubicBezTo>
                  <a:cubicBezTo>
                    <a:pt x="286" y="671"/>
                    <a:pt x="286" y="671"/>
                    <a:pt x="286" y="670"/>
                  </a:cubicBezTo>
                  <a:cubicBezTo>
                    <a:pt x="287" y="670"/>
                    <a:pt x="287" y="669"/>
                    <a:pt x="287" y="669"/>
                  </a:cubicBezTo>
                  <a:cubicBezTo>
                    <a:pt x="288" y="669"/>
                    <a:pt x="288" y="669"/>
                    <a:pt x="288" y="668"/>
                  </a:cubicBezTo>
                  <a:cubicBezTo>
                    <a:pt x="289" y="668"/>
                    <a:pt x="289" y="668"/>
                    <a:pt x="290" y="667"/>
                  </a:cubicBezTo>
                  <a:cubicBezTo>
                    <a:pt x="291" y="666"/>
                    <a:pt x="291" y="665"/>
                    <a:pt x="291" y="663"/>
                  </a:cubicBezTo>
                  <a:cubicBezTo>
                    <a:pt x="291" y="663"/>
                    <a:pt x="291" y="662"/>
                    <a:pt x="292" y="662"/>
                  </a:cubicBezTo>
                  <a:cubicBezTo>
                    <a:pt x="292" y="661"/>
                    <a:pt x="292" y="660"/>
                    <a:pt x="292" y="660"/>
                  </a:cubicBezTo>
                  <a:cubicBezTo>
                    <a:pt x="292" y="658"/>
                    <a:pt x="291" y="657"/>
                    <a:pt x="289" y="656"/>
                  </a:cubicBezTo>
                  <a:cubicBezTo>
                    <a:pt x="289" y="656"/>
                    <a:pt x="288" y="656"/>
                    <a:pt x="288" y="656"/>
                  </a:cubicBezTo>
                  <a:cubicBezTo>
                    <a:pt x="287" y="656"/>
                    <a:pt x="286" y="657"/>
                    <a:pt x="286" y="657"/>
                  </a:cubicBezTo>
                  <a:cubicBezTo>
                    <a:pt x="285" y="657"/>
                    <a:pt x="285" y="658"/>
                    <a:pt x="285" y="658"/>
                  </a:cubicBezTo>
                  <a:cubicBezTo>
                    <a:pt x="285" y="658"/>
                    <a:pt x="285" y="659"/>
                    <a:pt x="285" y="659"/>
                  </a:cubicBezTo>
                  <a:cubicBezTo>
                    <a:pt x="285" y="659"/>
                    <a:pt x="284" y="659"/>
                    <a:pt x="284" y="658"/>
                  </a:cubicBezTo>
                  <a:cubicBezTo>
                    <a:pt x="284" y="658"/>
                    <a:pt x="283" y="657"/>
                    <a:pt x="281" y="657"/>
                  </a:cubicBezTo>
                  <a:cubicBezTo>
                    <a:pt x="280" y="657"/>
                    <a:pt x="280" y="657"/>
                    <a:pt x="279" y="657"/>
                  </a:cubicBezTo>
                  <a:cubicBezTo>
                    <a:pt x="279" y="658"/>
                    <a:pt x="278" y="658"/>
                    <a:pt x="278" y="658"/>
                  </a:cubicBezTo>
                  <a:cubicBezTo>
                    <a:pt x="277" y="658"/>
                    <a:pt x="276" y="658"/>
                    <a:pt x="276" y="658"/>
                  </a:cubicBezTo>
                  <a:cubicBezTo>
                    <a:pt x="275" y="658"/>
                    <a:pt x="274" y="658"/>
                    <a:pt x="274" y="659"/>
                  </a:cubicBezTo>
                  <a:cubicBezTo>
                    <a:pt x="273" y="659"/>
                    <a:pt x="273" y="659"/>
                    <a:pt x="273" y="659"/>
                  </a:cubicBezTo>
                  <a:cubicBezTo>
                    <a:pt x="272" y="659"/>
                    <a:pt x="272" y="659"/>
                    <a:pt x="271" y="659"/>
                  </a:cubicBezTo>
                  <a:cubicBezTo>
                    <a:pt x="270" y="658"/>
                    <a:pt x="269" y="658"/>
                    <a:pt x="268" y="658"/>
                  </a:cubicBezTo>
                  <a:cubicBezTo>
                    <a:pt x="268" y="659"/>
                    <a:pt x="267" y="659"/>
                    <a:pt x="267" y="659"/>
                  </a:cubicBezTo>
                  <a:cubicBezTo>
                    <a:pt x="266" y="659"/>
                    <a:pt x="266" y="659"/>
                    <a:pt x="266" y="659"/>
                  </a:cubicBezTo>
                  <a:cubicBezTo>
                    <a:pt x="266" y="659"/>
                    <a:pt x="266" y="659"/>
                    <a:pt x="266" y="659"/>
                  </a:cubicBezTo>
                  <a:cubicBezTo>
                    <a:pt x="265" y="659"/>
                    <a:pt x="265" y="660"/>
                    <a:pt x="265" y="660"/>
                  </a:cubicBezTo>
                  <a:cubicBezTo>
                    <a:pt x="264" y="660"/>
                    <a:pt x="264" y="660"/>
                    <a:pt x="263" y="660"/>
                  </a:cubicBezTo>
                  <a:cubicBezTo>
                    <a:pt x="263" y="661"/>
                    <a:pt x="263" y="661"/>
                    <a:pt x="263" y="661"/>
                  </a:cubicBezTo>
                  <a:cubicBezTo>
                    <a:pt x="263" y="661"/>
                    <a:pt x="262" y="661"/>
                    <a:pt x="262" y="661"/>
                  </a:cubicBezTo>
                  <a:cubicBezTo>
                    <a:pt x="262" y="661"/>
                    <a:pt x="262" y="661"/>
                    <a:pt x="262" y="661"/>
                  </a:cubicBezTo>
                  <a:cubicBezTo>
                    <a:pt x="261" y="661"/>
                    <a:pt x="260" y="662"/>
                    <a:pt x="260" y="663"/>
                  </a:cubicBezTo>
                  <a:cubicBezTo>
                    <a:pt x="259" y="663"/>
                    <a:pt x="259" y="664"/>
                    <a:pt x="258" y="664"/>
                  </a:cubicBezTo>
                  <a:cubicBezTo>
                    <a:pt x="258" y="665"/>
                    <a:pt x="258" y="665"/>
                    <a:pt x="258" y="665"/>
                  </a:cubicBezTo>
                  <a:cubicBezTo>
                    <a:pt x="258" y="665"/>
                    <a:pt x="258" y="666"/>
                    <a:pt x="257" y="666"/>
                  </a:cubicBezTo>
                  <a:cubicBezTo>
                    <a:pt x="257" y="666"/>
                    <a:pt x="257" y="666"/>
                    <a:pt x="257" y="667"/>
                  </a:cubicBezTo>
                  <a:cubicBezTo>
                    <a:pt x="257" y="667"/>
                    <a:pt x="257" y="667"/>
                    <a:pt x="256" y="668"/>
                  </a:cubicBezTo>
                  <a:cubicBezTo>
                    <a:pt x="256" y="668"/>
                    <a:pt x="256" y="669"/>
                    <a:pt x="255" y="670"/>
                  </a:cubicBezTo>
                  <a:cubicBezTo>
                    <a:pt x="255" y="670"/>
                    <a:pt x="255" y="670"/>
                    <a:pt x="255" y="670"/>
                  </a:cubicBezTo>
                  <a:cubicBezTo>
                    <a:pt x="255" y="671"/>
                    <a:pt x="255" y="671"/>
                    <a:pt x="255" y="671"/>
                  </a:cubicBezTo>
                  <a:cubicBezTo>
                    <a:pt x="255" y="671"/>
                    <a:pt x="255" y="672"/>
                    <a:pt x="255" y="673"/>
                  </a:cubicBezTo>
                  <a:cubicBezTo>
                    <a:pt x="255" y="673"/>
                    <a:pt x="254" y="673"/>
                    <a:pt x="254" y="674"/>
                  </a:cubicBezTo>
                  <a:cubicBezTo>
                    <a:pt x="254" y="674"/>
                    <a:pt x="254" y="674"/>
                    <a:pt x="253" y="674"/>
                  </a:cubicBezTo>
                  <a:cubicBezTo>
                    <a:pt x="253" y="675"/>
                    <a:pt x="253" y="675"/>
                    <a:pt x="253" y="676"/>
                  </a:cubicBezTo>
                  <a:cubicBezTo>
                    <a:pt x="252" y="676"/>
                    <a:pt x="252" y="676"/>
                    <a:pt x="252" y="676"/>
                  </a:cubicBezTo>
                  <a:cubicBezTo>
                    <a:pt x="252" y="677"/>
                    <a:pt x="252" y="677"/>
                    <a:pt x="252" y="677"/>
                  </a:cubicBezTo>
                  <a:cubicBezTo>
                    <a:pt x="252" y="677"/>
                    <a:pt x="252" y="677"/>
                    <a:pt x="251" y="677"/>
                  </a:cubicBezTo>
                  <a:cubicBezTo>
                    <a:pt x="251" y="678"/>
                    <a:pt x="251" y="678"/>
                    <a:pt x="251" y="678"/>
                  </a:cubicBezTo>
                  <a:cubicBezTo>
                    <a:pt x="251" y="678"/>
                    <a:pt x="251" y="678"/>
                    <a:pt x="251" y="678"/>
                  </a:cubicBezTo>
                  <a:cubicBezTo>
                    <a:pt x="251" y="679"/>
                    <a:pt x="250" y="679"/>
                    <a:pt x="250" y="680"/>
                  </a:cubicBezTo>
                  <a:cubicBezTo>
                    <a:pt x="251" y="680"/>
                    <a:pt x="251" y="680"/>
                    <a:pt x="251" y="680"/>
                  </a:cubicBezTo>
                  <a:cubicBezTo>
                    <a:pt x="251" y="680"/>
                    <a:pt x="251" y="680"/>
                    <a:pt x="251" y="680"/>
                  </a:cubicBezTo>
                  <a:cubicBezTo>
                    <a:pt x="250" y="680"/>
                    <a:pt x="250" y="680"/>
                    <a:pt x="250" y="680"/>
                  </a:cubicBezTo>
                  <a:cubicBezTo>
                    <a:pt x="250" y="680"/>
                    <a:pt x="250" y="680"/>
                    <a:pt x="250" y="680"/>
                  </a:cubicBezTo>
                  <a:cubicBezTo>
                    <a:pt x="250" y="680"/>
                    <a:pt x="249" y="681"/>
                    <a:pt x="249" y="681"/>
                  </a:cubicBezTo>
                  <a:cubicBezTo>
                    <a:pt x="249" y="681"/>
                    <a:pt x="249" y="682"/>
                    <a:pt x="248" y="682"/>
                  </a:cubicBezTo>
                  <a:cubicBezTo>
                    <a:pt x="248" y="683"/>
                    <a:pt x="248" y="683"/>
                    <a:pt x="248" y="683"/>
                  </a:cubicBezTo>
                  <a:cubicBezTo>
                    <a:pt x="247" y="683"/>
                    <a:pt x="247" y="683"/>
                    <a:pt x="247" y="684"/>
                  </a:cubicBezTo>
                  <a:cubicBezTo>
                    <a:pt x="247" y="684"/>
                    <a:pt x="247" y="684"/>
                    <a:pt x="246" y="684"/>
                  </a:cubicBezTo>
                  <a:cubicBezTo>
                    <a:pt x="246" y="684"/>
                    <a:pt x="246" y="684"/>
                    <a:pt x="246" y="684"/>
                  </a:cubicBezTo>
                  <a:cubicBezTo>
                    <a:pt x="246" y="685"/>
                    <a:pt x="245" y="685"/>
                    <a:pt x="245" y="685"/>
                  </a:cubicBezTo>
                  <a:cubicBezTo>
                    <a:pt x="245" y="686"/>
                    <a:pt x="245" y="686"/>
                    <a:pt x="245" y="686"/>
                  </a:cubicBezTo>
                  <a:cubicBezTo>
                    <a:pt x="244" y="686"/>
                    <a:pt x="244" y="686"/>
                    <a:pt x="244" y="686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3" y="689"/>
                    <a:pt x="243" y="689"/>
                    <a:pt x="242" y="689"/>
                  </a:cubicBezTo>
                  <a:cubicBezTo>
                    <a:pt x="242" y="689"/>
                    <a:pt x="242" y="690"/>
                    <a:pt x="242" y="690"/>
                  </a:cubicBezTo>
                  <a:cubicBezTo>
                    <a:pt x="242" y="689"/>
                    <a:pt x="242" y="689"/>
                    <a:pt x="241" y="688"/>
                  </a:cubicBezTo>
                  <a:cubicBezTo>
                    <a:pt x="241" y="688"/>
                    <a:pt x="240" y="687"/>
                    <a:pt x="240" y="687"/>
                  </a:cubicBezTo>
                  <a:cubicBezTo>
                    <a:pt x="239" y="687"/>
                    <a:pt x="239" y="687"/>
                    <a:pt x="239" y="687"/>
                  </a:cubicBezTo>
                  <a:cubicBezTo>
                    <a:pt x="238" y="687"/>
                    <a:pt x="238" y="687"/>
                    <a:pt x="237" y="687"/>
                  </a:cubicBezTo>
                  <a:cubicBezTo>
                    <a:pt x="237" y="687"/>
                    <a:pt x="237" y="687"/>
                    <a:pt x="236" y="687"/>
                  </a:cubicBezTo>
                  <a:cubicBezTo>
                    <a:pt x="236" y="687"/>
                    <a:pt x="236" y="688"/>
                    <a:pt x="236" y="688"/>
                  </a:cubicBezTo>
                  <a:cubicBezTo>
                    <a:pt x="235" y="688"/>
                    <a:pt x="235" y="688"/>
                    <a:pt x="234" y="688"/>
                  </a:cubicBezTo>
                  <a:cubicBezTo>
                    <a:pt x="234" y="688"/>
                    <a:pt x="234" y="688"/>
                    <a:pt x="234" y="689"/>
                  </a:cubicBezTo>
                  <a:cubicBezTo>
                    <a:pt x="233" y="689"/>
                    <a:pt x="233" y="689"/>
                    <a:pt x="233" y="689"/>
                  </a:cubicBezTo>
                  <a:cubicBezTo>
                    <a:pt x="232" y="689"/>
                    <a:pt x="232" y="689"/>
                    <a:pt x="232" y="689"/>
                  </a:cubicBezTo>
                  <a:cubicBezTo>
                    <a:pt x="231" y="690"/>
                    <a:pt x="230" y="690"/>
                    <a:pt x="230" y="690"/>
                  </a:cubicBezTo>
                  <a:cubicBezTo>
                    <a:pt x="229" y="690"/>
                    <a:pt x="229" y="690"/>
                    <a:pt x="229" y="690"/>
                  </a:cubicBezTo>
                  <a:cubicBezTo>
                    <a:pt x="229" y="690"/>
                    <a:pt x="228" y="689"/>
                    <a:pt x="227" y="689"/>
                  </a:cubicBezTo>
                  <a:cubicBezTo>
                    <a:pt x="226" y="689"/>
                    <a:pt x="225" y="690"/>
                    <a:pt x="225" y="690"/>
                  </a:cubicBezTo>
                  <a:cubicBezTo>
                    <a:pt x="224" y="691"/>
                    <a:pt x="224" y="691"/>
                    <a:pt x="224" y="691"/>
                  </a:cubicBezTo>
                  <a:cubicBezTo>
                    <a:pt x="224" y="691"/>
                    <a:pt x="224" y="691"/>
                    <a:pt x="223" y="691"/>
                  </a:cubicBezTo>
                  <a:cubicBezTo>
                    <a:pt x="223" y="691"/>
                    <a:pt x="223" y="691"/>
                    <a:pt x="222" y="691"/>
                  </a:cubicBezTo>
                  <a:cubicBezTo>
                    <a:pt x="222" y="692"/>
                    <a:pt x="222" y="692"/>
                    <a:pt x="222" y="692"/>
                  </a:cubicBezTo>
                  <a:cubicBezTo>
                    <a:pt x="222" y="692"/>
                    <a:pt x="221" y="692"/>
                    <a:pt x="221" y="692"/>
                  </a:cubicBezTo>
                  <a:cubicBezTo>
                    <a:pt x="220" y="692"/>
                    <a:pt x="220" y="692"/>
                    <a:pt x="219" y="692"/>
                  </a:cubicBezTo>
                  <a:cubicBezTo>
                    <a:pt x="219" y="692"/>
                    <a:pt x="219" y="692"/>
                    <a:pt x="219" y="692"/>
                  </a:cubicBezTo>
                  <a:cubicBezTo>
                    <a:pt x="219" y="691"/>
                    <a:pt x="219" y="690"/>
                    <a:pt x="218" y="689"/>
                  </a:cubicBezTo>
                  <a:cubicBezTo>
                    <a:pt x="218" y="689"/>
                    <a:pt x="217" y="689"/>
                    <a:pt x="217" y="688"/>
                  </a:cubicBezTo>
                  <a:cubicBezTo>
                    <a:pt x="217" y="688"/>
                    <a:pt x="216" y="688"/>
                    <a:pt x="216" y="688"/>
                  </a:cubicBezTo>
                  <a:cubicBezTo>
                    <a:pt x="216" y="688"/>
                    <a:pt x="216" y="687"/>
                    <a:pt x="216" y="687"/>
                  </a:cubicBezTo>
                  <a:cubicBezTo>
                    <a:pt x="215" y="686"/>
                    <a:pt x="215" y="686"/>
                    <a:pt x="215" y="686"/>
                  </a:cubicBezTo>
                  <a:cubicBezTo>
                    <a:pt x="215" y="685"/>
                    <a:pt x="214" y="685"/>
                    <a:pt x="213" y="685"/>
                  </a:cubicBezTo>
                  <a:cubicBezTo>
                    <a:pt x="213" y="685"/>
                    <a:pt x="213" y="685"/>
                    <a:pt x="212" y="685"/>
                  </a:cubicBezTo>
                  <a:cubicBezTo>
                    <a:pt x="212" y="685"/>
                    <a:pt x="212" y="685"/>
                    <a:pt x="212" y="685"/>
                  </a:cubicBezTo>
                  <a:cubicBezTo>
                    <a:pt x="212" y="684"/>
                    <a:pt x="212" y="684"/>
                    <a:pt x="212" y="684"/>
                  </a:cubicBezTo>
                  <a:cubicBezTo>
                    <a:pt x="212" y="683"/>
                    <a:pt x="212" y="682"/>
                    <a:pt x="211" y="681"/>
                  </a:cubicBezTo>
                  <a:cubicBezTo>
                    <a:pt x="211" y="680"/>
                    <a:pt x="211" y="680"/>
                    <a:pt x="211" y="680"/>
                  </a:cubicBezTo>
                  <a:cubicBezTo>
                    <a:pt x="211" y="680"/>
                    <a:pt x="210" y="679"/>
                    <a:pt x="210" y="679"/>
                  </a:cubicBezTo>
                  <a:cubicBezTo>
                    <a:pt x="210" y="679"/>
                    <a:pt x="210" y="678"/>
                    <a:pt x="210" y="677"/>
                  </a:cubicBezTo>
                  <a:cubicBezTo>
                    <a:pt x="210" y="676"/>
                    <a:pt x="210" y="675"/>
                    <a:pt x="210" y="674"/>
                  </a:cubicBezTo>
                  <a:cubicBezTo>
                    <a:pt x="210" y="674"/>
                    <a:pt x="210" y="673"/>
                    <a:pt x="210" y="673"/>
                  </a:cubicBezTo>
                  <a:cubicBezTo>
                    <a:pt x="210" y="672"/>
                    <a:pt x="210" y="672"/>
                    <a:pt x="210" y="671"/>
                  </a:cubicBezTo>
                  <a:cubicBezTo>
                    <a:pt x="210" y="670"/>
                    <a:pt x="209" y="669"/>
                    <a:pt x="208" y="668"/>
                  </a:cubicBezTo>
                  <a:cubicBezTo>
                    <a:pt x="208" y="668"/>
                    <a:pt x="207" y="667"/>
                    <a:pt x="207" y="666"/>
                  </a:cubicBezTo>
                  <a:cubicBezTo>
                    <a:pt x="207" y="666"/>
                    <a:pt x="207" y="665"/>
                    <a:pt x="207" y="665"/>
                  </a:cubicBezTo>
                  <a:cubicBezTo>
                    <a:pt x="207" y="664"/>
                    <a:pt x="207" y="664"/>
                    <a:pt x="207" y="664"/>
                  </a:cubicBezTo>
                  <a:cubicBezTo>
                    <a:pt x="207" y="663"/>
                    <a:pt x="206" y="662"/>
                    <a:pt x="206" y="661"/>
                  </a:cubicBezTo>
                  <a:cubicBezTo>
                    <a:pt x="205" y="661"/>
                    <a:pt x="205" y="661"/>
                    <a:pt x="205" y="661"/>
                  </a:cubicBezTo>
                  <a:cubicBezTo>
                    <a:pt x="205" y="660"/>
                    <a:pt x="205" y="660"/>
                    <a:pt x="205" y="660"/>
                  </a:cubicBezTo>
                  <a:cubicBezTo>
                    <a:pt x="205" y="659"/>
                    <a:pt x="205" y="659"/>
                    <a:pt x="205" y="658"/>
                  </a:cubicBezTo>
                  <a:cubicBezTo>
                    <a:pt x="205" y="658"/>
                    <a:pt x="205" y="658"/>
                    <a:pt x="205" y="657"/>
                  </a:cubicBezTo>
                  <a:cubicBezTo>
                    <a:pt x="205" y="657"/>
                    <a:pt x="205" y="656"/>
                    <a:pt x="205" y="656"/>
                  </a:cubicBezTo>
                  <a:cubicBezTo>
                    <a:pt x="205" y="656"/>
                    <a:pt x="205" y="655"/>
                    <a:pt x="205" y="655"/>
                  </a:cubicBezTo>
                  <a:cubicBezTo>
                    <a:pt x="205" y="655"/>
                    <a:pt x="205" y="654"/>
                    <a:pt x="206" y="654"/>
                  </a:cubicBezTo>
                  <a:cubicBezTo>
                    <a:pt x="206" y="653"/>
                    <a:pt x="206" y="652"/>
                    <a:pt x="206" y="651"/>
                  </a:cubicBezTo>
                  <a:cubicBezTo>
                    <a:pt x="206" y="651"/>
                    <a:pt x="206" y="651"/>
                    <a:pt x="206" y="651"/>
                  </a:cubicBezTo>
                  <a:cubicBezTo>
                    <a:pt x="206" y="650"/>
                    <a:pt x="206" y="649"/>
                    <a:pt x="206" y="649"/>
                  </a:cubicBezTo>
                  <a:cubicBezTo>
                    <a:pt x="206" y="649"/>
                    <a:pt x="206" y="648"/>
                    <a:pt x="206" y="648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7" y="646"/>
                    <a:pt x="207" y="645"/>
                    <a:pt x="207" y="644"/>
                  </a:cubicBezTo>
                  <a:cubicBezTo>
                    <a:pt x="207" y="643"/>
                    <a:pt x="207" y="643"/>
                    <a:pt x="207" y="642"/>
                  </a:cubicBezTo>
                  <a:cubicBezTo>
                    <a:pt x="207" y="642"/>
                    <a:pt x="207" y="642"/>
                    <a:pt x="207" y="641"/>
                  </a:cubicBezTo>
                  <a:cubicBezTo>
                    <a:pt x="207" y="640"/>
                    <a:pt x="208" y="638"/>
                    <a:pt x="209" y="637"/>
                  </a:cubicBezTo>
                  <a:cubicBezTo>
                    <a:pt x="209" y="637"/>
                    <a:pt x="209" y="636"/>
                    <a:pt x="209" y="636"/>
                  </a:cubicBezTo>
                  <a:cubicBezTo>
                    <a:pt x="208" y="635"/>
                    <a:pt x="208" y="635"/>
                    <a:pt x="208" y="635"/>
                  </a:cubicBezTo>
                  <a:cubicBezTo>
                    <a:pt x="210" y="635"/>
                    <a:pt x="210" y="635"/>
                    <a:pt x="210" y="635"/>
                  </a:cubicBezTo>
                  <a:cubicBezTo>
                    <a:pt x="210" y="635"/>
                    <a:pt x="210" y="635"/>
                    <a:pt x="210" y="634"/>
                  </a:cubicBezTo>
                  <a:cubicBezTo>
                    <a:pt x="210" y="634"/>
                    <a:pt x="210" y="634"/>
                    <a:pt x="211" y="633"/>
                  </a:cubicBezTo>
                  <a:cubicBezTo>
                    <a:pt x="211" y="633"/>
                    <a:pt x="211" y="632"/>
                    <a:pt x="211" y="631"/>
                  </a:cubicBezTo>
                  <a:cubicBezTo>
                    <a:pt x="211" y="631"/>
                    <a:pt x="211" y="631"/>
                    <a:pt x="211" y="631"/>
                  </a:cubicBezTo>
                  <a:cubicBezTo>
                    <a:pt x="212" y="630"/>
                    <a:pt x="212" y="629"/>
                    <a:pt x="212" y="629"/>
                  </a:cubicBezTo>
                  <a:cubicBezTo>
                    <a:pt x="212" y="629"/>
                    <a:pt x="212" y="628"/>
                    <a:pt x="212" y="628"/>
                  </a:cubicBezTo>
                  <a:cubicBezTo>
                    <a:pt x="212" y="628"/>
                    <a:pt x="212" y="628"/>
                    <a:pt x="212" y="628"/>
                  </a:cubicBezTo>
                  <a:cubicBezTo>
                    <a:pt x="212" y="627"/>
                    <a:pt x="212" y="627"/>
                    <a:pt x="212" y="627"/>
                  </a:cubicBezTo>
                  <a:cubicBezTo>
                    <a:pt x="213" y="626"/>
                    <a:pt x="213" y="625"/>
                    <a:pt x="213" y="624"/>
                  </a:cubicBezTo>
                  <a:cubicBezTo>
                    <a:pt x="213" y="624"/>
                    <a:pt x="213" y="623"/>
                    <a:pt x="214" y="623"/>
                  </a:cubicBezTo>
                  <a:cubicBezTo>
                    <a:pt x="214" y="622"/>
                    <a:pt x="214" y="622"/>
                    <a:pt x="214" y="622"/>
                  </a:cubicBezTo>
                  <a:cubicBezTo>
                    <a:pt x="214" y="622"/>
                    <a:pt x="215" y="621"/>
                    <a:pt x="215" y="621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5" y="620"/>
                    <a:pt x="215" y="619"/>
                    <a:pt x="215" y="619"/>
                  </a:cubicBezTo>
                  <a:cubicBezTo>
                    <a:pt x="215" y="619"/>
                    <a:pt x="215" y="619"/>
                    <a:pt x="216" y="619"/>
                  </a:cubicBezTo>
                  <a:cubicBezTo>
                    <a:pt x="216" y="619"/>
                    <a:pt x="216" y="619"/>
                    <a:pt x="216" y="619"/>
                  </a:cubicBezTo>
                  <a:cubicBezTo>
                    <a:pt x="217" y="618"/>
                    <a:pt x="217" y="617"/>
                    <a:pt x="217" y="617"/>
                  </a:cubicBezTo>
                  <a:cubicBezTo>
                    <a:pt x="218" y="616"/>
                    <a:pt x="219" y="614"/>
                    <a:pt x="219" y="613"/>
                  </a:cubicBezTo>
                  <a:cubicBezTo>
                    <a:pt x="219" y="613"/>
                    <a:pt x="219" y="613"/>
                    <a:pt x="219" y="613"/>
                  </a:cubicBezTo>
                  <a:cubicBezTo>
                    <a:pt x="220" y="613"/>
                    <a:pt x="220" y="613"/>
                    <a:pt x="220" y="613"/>
                  </a:cubicBezTo>
                  <a:cubicBezTo>
                    <a:pt x="221" y="613"/>
                    <a:pt x="221" y="613"/>
                    <a:pt x="222" y="612"/>
                  </a:cubicBezTo>
                  <a:cubicBezTo>
                    <a:pt x="222" y="611"/>
                    <a:pt x="222" y="611"/>
                    <a:pt x="222" y="611"/>
                  </a:cubicBezTo>
                  <a:cubicBezTo>
                    <a:pt x="222" y="611"/>
                    <a:pt x="223" y="611"/>
                    <a:pt x="223" y="611"/>
                  </a:cubicBezTo>
                  <a:cubicBezTo>
                    <a:pt x="223" y="610"/>
                    <a:pt x="223" y="610"/>
                    <a:pt x="224" y="610"/>
                  </a:cubicBezTo>
                  <a:cubicBezTo>
                    <a:pt x="224" y="609"/>
                    <a:pt x="224" y="609"/>
                    <a:pt x="224" y="608"/>
                  </a:cubicBezTo>
                  <a:cubicBezTo>
                    <a:pt x="224" y="608"/>
                    <a:pt x="224" y="608"/>
                    <a:pt x="224" y="608"/>
                  </a:cubicBezTo>
                  <a:cubicBezTo>
                    <a:pt x="224" y="608"/>
                    <a:pt x="225" y="607"/>
                    <a:pt x="225" y="607"/>
                  </a:cubicBezTo>
                  <a:cubicBezTo>
                    <a:pt x="225" y="607"/>
                    <a:pt x="225" y="606"/>
                    <a:pt x="225" y="606"/>
                  </a:cubicBezTo>
                  <a:cubicBezTo>
                    <a:pt x="226" y="605"/>
                    <a:pt x="226" y="605"/>
                    <a:pt x="226" y="605"/>
                  </a:cubicBezTo>
                  <a:cubicBezTo>
                    <a:pt x="226" y="605"/>
                    <a:pt x="226" y="604"/>
                    <a:pt x="226" y="604"/>
                  </a:cubicBezTo>
                  <a:cubicBezTo>
                    <a:pt x="226" y="604"/>
                    <a:pt x="226" y="604"/>
                    <a:pt x="226" y="604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2"/>
                    <a:pt x="226" y="602"/>
                    <a:pt x="226" y="602"/>
                  </a:cubicBezTo>
                  <a:cubicBezTo>
                    <a:pt x="227" y="601"/>
                    <a:pt x="227" y="601"/>
                    <a:pt x="227" y="600"/>
                  </a:cubicBezTo>
                  <a:cubicBezTo>
                    <a:pt x="227" y="599"/>
                    <a:pt x="227" y="599"/>
                    <a:pt x="227" y="598"/>
                  </a:cubicBezTo>
                  <a:cubicBezTo>
                    <a:pt x="227" y="598"/>
                    <a:pt x="227" y="597"/>
                    <a:pt x="227" y="597"/>
                  </a:cubicBezTo>
                  <a:cubicBezTo>
                    <a:pt x="227" y="597"/>
                    <a:pt x="227" y="596"/>
                    <a:pt x="227" y="596"/>
                  </a:cubicBezTo>
                  <a:cubicBezTo>
                    <a:pt x="227" y="595"/>
                    <a:pt x="227" y="595"/>
                    <a:pt x="227" y="594"/>
                  </a:cubicBezTo>
                  <a:cubicBezTo>
                    <a:pt x="227" y="594"/>
                    <a:pt x="227" y="594"/>
                    <a:pt x="227" y="594"/>
                  </a:cubicBezTo>
                  <a:cubicBezTo>
                    <a:pt x="227" y="594"/>
                    <a:pt x="227" y="593"/>
                    <a:pt x="227" y="593"/>
                  </a:cubicBezTo>
                  <a:cubicBezTo>
                    <a:pt x="227" y="593"/>
                    <a:pt x="227" y="592"/>
                    <a:pt x="227" y="592"/>
                  </a:cubicBezTo>
                  <a:cubicBezTo>
                    <a:pt x="227" y="591"/>
                    <a:pt x="227" y="591"/>
                    <a:pt x="227" y="591"/>
                  </a:cubicBezTo>
                  <a:cubicBezTo>
                    <a:pt x="227" y="591"/>
                    <a:pt x="227" y="590"/>
                    <a:pt x="227" y="59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8" y="590"/>
                    <a:pt x="228" y="590"/>
                    <a:pt x="228" y="589"/>
                  </a:cubicBezTo>
                  <a:cubicBezTo>
                    <a:pt x="228" y="589"/>
                    <a:pt x="228" y="588"/>
                    <a:pt x="228" y="587"/>
                  </a:cubicBezTo>
                  <a:cubicBezTo>
                    <a:pt x="228" y="587"/>
                    <a:pt x="229" y="587"/>
                    <a:pt x="229" y="587"/>
                  </a:cubicBezTo>
                  <a:cubicBezTo>
                    <a:pt x="229" y="587"/>
                    <a:pt x="230" y="587"/>
                    <a:pt x="231" y="585"/>
                  </a:cubicBezTo>
                  <a:cubicBezTo>
                    <a:pt x="231" y="585"/>
                    <a:pt x="231" y="585"/>
                    <a:pt x="231" y="585"/>
                  </a:cubicBezTo>
                  <a:cubicBezTo>
                    <a:pt x="231" y="584"/>
                    <a:pt x="231" y="584"/>
                    <a:pt x="231" y="584"/>
                  </a:cubicBezTo>
                  <a:cubicBezTo>
                    <a:pt x="231" y="584"/>
                    <a:pt x="231" y="584"/>
                    <a:pt x="232" y="583"/>
                  </a:cubicBezTo>
                  <a:cubicBezTo>
                    <a:pt x="232" y="583"/>
                    <a:pt x="232" y="583"/>
                    <a:pt x="232" y="583"/>
                  </a:cubicBezTo>
                  <a:cubicBezTo>
                    <a:pt x="231" y="582"/>
                    <a:pt x="231" y="582"/>
                    <a:pt x="231" y="582"/>
                  </a:cubicBezTo>
                  <a:cubicBezTo>
                    <a:pt x="232" y="582"/>
                    <a:pt x="232" y="582"/>
                    <a:pt x="232" y="582"/>
                  </a:cubicBezTo>
                  <a:cubicBezTo>
                    <a:pt x="232" y="582"/>
                    <a:pt x="232" y="582"/>
                    <a:pt x="232" y="582"/>
                  </a:cubicBezTo>
                  <a:cubicBezTo>
                    <a:pt x="231" y="581"/>
                    <a:pt x="231" y="581"/>
                    <a:pt x="231" y="581"/>
                  </a:cubicBezTo>
                  <a:cubicBezTo>
                    <a:pt x="233" y="582"/>
                    <a:pt x="233" y="582"/>
                    <a:pt x="233" y="582"/>
                  </a:cubicBezTo>
                  <a:cubicBezTo>
                    <a:pt x="233" y="581"/>
                    <a:pt x="233" y="581"/>
                    <a:pt x="233" y="581"/>
                  </a:cubicBezTo>
                  <a:cubicBezTo>
                    <a:pt x="233" y="581"/>
                    <a:pt x="234" y="581"/>
                    <a:pt x="234" y="580"/>
                  </a:cubicBezTo>
                  <a:cubicBezTo>
                    <a:pt x="235" y="580"/>
                    <a:pt x="235" y="580"/>
                    <a:pt x="235" y="579"/>
                  </a:cubicBezTo>
                  <a:cubicBezTo>
                    <a:pt x="235" y="579"/>
                    <a:pt x="235" y="579"/>
                    <a:pt x="236" y="579"/>
                  </a:cubicBezTo>
                  <a:cubicBezTo>
                    <a:pt x="236" y="579"/>
                    <a:pt x="236" y="579"/>
                    <a:pt x="236" y="579"/>
                  </a:cubicBezTo>
                  <a:cubicBezTo>
                    <a:pt x="236" y="578"/>
                    <a:pt x="237" y="577"/>
                    <a:pt x="237" y="577"/>
                  </a:cubicBezTo>
                  <a:cubicBezTo>
                    <a:pt x="237" y="577"/>
                    <a:pt x="237" y="577"/>
                    <a:pt x="237" y="577"/>
                  </a:cubicBezTo>
                  <a:cubicBezTo>
                    <a:pt x="237" y="577"/>
                    <a:pt x="238" y="576"/>
                    <a:pt x="238" y="576"/>
                  </a:cubicBezTo>
                  <a:cubicBezTo>
                    <a:pt x="239" y="576"/>
                    <a:pt x="240" y="576"/>
                    <a:pt x="241" y="575"/>
                  </a:cubicBezTo>
                  <a:cubicBezTo>
                    <a:pt x="241" y="575"/>
                    <a:pt x="241" y="575"/>
                    <a:pt x="241" y="575"/>
                  </a:cubicBezTo>
                  <a:cubicBezTo>
                    <a:pt x="242" y="574"/>
                    <a:pt x="242" y="574"/>
                    <a:pt x="242" y="574"/>
                  </a:cubicBezTo>
                  <a:cubicBezTo>
                    <a:pt x="242" y="574"/>
                    <a:pt x="242" y="574"/>
                    <a:pt x="242" y="574"/>
                  </a:cubicBezTo>
                  <a:cubicBezTo>
                    <a:pt x="243" y="574"/>
                    <a:pt x="243" y="574"/>
                    <a:pt x="243" y="574"/>
                  </a:cubicBezTo>
                  <a:cubicBezTo>
                    <a:pt x="243" y="574"/>
                    <a:pt x="243" y="574"/>
                    <a:pt x="243" y="574"/>
                  </a:cubicBezTo>
                  <a:cubicBezTo>
                    <a:pt x="244" y="574"/>
                    <a:pt x="245" y="573"/>
                    <a:pt x="245" y="573"/>
                  </a:cubicBezTo>
                  <a:cubicBezTo>
                    <a:pt x="245" y="573"/>
                    <a:pt x="245" y="573"/>
                    <a:pt x="245" y="573"/>
                  </a:cubicBezTo>
                  <a:cubicBezTo>
                    <a:pt x="245" y="574"/>
                    <a:pt x="245" y="574"/>
                    <a:pt x="245" y="574"/>
                  </a:cubicBezTo>
                  <a:cubicBezTo>
                    <a:pt x="249" y="571"/>
                    <a:pt x="249" y="571"/>
                    <a:pt x="249" y="571"/>
                  </a:cubicBezTo>
                  <a:cubicBezTo>
                    <a:pt x="249" y="571"/>
                    <a:pt x="250" y="571"/>
                    <a:pt x="250" y="571"/>
                  </a:cubicBezTo>
                  <a:cubicBezTo>
                    <a:pt x="250" y="571"/>
                    <a:pt x="250" y="571"/>
                    <a:pt x="250" y="571"/>
                  </a:cubicBezTo>
                  <a:cubicBezTo>
                    <a:pt x="251" y="570"/>
                    <a:pt x="251" y="570"/>
                    <a:pt x="251" y="570"/>
                  </a:cubicBezTo>
                  <a:cubicBezTo>
                    <a:pt x="252" y="570"/>
                    <a:pt x="253" y="570"/>
                    <a:pt x="254" y="569"/>
                  </a:cubicBezTo>
                  <a:cubicBezTo>
                    <a:pt x="254" y="569"/>
                    <a:pt x="254" y="568"/>
                    <a:pt x="254" y="568"/>
                  </a:cubicBezTo>
                  <a:cubicBezTo>
                    <a:pt x="255" y="568"/>
                    <a:pt x="255" y="568"/>
                    <a:pt x="255" y="568"/>
                  </a:cubicBezTo>
                  <a:cubicBezTo>
                    <a:pt x="255" y="567"/>
                    <a:pt x="256" y="567"/>
                    <a:pt x="256" y="567"/>
                  </a:cubicBezTo>
                  <a:cubicBezTo>
                    <a:pt x="256" y="567"/>
                    <a:pt x="256" y="567"/>
                    <a:pt x="256" y="566"/>
                  </a:cubicBezTo>
                  <a:cubicBezTo>
                    <a:pt x="256" y="566"/>
                    <a:pt x="257" y="566"/>
                    <a:pt x="257" y="566"/>
                  </a:cubicBezTo>
                  <a:cubicBezTo>
                    <a:pt x="257" y="566"/>
                    <a:pt x="257" y="566"/>
                    <a:pt x="258" y="566"/>
                  </a:cubicBezTo>
                  <a:cubicBezTo>
                    <a:pt x="258" y="565"/>
                    <a:pt x="258" y="565"/>
                    <a:pt x="258" y="565"/>
                  </a:cubicBezTo>
                  <a:cubicBezTo>
                    <a:pt x="259" y="565"/>
                    <a:pt x="259" y="565"/>
                    <a:pt x="259" y="565"/>
                  </a:cubicBezTo>
                  <a:cubicBezTo>
                    <a:pt x="260" y="565"/>
                    <a:pt x="260" y="565"/>
                    <a:pt x="261" y="565"/>
                  </a:cubicBezTo>
                  <a:cubicBezTo>
                    <a:pt x="262" y="565"/>
                    <a:pt x="262" y="564"/>
                    <a:pt x="262" y="564"/>
                  </a:cubicBezTo>
                  <a:cubicBezTo>
                    <a:pt x="262" y="563"/>
                    <a:pt x="262" y="563"/>
                    <a:pt x="262" y="563"/>
                  </a:cubicBezTo>
                  <a:cubicBezTo>
                    <a:pt x="263" y="564"/>
                    <a:pt x="263" y="564"/>
                    <a:pt x="263" y="564"/>
                  </a:cubicBezTo>
                  <a:cubicBezTo>
                    <a:pt x="264" y="563"/>
                    <a:pt x="264" y="563"/>
                    <a:pt x="264" y="563"/>
                  </a:cubicBezTo>
                  <a:cubicBezTo>
                    <a:pt x="265" y="563"/>
                    <a:pt x="265" y="563"/>
                    <a:pt x="265" y="563"/>
                  </a:cubicBezTo>
                  <a:cubicBezTo>
                    <a:pt x="266" y="563"/>
                    <a:pt x="266" y="563"/>
                    <a:pt x="267" y="563"/>
                  </a:cubicBezTo>
                  <a:cubicBezTo>
                    <a:pt x="267" y="563"/>
                    <a:pt x="267" y="563"/>
                    <a:pt x="268" y="563"/>
                  </a:cubicBezTo>
                  <a:cubicBezTo>
                    <a:pt x="268" y="563"/>
                    <a:pt x="268" y="563"/>
                    <a:pt x="269" y="563"/>
                  </a:cubicBezTo>
                  <a:cubicBezTo>
                    <a:pt x="269" y="562"/>
                    <a:pt x="270" y="562"/>
                    <a:pt x="271" y="562"/>
                  </a:cubicBezTo>
                  <a:cubicBezTo>
                    <a:pt x="271" y="562"/>
                    <a:pt x="272" y="562"/>
                    <a:pt x="272" y="562"/>
                  </a:cubicBezTo>
                  <a:cubicBezTo>
                    <a:pt x="272" y="562"/>
                    <a:pt x="273" y="563"/>
                    <a:pt x="273" y="563"/>
                  </a:cubicBezTo>
                  <a:cubicBezTo>
                    <a:pt x="274" y="563"/>
                    <a:pt x="274" y="564"/>
                    <a:pt x="274" y="564"/>
                  </a:cubicBezTo>
                  <a:cubicBezTo>
                    <a:pt x="275" y="564"/>
                    <a:pt x="275" y="564"/>
                    <a:pt x="276" y="565"/>
                  </a:cubicBezTo>
                  <a:cubicBezTo>
                    <a:pt x="277" y="565"/>
                    <a:pt x="277" y="564"/>
                    <a:pt x="277" y="564"/>
                  </a:cubicBezTo>
                  <a:cubicBezTo>
                    <a:pt x="277" y="564"/>
                    <a:pt x="277" y="564"/>
                    <a:pt x="277" y="564"/>
                  </a:cubicBezTo>
                  <a:cubicBezTo>
                    <a:pt x="278" y="564"/>
                    <a:pt x="278" y="565"/>
                    <a:pt x="279" y="565"/>
                  </a:cubicBezTo>
                  <a:cubicBezTo>
                    <a:pt x="279" y="565"/>
                    <a:pt x="280" y="565"/>
                    <a:pt x="281" y="565"/>
                  </a:cubicBezTo>
                  <a:cubicBezTo>
                    <a:pt x="281" y="564"/>
                    <a:pt x="282" y="563"/>
                    <a:pt x="282" y="563"/>
                  </a:cubicBezTo>
                  <a:cubicBezTo>
                    <a:pt x="282" y="563"/>
                    <a:pt x="282" y="563"/>
                    <a:pt x="282" y="563"/>
                  </a:cubicBezTo>
                  <a:cubicBezTo>
                    <a:pt x="282" y="563"/>
                    <a:pt x="282" y="563"/>
                    <a:pt x="282" y="563"/>
                  </a:cubicBezTo>
                  <a:cubicBezTo>
                    <a:pt x="282" y="563"/>
                    <a:pt x="282" y="563"/>
                    <a:pt x="282" y="564"/>
                  </a:cubicBezTo>
                  <a:cubicBezTo>
                    <a:pt x="282" y="564"/>
                    <a:pt x="282" y="564"/>
                    <a:pt x="282" y="564"/>
                  </a:cubicBezTo>
                  <a:cubicBezTo>
                    <a:pt x="282" y="565"/>
                    <a:pt x="283" y="566"/>
                    <a:pt x="283" y="566"/>
                  </a:cubicBezTo>
                  <a:cubicBezTo>
                    <a:pt x="283" y="566"/>
                    <a:pt x="284" y="566"/>
                    <a:pt x="284" y="567"/>
                  </a:cubicBezTo>
                  <a:cubicBezTo>
                    <a:pt x="284" y="567"/>
                    <a:pt x="284" y="567"/>
                    <a:pt x="284" y="567"/>
                  </a:cubicBezTo>
                  <a:cubicBezTo>
                    <a:pt x="285" y="567"/>
                    <a:pt x="285" y="568"/>
                    <a:pt x="285" y="568"/>
                  </a:cubicBezTo>
                  <a:cubicBezTo>
                    <a:pt x="285" y="569"/>
                    <a:pt x="286" y="571"/>
                    <a:pt x="288" y="570"/>
                  </a:cubicBezTo>
                  <a:cubicBezTo>
                    <a:pt x="289" y="570"/>
                    <a:pt x="290" y="570"/>
                    <a:pt x="290" y="569"/>
                  </a:cubicBezTo>
                  <a:cubicBezTo>
                    <a:pt x="290" y="569"/>
                    <a:pt x="290" y="569"/>
                    <a:pt x="290" y="569"/>
                  </a:cubicBezTo>
                  <a:cubicBezTo>
                    <a:pt x="291" y="569"/>
                    <a:pt x="291" y="569"/>
                    <a:pt x="291" y="569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1" y="569"/>
                    <a:pt x="291" y="569"/>
                    <a:pt x="291" y="569"/>
                  </a:cubicBezTo>
                  <a:cubicBezTo>
                    <a:pt x="291" y="569"/>
                    <a:pt x="292" y="570"/>
                    <a:pt x="293" y="570"/>
                  </a:cubicBezTo>
                  <a:cubicBezTo>
                    <a:pt x="294" y="570"/>
                    <a:pt x="295" y="569"/>
                    <a:pt x="295" y="568"/>
                  </a:cubicBezTo>
                  <a:cubicBezTo>
                    <a:pt x="295" y="568"/>
                    <a:pt x="295" y="568"/>
                    <a:pt x="295" y="568"/>
                  </a:cubicBezTo>
                  <a:cubicBezTo>
                    <a:pt x="295" y="568"/>
                    <a:pt x="295" y="568"/>
                    <a:pt x="295" y="569"/>
                  </a:cubicBezTo>
                  <a:cubicBezTo>
                    <a:pt x="295" y="570"/>
                    <a:pt x="296" y="570"/>
                    <a:pt x="297" y="570"/>
                  </a:cubicBezTo>
                  <a:cubicBezTo>
                    <a:pt x="297" y="570"/>
                    <a:pt x="297" y="570"/>
                    <a:pt x="297" y="570"/>
                  </a:cubicBezTo>
                  <a:cubicBezTo>
                    <a:pt x="297" y="570"/>
                    <a:pt x="297" y="570"/>
                    <a:pt x="297" y="570"/>
                  </a:cubicBezTo>
                  <a:cubicBezTo>
                    <a:pt x="297" y="571"/>
                    <a:pt x="296" y="571"/>
                    <a:pt x="296" y="572"/>
                  </a:cubicBezTo>
                  <a:cubicBezTo>
                    <a:pt x="296" y="573"/>
                    <a:pt x="296" y="574"/>
                    <a:pt x="298" y="574"/>
                  </a:cubicBezTo>
                  <a:cubicBezTo>
                    <a:pt x="299" y="574"/>
                    <a:pt x="299" y="574"/>
                    <a:pt x="300" y="574"/>
                  </a:cubicBezTo>
                  <a:cubicBezTo>
                    <a:pt x="301" y="574"/>
                    <a:pt x="302" y="574"/>
                    <a:pt x="302" y="573"/>
                  </a:cubicBezTo>
                  <a:cubicBezTo>
                    <a:pt x="302" y="572"/>
                    <a:pt x="302" y="572"/>
                    <a:pt x="302" y="572"/>
                  </a:cubicBezTo>
                  <a:cubicBezTo>
                    <a:pt x="302" y="572"/>
                    <a:pt x="302" y="571"/>
                    <a:pt x="302" y="571"/>
                  </a:cubicBezTo>
                  <a:cubicBezTo>
                    <a:pt x="302" y="571"/>
                    <a:pt x="302" y="571"/>
                    <a:pt x="303" y="570"/>
                  </a:cubicBezTo>
                  <a:cubicBezTo>
                    <a:pt x="303" y="569"/>
                    <a:pt x="303" y="568"/>
                    <a:pt x="303" y="568"/>
                  </a:cubicBezTo>
                  <a:cubicBezTo>
                    <a:pt x="302" y="567"/>
                    <a:pt x="302" y="567"/>
                    <a:pt x="301" y="567"/>
                  </a:cubicBezTo>
                  <a:cubicBezTo>
                    <a:pt x="301" y="567"/>
                    <a:pt x="301" y="566"/>
                    <a:pt x="301" y="566"/>
                  </a:cubicBezTo>
                  <a:cubicBezTo>
                    <a:pt x="301" y="566"/>
                    <a:pt x="301" y="566"/>
                    <a:pt x="301" y="566"/>
                  </a:cubicBezTo>
                  <a:cubicBezTo>
                    <a:pt x="301" y="565"/>
                    <a:pt x="301" y="565"/>
                    <a:pt x="301" y="565"/>
                  </a:cubicBezTo>
                  <a:cubicBezTo>
                    <a:pt x="301" y="565"/>
                    <a:pt x="301" y="564"/>
                    <a:pt x="301" y="564"/>
                  </a:cubicBezTo>
                  <a:cubicBezTo>
                    <a:pt x="302" y="564"/>
                    <a:pt x="303" y="564"/>
                    <a:pt x="304" y="563"/>
                  </a:cubicBezTo>
                  <a:cubicBezTo>
                    <a:pt x="304" y="562"/>
                    <a:pt x="304" y="560"/>
                    <a:pt x="303" y="560"/>
                  </a:cubicBezTo>
                  <a:cubicBezTo>
                    <a:pt x="303" y="559"/>
                    <a:pt x="304" y="559"/>
                    <a:pt x="304" y="559"/>
                  </a:cubicBezTo>
                  <a:cubicBezTo>
                    <a:pt x="304" y="559"/>
                    <a:pt x="304" y="559"/>
                    <a:pt x="304" y="559"/>
                  </a:cubicBezTo>
                  <a:cubicBezTo>
                    <a:pt x="304" y="558"/>
                    <a:pt x="305" y="558"/>
                    <a:pt x="305" y="558"/>
                  </a:cubicBezTo>
                  <a:cubicBezTo>
                    <a:pt x="305" y="558"/>
                    <a:pt x="305" y="558"/>
                    <a:pt x="305" y="558"/>
                  </a:cubicBezTo>
                  <a:cubicBezTo>
                    <a:pt x="306" y="558"/>
                    <a:pt x="306" y="558"/>
                    <a:pt x="306" y="558"/>
                  </a:cubicBezTo>
                  <a:cubicBezTo>
                    <a:pt x="306" y="558"/>
                    <a:pt x="307" y="558"/>
                    <a:pt x="307" y="558"/>
                  </a:cubicBezTo>
                  <a:cubicBezTo>
                    <a:pt x="308" y="558"/>
                    <a:pt x="308" y="557"/>
                    <a:pt x="309" y="557"/>
                  </a:cubicBezTo>
                  <a:cubicBezTo>
                    <a:pt x="309" y="557"/>
                    <a:pt x="309" y="557"/>
                    <a:pt x="309" y="557"/>
                  </a:cubicBezTo>
                  <a:cubicBezTo>
                    <a:pt x="309" y="557"/>
                    <a:pt x="309" y="557"/>
                    <a:pt x="309" y="557"/>
                  </a:cubicBezTo>
                  <a:cubicBezTo>
                    <a:pt x="310" y="557"/>
                    <a:pt x="310" y="557"/>
                    <a:pt x="310" y="557"/>
                  </a:cubicBezTo>
                  <a:cubicBezTo>
                    <a:pt x="311" y="557"/>
                    <a:pt x="312" y="557"/>
                    <a:pt x="313" y="557"/>
                  </a:cubicBezTo>
                  <a:cubicBezTo>
                    <a:pt x="313" y="557"/>
                    <a:pt x="313" y="557"/>
                    <a:pt x="313" y="557"/>
                  </a:cubicBezTo>
                  <a:cubicBezTo>
                    <a:pt x="314" y="557"/>
                    <a:pt x="315" y="557"/>
                    <a:pt x="316" y="556"/>
                  </a:cubicBezTo>
                  <a:cubicBezTo>
                    <a:pt x="317" y="556"/>
                    <a:pt x="317" y="557"/>
                    <a:pt x="317" y="557"/>
                  </a:cubicBezTo>
                  <a:cubicBezTo>
                    <a:pt x="318" y="556"/>
                    <a:pt x="318" y="556"/>
                    <a:pt x="318" y="556"/>
                  </a:cubicBezTo>
                  <a:cubicBezTo>
                    <a:pt x="317" y="557"/>
                    <a:pt x="317" y="557"/>
                    <a:pt x="317" y="557"/>
                  </a:cubicBezTo>
                  <a:cubicBezTo>
                    <a:pt x="317" y="557"/>
                    <a:pt x="318" y="558"/>
                    <a:pt x="318" y="558"/>
                  </a:cubicBezTo>
                  <a:cubicBezTo>
                    <a:pt x="319" y="558"/>
                    <a:pt x="319" y="558"/>
                    <a:pt x="319" y="558"/>
                  </a:cubicBezTo>
                  <a:cubicBezTo>
                    <a:pt x="319" y="558"/>
                    <a:pt x="319" y="558"/>
                    <a:pt x="319" y="558"/>
                  </a:cubicBezTo>
                  <a:cubicBezTo>
                    <a:pt x="319" y="558"/>
                    <a:pt x="320" y="558"/>
                    <a:pt x="320" y="558"/>
                  </a:cubicBezTo>
                  <a:cubicBezTo>
                    <a:pt x="320" y="559"/>
                    <a:pt x="321" y="559"/>
                    <a:pt x="321" y="559"/>
                  </a:cubicBezTo>
                  <a:cubicBezTo>
                    <a:pt x="321" y="559"/>
                    <a:pt x="321" y="559"/>
                    <a:pt x="322" y="559"/>
                  </a:cubicBezTo>
                  <a:cubicBezTo>
                    <a:pt x="322" y="559"/>
                    <a:pt x="322" y="559"/>
                    <a:pt x="322" y="559"/>
                  </a:cubicBezTo>
                  <a:cubicBezTo>
                    <a:pt x="322" y="559"/>
                    <a:pt x="322" y="559"/>
                    <a:pt x="323" y="559"/>
                  </a:cubicBezTo>
                  <a:cubicBezTo>
                    <a:pt x="323" y="559"/>
                    <a:pt x="323" y="559"/>
                    <a:pt x="323" y="559"/>
                  </a:cubicBezTo>
                  <a:cubicBezTo>
                    <a:pt x="324" y="559"/>
                    <a:pt x="324" y="559"/>
                    <a:pt x="325" y="559"/>
                  </a:cubicBezTo>
                  <a:cubicBezTo>
                    <a:pt x="325" y="559"/>
                    <a:pt x="325" y="559"/>
                    <a:pt x="325" y="559"/>
                  </a:cubicBezTo>
                  <a:cubicBezTo>
                    <a:pt x="326" y="559"/>
                    <a:pt x="327" y="558"/>
                    <a:pt x="327" y="558"/>
                  </a:cubicBezTo>
                  <a:cubicBezTo>
                    <a:pt x="327" y="559"/>
                    <a:pt x="327" y="559"/>
                    <a:pt x="328" y="560"/>
                  </a:cubicBezTo>
                  <a:cubicBezTo>
                    <a:pt x="328" y="560"/>
                    <a:pt x="328" y="560"/>
                    <a:pt x="328" y="560"/>
                  </a:cubicBezTo>
                  <a:cubicBezTo>
                    <a:pt x="328" y="560"/>
                    <a:pt x="328" y="560"/>
                    <a:pt x="329" y="561"/>
                  </a:cubicBezTo>
                  <a:cubicBezTo>
                    <a:pt x="329" y="561"/>
                    <a:pt x="329" y="562"/>
                    <a:pt x="330" y="562"/>
                  </a:cubicBezTo>
                  <a:cubicBezTo>
                    <a:pt x="330" y="562"/>
                    <a:pt x="330" y="562"/>
                    <a:pt x="330" y="562"/>
                  </a:cubicBezTo>
                  <a:cubicBezTo>
                    <a:pt x="331" y="562"/>
                    <a:pt x="331" y="562"/>
                    <a:pt x="331" y="562"/>
                  </a:cubicBezTo>
                  <a:cubicBezTo>
                    <a:pt x="331" y="562"/>
                    <a:pt x="331" y="562"/>
                    <a:pt x="331" y="562"/>
                  </a:cubicBezTo>
                  <a:cubicBezTo>
                    <a:pt x="331" y="563"/>
                    <a:pt x="331" y="564"/>
                    <a:pt x="332" y="564"/>
                  </a:cubicBezTo>
                  <a:cubicBezTo>
                    <a:pt x="332" y="565"/>
                    <a:pt x="332" y="565"/>
                    <a:pt x="332" y="565"/>
                  </a:cubicBezTo>
                  <a:cubicBezTo>
                    <a:pt x="333" y="565"/>
                    <a:pt x="333" y="565"/>
                    <a:pt x="333" y="565"/>
                  </a:cubicBezTo>
                  <a:cubicBezTo>
                    <a:pt x="333" y="565"/>
                    <a:pt x="333" y="565"/>
                    <a:pt x="333" y="565"/>
                  </a:cubicBezTo>
                  <a:cubicBezTo>
                    <a:pt x="333" y="566"/>
                    <a:pt x="333" y="566"/>
                    <a:pt x="334" y="567"/>
                  </a:cubicBezTo>
                  <a:cubicBezTo>
                    <a:pt x="334" y="568"/>
                    <a:pt x="336" y="568"/>
                    <a:pt x="337" y="567"/>
                  </a:cubicBezTo>
                  <a:cubicBezTo>
                    <a:pt x="337" y="567"/>
                    <a:pt x="337" y="567"/>
                    <a:pt x="338" y="566"/>
                  </a:cubicBezTo>
                  <a:cubicBezTo>
                    <a:pt x="338" y="566"/>
                    <a:pt x="338" y="566"/>
                    <a:pt x="338" y="566"/>
                  </a:cubicBezTo>
                  <a:cubicBezTo>
                    <a:pt x="338" y="566"/>
                    <a:pt x="338" y="566"/>
                    <a:pt x="339" y="566"/>
                  </a:cubicBezTo>
                  <a:cubicBezTo>
                    <a:pt x="340" y="567"/>
                    <a:pt x="340" y="567"/>
                    <a:pt x="341" y="566"/>
                  </a:cubicBezTo>
                  <a:cubicBezTo>
                    <a:pt x="341" y="566"/>
                    <a:pt x="342" y="566"/>
                    <a:pt x="342" y="566"/>
                  </a:cubicBezTo>
                  <a:cubicBezTo>
                    <a:pt x="342" y="566"/>
                    <a:pt x="343" y="565"/>
                    <a:pt x="343" y="565"/>
                  </a:cubicBezTo>
                  <a:cubicBezTo>
                    <a:pt x="343" y="565"/>
                    <a:pt x="343" y="565"/>
                    <a:pt x="343" y="565"/>
                  </a:cubicBezTo>
                  <a:cubicBezTo>
                    <a:pt x="343" y="565"/>
                    <a:pt x="344" y="565"/>
                    <a:pt x="344" y="565"/>
                  </a:cubicBezTo>
                  <a:cubicBezTo>
                    <a:pt x="345" y="565"/>
                    <a:pt x="345" y="565"/>
                    <a:pt x="345" y="565"/>
                  </a:cubicBezTo>
                  <a:cubicBezTo>
                    <a:pt x="345" y="565"/>
                    <a:pt x="345" y="565"/>
                    <a:pt x="345" y="565"/>
                  </a:cubicBezTo>
                  <a:cubicBezTo>
                    <a:pt x="345" y="566"/>
                    <a:pt x="345" y="566"/>
                    <a:pt x="345" y="566"/>
                  </a:cubicBezTo>
                  <a:cubicBezTo>
                    <a:pt x="345" y="567"/>
                    <a:pt x="345" y="567"/>
                    <a:pt x="345" y="568"/>
                  </a:cubicBezTo>
                  <a:cubicBezTo>
                    <a:pt x="345" y="568"/>
                    <a:pt x="345" y="568"/>
                    <a:pt x="345" y="568"/>
                  </a:cubicBezTo>
                  <a:cubicBezTo>
                    <a:pt x="345" y="568"/>
                    <a:pt x="345" y="569"/>
                    <a:pt x="345" y="569"/>
                  </a:cubicBezTo>
                  <a:cubicBezTo>
                    <a:pt x="346" y="569"/>
                    <a:pt x="346" y="569"/>
                    <a:pt x="346" y="570"/>
                  </a:cubicBezTo>
                  <a:cubicBezTo>
                    <a:pt x="346" y="570"/>
                    <a:pt x="346" y="570"/>
                    <a:pt x="346" y="571"/>
                  </a:cubicBezTo>
                  <a:cubicBezTo>
                    <a:pt x="346" y="572"/>
                    <a:pt x="347" y="573"/>
                    <a:pt x="347" y="573"/>
                  </a:cubicBezTo>
                  <a:cubicBezTo>
                    <a:pt x="347" y="574"/>
                    <a:pt x="347" y="574"/>
                    <a:pt x="347" y="574"/>
                  </a:cubicBezTo>
                  <a:cubicBezTo>
                    <a:pt x="348" y="573"/>
                    <a:pt x="348" y="573"/>
                    <a:pt x="348" y="573"/>
                  </a:cubicBezTo>
                  <a:cubicBezTo>
                    <a:pt x="348" y="573"/>
                    <a:pt x="348" y="573"/>
                    <a:pt x="348" y="573"/>
                  </a:cubicBezTo>
                  <a:cubicBezTo>
                    <a:pt x="347" y="574"/>
                    <a:pt x="347" y="574"/>
                    <a:pt x="347" y="574"/>
                  </a:cubicBezTo>
                  <a:cubicBezTo>
                    <a:pt x="348" y="574"/>
                    <a:pt x="348" y="574"/>
                    <a:pt x="348" y="575"/>
                  </a:cubicBezTo>
                  <a:cubicBezTo>
                    <a:pt x="348" y="575"/>
                    <a:pt x="348" y="576"/>
                    <a:pt x="348" y="576"/>
                  </a:cubicBezTo>
                  <a:cubicBezTo>
                    <a:pt x="348" y="577"/>
                    <a:pt x="348" y="577"/>
                    <a:pt x="348" y="577"/>
                  </a:cubicBezTo>
                  <a:cubicBezTo>
                    <a:pt x="348" y="578"/>
                    <a:pt x="347" y="578"/>
                    <a:pt x="347" y="578"/>
                  </a:cubicBezTo>
                  <a:cubicBezTo>
                    <a:pt x="347" y="579"/>
                    <a:pt x="347" y="579"/>
                    <a:pt x="347" y="579"/>
                  </a:cubicBezTo>
                  <a:cubicBezTo>
                    <a:pt x="347" y="580"/>
                    <a:pt x="347" y="580"/>
                    <a:pt x="347" y="580"/>
                  </a:cubicBezTo>
                  <a:cubicBezTo>
                    <a:pt x="347" y="581"/>
                    <a:pt x="347" y="581"/>
                    <a:pt x="347" y="581"/>
                  </a:cubicBezTo>
                  <a:cubicBezTo>
                    <a:pt x="347" y="581"/>
                    <a:pt x="346" y="581"/>
                    <a:pt x="346" y="582"/>
                  </a:cubicBezTo>
                  <a:cubicBezTo>
                    <a:pt x="346" y="582"/>
                    <a:pt x="346" y="582"/>
                    <a:pt x="345" y="583"/>
                  </a:cubicBezTo>
                  <a:cubicBezTo>
                    <a:pt x="345" y="583"/>
                    <a:pt x="345" y="583"/>
                    <a:pt x="345" y="584"/>
                  </a:cubicBezTo>
                  <a:cubicBezTo>
                    <a:pt x="345" y="584"/>
                    <a:pt x="345" y="584"/>
                    <a:pt x="345" y="584"/>
                  </a:cubicBezTo>
                  <a:cubicBezTo>
                    <a:pt x="344" y="585"/>
                    <a:pt x="344" y="586"/>
                    <a:pt x="343" y="587"/>
                  </a:cubicBezTo>
                  <a:cubicBezTo>
                    <a:pt x="343" y="588"/>
                    <a:pt x="343" y="589"/>
                    <a:pt x="344" y="589"/>
                  </a:cubicBezTo>
                  <a:cubicBezTo>
                    <a:pt x="344" y="590"/>
                    <a:pt x="344" y="590"/>
                    <a:pt x="344" y="591"/>
                  </a:cubicBezTo>
                  <a:cubicBezTo>
                    <a:pt x="344" y="591"/>
                    <a:pt x="345" y="591"/>
                    <a:pt x="345" y="591"/>
                  </a:cubicBezTo>
                  <a:cubicBezTo>
                    <a:pt x="345" y="591"/>
                    <a:pt x="345" y="591"/>
                    <a:pt x="345" y="591"/>
                  </a:cubicBezTo>
                  <a:cubicBezTo>
                    <a:pt x="345" y="592"/>
                    <a:pt x="345" y="592"/>
                    <a:pt x="345" y="592"/>
                  </a:cubicBezTo>
                  <a:cubicBezTo>
                    <a:pt x="344" y="591"/>
                    <a:pt x="344" y="591"/>
                    <a:pt x="344" y="591"/>
                  </a:cubicBezTo>
                  <a:cubicBezTo>
                    <a:pt x="344" y="591"/>
                    <a:pt x="344" y="591"/>
                    <a:pt x="344" y="592"/>
                  </a:cubicBezTo>
                  <a:cubicBezTo>
                    <a:pt x="344" y="592"/>
                    <a:pt x="343" y="592"/>
                    <a:pt x="343" y="592"/>
                  </a:cubicBezTo>
                  <a:cubicBezTo>
                    <a:pt x="343" y="593"/>
                    <a:pt x="343" y="594"/>
                    <a:pt x="343" y="594"/>
                  </a:cubicBezTo>
                  <a:cubicBezTo>
                    <a:pt x="343" y="595"/>
                    <a:pt x="343" y="596"/>
                    <a:pt x="343" y="596"/>
                  </a:cubicBezTo>
                  <a:cubicBezTo>
                    <a:pt x="343" y="596"/>
                    <a:pt x="343" y="597"/>
                    <a:pt x="343" y="597"/>
                  </a:cubicBezTo>
                  <a:cubicBezTo>
                    <a:pt x="342" y="597"/>
                    <a:pt x="342" y="597"/>
                    <a:pt x="342" y="597"/>
                  </a:cubicBezTo>
                  <a:cubicBezTo>
                    <a:pt x="342" y="598"/>
                    <a:pt x="342" y="599"/>
                    <a:pt x="342" y="600"/>
                  </a:cubicBezTo>
                  <a:cubicBezTo>
                    <a:pt x="342" y="600"/>
                    <a:pt x="343" y="601"/>
                    <a:pt x="343" y="601"/>
                  </a:cubicBezTo>
                  <a:cubicBezTo>
                    <a:pt x="343" y="601"/>
                    <a:pt x="344" y="602"/>
                    <a:pt x="344" y="602"/>
                  </a:cubicBezTo>
                  <a:cubicBezTo>
                    <a:pt x="344" y="602"/>
                    <a:pt x="344" y="602"/>
                    <a:pt x="344" y="602"/>
                  </a:cubicBezTo>
                  <a:cubicBezTo>
                    <a:pt x="344" y="603"/>
                    <a:pt x="344" y="604"/>
                    <a:pt x="344" y="604"/>
                  </a:cubicBezTo>
                  <a:cubicBezTo>
                    <a:pt x="344" y="605"/>
                    <a:pt x="344" y="605"/>
                    <a:pt x="344" y="606"/>
                  </a:cubicBezTo>
                  <a:cubicBezTo>
                    <a:pt x="344" y="607"/>
                    <a:pt x="344" y="607"/>
                    <a:pt x="344" y="607"/>
                  </a:cubicBezTo>
                  <a:cubicBezTo>
                    <a:pt x="344" y="607"/>
                    <a:pt x="344" y="608"/>
                    <a:pt x="344" y="608"/>
                  </a:cubicBezTo>
                  <a:cubicBezTo>
                    <a:pt x="345" y="609"/>
                    <a:pt x="345" y="610"/>
                    <a:pt x="345" y="611"/>
                  </a:cubicBezTo>
                  <a:cubicBezTo>
                    <a:pt x="345" y="611"/>
                    <a:pt x="345" y="611"/>
                    <a:pt x="346" y="611"/>
                  </a:cubicBezTo>
                  <a:cubicBezTo>
                    <a:pt x="346" y="612"/>
                    <a:pt x="346" y="612"/>
                    <a:pt x="346" y="612"/>
                  </a:cubicBezTo>
                  <a:cubicBezTo>
                    <a:pt x="346" y="612"/>
                    <a:pt x="346" y="613"/>
                    <a:pt x="346" y="613"/>
                  </a:cubicBezTo>
                  <a:cubicBezTo>
                    <a:pt x="346" y="614"/>
                    <a:pt x="346" y="615"/>
                    <a:pt x="346" y="616"/>
                  </a:cubicBezTo>
                  <a:cubicBezTo>
                    <a:pt x="346" y="616"/>
                    <a:pt x="347" y="616"/>
                    <a:pt x="347" y="616"/>
                  </a:cubicBezTo>
                  <a:cubicBezTo>
                    <a:pt x="347" y="617"/>
                    <a:pt x="347" y="617"/>
                    <a:pt x="347" y="617"/>
                  </a:cubicBezTo>
                  <a:cubicBezTo>
                    <a:pt x="347" y="617"/>
                    <a:pt x="347" y="617"/>
                    <a:pt x="347" y="617"/>
                  </a:cubicBezTo>
                  <a:cubicBezTo>
                    <a:pt x="347" y="617"/>
                    <a:pt x="347" y="617"/>
                    <a:pt x="347" y="617"/>
                  </a:cubicBezTo>
                  <a:cubicBezTo>
                    <a:pt x="347" y="617"/>
                    <a:pt x="346" y="617"/>
                    <a:pt x="346" y="617"/>
                  </a:cubicBezTo>
                  <a:cubicBezTo>
                    <a:pt x="346" y="618"/>
                    <a:pt x="346" y="618"/>
                    <a:pt x="345" y="619"/>
                  </a:cubicBezTo>
                  <a:cubicBezTo>
                    <a:pt x="345" y="620"/>
                    <a:pt x="345" y="621"/>
                    <a:pt x="346" y="622"/>
                  </a:cubicBezTo>
                  <a:cubicBezTo>
                    <a:pt x="347" y="622"/>
                    <a:pt x="347" y="622"/>
                    <a:pt x="348" y="622"/>
                  </a:cubicBezTo>
                  <a:cubicBezTo>
                    <a:pt x="348" y="622"/>
                    <a:pt x="349" y="622"/>
                    <a:pt x="349" y="622"/>
                  </a:cubicBezTo>
                  <a:cubicBezTo>
                    <a:pt x="349" y="622"/>
                    <a:pt x="349" y="622"/>
                    <a:pt x="350" y="621"/>
                  </a:cubicBezTo>
                  <a:cubicBezTo>
                    <a:pt x="350" y="621"/>
                    <a:pt x="350" y="621"/>
                    <a:pt x="351" y="621"/>
                  </a:cubicBezTo>
                  <a:cubicBezTo>
                    <a:pt x="351" y="621"/>
                    <a:pt x="352" y="622"/>
                    <a:pt x="352" y="622"/>
                  </a:cubicBezTo>
                  <a:cubicBezTo>
                    <a:pt x="353" y="622"/>
                    <a:pt x="354" y="621"/>
                    <a:pt x="355" y="620"/>
                  </a:cubicBezTo>
                  <a:cubicBezTo>
                    <a:pt x="355" y="619"/>
                    <a:pt x="356" y="618"/>
                    <a:pt x="356" y="618"/>
                  </a:cubicBezTo>
                  <a:cubicBezTo>
                    <a:pt x="357" y="616"/>
                    <a:pt x="357" y="616"/>
                    <a:pt x="357" y="616"/>
                  </a:cubicBezTo>
                  <a:cubicBezTo>
                    <a:pt x="356" y="616"/>
                    <a:pt x="356" y="616"/>
                    <a:pt x="356" y="616"/>
                  </a:cubicBezTo>
                  <a:cubicBezTo>
                    <a:pt x="356" y="616"/>
                    <a:pt x="356" y="616"/>
                    <a:pt x="356" y="616"/>
                  </a:cubicBezTo>
                  <a:cubicBezTo>
                    <a:pt x="357" y="616"/>
                    <a:pt x="357" y="616"/>
                    <a:pt x="357" y="616"/>
                  </a:cubicBezTo>
                  <a:cubicBezTo>
                    <a:pt x="357" y="616"/>
                    <a:pt x="357" y="616"/>
                    <a:pt x="357" y="616"/>
                  </a:cubicBezTo>
                  <a:cubicBezTo>
                    <a:pt x="357" y="616"/>
                    <a:pt x="357" y="615"/>
                    <a:pt x="357" y="615"/>
                  </a:cubicBezTo>
                  <a:cubicBezTo>
                    <a:pt x="358" y="615"/>
                    <a:pt x="359" y="615"/>
                    <a:pt x="359" y="614"/>
                  </a:cubicBezTo>
                  <a:cubicBezTo>
                    <a:pt x="360" y="613"/>
                    <a:pt x="360" y="612"/>
                    <a:pt x="360" y="612"/>
                  </a:cubicBezTo>
                  <a:cubicBezTo>
                    <a:pt x="360" y="611"/>
                    <a:pt x="361" y="611"/>
                    <a:pt x="361" y="610"/>
                  </a:cubicBezTo>
                  <a:cubicBezTo>
                    <a:pt x="361" y="610"/>
                    <a:pt x="361" y="610"/>
                    <a:pt x="361" y="609"/>
                  </a:cubicBezTo>
                  <a:cubicBezTo>
                    <a:pt x="361" y="609"/>
                    <a:pt x="361" y="609"/>
                    <a:pt x="362" y="608"/>
                  </a:cubicBezTo>
                  <a:cubicBezTo>
                    <a:pt x="362" y="608"/>
                    <a:pt x="362" y="607"/>
                    <a:pt x="362" y="607"/>
                  </a:cubicBezTo>
                  <a:cubicBezTo>
                    <a:pt x="362" y="606"/>
                    <a:pt x="362" y="606"/>
                    <a:pt x="362" y="606"/>
                  </a:cubicBezTo>
                  <a:cubicBezTo>
                    <a:pt x="362" y="606"/>
                    <a:pt x="362" y="606"/>
                    <a:pt x="362" y="606"/>
                  </a:cubicBezTo>
                  <a:cubicBezTo>
                    <a:pt x="362" y="605"/>
                    <a:pt x="362" y="605"/>
                    <a:pt x="362" y="605"/>
                  </a:cubicBezTo>
                  <a:cubicBezTo>
                    <a:pt x="362" y="605"/>
                    <a:pt x="362" y="605"/>
                    <a:pt x="363" y="604"/>
                  </a:cubicBezTo>
                  <a:cubicBezTo>
                    <a:pt x="363" y="604"/>
                    <a:pt x="363" y="604"/>
                    <a:pt x="363" y="604"/>
                  </a:cubicBezTo>
                  <a:cubicBezTo>
                    <a:pt x="363" y="603"/>
                    <a:pt x="363" y="603"/>
                    <a:pt x="363" y="603"/>
                  </a:cubicBezTo>
                  <a:cubicBezTo>
                    <a:pt x="363" y="603"/>
                    <a:pt x="363" y="602"/>
                    <a:pt x="363" y="602"/>
                  </a:cubicBezTo>
                  <a:cubicBezTo>
                    <a:pt x="363" y="601"/>
                    <a:pt x="363" y="600"/>
                    <a:pt x="363" y="599"/>
                  </a:cubicBezTo>
                  <a:cubicBezTo>
                    <a:pt x="363" y="599"/>
                    <a:pt x="363" y="598"/>
                    <a:pt x="363" y="598"/>
                  </a:cubicBezTo>
                  <a:cubicBezTo>
                    <a:pt x="363" y="598"/>
                    <a:pt x="363" y="597"/>
                    <a:pt x="363" y="597"/>
                  </a:cubicBezTo>
                  <a:cubicBezTo>
                    <a:pt x="363" y="597"/>
                    <a:pt x="363" y="597"/>
                    <a:pt x="363" y="596"/>
                  </a:cubicBezTo>
                  <a:cubicBezTo>
                    <a:pt x="363" y="596"/>
                    <a:pt x="363" y="596"/>
                    <a:pt x="363" y="596"/>
                  </a:cubicBezTo>
                  <a:cubicBezTo>
                    <a:pt x="363" y="596"/>
                    <a:pt x="363" y="596"/>
                    <a:pt x="363" y="595"/>
                  </a:cubicBezTo>
                  <a:cubicBezTo>
                    <a:pt x="363" y="595"/>
                    <a:pt x="363" y="595"/>
                    <a:pt x="363" y="594"/>
                  </a:cubicBezTo>
                  <a:cubicBezTo>
                    <a:pt x="364" y="594"/>
                    <a:pt x="364" y="593"/>
                    <a:pt x="364" y="593"/>
                  </a:cubicBezTo>
                  <a:cubicBezTo>
                    <a:pt x="364" y="593"/>
                    <a:pt x="364" y="592"/>
                    <a:pt x="364" y="591"/>
                  </a:cubicBezTo>
                  <a:cubicBezTo>
                    <a:pt x="364" y="590"/>
                    <a:pt x="364" y="590"/>
                    <a:pt x="364" y="590"/>
                  </a:cubicBezTo>
                  <a:cubicBezTo>
                    <a:pt x="364" y="590"/>
                    <a:pt x="364" y="589"/>
                    <a:pt x="364" y="589"/>
                  </a:cubicBezTo>
                  <a:cubicBezTo>
                    <a:pt x="364" y="589"/>
                    <a:pt x="364" y="589"/>
                    <a:pt x="364" y="588"/>
                  </a:cubicBezTo>
                  <a:cubicBezTo>
                    <a:pt x="364" y="588"/>
                    <a:pt x="364" y="588"/>
                    <a:pt x="364" y="587"/>
                  </a:cubicBezTo>
                  <a:cubicBezTo>
                    <a:pt x="364" y="587"/>
                    <a:pt x="364" y="587"/>
                    <a:pt x="364" y="587"/>
                  </a:cubicBezTo>
                  <a:cubicBezTo>
                    <a:pt x="364" y="587"/>
                    <a:pt x="364" y="586"/>
                    <a:pt x="364" y="586"/>
                  </a:cubicBezTo>
                  <a:cubicBezTo>
                    <a:pt x="364" y="586"/>
                    <a:pt x="364" y="586"/>
                    <a:pt x="364" y="586"/>
                  </a:cubicBezTo>
                  <a:cubicBezTo>
                    <a:pt x="364" y="586"/>
                    <a:pt x="365" y="586"/>
                    <a:pt x="365" y="586"/>
                  </a:cubicBezTo>
                  <a:cubicBezTo>
                    <a:pt x="365" y="586"/>
                    <a:pt x="366" y="586"/>
                    <a:pt x="367" y="585"/>
                  </a:cubicBezTo>
                  <a:cubicBezTo>
                    <a:pt x="367" y="584"/>
                    <a:pt x="367" y="583"/>
                    <a:pt x="367" y="583"/>
                  </a:cubicBezTo>
                  <a:cubicBezTo>
                    <a:pt x="366" y="582"/>
                    <a:pt x="366" y="582"/>
                    <a:pt x="366" y="582"/>
                  </a:cubicBezTo>
                  <a:cubicBezTo>
                    <a:pt x="366" y="582"/>
                    <a:pt x="366" y="582"/>
                    <a:pt x="366" y="582"/>
                  </a:cubicBezTo>
                  <a:cubicBezTo>
                    <a:pt x="366" y="581"/>
                    <a:pt x="366" y="581"/>
                    <a:pt x="366" y="580"/>
                  </a:cubicBezTo>
                  <a:cubicBezTo>
                    <a:pt x="366" y="580"/>
                    <a:pt x="366" y="580"/>
                    <a:pt x="366" y="580"/>
                  </a:cubicBezTo>
                  <a:cubicBezTo>
                    <a:pt x="366" y="580"/>
                    <a:pt x="366" y="579"/>
                    <a:pt x="366" y="579"/>
                  </a:cubicBezTo>
                  <a:cubicBezTo>
                    <a:pt x="366" y="579"/>
                    <a:pt x="365" y="579"/>
                    <a:pt x="365" y="578"/>
                  </a:cubicBezTo>
                  <a:cubicBezTo>
                    <a:pt x="365" y="578"/>
                    <a:pt x="365" y="578"/>
                    <a:pt x="365" y="577"/>
                  </a:cubicBezTo>
                  <a:cubicBezTo>
                    <a:pt x="365" y="577"/>
                    <a:pt x="365" y="577"/>
                    <a:pt x="365" y="577"/>
                  </a:cubicBezTo>
                  <a:cubicBezTo>
                    <a:pt x="365" y="576"/>
                    <a:pt x="366" y="576"/>
                    <a:pt x="366" y="575"/>
                  </a:cubicBezTo>
                  <a:cubicBezTo>
                    <a:pt x="365" y="575"/>
                    <a:pt x="365" y="575"/>
                    <a:pt x="365" y="575"/>
                  </a:cubicBezTo>
                  <a:cubicBezTo>
                    <a:pt x="365" y="574"/>
                    <a:pt x="365" y="574"/>
                    <a:pt x="365" y="574"/>
                  </a:cubicBezTo>
                  <a:cubicBezTo>
                    <a:pt x="366" y="573"/>
                    <a:pt x="366" y="573"/>
                    <a:pt x="366" y="573"/>
                  </a:cubicBezTo>
                  <a:cubicBezTo>
                    <a:pt x="366" y="573"/>
                    <a:pt x="367" y="572"/>
                    <a:pt x="367" y="572"/>
                  </a:cubicBezTo>
                  <a:cubicBezTo>
                    <a:pt x="367" y="571"/>
                    <a:pt x="367" y="570"/>
                    <a:pt x="366" y="569"/>
                  </a:cubicBezTo>
                  <a:cubicBezTo>
                    <a:pt x="365" y="569"/>
                    <a:pt x="365" y="569"/>
                    <a:pt x="365" y="569"/>
                  </a:cubicBezTo>
                  <a:cubicBezTo>
                    <a:pt x="366" y="569"/>
                    <a:pt x="366" y="569"/>
                    <a:pt x="366" y="569"/>
                  </a:cubicBezTo>
                  <a:cubicBezTo>
                    <a:pt x="366" y="568"/>
                    <a:pt x="366" y="568"/>
                    <a:pt x="366" y="568"/>
                  </a:cubicBezTo>
                  <a:cubicBezTo>
                    <a:pt x="367" y="568"/>
                    <a:pt x="367" y="568"/>
                    <a:pt x="367" y="568"/>
                  </a:cubicBezTo>
                  <a:cubicBezTo>
                    <a:pt x="367" y="567"/>
                    <a:pt x="367" y="567"/>
                    <a:pt x="367" y="566"/>
                  </a:cubicBezTo>
                  <a:cubicBezTo>
                    <a:pt x="367" y="565"/>
                    <a:pt x="367" y="565"/>
                    <a:pt x="367" y="565"/>
                  </a:cubicBezTo>
                  <a:cubicBezTo>
                    <a:pt x="367" y="565"/>
                    <a:pt x="367" y="565"/>
                    <a:pt x="367" y="565"/>
                  </a:cubicBezTo>
                  <a:cubicBezTo>
                    <a:pt x="367" y="564"/>
                    <a:pt x="367" y="563"/>
                    <a:pt x="367" y="562"/>
                  </a:cubicBezTo>
                  <a:cubicBezTo>
                    <a:pt x="367" y="561"/>
                    <a:pt x="367" y="561"/>
                    <a:pt x="367" y="560"/>
                  </a:cubicBezTo>
                  <a:cubicBezTo>
                    <a:pt x="367" y="560"/>
                    <a:pt x="367" y="559"/>
                    <a:pt x="367" y="559"/>
                  </a:cubicBezTo>
                  <a:cubicBezTo>
                    <a:pt x="367" y="558"/>
                    <a:pt x="367" y="558"/>
                    <a:pt x="367" y="558"/>
                  </a:cubicBezTo>
                  <a:cubicBezTo>
                    <a:pt x="367" y="557"/>
                    <a:pt x="367" y="557"/>
                    <a:pt x="367" y="557"/>
                  </a:cubicBezTo>
                  <a:cubicBezTo>
                    <a:pt x="368" y="556"/>
                    <a:pt x="368" y="556"/>
                    <a:pt x="368" y="556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8" y="555"/>
                    <a:pt x="369" y="555"/>
                  </a:cubicBezTo>
                  <a:cubicBezTo>
                    <a:pt x="370" y="554"/>
                    <a:pt x="370" y="554"/>
                    <a:pt x="370" y="552"/>
                  </a:cubicBezTo>
                  <a:cubicBezTo>
                    <a:pt x="370" y="552"/>
                    <a:pt x="370" y="552"/>
                    <a:pt x="370" y="552"/>
                  </a:cubicBezTo>
                  <a:cubicBezTo>
                    <a:pt x="370" y="551"/>
                    <a:pt x="371" y="551"/>
                    <a:pt x="371" y="551"/>
                  </a:cubicBezTo>
                  <a:cubicBezTo>
                    <a:pt x="371" y="550"/>
                    <a:pt x="371" y="550"/>
                    <a:pt x="372" y="550"/>
                  </a:cubicBezTo>
                  <a:cubicBezTo>
                    <a:pt x="372" y="550"/>
                    <a:pt x="372" y="550"/>
                    <a:pt x="372" y="550"/>
                  </a:cubicBezTo>
                  <a:cubicBezTo>
                    <a:pt x="373" y="549"/>
                    <a:pt x="373" y="548"/>
                    <a:pt x="374" y="548"/>
                  </a:cubicBezTo>
                  <a:cubicBezTo>
                    <a:pt x="374" y="547"/>
                    <a:pt x="374" y="547"/>
                    <a:pt x="374" y="547"/>
                  </a:cubicBezTo>
                  <a:cubicBezTo>
                    <a:pt x="375" y="546"/>
                    <a:pt x="375" y="546"/>
                    <a:pt x="375" y="546"/>
                  </a:cubicBezTo>
                  <a:cubicBezTo>
                    <a:pt x="376" y="545"/>
                    <a:pt x="377" y="545"/>
                    <a:pt x="378" y="544"/>
                  </a:cubicBezTo>
                  <a:cubicBezTo>
                    <a:pt x="378" y="543"/>
                    <a:pt x="379" y="543"/>
                    <a:pt x="379" y="542"/>
                  </a:cubicBezTo>
                  <a:cubicBezTo>
                    <a:pt x="379" y="542"/>
                    <a:pt x="380" y="541"/>
                    <a:pt x="380" y="541"/>
                  </a:cubicBezTo>
                  <a:cubicBezTo>
                    <a:pt x="380" y="541"/>
                    <a:pt x="381" y="540"/>
                    <a:pt x="382" y="539"/>
                  </a:cubicBezTo>
                  <a:cubicBezTo>
                    <a:pt x="382" y="539"/>
                    <a:pt x="382" y="539"/>
                    <a:pt x="383" y="539"/>
                  </a:cubicBezTo>
                  <a:cubicBezTo>
                    <a:pt x="383" y="539"/>
                    <a:pt x="383" y="540"/>
                    <a:pt x="383" y="540"/>
                  </a:cubicBezTo>
                  <a:cubicBezTo>
                    <a:pt x="383" y="540"/>
                    <a:pt x="383" y="540"/>
                    <a:pt x="383" y="540"/>
                  </a:cubicBezTo>
                  <a:cubicBezTo>
                    <a:pt x="384" y="540"/>
                    <a:pt x="385" y="540"/>
                    <a:pt x="386" y="540"/>
                  </a:cubicBezTo>
                  <a:cubicBezTo>
                    <a:pt x="386" y="540"/>
                    <a:pt x="387" y="539"/>
                    <a:pt x="387" y="539"/>
                  </a:cubicBezTo>
                  <a:cubicBezTo>
                    <a:pt x="387" y="539"/>
                    <a:pt x="387" y="539"/>
                    <a:pt x="388" y="539"/>
                  </a:cubicBezTo>
                  <a:cubicBezTo>
                    <a:pt x="388" y="539"/>
                    <a:pt x="388" y="539"/>
                    <a:pt x="389" y="538"/>
                  </a:cubicBezTo>
                  <a:cubicBezTo>
                    <a:pt x="390" y="537"/>
                    <a:pt x="390" y="537"/>
                    <a:pt x="390" y="537"/>
                  </a:cubicBezTo>
                  <a:cubicBezTo>
                    <a:pt x="390" y="537"/>
                    <a:pt x="391" y="537"/>
                    <a:pt x="391" y="537"/>
                  </a:cubicBezTo>
                  <a:cubicBezTo>
                    <a:pt x="391" y="536"/>
                    <a:pt x="391" y="536"/>
                    <a:pt x="391" y="536"/>
                  </a:cubicBezTo>
                  <a:cubicBezTo>
                    <a:pt x="392" y="536"/>
                    <a:pt x="392" y="536"/>
                    <a:pt x="392" y="536"/>
                  </a:cubicBezTo>
                  <a:cubicBezTo>
                    <a:pt x="393" y="535"/>
                    <a:pt x="393" y="535"/>
                    <a:pt x="393" y="535"/>
                  </a:cubicBezTo>
                  <a:cubicBezTo>
                    <a:pt x="393" y="535"/>
                    <a:pt x="393" y="535"/>
                    <a:pt x="393" y="535"/>
                  </a:cubicBezTo>
                  <a:cubicBezTo>
                    <a:pt x="393" y="535"/>
                    <a:pt x="394" y="534"/>
                    <a:pt x="394" y="534"/>
                  </a:cubicBezTo>
                  <a:cubicBezTo>
                    <a:pt x="394" y="534"/>
                    <a:pt x="395" y="534"/>
                    <a:pt x="395" y="534"/>
                  </a:cubicBezTo>
                  <a:cubicBezTo>
                    <a:pt x="395" y="534"/>
                    <a:pt x="396" y="534"/>
                    <a:pt x="396" y="534"/>
                  </a:cubicBezTo>
                  <a:cubicBezTo>
                    <a:pt x="396" y="533"/>
                    <a:pt x="396" y="533"/>
                    <a:pt x="397" y="533"/>
                  </a:cubicBezTo>
                  <a:cubicBezTo>
                    <a:pt x="397" y="533"/>
                    <a:pt x="397" y="532"/>
                    <a:pt x="398" y="532"/>
                  </a:cubicBezTo>
                  <a:cubicBezTo>
                    <a:pt x="398" y="531"/>
                    <a:pt x="398" y="531"/>
                    <a:pt x="398" y="531"/>
                  </a:cubicBezTo>
                  <a:cubicBezTo>
                    <a:pt x="398" y="531"/>
                    <a:pt x="398" y="531"/>
                    <a:pt x="399" y="530"/>
                  </a:cubicBezTo>
                  <a:cubicBezTo>
                    <a:pt x="399" y="530"/>
                    <a:pt x="399" y="530"/>
                    <a:pt x="399" y="530"/>
                  </a:cubicBezTo>
                  <a:cubicBezTo>
                    <a:pt x="399" y="530"/>
                    <a:pt x="400" y="530"/>
                    <a:pt x="400" y="530"/>
                  </a:cubicBezTo>
                  <a:cubicBezTo>
                    <a:pt x="400" y="529"/>
                    <a:pt x="401" y="529"/>
                    <a:pt x="401" y="529"/>
                  </a:cubicBezTo>
                  <a:cubicBezTo>
                    <a:pt x="401" y="529"/>
                    <a:pt x="401" y="528"/>
                    <a:pt x="401" y="528"/>
                  </a:cubicBezTo>
                  <a:cubicBezTo>
                    <a:pt x="402" y="528"/>
                    <a:pt x="402" y="528"/>
                    <a:pt x="402" y="528"/>
                  </a:cubicBezTo>
                  <a:cubicBezTo>
                    <a:pt x="402" y="528"/>
                    <a:pt x="402" y="528"/>
                    <a:pt x="402" y="527"/>
                  </a:cubicBezTo>
                  <a:cubicBezTo>
                    <a:pt x="403" y="527"/>
                    <a:pt x="403" y="527"/>
                    <a:pt x="403" y="527"/>
                  </a:cubicBezTo>
                  <a:cubicBezTo>
                    <a:pt x="403" y="526"/>
                    <a:pt x="403" y="526"/>
                    <a:pt x="403" y="526"/>
                  </a:cubicBezTo>
                  <a:cubicBezTo>
                    <a:pt x="403" y="526"/>
                    <a:pt x="403" y="526"/>
                    <a:pt x="404" y="526"/>
                  </a:cubicBezTo>
                  <a:cubicBezTo>
                    <a:pt x="404" y="526"/>
                    <a:pt x="404" y="526"/>
                    <a:pt x="404" y="526"/>
                  </a:cubicBezTo>
                  <a:cubicBezTo>
                    <a:pt x="404" y="526"/>
                    <a:pt x="404" y="526"/>
                    <a:pt x="405" y="526"/>
                  </a:cubicBezTo>
                  <a:cubicBezTo>
                    <a:pt x="405" y="526"/>
                    <a:pt x="405" y="526"/>
                    <a:pt x="405" y="526"/>
                  </a:cubicBezTo>
                  <a:cubicBezTo>
                    <a:pt x="406" y="526"/>
                    <a:pt x="406" y="526"/>
                    <a:pt x="406" y="526"/>
                  </a:cubicBezTo>
                  <a:cubicBezTo>
                    <a:pt x="406" y="526"/>
                    <a:pt x="406" y="526"/>
                    <a:pt x="406" y="526"/>
                  </a:cubicBezTo>
                  <a:cubicBezTo>
                    <a:pt x="406" y="526"/>
                    <a:pt x="407" y="526"/>
                    <a:pt x="407" y="526"/>
                  </a:cubicBezTo>
                  <a:cubicBezTo>
                    <a:pt x="408" y="526"/>
                    <a:pt x="408" y="525"/>
                    <a:pt x="409" y="525"/>
                  </a:cubicBezTo>
                  <a:cubicBezTo>
                    <a:pt x="409" y="525"/>
                    <a:pt x="409" y="525"/>
                    <a:pt x="409" y="525"/>
                  </a:cubicBezTo>
                  <a:cubicBezTo>
                    <a:pt x="410" y="524"/>
                    <a:pt x="410" y="524"/>
                    <a:pt x="410" y="523"/>
                  </a:cubicBezTo>
                  <a:cubicBezTo>
                    <a:pt x="411" y="523"/>
                    <a:pt x="411" y="523"/>
                    <a:pt x="411" y="523"/>
                  </a:cubicBezTo>
                  <a:cubicBezTo>
                    <a:pt x="411" y="522"/>
                    <a:pt x="411" y="522"/>
                    <a:pt x="412" y="522"/>
                  </a:cubicBezTo>
                  <a:cubicBezTo>
                    <a:pt x="412" y="522"/>
                    <a:pt x="412" y="521"/>
                    <a:pt x="412" y="521"/>
                  </a:cubicBezTo>
                  <a:cubicBezTo>
                    <a:pt x="412" y="520"/>
                    <a:pt x="412" y="520"/>
                    <a:pt x="412" y="520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14" y="521"/>
                    <a:pt x="414" y="520"/>
                  </a:cubicBezTo>
                  <a:cubicBezTo>
                    <a:pt x="415" y="520"/>
                    <a:pt x="415" y="519"/>
                    <a:pt x="415" y="519"/>
                  </a:cubicBezTo>
                  <a:cubicBezTo>
                    <a:pt x="416" y="519"/>
                    <a:pt x="417" y="519"/>
                    <a:pt x="417" y="519"/>
                  </a:cubicBezTo>
                  <a:cubicBezTo>
                    <a:pt x="417" y="518"/>
                    <a:pt x="417" y="518"/>
                    <a:pt x="418" y="518"/>
                  </a:cubicBezTo>
                  <a:cubicBezTo>
                    <a:pt x="418" y="518"/>
                    <a:pt x="418" y="518"/>
                    <a:pt x="418" y="518"/>
                  </a:cubicBezTo>
                  <a:cubicBezTo>
                    <a:pt x="419" y="518"/>
                    <a:pt x="419" y="518"/>
                    <a:pt x="419" y="518"/>
                  </a:cubicBezTo>
                  <a:cubicBezTo>
                    <a:pt x="420" y="518"/>
                    <a:pt x="420" y="518"/>
                    <a:pt x="420" y="518"/>
                  </a:cubicBezTo>
                  <a:cubicBezTo>
                    <a:pt x="421" y="517"/>
                    <a:pt x="422" y="517"/>
                    <a:pt x="423" y="516"/>
                  </a:cubicBezTo>
                  <a:cubicBezTo>
                    <a:pt x="423" y="516"/>
                    <a:pt x="424" y="516"/>
                    <a:pt x="424" y="515"/>
                  </a:cubicBezTo>
                  <a:cubicBezTo>
                    <a:pt x="425" y="514"/>
                    <a:pt x="426" y="513"/>
                    <a:pt x="425" y="512"/>
                  </a:cubicBezTo>
                  <a:cubicBezTo>
                    <a:pt x="425" y="512"/>
                    <a:pt x="425" y="511"/>
                    <a:pt x="424" y="511"/>
                  </a:cubicBezTo>
                  <a:cubicBezTo>
                    <a:pt x="424" y="511"/>
                    <a:pt x="424" y="511"/>
                    <a:pt x="424" y="511"/>
                  </a:cubicBezTo>
                  <a:cubicBezTo>
                    <a:pt x="424" y="510"/>
                    <a:pt x="425" y="510"/>
                    <a:pt x="425" y="509"/>
                  </a:cubicBezTo>
                  <a:cubicBezTo>
                    <a:pt x="425" y="509"/>
                    <a:pt x="425" y="509"/>
                    <a:pt x="425" y="509"/>
                  </a:cubicBezTo>
                  <a:cubicBezTo>
                    <a:pt x="425" y="509"/>
                    <a:pt x="426" y="509"/>
                    <a:pt x="426" y="509"/>
                  </a:cubicBezTo>
                  <a:cubicBezTo>
                    <a:pt x="426" y="509"/>
                    <a:pt x="427" y="510"/>
                    <a:pt x="427" y="510"/>
                  </a:cubicBezTo>
                  <a:cubicBezTo>
                    <a:pt x="427" y="510"/>
                    <a:pt x="428" y="510"/>
                    <a:pt x="428" y="510"/>
                  </a:cubicBezTo>
                  <a:cubicBezTo>
                    <a:pt x="429" y="510"/>
                    <a:pt x="429" y="510"/>
                    <a:pt x="429" y="510"/>
                  </a:cubicBezTo>
                  <a:cubicBezTo>
                    <a:pt x="429" y="510"/>
                    <a:pt x="430" y="510"/>
                    <a:pt x="430" y="509"/>
                  </a:cubicBezTo>
                  <a:cubicBezTo>
                    <a:pt x="431" y="509"/>
                    <a:pt x="431" y="509"/>
                    <a:pt x="431" y="509"/>
                  </a:cubicBezTo>
                  <a:cubicBezTo>
                    <a:pt x="431" y="509"/>
                    <a:pt x="431" y="508"/>
                    <a:pt x="431" y="508"/>
                  </a:cubicBezTo>
                  <a:cubicBezTo>
                    <a:pt x="432" y="508"/>
                    <a:pt x="433" y="508"/>
                    <a:pt x="434" y="507"/>
                  </a:cubicBezTo>
                  <a:cubicBezTo>
                    <a:pt x="434" y="506"/>
                    <a:pt x="434" y="506"/>
                    <a:pt x="434" y="506"/>
                  </a:cubicBezTo>
                  <a:cubicBezTo>
                    <a:pt x="434" y="505"/>
                    <a:pt x="434" y="505"/>
                    <a:pt x="434" y="505"/>
                  </a:cubicBezTo>
                  <a:cubicBezTo>
                    <a:pt x="434" y="505"/>
                    <a:pt x="434" y="505"/>
                    <a:pt x="434" y="504"/>
                  </a:cubicBezTo>
                  <a:cubicBezTo>
                    <a:pt x="433" y="504"/>
                    <a:pt x="433" y="504"/>
                    <a:pt x="433" y="504"/>
                  </a:cubicBezTo>
                  <a:cubicBezTo>
                    <a:pt x="434" y="504"/>
                    <a:pt x="434" y="504"/>
                    <a:pt x="434" y="504"/>
                  </a:cubicBezTo>
                  <a:cubicBezTo>
                    <a:pt x="434" y="504"/>
                    <a:pt x="435" y="504"/>
                    <a:pt x="435" y="503"/>
                  </a:cubicBezTo>
                  <a:cubicBezTo>
                    <a:pt x="435" y="503"/>
                    <a:pt x="435" y="502"/>
                    <a:pt x="434" y="501"/>
                  </a:cubicBezTo>
                  <a:cubicBezTo>
                    <a:pt x="434" y="501"/>
                    <a:pt x="434" y="501"/>
                    <a:pt x="434" y="501"/>
                  </a:cubicBezTo>
                  <a:cubicBezTo>
                    <a:pt x="434" y="501"/>
                    <a:pt x="435" y="500"/>
                    <a:pt x="435" y="500"/>
                  </a:cubicBezTo>
                  <a:cubicBezTo>
                    <a:pt x="436" y="500"/>
                    <a:pt x="436" y="500"/>
                    <a:pt x="436" y="500"/>
                  </a:cubicBezTo>
                  <a:cubicBezTo>
                    <a:pt x="436" y="500"/>
                    <a:pt x="436" y="500"/>
                    <a:pt x="437" y="499"/>
                  </a:cubicBezTo>
                  <a:cubicBezTo>
                    <a:pt x="437" y="498"/>
                    <a:pt x="437" y="498"/>
                    <a:pt x="437" y="497"/>
                  </a:cubicBezTo>
                  <a:cubicBezTo>
                    <a:pt x="438" y="497"/>
                    <a:pt x="438" y="497"/>
                    <a:pt x="438" y="497"/>
                  </a:cubicBezTo>
                  <a:cubicBezTo>
                    <a:pt x="438" y="496"/>
                    <a:pt x="438" y="496"/>
                    <a:pt x="438" y="495"/>
                  </a:cubicBezTo>
                  <a:cubicBezTo>
                    <a:pt x="438" y="495"/>
                    <a:pt x="438" y="495"/>
                    <a:pt x="438" y="495"/>
                  </a:cubicBezTo>
                  <a:cubicBezTo>
                    <a:pt x="438" y="495"/>
                    <a:pt x="438" y="495"/>
                    <a:pt x="438" y="494"/>
                  </a:cubicBezTo>
                  <a:cubicBezTo>
                    <a:pt x="438" y="494"/>
                    <a:pt x="439" y="494"/>
                    <a:pt x="439" y="494"/>
                  </a:cubicBezTo>
                  <a:cubicBezTo>
                    <a:pt x="439" y="493"/>
                    <a:pt x="439" y="492"/>
                    <a:pt x="439" y="492"/>
                  </a:cubicBezTo>
                  <a:cubicBezTo>
                    <a:pt x="438" y="491"/>
                    <a:pt x="437" y="491"/>
                    <a:pt x="437" y="491"/>
                  </a:cubicBezTo>
                  <a:cubicBezTo>
                    <a:pt x="436" y="491"/>
                    <a:pt x="436" y="491"/>
                    <a:pt x="435" y="491"/>
                  </a:cubicBezTo>
                  <a:cubicBezTo>
                    <a:pt x="435" y="490"/>
                    <a:pt x="435" y="490"/>
                    <a:pt x="436" y="489"/>
                  </a:cubicBezTo>
                  <a:cubicBezTo>
                    <a:pt x="436" y="489"/>
                    <a:pt x="436" y="489"/>
                    <a:pt x="436" y="489"/>
                  </a:cubicBezTo>
                  <a:cubicBezTo>
                    <a:pt x="436" y="488"/>
                    <a:pt x="436" y="488"/>
                    <a:pt x="436" y="488"/>
                  </a:cubicBezTo>
                  <a:cubicBezTo>
                    <a:pt x="437" y="488"/>
                    <a:pt x="437" y="488"/>
                    <a:pt x="437" y="488"/>
                  </a:cubicBezTo>
                  <a:cubicBezTo>
                    <a:pt x="437" y="488"/>
                    <a:pt x="438" y="488"/>
                    <a:pt x="439" y="487"/>
                  </a:cubicBezTo>
                  <a:cubicBezTo>
                    <a:pt x="439" y="487"/>
                    <a:pt x="439" y="487"/>
                    <a:pt x="439" y="487"/>
                  </a:cubicBezTo>
                  <a:cubicBezTo>
                    <a:pt x="439" y="487"/>
                    <a:pt x="439" y="488"/>
                    <a:pt x="439" y="488"/>
                  </a:cubicBezTo>
                  <a:cubicBezTo>
                    <a:pt x="439" y="489"/>
                    <a:pt x="441" y="490"/>
                    <a:pt x="442" y="489"/>
                  </a:cubicBezTo>
                  <a:cubicBezTo>
                    <a:pt x="443" y="488"/>
                    <a:pt x="443" y="488"/>
                    <a:pt x="443" y="488"/>
                  </a:cubicBezTo>
                  <a:cubicBezTo>
                    <a:pt x="443" y="488"/>
                    <a:pt x="443" y="487"/>
                    <a:pt x="443" y="487"/>
                  </a:cubicBezTo>
                  <a:cubicBezTo>
                    <a:pt x="443" y="487"/>
                    <a:pt x="444" y="487"/>
                    <a:pt x="444" y="487"/>
                  </a:cubicBezTo>
                  <a:cubicBezTo>
                    <a:pt x="444" y="487"/>
                    <a:pt x="444" y="487"/>
                    <a:pt x="445" y="486"/>
                  </a:cubicBezTo>
                  <a:cubicBezTo>
                    <a:pt x="445" y="486"/>
                    <a:pt x="446" y="485"/>
                    <a:pt x="446" y="484"/>
                  </a:cubicBezTo>
                  <a:cubicBezTo>
                    <a:pt x="447" y="484"/>
                    <a:pt x="447" y="484"/>
                    <a:pt x="447" y="484"/>
                  </a:cubicBezTo>
                  <a:cubicBezTo>
                    <a:pt x="447" y="483"/>
                    <a:pt x="447" y="483"/>
                    <a:pt x="448" y="482"/>
                  </a:cubicBezTo>
                  <a:cubicBezTo>
                    <a:pt x="449" y="481"/>
                    <a:pt x="449" y="481"/>
                    <a:pt x="449" y="481"/>
                  </a:cubicBezTo>
                  <a:cubicBezTo>
                    <a:pt x="449" y="480"/>
                    <a:pt x="450" y="480"/>
                    <a:pt x="450" y="479"/>
                  </a:cubicBezTo>
                  <a:cubicBezTo>
                    <a:pt x="451" y="479"/>
                    <a:pt x="451" y="478"/>
                    <a:pt x="452" y="478"/>
                  </a:cubicBezTo>
                  <a:cubicBezTo>
                    <a:pt x="453" y="477"/>
                    <a:pt x="454" y="476"/>
                    <a:pt x="455" y="475"/>
                  </a:cubicBezTo>
                  <a:cubicBezTo>
                    <a:pt x="455" y="474"/>
                    <a:pt x="455" y="473"/>
                    <a:pt x="455" y="472"/>
                  </a:cubicBezTo>
                  <a:cubicBezTo>
                    <a:pt x="455" y="472"/>
                    <a:pt x="455" y="472"/>
                    <a:pt x="455" y="472"/>
                  </a:cubicBezTo>
                  <a:cubicBezTo>
                    <a:pt x="455" y="472"/>
                    <a:pt x="455" y="471"/>
                    <a:pt x="455" y="471"/>
                  </a:cubicBezTo>
                  <a:cubicBezTo>
                    <a:pt x="455" y="471"/>
                    <a:pt x="455" y="471"/>
                    <a:pt x="455" y="471"/>
                  </a:cubicBezTo>
                  <a:cubicBezTo>
                    <a:pt x="456" y="471"/>
                    <a:pt x="456" y="471"/>
                    <a:pt x="457" y="471"/>
                  </a:cubicBezTo>
                  <a:cubicBezTo>
                    <a:pt x="459" y="470"/>
                    <a:pt x="459" y="469"/>
                    <a:pt x="460" y="469"/>
                  </a:cubicBezTo>
                  <a:cubicBezTo>
                    <a:pt x="460" y="468"/>
                    <a:pt x="461" y="468"/>
                    <a:pt x="461" y="468"/>
                  </a:cubicBezTo>
                  <a:cubicBezTo>
                    <a:pt x="461" y="467"/>
                    <a:pt x="461" y="467"/>
                    <a:pt x="462" y="467"/>
                  </a:cubicBezTo>
                  <a:cubicBezTo>
                    <a:pt x="462" y="466"/>
                    <a:pt x="462" y="466"/>
                    <a:pt x="463" y="466"/>
                  </a:cubicBezTo>
                  <a:cubicBezTo>
                    <a:pt x="463" y="466"/>
                    <a:pt x="463" y="466"/>
                    <a:pt x="463" y="466"/>
                  </a:cubicBezTo>
                  <a:cubicBezTo>
                    <a:pt x="464" y="465"/>
                    <a:pt x="465" y="464"/>
                    <a:pt x="466" y="464"/>
                  </a:cubicBezTo>
                  <a:cubicBezTo>
                    <a:pt x="466" y="463"/>
                    <a:pt x="467" y="463"/>
                    <a:pt x="467" y="462"/>
                  </a:cubicBezTo>
                  <a:cubicBezTo>
                    <a:pt x="467" y="462"/>
                    <a:pt x="468" y="461"/>
                    <a:pt x="468" y="460"/>
                  </a:cubicBezTo>
                  <a:cubicBezTo>
                    <a:pt x="468" y="459"/>
                    <a:pt x="469" y="459"/>
                    <a:pt x="469" y="459"/>
                  </a:cubicBezTo>
                  <a:cubicBezTo>
                    <a:pt x="469" y="459"/>
                    <a:pt x="469" y="459"/>
                    <a:pt x="469" y="459"/>
                  </a:cubicBezTo>
                  <a:cubicBezTo>
                    <a:pt x="469" y="458"/>
                    <a:pt x="470" y="458"/>
                    <a:pt x="470" y="458"/>
                  </a:cubicBezTo>
                  <a:cubicBezTo>
                    <a:pt x="471" y="457"/>
                    <a:pt x="471" y="456"/>
                    <a:pt x="472" y="455"/>
                  </a:cubicBezTo>
                  <a:cubicBezTo>
                    <a:pt x="472" y="454"/>
                    <a:pt x="472" y="453"/>
                    <a:pt x="473" y="453"/>
                  </a:cubicBezTo>
                  <a:cubicBezTo>
                    <a:pt x="473" y="453"/>
                    <a:pt x="474" y="452"/>
                    <a:pt x="474" y="452"/>
                  </a:cubicBezTo>
                  <a:cubicBezTo>
                    <a:pt x="476" y="452"/>
                    <a:pt x="476" y="452"/>
                    <a:pt x="476" y="452"/>
                  </a:cubicBezTo>
                  <a:cubicBezTo>
                    <a:pt x="476" y="452"/>
                    <a:pt x="477" y="452"/>
                    <a:pt x="477" y="453"/>
                  </a:cubicBezTo>
                  <a:cubicBezTo>
                    <a:pt x="477" y="453"/>
                    <a:pt x="478" y="453"/>
                    <a:pt x="478" y="453"/>
                  </a:cubicBezTo>
                  <a:cubicBezTo>
                    <a:pt x="479" y="453"/>
                    <a:pt x="480" y="453"/>
                    <a:pt x="481" y="453"/>
                  </a:cubicBezTo>
                  <a:cubicBezTo>
                    <a:pt x="481" y="453"/>
                    <a:pt x="482" y="453"/>
                    <a:pt x="482" y="452"/>
                  </a:cubicBezTo>
                  <a:cubicBezTo>
                    <a:pt x="482" y="452"/>
                    <a:pt x="482" y="452"/>
                    <a:pt x="482" y="452"/>
                  </a:cubicBezTo>
                  <a:cubicBezTo>
                    <a:pt x="483" y="452"/>
                    <a:pt x="483" y="452"/>
                    <a:pt x="484" y="452"/>
                  </a:cubicBezTo>
                  <a:cubicBezTo>
                    <a:pt x="484" y="452"/>
                    <a:pt x="484" y="452"/>
                    <a:pt x="484" y="452"/>
                  </a:cubicBezTo>
                  <a:cubicBezTo>
                    <a:pt x="484" y="452"/>
                    <a:pt x="485" y="452"/>
                    <a:pt x="485" y="452"/>
                  </a:cubicBezTo>
                  <a:cubicBezTo>
                    <a:pt x="485" y="452"/>
                    <a:pt x="485" y="452"/>
                    <a:pt x="485" y="452"/>
                  </a:cubicBezTo>
                  <a:cubicBezTo>
                    <a:pt x="486" y="452"/>
                    <a:pt x="486" y="452"/>
                    <a:pt x="487" y="452"/>
                  </a:cubicBezTo>
                  <a:cubicBezTo>
                    <a:pt x="488" y="452"/>
                    <a:pt x="488" y="452"/>
                    <a:pt x="489" y="451"/>
                  </a:cubicBezTo>
                  <a:cubicBezTo>
                    <a:pt x="489" y="451"/>
                    <a:pt x="490" y="450"/>
                    <a:pt x="490" y="450"/>
                  </a:cubicBezTo>
                  <a:cubicBezTo>
                    <a:pt x="490" y="449"/>
                    <a:pt x="490" y="449"/>
                    <a:pt x="490" y="448"/>
                  </a:cubicBezTo>
                  <a:cubicBezTo>
                    <a:pt x="489" y="448"/>
                    <a:pt x="489" y="448"/>
                    <a:pt x="488" y="448"/>
                  </a:cubicBezTo>
                  <a:cubicBezTo>
                    <a:pt x="488" y="448"/>
                    <a:pt x="488" y="448"/>
                    <a:pt x="488" y="448"/>
                  </a:cubicBezTo>
                  <a:cubicBezTo>
                    <a:pt x="488" y="448"/>
                    <a:pt x="488" y="448"/>
                    <a:pt x="488" y="448"/>
                  </a:cubicBezTo>
                  <a:cubicBezTo>
                    <a:pt x="488" y="448"/>
                    <a:pt x="488" y="448"/>
                    <a:pt x="489" y="447"/>
                  </a:cubicBezTo>
                  <a:cubicBezTo>
                    <a:pt x="489" y="447"/>
                    <a:pt x="489" y="447"/>
                    <a:pt x="489" y="447"/>
                  </a:cubicBezTo>
                  <a:cubicBezTo>
                    <a:pt x="489" y="447"/>
                    <a:pt x="490" y="447"/>
                    <a:pt x="490" y="447"/>
                  </a:cubicBezTo>
                  <a:cubicBezTo>
                    <a:pt x="491" y="447"/>
                    <a:pt x="491" y="447"/>
                    <a:pt x="492" y="447"/>
                  </a:cubicBezTo>
                  <a:cubicBezTo>
                    <a:pt x="492" y="447"/>
                    <a:pt x="492" y="447"/>
                    <a:pt x="492" y="447"/>
                  </a:cubicBezTo>
                  <a:cubicBezTo>
                    <a:pt x="493" y="447"/>
                    <a:pt x="493" y="447"/>
                    <a:pt x="494" y="447"/>
                  </a:cubicBezTo>
                  <a:cubicBezTo>
                    <a:pt x="494" y="447"/>
                    <a:pt x="495" y="446"/>
                    <a:pt x="496" y="446"/>
                  </a:cubicBezTo>
                  <a:cubicBezTo>
                    <a:pt x="496" y="446"/>
                    <a:pt x="497" y="445"/>
                    <a:pt x="497" y="445"/>
                  </a:cubicBezTo>
                  <a:cubicBezTo>
                    <a:pt x="498" y="446"/>
                    <a:pt x="499" y="446"/>
                    <a:pt x="500" y="446"/>
                  </a:cubicBezTo>
                  <a:cubicBezTo>
                    <a:pt x="501" y="445"/>
                    <a:pt x="501" y="445"/>
                    <a:pt x="501" y="445"/>
                  </a:cubicBezTo>
                  <a:cubicBezTo>
                    <a:pt x="500" y="444"/>
                    <a:pt x="500" y="444"/>
                    <a:pt x="500" y="444"/>
                  </a:cubicBezTo>
                  <a:cubicBezTo>
                    <a:pt x="501" y="445"/>
                    <a:pt x="501" y="445"/>
                    <a:pt x="501" y="445"/>
                  </a:cubicBezTo>
                  <a:cubicBezTo>
                    <a:pt x="502" y="445"/>
                    <a:pt x="502" y="445"/>
                    <a:pt x="502" y="445"/>
                  </a:cubicBezTo>
                  <a:cubicBezTo>
                    <a:pt x="502" y="445"/>
                    <a:pt x="503" y="445"/>
                    <a:pt x="503" y="445"/>
                  </a:cubicBezTo>
                  <a:cubicBezTo>
                    <a:pt x="504" y="445"/>
                    <a:pt x="504" y="445"/>
                    <a:pt x="505" y="445"/>
                  </a:cubicBezTo>
                  <a:cubicBezTo>
                    <a:pt x="505" y="445"/>
                    <a:pt x="505" y="445"/>
                    <a:pt x="505" y="445"/>
                  </a:cubicBezTo>
                  <a:cubicBezTo>
                    <a:pt x="504" y="443"/>
                    <a:pt x="504" y="443"/>
                    <a:pt x="504" y="443"/>
                  </a:cubicBezTo>
                  <a:cubicBezTo>
                    <a:pt x="505" y="444"/>
                    <a:pt x="505" y="444"/>
                    <a:pt x="505" y="444"/>
                  </a:cubicBezTo>
                  <a:cubicBezTo>
                    <a:pt x="505" y="444"/>
                    <a:pt x="505" y="444"/>
                    <a:pt x="505" y="444"/>
                  </a:cubicBezTo>
                  <a:cubicBezTo>
                    <a:pt x="505" y="444"/>
                    <a:pt x="505" y="445"/>
                    <a:pt x="506" y="445"/>
                  </a:cubicBezTo>
                  <a:cubicBezTo>
                    <a:pt x="506" y="445"/>
                    <a:pt x="506" y="445"/>
                    <a:pt x="506" y="445"/>
                  </a:cubicBezTo>
                  <a:cubicBezTo>
                    <a:pt x="507" y="445"/>
                    <a:pt x="508" y="444"/>
                    <a:pt x="508" y="443"/>
                  </a:cubicBezTo>
                  <a:cubicBezTo>
                    <a:pt x="508" y="443"/>
                    <a:pt x="508" y="443"/>
                    <a:pt x="509" y="443"/>
                  </a:cubicBezTo>
                  <a:cubicBezTo>
                    <a:pt x="509" y="442"/>
                    <a:pt x="509" y="442"/>
                    <a:pt x="509" y="442"/>
                  </a:cubicBezTo>
                  <a:cubicBezTo>
                    <a:pt x="510" y="442"/>
                    <a:pt x="510" y="441"/>
                    <a:pt x="510" y="440"/>
                  </a:cubicBezTo>
                  <a:cubicBezTo>
                    <a:pt x="510" y="440"/>
                    <a:pt x="510" y="439"/>
                    <a:pt x="509" y="439"/>
                  </a:cubicBezTo>
                  <a:cubicBezTo>
                    <a:pt x="509" y="439"/>
                    <a:pt x="509" y="439"/>
                    <a:pt x="509" y="438"/>
                  </a:cubicBezTo>
                  <a:cubicBezTo>
                    <a:pt x="508" y="437"/>
                    <a:pt x="507" y="437"/>
                    <a:pt x="506" y="438"/>
                  </a:cubicBezTo>
                  <a:cubicBezTo>
                    <a:pt x="506" y="438"/>
                    <a:pt x="506" y="438"/>
                    <a:pt x="506" y="438"/>
                  </a:cubicBezTo>
                  <a:cubicBezTo>
                    <a:pt x="506" y="437"/>
                    <a:pt x="506" y="437"/>
                    <a:pt x="506" y="437"/>
                  </a:cubicBezTo>
                  <a:cubicBezTo>
                    <a:pt x="506" y="436"/>
                    <a:pt x="506" y="436"/>
                    <a:pt x="506" y="436"/>
                  </a:cubicBezTo>
                  <a:cubicBezTo>
                    <a:pt x="506" y="436"/>
                    <a:pt x="506" y="435"/>
                    <a:pt x="506" y="435"/>
                  </a:cubicBezTo>
                  <a:cubicBezTo>
                    <a:pt x="506" y="435"/>
                    <a:pt x="506" y="435"/>
                    <a:pt x="506" y="435"/>
                  </a:cubicBezTo>
                  <a:cubicBezTo>
                    <a:pt x="507" y="435"/>
                    <a:pt x="507" y="435"/>
                    <a:pt x="508" y="434"/>
                  </a:cubicBezTo>
                  <a:cubicBezTo>
                    <a:pt x="508" y="433"/>
                    <a:pt x="508" y="433"/>
                    <a:pt x="508" y="432"/>
                  </a:cubicBezTo>
                  <a:cubicBezTo>
                    <a:pt x="508" y="432"/>
                    <a:pt x="508" y="432"/>
                    <a:pt x="509" y="431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10" y="430"/>
                    <a:pt x="510" y="430"/>
                    <a:pt x="511" y="429"/>
                  </a:cubicBezTo>
                  <a:cubicBezTo>
                    <a:pt x="511" y="429"/>
                    <a:pt x="511" y="428"/>
                    <a:pt x="512" y="428"/>
                  </a:cubicBezTo>
                  <a:cubicBezTo>
                    <a:pt x="512" y="428"/>
                    <a:pt x="512" y="427"/>
                    <a:pt x="513" y="427"/>
                  </a:cubicBezTo>
                  <a:cubicBezTo>
                    <a:pt x="513" y="426"/>
                    <a:pt x="513" y="426"/>
                    <a:pt x="513" y="426"/>
                  </a:cubicBezTo>
                  <a:cubicBezTo>
                    <a:pt x="513" y="426"/>
                    <a:pt x="513" y="425"/>
                    <a:pt x="514" y="425"/>
                  </a:cubicBezTo>
                  <a:cubicBezTo>
                    <a:pt x="514" y="425"/>
                    <a:pt x="514" y="425"/>
                    <a:pt x="514" y="425"/>
                  </a:cubicBezTo>
                  <a:cubicBezTo>
                    <a:pt x="514" y="425"/>
                    <a:pt x="514" y="425"/>
                    <a:pt x="515" y="424"/>
                  </a:cubicBezTo>
                  <a:cubicBezTo>
                    <a:pt x="515" y="424"/>
                    <a:pt x="515" y="424"/>
                    <a:pt x="515" y="424"/>
                  </a:cubicBezTo>
                  <a:cubicBezTo>
                    <a:pt x="516" y="424"/>
                    <a:pt x="517" y="423"/>
                    <a:pt x="518" y="422"/>
                  </a:cubicBezTo>
                  <a:cubicBezTo>
                    <a:pt x="518" y="422"/>
                    <a:pt x="518" y="422"/>
                    <a:pt x="518" y="422"/>
                  </a:cubicBezTo>
                  <a:cubicBezTo>
                    <a:pt x="518" y="422"/>
                    <a:pt x="518" y="422"/>
                    <a:pt x="518" y="421"/>
                  </a:cubicBezTo>
                  <a:cubicBezTo>
                    <a:pt x="519" y="421"/>
                    <a:pt x="519" y="421"/>
                    <a:pt x="519" y="422"/>
                  </a:cubicBezTo>
                  <a:cubicBezTo>
                    <a:pt x="519" y="422"/>
                    <a:pt x="519" y="422"/>
                    <a:pt x="519" y="422"/>
                  </a:cubicBezTo>
                  <a:cubicBezTo>
                    <a:pt x="521" y="422"/>
                    <a:pt x="522" y="420"/>
                    <a:pt x="522" y="420"/>
                  </a:cubicBezTo>
                  <a:cubicBezTo>
                    <a:pt x="522" y="420"/>
                    <a:pt x="522" y="420"/>
                    <a:pt x="522" y="419"/>
                  </a:cubicBezTo>
                  <a:cubicBezTo>
                    <a:pt x="523" y="420"/>
                    <a:pt x="523" y="420"/>
                    <a:pt x="524" y="420"/>
                  </a:cubicBezTo>
                  <a:cubicBezTo>
                    <a:pt x="524" y="420"/>
                    <a:pt x="524" y="420"/>
                    <a:pt x="524" y="420"/>
                  </a:cubicBezTo>
                  <a:cubicBezTo>
                    <a:pt x="524" y="420"/>
                    <a:pt x="525" y="420"/>
                    <a:pt x="525" y="420"/>
                  </a:cubicBezTo>
                  <a:cubicBezTo>
                    <a:pt x="526" y="420"/>
                    <a:pt x="526" y="420"/>
                    <a:pt x="526" y="419"/>
                  </a:cubicBezTo>
                  <a:cubicBezTo>
                    <a:pt x="527" y="419"/>
                    <a:pt x="527" y="419"/>
                    <a:pt x="528" y="418"/>
                  </a:cubicBezTo>
                  <a:cubicBezTo>
                    <a:pt x="528" y="418"/>
                    <a:pt x="528" y="418"/>
                    <a:pt x="528" y="418"/>
                  </a:cubicBezTo>
                  <a:cubicBezTo>
                    <a:pt x="528" y="418"/>
                    <a:pt x="528" y="418"/>
                    <a:pt x="528" y="418"/>
                  </a:cubicBezTo>
                  <a:cubicBezTo>
                    <a:pt x="528" y="418"/>
                    <a:pt x="528" y="418"/>
                    <a:pt x="529" y="418"/>
                  </a:cubicBezTo>
                  <a:cubicBezTo>
                    <a:pt x="529" y="417"/>
                    <a:pt x="530" y="417"/>
                    <a:pt x="530" y="417"/>
                  </a:cubicBezTo>
                  <a:cubicBezTo>
                    <a:pt x="530" y="416"/>
                    <a:pt x="530" y="416"/>
                    <a:pt x="530" y="416"/>
                  </a:cubicBezTo>
                  <a:cubicBezTo>
                    <a:pt x="530" y="417"/>
                    <a:pt x="530" y="417"/>
                    <a:pt x="530" y="417"/>
                  </a:cubicBezTo>
                  <a:cubicBezTo>
                    <a:pt x="530" y="417"/>
                    <a:pt x="531" y="417"/>
                    <a:pt x="532" y="417"/>
                  </a:cubicBezTo>
                  <a:cubicBezTo>
                    <a:pt x="532" y="417"/>
                    <a:pt x="533" y="417"/>
                    <a:pt x="533" y="416"/>
                  </a:cubicBezTo>
                  <a:cubicBezTo>
                    <a:pt x="534" y="416"/>
                    <a:pt x="534" y="416"/>
                    <a:pt x="534" y="415"/>
                  </a:cubicBezTo>
                  <a:cubicBezTo>
                    <a:pt x="534" y="415"/>
                    <a:pt x="534" y="415"/>
                    <a:pt x="534" y="415"/>
                  </a:cubicBezTo>
                  <a:cubicBezTo>
                    <a:pt x="534" y="415"/>
                    <a:pt x="534" y="415"/>
                    <a:pt x="534" y="415"/>
                  </a:cubicBezTo>
                  <a:cubicBezTo>
                    <a:pt x="535" y="415"/>
                    <a:pt x="535" y="415"/>
                    <a:pt x="535" y="415"/>
                  </a:cubicBezTo>
                  <a:cubicBezTo>
                    <a:pt x="535" y="415"/>
                    <a:pt x="535" y="415"/>
                    <a:pt x="535" y="416"/>
                  </a:cubicBezTo>
                  <a:cubicBezTo>
                    <a:pt x="535" y="416"/>
                    <a:pt x="536" y="416"/>
                    <a:pt x="536" y="416"/>
                  </a:cubicBezTo>
                  <a:cubicBezTo>
                    <a:pt x="537" y="416"/>
                    <a:pt x="537" y="416"/>
                    <a:pt x="537" y="416"/>
                  </a:cubicBezTo>
                  <a:cubicBezTo>
                    <a:pt x="538" y="416"/>
                    <a:pt x="538" y="416"/>
                    <a:pt x="538" y="415"/>
                  </a:cubicBezTo>
                  <a:cubicBezTo>
                    <a:pt x="538" y="415"/>
                    <a:pt x="539" y="415"/>
                    <a:pt x="539" y="415"/>
                  </a:cubicBezTo>
                  <a:cubicBezTo>
                    <a:pt x="539" y="415"/>
                    <a:pt x="539" y="415"/>
                    <a:pt x="539" y="415"/>
                  </a:cubicBezTo>
                  <a:cubicBezTo>
                    <a:pt x="539" y="414"/>
                    <a:pt x="540" y="414"/>
                    <a:pt x="540" y="414"/>
                  </a:cubicBezTo>
                  <a:cubicBezTo>
                    <a:pt x="540" y="414"/>
                    <a:pt x="540" y="414"/>
                    <a:pt x="540" y="414"/>
                  </a:cubicBezTo>
                  <a:cubicBezTo>
                    <a:pt x="541" y="414"/>
                    <a:pt x="541" y="414"/>
                    <a:pt x="541" y="413"/>
                  </a:cubicBezTo>
                  <a:cubicBezTo>
                    <a:pt x="541" y="413"/>
                    <a:pt x="542" y="413"/>
                    <a:pt x="542" y="413"/>
                  </a:cubicBezTo>
                  <a:cubicBezTo>
                    <a:pt x="543" y="413"/>
                    <a:pt x="544" y="413"/>
                    <a:pt x="544" y="413"/>
                  </a:cubicBezTo>
                  <a:cubicBezTo>
                    <a:pt x="545" y="413"/>
                    <a:pt x="545" y="413"/>
                    <a:pt x="545" y="413"/>
                  </a:cubicBezTo>
                  <a:cubicBezTo>
                    <a:pt x="545" y="413"/>
                    <a:pt x="546" y="413"/>
                    <a:pt x="546" y="413"/>
                  </a:cubicBezTo>
                  <a:cubicBezTo>
                    <a:pt x="547" y="412"/>
                    <a:pt x="548" y="411"/>
                    <a:pt x="548" y="410"/>
                  </a:cubicBezTo>
                  <a:cubicBezTo>
                    <a:pt x="548" y="410"/>
                    <a:pt x="548" y="410"/>
                    <a:pt x="548" y="409"/>
                  </a:cubicBezTo>
                  <a:cubicBezTo>
                    <a:pt x="548" y="409"/>
                    <a:pt x="548" y="409"/>
                    <a:pt x="548" y="409"/>
                  </a:cubicBezTo>
                  <a:cubicBezTo>
                    <a:pt x="549" y="409"/>
                    <a:pt x="549" y="409"/>
                    <a:pt x="549" y="409"/>
                  </a:cubicBezTo>
                  <a:cubicBezTo>
                    <a:pt x="550" y="409"/>
                    <a:pt x="550" y="409"/>
                    <a:pt x="551" y="409"/>
                  </a:cubicBezTo>
                  <a:cubicBezTo>
                    <a:pt x="551" y="409"/>
                    <a:pt x="552" y="409"/>
                    <a:pt x="552" y="409"/>
                  </a:cubicBezTo>
                  <a:cubicBezTo>
                    <a:pt x="552" y="409"/>
                    <a:pt x="552" y="409"/>
                    <a:pt x="552" y="409"/>
                  </a:cubicBezTo>
                  <a:cubicBezTo>
                    <a:pt x="552" y="409"/>
                    <a:pt x="553" y="408"/>
                    <a:pt x="553" y="408"/>
                  </a:cubicBezTo>
                  <a:cubicBezTo>
                    <a:pt x="554" y="408"/>
                    <a:pt x="554" y="408"/>
                    <a:pt x="555" y="407"/>
                  </a:cubicBezTo>
                  <a:cubicBezTo>
                    <a:pt x="555" y="407"/>
                    <a:pt x="556" y="408"/>
                    <a:pt x="556" y="408"/>
                  </a:cubicBezTo>
                  <a:cubicBezTo>
                    <a:pt x="556" y="408"/>
                    <a:pt x="556" y="408"/>
                    <a:pt x="556" y="408"/>
                  </a:cubicBezTo>
                  <a:cubicBezTo>
                    <a:pt x="557" y="408"/>
                    <a:pt x="558" y="407"/>
                    <a:pt x="558" y="407"/>
                  </a:cubicBezTo>
                  <a:cubicBezTo>
                    <a:pt x="560" y="406"/>
                    <a:pt x="560" y="406"/>
                    <a:pt x="560" y="406"/>
                  </a:cubicBezTo>
                  <a:cubicBezTo>
                    <a:pt x="561" y="406"/>
                    <a:pt x="561" y="405"/>
                    <a:pt x="562" y="405"/>
                  </a:cubicBezTo>
                  <a:cubicBezTo>
                    <a:pt x="563" y="405"/>
                    <a:pt x="563" y="405"/>
                    <a:pt x="564" y="405"/>
                  </a:cubicBezTo>
                  <a:cubicBezTo>
                    <a:pt x="564" y="405"/>
                    <a:pt x="564" y="405"/>
                    <a:pt x="565" y="405"/>
                  </a:cubicBezTo>
                  <a:cubicBezTo>
                    <a:pt x="565" y="405"/>
                    <a:pt x="565" y="406"/>
                    <a:pt x="565" y="406"/>
                  </a:cubicBezTo>
                  <a:cubicBezTo>
                    <a:pt x="565" y="406"/>
                    <a:pt x="564" y="406"/>
                    <a:pt x="564" y="406"/>
                  </a:cubicBezTo>
                  <a:cubicBezTo>
                    <a:pt x="563" y="407"/>
                    <a:pt x="563" y="407"/>
                    <a:pt x="562" y="407"/>
                  </a:cubicBezTo>
                  <a:cubicBezTo>
                    <a:pt x="562" y="407"/>
                    <a:pt x="562" y="408"/>
                    <a:pt x="561" y="408"/>
                  </a:cubicBezTo>
                  <a:cubicBezTo>
                    <a:pt x="560" y="408"/>
                    <a:pt x="559" y="409"/>
                    <a:pt x="558" y="409"/>
                  </a:cubicBezTo>
                  <a:cubicBezTo>
                    <a:pt x="558" y="409"/>
                    <a:pt x="557" y="409"/>
                    <a:pt x="556" y="410"/>
                  </a:cubicBezTo>
                  <a:cubicBezTo>
                    <a:pt x="556" y="410"/>
                    <a:pt x="555" y="410"/>
                    <a:pt x="555" y="411"/>
                  </a:cubicBezTo>
                  <a:cubicBezTo>
                    <a:pt x="555" y="411"/>
                    <a:pt x="555" y="411"/>
                    <a:pt x="555" y="411"/>
                  </a:cubicBezTo>
                  <a:cubicBezTo>
                    <a:pt x="555" y="411"/>
                    <a:pt x="555" y="411"/>
                    <a:pt x="555" y="411"/>
                  </a:cubicBezTo>
                  <a:cubicBezTo>
                    <a:pt x="555" y="411"/>
                    <a:pt x="555" y="411"/>
                    <a:pt x="555" y="411"/>
                  </a:cubicBezTo>
                  <a:cubicBezTo>
                    <a:pt x="554" y="411"/>
                    <a:pt x="554" y="411"/>
                    <a:pt x="553" y="411"/>
                  </a:cubicBezTo>
                  <a:cubicBezTo>
                    <a:pt x="552" y="412"/>
                    <a:pt x="552" y="412"/>
                    <a:pt x="551" y="412"/>
                  </a:cubicBezTo>
                  <a:cubicBezTo>
                    <a:pt x="551" y="413"/>
                    <a:pt x="551" y="413"/>
                    <a:pt x="550" y="414"/>
                  </a:cubicBezTo>
                  <a:cubicBezTo>
                    <a:pt x="549" y="415"/>
                    <a:pt x="549" y="416"/>
                    <a:pt x="548" y="417"/>
                  </a:cubicBezTo>
                  <a:cubicBezTo>
                    <a:pt x="548" y="418"/>
                    <a:pt x="547" y="418"/>
                    <a:pt x="547" y="419"/>
                  </a:cubicBezTo>
                  <a:cubicBezTo>
                    <a:pt x="546" y="419"/>
                    <a:pt x="546" y="419"/>
                    <a:pt x="546" y="419"/>
                  </a:cubicBezTo>
                  <a:cubicBezTo>
                    <a:pt x="546" y="419"/>
                    <a:pt x="545" y="420"/>
                    <a:pt x="544" y="421"/>
                  </a:cubicBezTo>
                  <a:cubicBezTo>
                    <a:pt x="544" y="423"/>
                    <a:pt x="546" y="424"/>
                    <a:pt x="547" y="425"/>
                  </a:cubicBezTo>
                  <a:cubicBezTo>
                    <a:pt x="547" y="425"/>
                    <a:pt x="547" y="425"/>
                    <a:pt x="547" y="425"/>
                  </a:cubicBezTo>
                  <a:cubicBezTo>
                    <a:pt x="548" y="425"/>
                    <a:pt x="548" y="426"/>
                    <a:pt x="548" y="426"/>
                  </a:cubicBezTo>
                  <a:cubicBezTo>
                    <a:pt x="548" y="427"/>
                    <a:pt x="549" y="428"/>
                    <a:pt x="550" y="428"/>
                  </a:cubicBezTo>
                  <a:cubicBezTo>
                    <a:pt x="551" y="428"/>
                    <a:pt x="551" y="428"/>
                    <a:pt x="551" y="428"/>
                  </a:cubicBezTo>
                  <a:cubicBezTo>
                    <a:pt x="552" y="427"/>
                    <a:pt x="552" y="427"/>
                    <a:pt x="552" y="426"/>
                  </a:cubicBezTo>
                  <a:cubicBezTo>
                    <a:pt x="552" y="426"/>
                    <a:pt x="553" y="426"/>
                    <a:pt x="553" y="426"/>
                  </a:cubicBezTo>
                  <a:cubicBezTo>
                    <a:pt x="553" y="426"/>
                    <a:pt x="553" y="426"/>
                    <a:pt x="553" y="425"/>
                  </a:cubicBezTo>
                  <a:cubicBezTo>
                    <a:pt x="553" y="424"/>
                    <a:pt x="553" y="424"/>
                    <a:pt x="553" y="424"/>
                  </a:cubicBezTo>
                  <a:cubicBezTo>
                    <a:pt x="553" y="424"/>
                    <a:pt x="553" y="424"/>
                    <a:pt x="553" y="424"/>
                  </a:cubicBezTo>
                  <a:cubicBezTo>
                    <a:pt x="554" y="425"/>
                    <a:pt x="554" y="425"/>
                    <a:pt x="554" y="425"/>
                  </a:cubicBezTo>
                  <a:cubicBezTo>
                    <a:pt x="554" y="425"/>
                    <a:pt x="554" y="425"/>
                    <a:pt x="554" y="425"/>
                  </a:cubicBezTo>
                  <a:cubicBezTo>
                    <a:pt x="555" y="425"/>
                    <a:pt x="555" y="425"/>
                    <a:pt x="555" y="424"/>
                  </a:cubicBezTo>
                  <a:cubicBezTo>
                    <a:pt x="555" y="424"/>
                    <a:pt x="555" y="424"/>
                    <a:pt x="556" y="424"/>
                  </a:cubicBezTo>
                  <a:cubicBezTo>
                    <a:pt x="556" y="424"/>
                    <a:pt x="557" y="424"/>
                    <a:pt x="557" y="423"/>
                  </a:cubicBezTo>
                  <a:cubicBezTo>
                    <a:pt x="557" y="423"/>
                    <a:pt x="557" y="423"/>
                    <a:pt x="558" y="423"/>
                  </a:cubicBezTo>
                  <a:cubicBezTo>
                    <a:pt x="558" y="422"/>
                    <a:pt x="558" y="422"/>
                    <a:pt x="559" y="422"/>
                  </a:cubicBezTo>
                  <a:cubicBezTo>
                    <a:pt x="559" y="422"/>
                    <a:pt x="559" y="422"/>
                    <a:pt x="559" y="422"/>
                  </a:cubicBezTo>
                  <a:cubicBezTo>
                    <a:pt x="560" y="422"/>
                    <a:pt x="560" y="422"/>
                    <a:pt x="560" y="422"/>
                  </a:cubicBezTo>
                  <a:cubicBezTo>
                    <a:pt x="560" y="422"/>
                    <a:pt x="561" y="422"/>
                    <a:pt x="561" y="421"/>
                  </a:cubicBezTo>
                  <a:cubicBezTo>
                    <a:pt x="562" y="421"/>
                    <a:pt x="562" y="421"/>
                    <a:pt x="562" y="420"/>
                  </a:cubicBezTo>
                  <a:cubicBezTo>
                    <a:pt x="563" y="420"/>
                    <a:pt x="563" y="419"/>
                    <a:pt x="564" y="418"/>
                  </a:cubicBezTo>
                  <a:cubicBezTo>
                    <a:pt x="564" y="418"/>
                    <a:pt x="564" y="418"/>
                    <a:pt x="564" y="418"/>
                  </a:cubicBezTo>
                  <a:cubicBezTo>
                    <a:pt x="564" y="418"/>
                    <a:pt x="564" y="418"/>
                    <a:pt x="564" y="418"/>
                  </a:cubicBezTo>
                  <a:cubicBezTo>
                    <a:pt x="565" y="418"/>
                    <a:pt x="565" y="418"/>
                    <a:pt x="565" y="418"/>
                  </a:cubicBezTo>
                  <a:cubicBezTo>
                    <a:pt x="565" y="418"/>
                    <a:pt x="565" y="418"/>
                    <a:pt x="566" y="417"/>
                  </a:cubicBezTo>
                  <a:cubicBezTo>
                    <a:pt x="566" y="418"/>
                    <a:pt x="567" y="418"/>
                    <a:pt x="568" y="418"/>
                  </a:cubicBezTo>
                  <a:cubicBezTo>
                    <a:pt x="569" y="418"/>
                    <a:pt x="569" y="417"/>
                    <a:pt x="569" y="417"/>
                  </a:cubicBezTo>
                  <a:cubicBezTo>
                    <a:pt x="569" y="417"/>
                    <a:pt x="569" y="417"/>
                    <a:pt x="570" y="417"/>
                  </a:cubicBezTo>
                  <a:cubicBezTo>
                    <a:pt x="570" y="416"/>
                    <a:pt x="570" y="416"/>
                    <a:pt x="571" y="416"/>
                  </a:cubicBezTo>
                  <a:cubicBezTo>
                    <a:pt x="572" y="416"/>
                    <a:pt x="572" y="416"/>
                    <a:pt x="572" y="416"/>
                  </a:cubicBezTo>
                  <a:cubicBezTo>
                    <a:pt x="572" y="416"/>
                    <a:pt x="573" y="416"/>
                    <a:pt x="573" y="416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73" y="416"/>
                    <a:pt x="573" y="416"/>
                    <a:pt x="574" y="416"/>
                  </a:cubicBezTo>
                  <a:cubicBezTo>
                    <a:pt x="574" y="416"/>
                    <a:pt x="574" y="416"/>
                    <a:pt x="574" y="416"/>
                  </a:cubicBezTo>
                  <a:cubicBezTo>
                    <a:pt x="575" y="416"/>
                    <a:pt x="576" y="416"/>
                    <a:pt x="576" y="415"/>
                  </a:cubicBezTo>
                  <a:cubicBezTo>
                    <a:pt x="576" y="415"/>
                    <a:pt x="577" y="415"/>
                    <a:pt x="577" y="415"/>
                  </a:cubicBezTo>
                  <a:cubicBezTo>
                    <a:pt x="577" y="414"/>
                    <a:pt x="577" y="414"/>
                    <a:pt x="577" y="414"/>
                  </a:cubicBezTo>
                  <a:cubicBezTo>
                    <a:pt x="578" y="414"/>
                    <a:pt x="578" y="414"/>
                    <a:pt x="578" y="414"/>
                  </a:cubicBezTo>
                  <a:cubicBezTo>
                    <a:pt x="578" y="414"/>
                    <a:pt x="578" y="414"/>
                    <a:pt x="579" y="415"/>
                  </a:cubicBezTo>
                  <a:cubicBezTo>
                    <a:pt x="579" y="415"/>
                    <a:pt x="579" y="415"/>
                    <a:pt x="580" y="415"/>
                  </a:cubicBezTo>
                  <a:cubicBezTo>
                    <a:pt x="580" y="415"/>
                    <a:pt x="580" y="415"/>
                    <a:pt x="580" y="415"/>
                  </a:cubicBezTo>
                  <a:cubicBezTo>
                    <a:pt x="581" y="415"/>
                    <a:pt x="581" y="414"/>
                    <a:pt x="582" y="414"/>
                  </a:cubicBezTo>
                  <a:cubicBezTo>
                    <a:pt x="582" y="414"/>
                    <a:pt x="582" y="414"/>
                    <a:pt x="582" y="414"/>
                  </a:cubicBezTo>
                  <a:cubicBezTo>
                    <a:pt x="583" y="413"/>
                    <a:pt x="583" y="413"/>
                    <a:pt x="583" y="413"/>
                  </a:cubicBezTo>
                  <a:cubicBezTo>
                    <a:pt x="583" y="413"/>
                    <a:pt x="583" y="413"/>
                    <a:pt x="583" y="413"/>
                  </a:cubicBezTo>
                  <a:cubicBezTo>
                    <a:pt x="584" y="413"/>
                    <a:pt x="584" y="413"/>
                    <a:pt x="584" y="413"/>
                  </a:cubicBezTo>
                  <a:cubicBezTo>
                    <a:pt x="585" y="413"/>
                    <a:pt x="585" y="413"/>
                    <a:pt x="585" y="413"/>
                  </a:cubicBezTo>
                  <a:cubicBezTo>
                    <a:pt x="585" y="413"/>
                    <a:pt x="585" y="412"/>
                    <a:pt x="586" y="412"/>
                  </a:cubicBezTo>
                  <a:cubicBezTo>
                    <a:pt x="586" y="412"/>
                    <a:pt x="586" y="412"/>
                    <a:pt x="586" y="412"/>
                  </a:cubicBezTo>
                  <a:cubicBezTo>
                    <a:pt x="586" y="412"/>
                    <a:pt x="586" y="412"/>
                    <a:pt x="587" y="412"/>
                  </a:cubicBezTo>
                  <a:cubicBezTo>
                    <a:pt x="587" y="412"/>
                    <a:pt x="587" y="412"/>
                    <a:pt x="588" y="412"/>
                  </a:cubicBezTo>
                  <a:cubicBezTo>
                    <a:pt x="588" y="412"/>
                    <a:pt x="588" y="412"/>
                    <a:pt x="588" y="412"/>
                  </a:cubicBezTo>
                  <a:cubicBezTo>
                    <a:pt x="588" y="412"/>
                    <a:pt x="589" y="412"/>
                    <a:pt x="589" y="412"/>
                  </a:cubicBezTo>
                  <a:cubicBezTo>
                    <a:pt x="589" y="412"/>
                    <a:pt x="590" y="412"/>
                    <a:pt x="590" y="411"/>
                  </a:cubicBezTo>
                  <a:cubicBezTo>
                    <a:pt x="590" y="411"/>
                    <a:pt x="590" y="411"/>
                    <a:pt x="590" y="411"/>
                  </a:cubicBezTo>
                  <a:cubicBezTo>
                    <a:pt x="591" y="410"/>
                    <a:pt x="591" y="410"/>
                    <a:pt x="591" y="409"/>
                  </a:cubicBezTo>
                  <a:cubicBezTo>
                    <a:pt x="591" y="408"/>
                    <a:pt x="591" y="408"/>
                    <a:pt x="590" y="407"/>
                  </a:cubicBezTo>
                  <a:cubicBezTo>
                    <a:pt x="590" y="407"/>
                    <a:pt x="590" y="407"/>
                    <a:pt x="590" y="407"/>
                  </a:cubicBezTo>
                  <a:cubicBezTo>
                    <a:pt x="590" y="407"/>
                    <a:pt x="590" y="406"/>
                    <a:pt x="590" y="406"/>
                  </a:cubicBezTo>
                  <a:cubicBezTo>
                    <a:pt x="591" y="406"/>
                    <a:pt x="591" y="406"/>
                    <a:pt x="591" y="406"/>
                  </a:cubicBezTo>
                  <a:cubicBezTo>
                    <a:pt x="592" y="407"/>
                    <a:pt x="594" y="407"/>
                    <a:pt x="595" y="407"/>
                  </a:cubicBezTo>
                  <a:cubicBezTo>
                    <a:pt x="595" y="407"/>
                    <a:pt x="595" y="407"/>
                    <a:pt x="595" y="407"/>
                  </a:cubicBezTo>
                  <a:cubicBezTo>
                    <a:pt x="597" y="407"/>
                    <a:pt x="598" y="406"/>
                    <a:pt x="599" y="406"/>
                  </a:cubicBezTo>
                  <a:cubicBezTo>
                    <a:pt x="600" y="405"/>
                    <a:pt x="601" y="404"/>
                    <a:pt x="603" y="404"/>
                  </a:cubicBezTo>
                  <a:cubicBezTo>
                    <a:pt x="603" y="404"/>
                    <a:pt x="605" y="403"/>
                    <a:pt x="605" y="402"/>
                  </a:cubicBezTo>
                  <a:cubicBezTo>
                    <a:pt x="606" y="401"/>
                    <a:pt x="606" y="400"/>
                    <a:pt x="605" y="399"/>
                  </a:cubicBezTo>
                  <a:cubicBezTo>
                    <a:pt x="605" y="398"/>
                    <a:pt x="603" y="397"/>
                    <a:pt x="602" y="397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1" y="396"/>
                    <a:pt x="601" y="396"/>
                    <a:pt x="601" y="396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3" y="396"/>
                    <a:pt x="604" y="396"/>
                    <a:pt x="604" y="394"/>
                  </a:cubicBezTo>
                  <a:cubicBezTo>
                    <a:pt x="605" y="394"/>
                    <a:pt x="605" y="394"/>
                    <a:pt x="605" y="394"/>
                  </a:cubicBezTo>
                  <a:cubicBezTo>
                    <a:pt x="605" y="393"/>
                    <a:pt x="605" y="392"/>
                    <a:pt x="605" y="392"/>
                  </a:cubicBezTo>
                  <a:cubicBezTo>
                    <a:pt x="606" y="389"/>
                    <a:pt x="606" y="389"/>
                    <a:pt x="606" y="389"/>
                  </a:cubicBezTo>
                  <a:cubicBezTo>
                    <a:pt x="604" y="389"/>
                    <a:pt x="604" y="389"/>
                    <a:pt x="604" y="389"/>
                  </a:cubicBezTo>
                  <a:cubicBezTo>
                    <a:pt x="602" y="390"/>
                    <a:pt x="601" y="390"/>
                    <a:pt x="600" y="391"/>
                  </a:cubicBezTo>
                  <a:cubicBezTo>
                    <a:pt x="600" y="392"/>
                    <a:pt x="599" y="392"/>
                    <a:pt x="599" y="392"/>
                  </a:cubicBezTo>
                  <a:cubicBezTo>
                    <a:pt x="598" y="392"/>
                    <a:pt x="598" y="393"/>
                    <a:pt x="597" y="393"/>
                  </a:cubicBezTo>
                  <a:cubicBezTo>
                    <a:pt x="597" y="394"/>
                    <a:pt x="596" y="394"/>
                    <a:pt x="596" y="395"/>
                  </a:cubicBezTo>
                  <a:cubicBezTo>
                    <a:pt x="596" y="395"/>
                    <a:pt x="595" y="396"/>
                    <a:pt x="595" y="396"/>
                  </a:cubicBezTo>
                  <a:cubicBezTo>
                    <a:pt x="595" y="396"/>
                    <a:pt x="594" y="397"/>
                    <a:pt x="594" y="397"/>
                  </a:cubicBezTo>
                  <a:cubicBezTo>
                    <a:pt x="593" y="397"/>
                    <a:pt x="593" y="397"/>
                    <a:pt x="592" y="398"/>
                  </a:cubicBezTo>
                  <a:cubicBezTo>
                    <a:pt x="592" y="398"/>
                    <a:pt x="589" y="401"/>
                    <a:pt x="589" y="403"/>
                  </a:cubicBezTo>
                  <a:cubicBezTo>
                    <a:pt x="589" y="404"/>
                    <a:pt x="589" y="404"/>
                    <a:pt x="589" y="404"/>
                  </a:cubicBezTo>
                  <a:cubicBezTo>
                    <a:pt x="589" y="404"/>
                    <a:pt x="589" y="404"/>
                    <a:pt x="589" y="404"/>
                  </a:cubicBezTo>
                  <a:cubicBezTo>
                    <a:pt x="589" y="403"/>
                    <a:pt x="589" y="403"/>
                    <a:pt x="589" y="403"/>
                  </a:cubicBezTo>
                  <a:cubicBezTo>
                    <a:pt x="589" y="402"/>
                    <a:pt x="589" y="402"/>
                    <a:pt x="589" y="401"/>
                  </a:cubicBezTo>
                  <a:cubicBezTo>
                    <a:pt x="588" y="401"/>
                    <a:pt x="587" y="401"/>
                    <a:pt x="586" y="401"/>
                  </a:cubicBezTo>
                  <a:cubicBezTo>
                    <a:pt x="587" y="400"/>
                    <a:pt x="587" y="399"/>
                    <a:pt x="587" y="399"/>
                  </a:cubicBezTo>
                  <a:cubicBezTo>
                    <a:pt x="587" y="399"/>
                    <a:pt x="587" y="398"/>
                    <a:pt x="587" y="398"/>
                  </a:cubicBezTo>
                  <a:cubicBezTo>
                    <a:pt x="588" y="397"/>
                    <a:pt x="588" y="396"/>
                    <a:pt x="588" y="395"/>
                  </a:cubicBezTo>
                  <a:cubicBezTo>
                    <a:pt x="587" y="395"/>
                    <a:pt x="587" y="395"/>
                    <a:pt x="586" y="395"/>
                  </a:cubicBezTo>
                  <a:cubicBezTo>
                    <a:pt x="585" y="395"/>
                    <a:pt x="585" y="395"/>
                    <a:pt x="584" y="395"/>
                  </a:cubicBezTo>
                  <a:cubicBezTo>
                    <a:pt x="584" y="395"/>
                    <a:pt x="584" y="395"/>
                    <a:pt x="584" y="395"/>
                  </a:cubicBezTo>
                  <a:cubicBezTo>
                    <a:pt x="584" y="395"/>
                    <a:pt x="583" y="395"/>
                    <a:pt x="583" y="395"/>
                  </a:cubicBezTo>
                  <a:cubicBezTo>
                    <a:pt x="583" y="395"/>
                    <a:pt x="583" y="395"/>
                    <a:pt x="583" y="395"/>
                  </a:cubicBezTo>
                  <a:cubicBezTo>
                    <a:pt x="583" y="395"/>
                    <a:pt x="583" y="394"/>
                    <a:pt x="583" y="394"/>
                  </a:cubicBezTo>
                  <a:cubicBezTo>
                    <a:pt x="583" y="394"/>
                    <a:pt x="582" y="394"/>
                    <a:pt x="582" y="393"/>
                  </a:cubicBezTo>
                  <a:cubicBezTo>
                    <a:pt x="584" y="392"/>
                    <a:pt x="584" y="392"/>
                    <a:pt x="584" y="392"/>
                  </a:cubicBezTo>
                  <a:cubicBezTo>
                    <a:pt x="580" y="393"/>
                    <a:pt x="580" y="393"/>
                    <a:pt x="580" y="393"/>
                  </a:cubicBezTo>
                  <a:cubicBezTo>
                    <a:pt x="579" y="392"/>
                    <a:pt x="579" y="392"/>
                    <a:pt x="579" y="392"/>
                  </a:cubicBezTo>
                  <a:cubicBezTo>
                    <a:pt x="578" y="393"/>
                    <a:pt x="578" y="393"/>
                    <a:pt x="578" y="393"/>
                  </a:cubicBezTo>
                  <a:cubicBezTo>
                    <a:pt x="578" y="392"/>
                    <a:pt x="578" y="392"/>
                    <a:pt x="578" y="392"/>
                  </a:cubicBezTo>
                  <a:cubicBezTo>
                    <a:pt x="578" y="392"/>
                    <a:pt x="579" y="392"/>
                    <a:pt x="579" y="392"/>
                  </a:cubicBezTo>
                  <a:cubicBezTo>
                    <a:pt x="579" y="391"/>
                    <a:pt x="579" y="391"/>
                    <a:pt x="579" y="391"/>
                  </a:cubicBezTo>
                  <a:cubicBezTo>
                    <a:pt x="580" y="390"/>
                    <a:pt x="580" y="389"/>
                    <a:pt x="580" y="388"/>
                  </a:cubicBezTo>
                  <a:cubicBezTo>
                    <a:pt x="580" y="386"/>
                    <a:pt x="580" y="386"/>
                    <a:pt x="580" y="386"/>
                  </a:cubicBezTo>
                  <a:cubicBezTo>
                    <a:pt x="578" y="387"/>
                    <a:pt x="578" y="387"/>
                    <a:pt x="578" y="387"/>
                  </a:cubicBezTo>
                  <a:cubicBezTo>
                    <a:pt x="576" y="388"/>
                    <a:pt x="574" y="390"/>
                    <a:pt x="574" y="392"/>
                  </a:cubicBezTo>
                  <a:cubicBezTo>
                    <a:pt x="574" y="392"/>
                    <a:pt x="574" y="392"/>
                    <a:pt x="574" y="392"/>
                  </a:cubicBezTo>
                  <a:cubicBezTo>
                    <a:pt x="574" y="391"/>
                    <a:pt x="574" y="391"/>
                    <a:pt x="574" y="391"/>
                  </a:cubicBezTo>
                  <a:cubicBezTo>
                    <a:pt x="574" y="391"/>
                    <a:pt x="574" y="391"/>
                    <a:pt x="574" y="390"/>
                  </a:cubicBezTo>
                  <a:cubicBezTo>
                    <a:pt x="574" y="390"/>
                    <a:pt x="574" y="390"/>
                    <a:pt x="574" y="390"/>
                  </a:cubicBezTo>
                  <a:cubicBezTo>
                    <a:pt x="574" y="390"/>
                    <a:pt x="574" y="390"/>
                    <a:pt x="575" y="389"/>
                  </a:cubicBezTo>
                  <a:cubicBezTo>
                    <a:pt x="575" y="389"/>
                    <a:pt x="575" y="389"/>
                    <a:pt x="575" y="389"/>
                  </a:cubicBezTo>
                  <a:cubicBezTo>
                    <a:pt x="575" y="388"/>
                    <a:pt x="575" y="388"/>
                    <a:pt x="575" y="387"/>
                  </a:cubicBezTo>
                  <a:cubicBezTo>
                    <a:pt x="575" y="387"/>
                    <a:pt x="575" y="387"/>
                    <a:pt x="575" y="387"/>
                  </a:cubicBezTo>
                  <a:cubicBezTo>
                    <a:pt x="575" y="386"/>
                    <a:pt x="575" y="386"/>
                    <a:pt x="575" y="386"/>
                  </a:cubicBezTo>
                  <a:cubicBezTo>
                    <a:pt x="575" y="386"/>
                    <a:pt x="576" y="386"/>
                    <a:pt x="576" y="386"/>
                  </a:cubicBezTo>
                  <a:cubicBezTo>
                    <a:pt x="577" y="385"/>
                    <a:pt x="578" y="385"/>
                    <a:pt x="578" y="384"/>
                  </a:cubicBezTo>
                  <a:cubicBezTo>
                    <a:pt x="578" y="384"/>
                    <a:pt x="578" y="384"/>
                    <a:pt x="578" y="384"/>
                  </a:cubicBezTo>
                  <a:cubicBezTo>
                    <a:pt x="578" y="383"/>
                    <a:pt x="579" y="383"/>
                    <a:pt x="579" y="382"/>
                  </a:cubicBezTo>
                  <a:cubicBezTo>
                    <a:pt x="579" y="382"/>
                    <a:pt x="579" y="382"/>
                    <a:pt x="579" y="382"/>
                  </a:cubicBezTo>
                  <a:cubicBezTo>
                    <a:pt x="579" y="381"/>
                    <a:pt x="579" y="381"/>
                    <a:pt x="579" y="381"/>
                  </a:cubicBezTo>
                  <a:cubicBezTo>
                    <a:pt x="579" y="381"/>
                    <a:pt x="580" y="381"/>
                    <a:pt x="580" y="381"/>
                  </a:cubicBezTo>
                  <a:cubicBezTo>
                    <a:pt x="581" y="380"/>
                    <a:pt x="581" y="379"/>
                    <a:pt x="580" y="378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580" y="377"/>
                    <a:pt x="580" y="377"/>
                    <a:pt x="581" y="377"/>
                  </a:cubicBezTo>
                  <a:cubicBezTo>
                    <a:pt x="581" y="377"/>
                    <a:pt x="581" y="377"/>
                    <a:pt x="582" y="376"/>
                  </a:cubicBezTo>
                  <a:cubicBezTo>
                    <a:pt x="582" y="376"/>
                    <a:pt x="582" y="376"/>
                    <a:pt x="582" y="376"/>
                  </a:cubicBezTo>
                  <a:cubicBezTo>
                    <a:pt x="582" y="376"/>
                    <a:pt x="582" y="376"/>
                    <a:pt x="582" y="376"/>
                  </a:cubicBezTo>
                  <a:cubicBezTo>
                    <a:pt x="583" y="376"/>
                    <a:pt x="583" y="375"/>
                    <a:pt x="584" y="375"/>
                  </a:cubicBezTo>
                  <a:cubicBezTo>
                    <a:pt x="584" y="375"/>
                    <a:pt x="584" y="375"/>
                    <a:pt x="584" y="375"/>
                  </a:cubicBezTo>
                  <a:cubicBezTo>
                    <a:pt x="584" y="374"/>
                    <a:pt x="584" y="374"/>
                    <a:pt x="584" y="374"/>
                  </a:cubicBezTo>
                  <a:cubicBezTo>
                    <a:pt x="584" y="374"/>
                    <a:pt x="584" y="374"/>
                    <a:pt x="585" y="374"/>
                  </a:cubicBezTo>
                  <a:cubicBezTo>
                    <a:pt x="585" y="374"/>
                    <a:pt x="586" y="374"/>
                    <a:pt x="587" y="374"/>
                  </a:cubicBezTo>
                  <a:cubicBezTo>
                    <a:pt x="588" y="373"/>
                    <a:pt x="588" y="373"/>
                    <a:pt x="589" y="372"/>
                  </a:cubicBezTo>
                  <a:cubicBezTo>
                    <a:pt x="589" y="371"/>
                    <a:pt x="589" y="371"/>
                    <a:pt x="589" y="370"/>
                  </a:cubicBezTo>
                  <a:cubicBezTo>
                    <a:pt x="590" y="370"/>
                    <a:pt x="591" y="370"/>
                    <a:pt x="591" y="370"/>
                  </a:cubicBezTo>
                  <a:cubicBezTo>
                    <a:pt x="592" y="369"/>
                    <a:pt x="591" y="368"/>
                    <a:pt x="591" y="367"/>
                  </a:cubicBezTo>
                  <a:cubicBezTo>
                    <a:pt x="591" y="366"/>
                    <a:pt x="591" y="366"/>
                    <a:pt x="590" y="365"/>
                  </a:cubicBezTo>
                  <a:cubicBezTo>
                    <a:pt x="590" y="364"/>
                    <a:pt x="589" y="363"/>
                    <a:pt x="589" y="363"/>
                  </a:cubicBezTo>
                  <a:cubicBezTo>
                    <a:pt x="588" y="363"/>
                    <a:pt x="587" y="362"/>
                    <a:pt x="587" y="362"/>
                  </a:cubicBezTo>
                  <a:cubicBezTo>
                    <a:pt x="586" y="362"/>
                    <a:pt x="584" y="361"/>
                    <a:pt x="582" y="361"/>
                  </a:cubicBezTo>
                  <a:cubicBezTo>
                    <a:pt x="581" y="361"/>
                    <a:pt x="581" y="361"/>
                    <a:pt x="581" y="361"/>
                  </a:cubicBezTo>
                  <a:cubicBezTo>
                    <a:pt x="579" y="361"/>
                    <a:pt x="578" y="362"/>
                    <a:pt x="576" y="363"/>
                  </a:cubicBezTo>
                  <a:cubicBezTo>
                    <a:pt x="575" y="363"/>
                    <a:pt x="574" y="363"/>
                    <a:pt x="573" y="363"/>
                  </a:cubicBezTo>
                  <a:cubicBezTo>
                    <a:pt x="572" y="363"/>
                    <a:pt x="572" y="363"/>
                    <a:pt x="571" y="364"/>
                  </a:cubicBezTo>
                  <a:cubicBezTo>
                    <a:pt x="570" y="364"/>
                    <a:pt x="570" y="364"/>
                    <a:pt x="570" y="364"/>
                  </a:cubicBezTo>
                  <a:cubicBezTo>
                    <a:pt x="568" y="364"/>
                    <a:pt x="567" y="364"/>
                    <a:pt x="565" y="365"/>
                  </a:cubicBezTo>
                  <a:cubicBezTo>
                    <a:pt x="564" y="366"/>
                    <a:pt x="564" y="366"/>
                    <a:pt x="564" y="366"/>
                  </a:cubicBezTo>
                  <a:cubicBezTo>
                    <a:pt x="564" y="366"/>
                    <a:pt x="563" y="366"/>
                    <a:pt x="563" y="366"/>
                  </a:cubicBezTo>
                  <a:cubicBezTo>
                    <a:pt x="562" y="366"/>
                    <a:pt x="562" y="366"/>
                    <a:pt x="562" y="366"/>
                  </a:cubicBezTo>
                  <a:cubicBezTo>
                    <a:pt x="561" y="367"/>
                    <a:pt x="561" y="367"/>
                    <a:pt x="561" y="367"/>
                  </a:cubicBezTo>
                  <a:cubicBezTo>
                    <a:pt x="560" y="368"/>
                    <a:pt x="559" y="368"/>
                    <a:pt x="557" y="369"/>
                  </a:cubicBezTo>
                  <a:cubicBezTo>
                    <a:pt x="556" y="370"/>
                    <a:pt x="556" y="370"/>
                    <a:pt x="556" y="370"/>
                  </a:cubicBezTo>
                  <a:cubicBezTo>
                    <a:pt x="555" y="370"/>
                    <a:pt x="554" y="371"/>
                    <a:pt x="553" y="371"/>
                  </a:cubicBezTo>
                  <a:cubicBezTo>
                    <a:pt x="552" y="372"/>
                    <a:pt x="551" y="372"/>
                    <a:pt x="550" y="373"/>
                  </a:cubicBezTo>
                  <a:cubicBezTo>
                    <a:pt x="549" y="373"/>
                    <a:pt x="548" y="374"/>
                    <a:pt x="547" y="375"/>
                  </a:cubicBezTo>
                  <a:cubicBezTo>
                    <a:pt x="547" y="374"/>
                    <a:pt x="547" y="374"/>
                    <a:pt x="547" y="374"/>
                  </a:cubicBezTo>
                  <a:cubicBezTo>
                    <a:pt x="548" y="374"/>
                    <a:pt x="548" y="373"/>
                    <a:pt x="548" y="373"/>
                  </a:cubicBezTo>
                  <a:cubicBezTo>
                    <a:pt x="548" y="373"/>
                    <a:pt x="548" y="373"/>
                    <a:pt x="548" y="372"/>
                  </a:cubicBezTo>
                  <a:cubicBezTo>
                    <a:pt x="548" y="372"/>
                    <a:pt x="548" y="372"/>
                    <a:pt x="548" y="372"/>
                  </a:cubicBezTo>
                  <a:cubicBezTo>
                    <a:pt x="549" y="373"/>
                    <a:pt x="550" y="373"/>
                    <a:pt x="550" y="372"/>
                  </a:cubicBezTo>
                  <a:cubicBezTo>
                    <a:pt x="551" y="372"/>
                    <a:pt x="551" y="372"/>
                    <a:pt x="551" y="372"/>
                  </a:cubicBezTo>
                  <a:cubicBezTo>
                    <a:pt x="551" y="372"/>
                    <a:pt x="551" y="371"/>
                    <a:pt x="552" y="371"/>
                  </a:cubicBezTo>
                  <a:cubicBezTo>
                    <a:pt x="552" y="371"/>
                    <a:pt x="552" y="371"/>
                    <a:pt x="552" y="371"/>
                  </a:cubicBezTo>
                  <a:cubicBezTo>
                    <a:pt x="552" y="371"/>
                    <a:pt x="552" y="371"/>
                    <a:pt x="552" y="371"/>
                  </a:cubicBezTo>
                  <a:cubicBezTo>
                    <a:pt x="552" y="371"/>
                    <a:pt x="552" y="371"/>
                    <a:pt x="553" y="370"/>
                  </a:cubicBezTo>
                  <a:cubicBezTo>
                    <a:pt x="553" y="370"/>
                    <a:pt x="553" y="370"/>
                    <a:pt x="553" y="370"/>
                  </a:cubicBezTo>
                  <a:cubicBezTo>
                    <a:pt x="553" y="370"/>
                    <a:pt x="554" y="370"/>
                    <a:pt x="554" y="369"/>
                  </a:cubicBezTo>
                  <a:cubicBezTo>
                    <a:pt x="554" y="369"/>
                    <a:pt x="554" y="369"/>
                    <a:pt x="554" y="369"/>
                  </a:cubicBezTo>
                  <a:cubicBezTo>
                    <a:pt x="555" y="369"/>
                    <a:pt x="555" y="369"/>
                    <a:pt x="555" y="369"/>
                  </a:cubicBezTo>
                  <a:cubicBezTo>
                    <a:pt x="556" y="369"/>
                    <a:pt x="557" y="368"/>
                    <a:pt x="557" y="368"/>
                  </a:cubicBezTo>
                  <a:cubicBezTo>
                    <a:pt x="557" y="367"/>
                    <a:pt x="558" y="367"/>
                    <a:pt x="558" y="367"/>
                  </a:cubicBezTo>
                  <a:cubicBezTo>
                    <a:pt x="558" y="367"/>
                    <a:pt x="559" y="366"/>
                    <a:pt x="559" y="366"/>
                  </a:cubicBezTo>
                  <a:cubicBezTo>
                    <a:pt x="560" y="366"/>
                    <a:pt x="560" y="366"/>
                    <a:pt x="560" y="366"/>
                  </a:cubicBezTo>
                  <a:cubicBezTo>
                    <a:pt x="560" y="366"/>
                    <a:pt x="560" y="366"/>
                    <a:pt x="560" y="365"/>
                  </a:cubicBezTo>
                  <a:cubicBezTo>
                    <a:pt x="561" y="365"/>
                    <a:pt x="562" y="365"/>
                    <a:pt x="562" y="364"/>
                  </a:cubicBezTo>
                  <a:cubicBezTo>
                    <a:pt x="561" y="364"/>
                    <a:pt x="561" y="364"/>
                    <a:pt x="561" y="364"/>
                  </a:cubicBezTo>
                  <a:cubicBezTo>
                    <a:pt x="562" y="364"/>
                    <a:pt x="562" y="364"/>
                    <a:pt x="562" y="364"/>
                  </a:cubicBezTo>
                  <a:cubicBezTo>
                    <a:pt x="563" y="364"/>
                    <a:pt x="563" y="364"/>
                    <a:pt x="564" y="363"/>
                  </a:cubicBezTo>
                  <a:cubicBezTo>
                    <a:pt x="564" y="363"/>
                    <a:pt x="564" y="363"/>
                    <a:pt x="564" y="363"/>
                  </a:cubicBezTo>
                  <a:cubicBezTo>
                    <a:pt x="564" y="362"/>
                    <a:pt x="564" y="362"/>
                    <a:pt x="564" y="362"/>
                  </a:cubicBezTo>
                  <a:cubicBezTo>
                    <a:pt x="564" y="362"/>
                    <a:pt x="564" y="362"/>
                    <a:pt x="564" y="362"/>
                  </a:cubicBezTo>
                  <a:cubicBezTo>
                    <a:pt x="565" y="363"/>
                    <a:pt x="565" y="363"/>
                    <a:pt x="565" y="363"/>
                  </a:cubicBezTo>
                  <a:cubicBezTo>
                    <a:pt x="565" y="363"/>
                    <a:pt x="565" y="363"/>
                    <a:pt x="565" y="363"/>
                  </a:cubicBezTo>
                  <a:cubicBezTo>
                    <a:pt x="565" y="363"/>
                    <a:pt x="565" y="363"/>
                    <a:pt x="565" y="363"/>
                  </a:cubicBezTo>
                  <a:cubicBezTo>
                    <a:pt x="566" y="362"/>
                    <a:pt x="566" y="362"/>
                    <a:pt x="566" y="362"/>
                  </a:cubicBezTo>
                  <a:cubicBezTo>
                    <a:pt x="568" y="362"/>
                    <a:pt x="568" y="362"/>
                    <a:pt x="568" y="362"/>
                  </a:cubicBezTo>
                  <a:cubicBezTo>
                    <a:pt x="568" y="362"/>
                    <a:pt x="569" y="362"/>
                    <a:pt x="569" y="362"/>
                  </a:cubicBezTo>
                  <a:cubicBezTo>
                    <a:pt x="570" y="362"/>
                    <a:pt x="570" y="362"/>
                    <a:pt x="570" y="361"/>
                  </a:cubicBezTo>
                  <a:cubicBezTo>
                    <a:pt x="570" y="361"/>
                    <a:pt x="570" y="361"/>
                    <a:pt x="571" y="361"/>
                  </a:cubicBezTo>
                  <a:cubicBezTo>
                    <a:pt x="571" y="361"/>
                    <a:pt x="571" y="361"/>
                    <a:pt x="571" y="361"/>
                  </a:cubicBezTo>
                  <a:cubicBezTo>
                    <a:pt x="572" y="361"/>
                    <a:pt x="572" y="361"/>
                    <a:pt x="572" y="361"/>
                  </a:cubicBezTo>
                  <a:cubicBezTo>
                    <a:pt x="572" y="361"/>
                    <a:pt x="572" y="361"/>
                    <a:pt x="573" y="361"/>
                  </a:cubicBezTo>
                  <a:cubicBezTo>
                    <a:pt x="573" y="361"/>
                    <a:pt x="573" y="361"/>
                    <a:pt x="573" y="361"/>
                  </a:cubicBezTo>
                  <a:cubicBezTo>
                    <a:pt x="574" y="361"/>
                    <a:pt x="575" y="360"/>
                    <a:pt x="575" y="359"/>
                  </a:cubicBezTo>
                  <a:cubicBezTo>
                    <a:pt x="575" y="359"/>
                    <a:pt x="575" y="359"/>
                    <a:pt x="575" y="359"/>
                  </a:cubicBezTo>
                  <a:cubicBezTo>
                    <a:pt x="576" y="359"/>
                    <a:pt x="576" y="358"/>
                    <a:pt x="576" y="358"/>
                  </a:cubicBezTo>
                  <a:cubicBezTo>
                    <a:pt x="577" y="358"/>
                    <a:pt x="577" y="357"/>
                    <a:pt x="577" y="357"/>
                  </a:cubicBezTo>
                  <a:cubicBezTo>
                    <a:pt x="577" y="357"/>
                    <a:pt x="578" y="356"/>
                    <a:pt x="578" y="356"/>
                  </a:cubicBezTo>
                  <a:cubicBezTo>
                    <a:pt x="579" y="356"/>
                    <a:pt x="579" y="356"/>
                    <a:pt x="580" y="355"/>
                  </a:cubicBezTo>
                  <a:cubicBezTo>
                    <a:pt x="580" y="355"/>
                    <a:pt x="580" y="355"/>
                    <a:pt x="581" y="354"/>
                  </a:cubicBezTo>
                  <a:cubicBezTo>
                    <a:pt x="581" y="354"/>
                    <a:pt x="581" y="354"/>
                    <a:pt x="581" y="354"/>
                  </a:cubicBezTo>
                  <a:cubicBezTo>
                    <a:pt x="581" y="354"/>
                    <a:pt x="581" y="354"/>
                    <a:pt x="581" y="354"/>
                  </a:cubicBezTo>
                  <a:cubicBezTo>
                    <a:pt x="582" y="354"/>
                    <a:pt x="583" y="354"/>
                    <a:pt x="583" y="354"/>
                  </a:cubicBezTo>
                  <a:cubicBezTo>
                    <a:pt x="584" y="354"/>
                    <a:pt x="584" y="353"/>
                    <a:pt x="584" y="353"/>
                  </a:cubicBezTo>
                  <a:cubicBezTo>
                    <a:pt x="584" y="353"/>
                    <a:pt x="584" y="353"/>
                    <a:pt x="584" y="353"/>
                  </a:cubicBezTo>
                  <a:cubicBezTo>
                    <a:pt x="585" y="354"/>
                    <a:pt x="585" y="354"/>
                    <a:pt x="585" y="354"/>
                  </a:cubicBezTo>
                  <a:cubicBezTo>
                    <a:pt x="586" y="355"/>
                    <a:pt x="587" y="355"/>
                    <a:pt x="588" y="354"/>
                  </a:cubicBezTo>
                  <a:cubicBezTo>
                    <a:pt x="588" y="354"/>
                    <a:pt x="589" y="354"/>
                    <a:pt x="589" y="353"/>
                  </a:cubicBezTo>
                  <a:cubicBezTo>
                    <a:pt x="589" y="353"/>
                    <a:pt x="589" y="353"/>
                    <a:pt x="589" y="353"/>
                  </a:cubicBezTo>
                  <a:cubicBezTo>
                    <a:pt x="589" y="353"/>
                    <a:pt x="589" y="353"/>
                    <a:pt x="590" y="353"/>
                  </a:cubicBezTo>
                  <a:cubicBezTo>
                    <a:pt x="592" y="353"/>
                    <a:pt x="592" y="353"/>
                    <a:pt x="592" y="353"/>
                  </a:cubicBezTo>
                  <a:cubicBezTo>
                    <a:pt x="592" y="353"/>
                    <a:pt x="592" y="353"/>
                    <a:pt x="593" y="353"/>
                  </a:cubicBezTo>
                  <a:cubicBezTo>
                    <a:pt x="593" y="353"/>
                    <a:pt x="593" y="353"/>
                    <a:pt x="593" y="353"/>
                  </a:cubicBezTo>
                  <a:cubicBezTo>
                    <a:pt x="594" y="353"/>
                    <a:pt x="594" y="353"/>
                    <a:pt x="595" y="353"/>
                  </a:cubicBezTo>
                  <a:cubicBezTo>
                    <a:pt x="595" y="353"/>
                    <a:pt x="595" y="353"/>
                    <a:pt x="595" y="353"/>
                  </a:cubicBezTo>
                  <a:cubicBezTo>
                    <a:pt x="596" y="353"/>
                    <a:pt x="597" y="354"/>
                    <a:pt x="597" y="354"/>
                  </a:cubicBezTo>
                  <a:cubicBezTo>
                    <a:pt x="597" y="354"/>
                    <a:pt x="597" y="354"/>
                    <a:pt x="597" y="354"/>
                  </a:cubicBezTo>
                  <a:cubicBezTo>
                    <a:pt x="598" y="354"/>
                    <a:pt x="598" y="354"/>
                    <a:pt x="598" y="354"/>
                  </a:cubicBezTo>
                  <a:cubicBezTo>
                    <a:pt x="598" y="354"/>
                    <a:pt x="599" y="354"/>
                    <a:pt x="599" y="354"/>
                  </a:cubicBezTo>
                  <a:cubicBezTo>
                    <a:pt x="599" y="354"/>
                    <a:pt x="600" y="354"/>
                    <a:pt x="600" y="354"/>
                  </a:cubicBezTo>
                  <a:cubicBezTo>
                    <a:pt x="600" y="354"/>
                    <a:pt x="600" y="354"/>
                    <a:pt x="600" y="354"/>
                  </a:cubicBezTo>
                  <a:cubicBezTo>
                    <a:pt x="601" y="354"/>
                    <a:pt x="601" y="354"/>
                    <a:pt x="601" y="354"/>
                  </a:cubicBezTo>
                  <a:cubicBezTo>
                    <a:pt x="601" y="354"/>
                    <a:pt x="601" y="354"/>
                    <a:pt x="602" y="354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2" y="354"/>
                    <a:pt x="602" y="354"/>
                    <a:pt x="602" y="354"/>
                  </a:cubicBezTo>
                  <a:cubicBezTo>
                    <a:pt x="602" y="354"/>
                    <a:pt x="602" y="354"/>
                    <a:pt x="602" y="354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4"/>
                    <a:pt x="603" y="354"/>
                    <a:pt x="603" y="354"/>
                  </a:cubicBezTo>
                  <a:cubicBezTo>
                    <a:pt x="603" y="354"/>
                    <a:pt x="603" y="355"/>
                    <a:pt x="604" y="355"/>
                  </a:cubicBezTo>
                  <a:cubicBezTo>
                    <a:pt x="604" y="355"/>
                    <a:pt x="604" y="355"/>
                    <a:pt x="604" y="355"/>
                  </a:cubicBezTo>
                  <a:cubicBezTo>
                    <a:pt x="605" y="355"/>
                    <a:pt x="605" y="355"/>
                    <a:pt x="605" y="355"/>
                  </a:cubicBezTo>
                  <a:cubicBezTo>
                    <a:pt x="605" y="355"/>
                    <a:pt x="605" y="355"/>
                    <a:pt x="605" y="355"/>
                  </a:cubicBezTo>
                  <a:cubicBezTo>
                    <a:pt x="606" y="355"/>
                    <a:pt x="606" y="355"/>
                    <a:pt x="606" y="355"/>
                  </a:cubicBezTo>
                  <a:cubicBezTo>
                    <a:pt x="606" y="355"/>
                    <a:pt x="606" y="355"/>
                    <a:pt x="607" y="355"/>
                  </a:cubicBezTo>
                  <a:cubicBezTo>
                    <a:pt x="607" y="355"/>
                    <a:pt x="607" y="356"/>
                    <a:pt x="608" y="356"/>
                  </a:cubicBezTo>
                  <a:cubicBezTo>
                    <a:pt x="608" y="356"/>
                    <a:pt x="608" y="356"/>
                    <a:pt x="608" y="356"/>
                  </a:cubicBezTo>
                  <a:cubicBezTo>
                    <a:pt x="609" y="356"/>
                    <a:pt x="609" y="355"/>
                    <a:pt x="610" y="355"/>
                  </a:cubicBezTo>
                  <a:cubicBezTo>
                    <a:pt x="610" y="355"/>
                    <a:pt x="610" y="355"/>
                    <a:pt x="610" y="355"/>
                  </a:cubicBezTo>
                  <a:cubicBezTo>
                    <a:pt x="611" y="355"/>
                    <a:pt x="611" y="355"/>
                    <a:pt x="611" y="355"/>
                  </a:cubicBezTo>
                  <a:cubicBezTo>
                    <a:pt x="612" y="356"/>
                    <a:pt x="612" y="356"/>
                    <a:pt x="613" y="356"/>
                  </a:cubicBezTo>
                  <a:cubicBezTo>
                    <a:pt x="613" y="356"/>
                    <a:pt x="613" y="357"/>
                    <a:pt x="613" y="357"/>
                  </a:cubicBezTo>
                  <a:cubicBezTo>
                    <a:pt x="614" y="357"/>
                    <a:pt x="615" y="357"/>
                    <a:pt x="616" y="357"/>
                  </a:cubicBezTo>
                  <a:cubicBezTo>
                    <a:pt x="617" y="357"/>
                    <a:pt x="617" y="357"/>
                    <a:pt x="618" y="357"/>
                  </a:cubicBezTo>
                  <a:cubicBezTo>
                    <a:pt x="618" y="357"/>
                    <a:pt x="618" y="357"/>
                    <a:pt x="618" y="357"/>
                  </a:cubicBezTo>
                  <a:cubicBezTo>
                    <a:pt x="618" y="357"/>
                    <a:pt x="619" y="357"/>
                    <a:pt x="619" y="357"/>
                  </a:cubicBezTo>
                  <a:cubicBezTo>
                    <a:pt x="620" y="357"/>
                    <a:pt x="620" y="357"/>
                    <a:pt x="621" y="357"/>
                  </a:cubicBezTo>
                  <a:cubicBezTo>
                    <a:pt x="622" y="357"/>
                    <a:pt x="622" y="357"/>
                    <a:pt x="623" y="357"/>
                  </a:cubicBezTo>
                  <a:cubicBezTo>
                    <a:pt x="623" y="357"/>
                    <a:pt x="623" y="357"/>
                    <a:pt x="623" y="357"/>
                  </a:cubicBezTo>
                  <a:cubicBezTo>
                    <a:pt x="624" y="357"/>
                    <a:pt x="624" y="357"/>
                    <a:pt x="625" y="357"/>
                  </a:cubicBezTo>
                  <a:cubicBezTo>
                    <a:pt x="625" y="357"/>
                    <a:pt x="626" y="358"/>
                    <a:pt x="627" y="358"/>
                  </a:cubicBezTo>
                  <a:cubicBezTo>
                    <a:pt x="628" y="358"/>
                    <a:pt x="629" y="357"/>
                    <a:pt x="629" y="357"/>
                  </a:cubicBezTo>
                  <a:cubicBezTo>
                    <a:pt x="628" y="356"/>
                    <a:pt x="628" y="356"/>
                    <a:pt x="628" y="356"/>
                  </a:cubicBezTo>
                  <a:cubicBezTo>
                    <a:pt x="629" y="357"/>
                    <a:pt x="629" y="357"/>
                    <a:pt x="629" y="357"/>
                  </a:cubicBezTo>
                  <a:cubicBezTo>
                    <a:pt x="629" y="356"/>
                    <a:pt x="630" y="356"/>
                    <a:pt x="630" y="356"/>
                  </a:cubicBezTo>
                  <a:cubicBezTo>
                    <a:pt x="631" y="356"/>
                    <a:pt x="631" y="356"/>
                    <a:pt x="631" y="356"/>
                  </a:cubicBezTo>
                  <a:cubicBezTo>
                    <a:pt x="631" y="356"/>
                    <a:pt x="632" y="355"/>
                    <a:pt x="632" y="355"/>
                  </a:cubicBezTo>
                  <a:cubicBezTo>
                    <a:pt x="632" y="355"/>
                    <a:pt x="632" y="355"/>
                    <a:pt x="633" y="355"/>
                  </a:cubicBezTo>
                  <a:cubicBezTo>
                    <a:pt x="633" y="354"/>
                    <a:pt x="634" y="354"/>
                    <a:pt x="634" y="354"/>
                  </a:cubicBezTo>
                  <a:cubicBezTo>
                    <a:pt x="635" y="354"/>
                    <a:pt x="635" y="354"/>
                    <a:pt x="636" y="353"/>
                  </a:cubicBezTo>
                  <a:cubicBezTo>
                    <a:pt x="636" y="353"/>
                    <a:pt x="637" y="353"/>
                    <a:pt x="637" y="352"/>
                  </a:cubicBezTo>
                  <a:cubicBezTo>
                    <a:pt x="637" y="352"/>
                    <a:pt x="638" y="352"/>
                    <a:pt x="638" y="352"/>
                  </a:cubicBezTo>
                  <a:cubicBezTo>
                    <a:pt x="639" y="351"/>
                    <a:pt x="639" y="351"/>
                    <a:pt x="639" y="351"/>
                  </a:cubicBezTo>
                  <a:cubicBezTo>
                    <a:pt x="638" y="350"/>
                    <a:pt x="638" y="350"/>
                    <a:pt x="638" y="350"/>
                  </a:cubicBezTo>
                  <a:cubicBezTo>
                    <a:pt x="639" y="351"/>
                    <a:pt x="639" y="351"/>
                    <a:pt x="639" y="351"/>
                  </a:cubicBezTo>
                  <a:cubicBezTo>
                    <a:pt x="639" y="350"/>
                    <a:pt x="640" y="350"/>
                    <a:pt x="640" y="350"/>
                  </a:cubicBezTo>
                  <a:cubicBezTo>
                    <a:pt x="640" y="349"/>
                    <a:pt x="641" y="349"/>
                    <a:pt x="642" y="349"/>
                  </a:cubicBezTo>
                  <a:cubicBezTo>
                    <a:pt x="642" y="349"/>
                    <a:pt x="643" y="348"/>
                    <a:pt x="643" y="348"/>
                  </a:cubicBezTo>
                  <a:cubicBezTo>
                    <a:pt x="644" y="348"/>
                    <a:pt x="644" y="348"/>
                    <a:pt x="644" y="348"/>
                  </a:cubicBezTo>
                  <a:cubicBezTo>
                    <a:pt x="644" y="348"/>
                    <a:pt x="644" y="348"/>
                    <a:pt x="645" y="348"/>
                  </a:cubicBezTo>
                  <a:cubicBezTo>
                    <a:pt x="645" y="348"/>
                    <a:pt x="646" y="347"/>
                    <a:pt x="646" y="347"/>
                  </a:cubicBezTo>
                  <a:cubicBezTo>
                    <a:pt x="646" y="347"/>
                    <a:pt x="647" y="347"/>
                    <a:pt x="647" y="347"/>
                  </a:cubicBezTo>
                  <a:cubicBezTo>
                    <a:pt x="647" y="347"/>
                    <a:pt x="647" y="347"/>
                    <a:pt x="648" y="347"/>
                  </a:cubicBezTo>
                  <a:cubicBezTo>
                    <a:pt x="648" y="347"/>
                    <a:pt x="648" y="347"/>
                    <a:pt x="649" y="347"/>
                  </a:cubicBezTo>
                  <a:cubicBezTo>
                    <a:pt x="649" y="347"/>
                    <a:pt x="649" y="347"/>
                    <a:pt x="649" y="347"/>
                  </a:cubicBezTo>
                  <a:cubicBezTo>
                    <a:pt x="650" y="347"/>
                    <a:pt x="650" y="346"/>
                    <a:pt x="650" y="347"/>
                  </a:cubicBezTo>
                  <a:cubicBezTo>
                    <a:pt x="651" y="347"/>
                    <a:pt x="651" y="347"/>
                    <a:pt x="652" y="347"/>
                  </a:cubicBezTo>
                  <a:cubicBezTo>
                    <a:pt x="652" y="347"/>
                    <a:pt x="653" y="347"/>
                    <a:pt x="654" y="347"/>
                  </a:cubicBezTo>
                  <a:cubicBezTo>
                    <a:pt x="654" y="347"/>
                    <a:pt x="654" y="347"/>
                    <a:pt x="653" y="347"/>
                  </a:cubicBezTo>
                  <a:cubicBezTo>
                    <a:pt x="653" y="347"/>
                    <a:pt x="653" y="347"/>
                    <a:pt x="653" y="347"/>
                  </a:cubicBezTo>
                  <a:cubicBezTo>
                    <a:pt x="653" y="347"/>
                    <a:pt x="652" y="348"/>
                    <a:pt x="652" y="348"/>
                  </a:cubicBezTo>
                  <a:cubicBezTo>
                    <a:pt x="651" y="349"/>
                    <a:pt x="650" y="350"/>
                    <a:pt x="649" y="351"/>
                  </a:cubicBezTo>
                  <a:cubicBezTo>
                    <a:pt x="648" y="352"/>
                    <a:pt x="648" y="352"/>
                    <a:pt x="647" y="353"/>
                  </a:cubicBezTo>
                  <a:cubicBezTo>
                    <a:pt x="647" y="353"/>
                    <a:pt x="647" y="353"/>
                    <a:pt x="646" y="353"/>
                  </a:cubicBezTo>
                  <a:cubicBezTo>
                    <a:pt x="646" y="353"/>
                    <a:pt x="645" y="354"/>
                    <a:pt x="644" y="354"/>
                  </a:cubicBezTo>
                  <a:cubicBezTo>
                    <a:pt x="644" y="354"/>
                    <a:pt x="644" y="354"/>
                    <a:pt x="644" y="354"/>
                  </a:cubicBezTo>
                  <a:cubicBezTo>
                    <a:pt x="643" y="355"/>
                    <a:pt x="642" y="355"/>
                    <a:pt x="641" y="356"/>
                  </a:cubicBezTo>
                  <a:cubicBezTo>
                    <a:pt x="640" y="356"/>
                    <a:pt x="640" y="357"/>
                    <a:pt x="639" y="358"/>
                  </a:cubicBezTo>
                  <a:cubicBezTo>
                    <a:pt x="639" y="358"/>
                    <a:pt x="639" y="359"/>
                    <a:pt x="639" y="359"/>
                  </a:cubicBezTo>
                  <a:cubicBezTo>
                    <a:pt x="638" y="359"/>
                    <a:pt x="638" y="359"/>
                    <a:pt x="638" y="360"/>
                  </a:cubicBezTo>
                  <a:cubicBezTo>
                    <a:pt x="637" y="360"/>
                    <a:pt x="636" y="361"/>
                    <a:pt x="636" y="362"/>
                  </a:cubicBezTo>
                  <a:cubicBezTo>
                    <a:pt x="636" y="362"/>
                    <a:pt x="635" y="363"/>
                    <a:pt x="635" y="364"/>
                  </a:cubicBezTo>
                  <a:cubicBezTo>
                    <a:pt x="635" y="364"/>
                    <a:pt x="635" y="364"/>
                    <a:pt x="635" y="364"/>
                  </a:cubicBezTo>
                  <a:cubicBezTo>
                    <a:pt x="635" y="364"/>
                    <a:pt x="634" y="364"/>
                    <a:pt x="633" y="364"/>
                  </a:cubicBezTo>
                  <a:cubicBezTo>
                    <a:pt x="633" y="365"/>
                    <a:pt x="632" y="365"/>
                    <a:pt x="632" y="366"/>
                  </a:cubicBezTo>
                  <a:cubicBezTo>
                    <a:pt x="631" y="367"/>
                    <a:pt x="632" y="368"/>
                    <a:pt x="632" y="368"/>
                  </a:cubicBezTo>
                  <a:cubicBezTo>
                    <a:pt x="632" y="368"/>
                    <a:pt x="632" y="368"/>
                    <a:pt x="631" y="369"/>
                  </a:cubicBezTo>
                  <a:cubicBezTo>
                    <a:pt x="631" y="369"/>
                    <a:pt x="631" y="369"/>
                    <a:pt x="631" y="369"/>
                  </a:cubicBezTo>
                  <a:cubicBezTo>
                    <a:pt x="630" y="368"/>
                    <a:pt x="629" y="369"/>
                    <a:pt x="627" y="370"/>
                  </a:cubicBezTo>
                  <a:cubicBezTo>
                    <a:pt x="627" y="370"/>
                    <a:pt x="627" y="370"/>
                    <a:pt x="627" y="371"/>
                  </a:cubicBezTo>
                  <a:cubicBezTo>
                    <a:pt x="626" y="371"/>
                    <a:pt x="626" y="371"/>
                    <a:pt x="626" y="371"/>
                  </a:cubicBezTo>
                  <a:cubicBezTo>
                    <a:pt x="626" y="371"/>
                    <a:pt x="626" y="371"/>
                    <a:pt x="626" y="371"/>
                  </a:cubicBezTo>
                  <a:cubicBezTo>
                    <a:pt x="626" y="370"/>
                    <a:pt x="626" y="370"/>
                    <a:pt x="626" y="370"/>
                  </a:cubicBezTo>
                  <a:cubicBezTo>
                    <a:pt x="624" y="371"/>
                    <a:pt x="624" y="371"/>
                    <a:pt x="624" y="371"/>
                  </a:cubicBezTo>
                  <a:cubicBezTo>
                    <a:pt x="623" y="371"/>
                    <a:pt x="623" y="372"/>
                    <a:pt x="622" y="372"/>
                  </a:cubicBezTo>
                  <a:cubicBezTo>
                    <a:pt x="622" y="373"/>
                    <a:pt x="621" y="373"/>
                    <a:pt x="621" y="373"/>
                  </a:cubicBezTo>
                  <a:cubicBezTo>
                    <a:pt x="621" y="374"/>
                    <a:pt x="621" y="374"/>
                    <a:pt x="621" y="374"/>
                  </a:cubicBezTo>
                  <a:cubicBezTo>
                    <a:pt x="621" y="374"/>
                    <a:pt x="621" y="374"/>
                    <a:pt x="621" y="374"/>
                  </a:cubicBezTo>
                  <a:cubicBezTo>
                    <a:pt x="621" y="373"/>
                    <a:pt x="621" y="373"/>
                    <a:pt x="621" y="373"/>
                  </a:cubicBezTo>
                  <a:cubicBezTo>
                    <a:pt x="620" y="373"/>
                    <a:pt x="618" y="373"/>
                    <a:pt x="618" y="374"/>
                  </a:cubicBezTo>
                  <a:cubicBezTo>
                    <a:pt x="618" y="375"/>
                    <a:pt x="618" y="376"/>
                    <a:pt x="618" y="376"/>
                  </a:cubicBezTo>
                  <a:cubicBezTo>
                    <a:pt x="618" y="377"/>
                    <a:pt x="619" y="377"/>
                    <a:pt x="620" y="377"/>
                  </a:cubicBezTo>
                  <a:cubicBezTo>
                    <a:pt x="620" y="377"/>
                    <a:pt x="621" y="377"/>
                    <a:pt x="621" y="377"/>
                  </a:cubicBezTo>
                  <a:cubicBezTo>
                    <a:pt x="621" y="378"/>
                    <a:pt x="620" y="378"/>
                    <a:pt x="620" y="378"/>
                  </a:cubicBezTo>
                  <a:cubicBezTo>
                    <a:pt x="619" y="378"/>
                    <a:pt x="618" y="379"/>
                    <a:pt x="618" y="379"/>
                  </a:cubicBezTo>
                  <a:cubicBezTo>
                    <a:pt x="617" y="379"/>
                    <a:pt x="617" y="380"/>
                    <a:pt x="617" y="380"/>
                  </a:cubicBezTo>
                  <a:cubicBezTo>
                    <a:pt x="616" y="380"/>
                    <a:pt x="615" y="381"/>
                    <a:pt x="615" y="382"/>
                  </a:cubicBezTo>
                  <a:cubicBezTo>
                    <a:pt x="614" y="382"/>
                    <a:pt x="614" y="383"/>
                    <a:pt x="614" y="383"/>
                  </a:cubicBezTo>
                  <a:cubicBezTo>
                    <a:pt x="614" y="383"/>
                    <a:pt x="614" y="383"/>
                    <a:pt x="614" y="384"/>
                  </a:cubicBezTo>
                  <a:cubicBezTo>
                    <a:pt x="613" y="385"/>
                    <a:pt x="613" y="386"/>
                    <a:pt x="614" y="387"/>
                  </a:cubicBezTo>
                  <a:cubicBezTo>
                    <a:pt x="615" y="387"/>
                    <a:pt x="616" y="387"/>
                    <a:pt x="617" y="387"/>
                  </a:cubicBezTo>
                  <a:cubicBezTo>
                    <a:pt x="617" y="387"/>
                    <a:pt x="617" y="387"/>
                    <a:pt x="617" y="387"/>
                  </a:cubicBezTo>
                  <a:cubicBezTo>
                    <a:pt x="617" y="387"/>
                    <a:pt x="617" y="387"/>
                    <a:pt x="618" y="387"/>
                  </a:cubicBezTo>
                  <a:cubicBezTo>
                    <a:pt x="619" y="388"/>
                    <a:pt x="621" y="388"/>
                    <a:pt x="622" y="387"/>
                  </a:cubicBezTo>
                  <a:cubicBezTo>
                    <a:pt x="622" y="387"/>
                    <a:pt x="623" y="387"/>
                    <a:pt x="623" y="387"/>
                  </a:cubicBezTo>
                  <a:cubicBezTo>
                    <a:pt x="623" y="387"/>
                    <a:pt x="624" y="387"/>
                    <a:pt x="624" y="388"/>
                  </a:cubicBezTo>
                  <a:cubicBezTo>
                    <a:pt x="625" y="388"/>
                    <a:pt x="626" y="388"/>
                    <a:pt x="627" y="388"/>
                  </a:cubicBezTo>
                  <a:cubicBezTo>
                    <a:pt x="627" y="388"/>
                    <a:pt x="628" y="388"/>
                    <a:pt x="628" y="388"/>
                  </a:cubicBezTo>
                  <a:cubicBezTo>
                    <a:pt x="629" y="389"/>
                    <a:pt x="631" y="389"/>
                    <a:pt x="632" y="388"/>
                  </a:cubicBezTo>
                  <a:cubicBezTo>
                    <a:pt x="632" y="388"/>
                    <a:pt x="632" y="388"/>
                    <a:pt x="633" y="388"/>
                  </a:cubicBezTo>
                  <a:cubicBezTo>
                    <a:pt x="633" y="388"/>
                    <a:pt x="633" y="388"/>
                    <a:pt x="633" y="388"/>
                  </a:cubicBezTo>
                  <a:cubicBezTo>
                    <a:pt x="633" y="388"/>
                    <a:pt x="634" y="388"/>
                    <a:pt x="634" y="388"/>
                  </a:cubicBezTo>
                  <a:cubicBezTo>
                    <a:pt x="634" y="388"/>
                    <a:pt x="634" y="388"/>
                    <a:pt x="634" y="388"/>
                  </a:cubicBezTo>
                  <a:cubicBezTo>
                    <a:pt x="634" y="389"/>
                    <a:pt x="634" y="389"/>
                    <a:pt x="634" y="390"/>
                  </a:cubicBezTo>
                  <a:cubicBezTo>
                    <a:pt x="635" y="391"/>
                    <a:pt x="636" y="391"/>
                    <a:pt x="636" y="391"/>
                  </a:cubicBezTo>
                  <a:cubicBezTo>
                    <a:pt x="637" y="391"/>
                    <a:pt x="637" y="391"/>
                    <a:pt x="637" y="391"/>
                  </a:cubicBezTo>
                  <a:cubicBezTo>
                    <a:pt x="637" y="391"/>
                    <a:pt x="637" y="391"/>
                    <a:pt x="638" y="391"/>
                  </a:cubicBezTo>
                  <a:cubicBezTo>
                    <a:pt x="638" y="391"/>
                    <a:pt x="638" y="391"/>
                    <a:pt x="638" y="391"/>
                  </a:cubicBezTo>
                  <a:cubicBezTo>
                    <a:pt x="638" y="391"/>
                    <a:pt x="637" y="392"/>
                    <a:pt x="637" y="392"/>
                  </a:cubicBezTo>
                  <a:cubicBezTo>
                    <a:pt x="636" y="392"/>
                    <a:pt x="635" y="391"/>
                    <a:pt x="633" y="392"/>
                  </a:cubicBezTo>
                  <a:cubicBezTo>
                    <a:pt x="632" y="393"/>
                    <a:pt x="632" y="394"/>
                    <a:pt x="632" y="395"/>
                  </a:cubicBezTo>
                  <a:cubicBezTo>
                    <a:pt x="632" y="396"/>
                    <a:pt x="634" y="397"/>
                    <a:pt x="635" y="397"/>
                  </a:cubicBezTo>
                  <a:cubicBezTo>
                    <a:pt x="635" y="397"/>
                    <a:pt x="636" y="397"/>
                    <a:pt x="636" y="397"/>
                  </a:cubicBezTo>
                  <a:cubicBezTo>
                    <a:pt x="636" y="397"/>
                    <a:pt x="637" y="397"/>
                    <a:pt x="637" y="397"/>
                  </a:cubicBezTo>
                  <a:cubicBezTo>
                    <a:pt x="637" y="397"/>
                    <a:pt x="637" y="397"/>
                    <a:pt x="637" y="397"/>
                  </a:cubicBezTo>
                  <a:cubicBezTo>
                    <a:pt x="639" y="397"/>
                    <a:pt x="639" y="397"/>
                    <a:pt x="639" y="397"/>
                  </a:cubicBezTo>
                  <a:cubicBezTo>
                    <a:pt x="641" y="397"/>
                    <a:pt x="642" y="395"/>
                    <a:pt x="642" y="394"/>
                  </a:cubicBezTo>
                  <a:cubicBezTo>
                    <a:pt x="643" y="393"/>
                    <a:pt x="643" y="393"/>
                    <a:pt x="644" y="392"/>
                  </a:cubicBezTo>
                  <a:cubicBezTo>
                    <a:pt x="644" y="392"/>
                    <a:pt x="644" y="392"/>
                    <a:pt x="645" y="392"/>
                  </a:cubicBezTo>
                  <a:cubicBezTo>
                    <a:pt x="646" y="392"/>
                    <a:pt x="646" y="392"/>
                    <a:pt x="646" y="392"/>
                  </a:cubicBezTo>
                  <a:cubicBezTo>
                    <a:pt x="646" y="392"/>
                    <a:pt x="647" y="392"/>
                    <a:pt x="648" y="392"/>
                  </a:cubicBezTo>
                  <a:cubicBezTo>
                    <a:pt x="649" y="391"/>
                    <a:pt x="649" y="390"/>
                    <a:pt x="649" y="390"/>
                  </a:cubicBezTo>
                  <a:cubicBezTo>
                    <a:pt x="649" y="389"/>
                    <a:pt x="650" y="389"/>
                    <a:pt x="650" y="389"/>
                  </a:cubicBezTo>
                  <a:cubicBezTo>
                    <a:pt x="650" y="389"/>
                    <a:pt x="650" y="389"/>
                    <a:pt x="650" y="389"/>
                  </a:cubicBezTo>
                  <a:cubicBezTo>
                    <a:pt x="650" y="389"/>
                    <a:pt x="650" y="390"/>
                    <a:pt x="650" y="391"/>
                  </a:cubicBezTo>
                  <a:cubicBezTo>
                    <a:pt x="650" y="392"/>
                    <a:pt x="649" y="392"/>
                    <a:pt x="648" y="393"/>
                  </a:cubicBezTo>
                  <a:cubicBezTo>
                    <a:pt x="648" y="393"/>
                    <a:pt x="648" y="393"/>
                    <a:pt x="648" y="393"/>
                  </a:cubicBezTo>
                  <a:cubicBezTo>
                    <a:pt x="646" y="394"/>
                    <a:pt x="644" y="396"/>
                    <a:pt x="645" y="397"/>
                  </a:cubicBezTo>
                  <a:cubicBezTo>
                    <a:pt x="645" y="398"/>
                    <a:pt x="646" y="399"/>
                    <a:pt x="647" y="399"/>
                  </a:cubicBezTo>
                  <a:cubicBezTo>
                    <a:pt x="647" y="399"/>
                    <a:pt x="647" y="400"/>
                    <a:pt x="647" y="400"/>
                  </a:cubicBezTo>
                  <a:cubicBezTo>
                    <a:pt x="647" y="401"/>
                    <a:pt x="647" y="401"/>
                    <a:pt x="647" y="401"/>
                  </a:cubicBezTo>
                  <a:cubicBezTo>
                    <a:pt x="649" y="401"/>
                    <a:pt x="649" y="401"/>
                    <a:pt x="649" y="401"/>
                  </a:cubicBezTo>
                  <a:cubicBezTo>
                    <a:pt x="649" y="401"/>
                    <a:pt x="650" y="401"/>
                    <a:pt x="650" y="401"/>
                  </a:cubicBezTo>
                  <a:cubicBezTo>
                    <a:pt x="650" y="401"/>
                    <a:pt x="650" y="401"/>
                    <a:pt x="650" y="401"/>
                  </a:cubicBezTo>
                  <a:cubicBezTo>
                    <a:pt x="652" y="401"/>
                    <a:pt x="652" y="401"/>
                    <a:pt x="652" y="401"/>
                  </a:cubicBezTo>
                  <a:cubicBezTo>
                    <a:pt x="653" y="400"/>
                    <a:pt x="653" y="400"/>
                    <a:pt x="654" y="399"/>
                  </a:cubicBezTo>
                  <a:cubicBezTo>
                    <a:pt x="654" y="399"/>
                    <a:pt x="654" y="399"/>
                    <a:pt x="655" y="399"/>
                  </a:cubicBezTo>
                  <a:cubicBezTo>
                    <a:pt x="655" y="398"/>
                    <a:pt x="655" y="398"/>
                    <a:pt x="655" y="398"/>
                  </a:cubicBezTo>
                  <a:cubicBezTo>
                    <a:pt x="655" y="398"/>
                    <a:pt x="655" y="398"/>
                    <a:pt x="656" y="398"/>
                  </a:cubicBezTo>
                  <a:cubicBezTo>
                    <a:pt x="656" y="397"/>
                    <a:pt x="656" y="397"/>
                    <a:pt x="657" y="397"/>
                  </a:cubicBezTo>
                  <a:cubicBezTo>
                    <a:pt x="657" y="396"/>
                    <a:pt x="657" y="396"/>
                    <a:pt x="658" y="396"/>
                  </a:cubicBezTo>
                  <a:cubicBezTo>
                    <a:pt x="658" y="396"/>
                    <a:pt x="658" y="395"/>
                    <a:pt x="659" y="395"/>
                  </a:cubicBezTo>
                  <a:cubicBezTo>
                    <a:pt x="659" y="394"/>
                    <a:pt x="660" y="393"/>
                    <a:pt x="660" y="393"/>
                  </a:cubicBezTo>
                  <a:cubicBezTo>
                    <a:pt x="661" y="392"/>
                    <a:pt x="662" y="391"/>
                    <a:pt x="662" y="390"/>
                  </a:cubicBezTo>
                  <a:cubicBezTo>
                    <a:pt x="662" y="389"/>
                    <a:pt x="662" y="389"/>
                    <a:pt x="661" y="388"/>
                  </a:cubicBezTo>
                  <a:cubicBezTo>
                    <a:pt x="661" y="388"/>
                    <a:pt x="660" y="388"/>
                    <a:pt x="660" y="388"/>
                  </a:cubicBezTo>
                  <a:cubicBezTo>
                    <a:pt x="660" y="388"/>
                    <a:pt x="660" y="388"/>
                    <a:pt x="661" y="387"/>
                  </a:cubicBezTo>
                  <a:cubicBezTo>
                    <a:pt x="662" y="387"/>
                    <a:pt x="663" y="386"/>
                    <a:pt x="663" y="384"/>
                  </a:cubicBezTo>
                  <a:cubicBezTo>
                    <a:pt x="663" y="383"/>
                    <a:pt x="663" y="383"/>
                    <a:pt x="663" y="383"/>
                  </a:cubicBezTo>
                  <a:cubicBezTo>
                    <a:pt x="662" y="382"/>
                    <a:pt x="662" y="382"/>
                    <a:pt x="662" y="382"/>
                  </a:cubicBezTo>
                  <a:cubicBezTo>
                    <a:pt x="662" y="382"/>
                    <a:pt x="662" y="382"/>
                    <a:pt x="662" y="382"/>
                  </a:cubicBezTo>
                  <a:cubicBezTo>
                    <a:pt x="661" y="382"/>
                    <a:pt x="660" y="383"/>
                    <a:pt x="659" y="383"/>
                  </a:cubicBezTo>
                  <a:cubicBezTo>
                    <a:pt x="659" y="383"/>
                    <a:pt x="659" y="384"/>
                    <a:pt x="659" y="384"/>
                  </a:cubicBezTo>
                  <a:cubicBezTo>
                    <a:pt x="659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9" y="384"/>
                    <a:pt x="659" y="383"/>
                  </a:cubicBezTo>
                  <a:cubicBezTo>
                    <a:pt x="659" y="383"/>
                    <a:pt x="660" y="383"/>
                    <a:pt x="660" y="382"/>
                  </a:cubicBezTo>
                  <a:cubicBezTo>
                    <a:pt x="660" y="382"/>
                    <a:pt x="660" y="382"/>
                    <a:pt x="660" y="382"/>
                  </a:cubicBezTo>
                  <a:cubicBezTo>
                    <a:pt x="660" y="382"/>
                    <a:pt x="660" y="382"/>
                    <a:pt x="661" y="382"/>
                  </a:cubicBezTo>
                  <a:cubicBezTo>
                    <a:pt x="661" y="382"/>
                    <a:pt x="661" y="382"/>
                    <a:pt x="661" y="382"/>
                  </a:cubicBezTo>
                  <a:cubicBezTo>
                    <a:pt x="663" y="382"/>
                    <a:pt x="663" y="381"/>
                    <a:pt x="664" y="381"/>
                  </a:cubicBezTo>
                  <a:cubicBezTo>
                    <a:pt x="664" y="380"/>
                    <a:pt x="664" y="379"/>
                    <a:pt x="664" y="378"/>
                  </a:cubicBezTo>
                  <a:cubicBezTo>
                    <a:pt x="663" y="377"/>
                    <a:pt x="663" y="377"/>
                    <a:pt x="662" y="377"/>
                  </a:cubicBezTo>
                  <a:cubicBezTo>
                    <a:pt x="662" y="377"/>
                    <a:pt x="662" y="377"/>
                    <a:pt x="662" y="377"/>
                  </a:cubicBezTo>
                  <a:cubicBezTo>
                    <a:pt x="661" y="377"/>
                    <a:pt x="661" y="377"/>
                    <a:pt x="660" y="377"/>
                  </a:cubicBezTo>
                  <a:cubicBezTo>
                    <a:pt x="660" y="377"/>
                    <a:pt x="660" y="377"/>
                    <a:pt x="659" y="377"/>
                  </a:cubicBezTo>
                  <a:cubicBezTo>
                    <a:pt x="659" y="377"/>
                    <a:pt x="659" y="377"/>
                    <a:pt x="659" y="377"/>
                  </a:cubicBezTo>
                  <a:cubicBezTo>
                    <a:pt x="659" y="377"/>
                    <a:pt x="659" y="377"/>
                    <a:pt x="659" y="377"/>
                  </a:cubicBezTo>
                  <a:cubicBezTo>
                    <a:pt x="659" y="376"/>
                    <a:pt x="659" y="376"/>
                    <a:pt x="659" y="376"/>
                  </a:cubicBezTo>
                  <a:cubicBezTo>
                    <a:pt x="659" y="375"/>
                    <a:pt x="660" y="375"/>
                    <a:pt x="660" y="375"/>
                  </a:cubicBezTo>
                  <a:cubicBezTo>
                    <a:pt x="662" y="374"/>
                    <a:pt x="665" y="373"/>
                    <a:pt x="664" y="369"/>
                  </a:cubicBezTo>
                  <a:cubicBezTo>
                    <a:pt x="663" y="369"/>
                    <a:pt x="663" y="367"/>
                    <a:pt x="660" y="367"/>
                  </a:cubicBezTo>
                  <a:cubicBezTo>
                    <a:pt x="660" y="367"/>
                    <a:pt x="660" y="367"/>
                    <a:pt x="659" y="367"/>
                  </a:cubicBezTo>
                  <a:cubicBezTo>
                    <a:pt x="659" y="367"/>
                    <a:pt x="659" y="367"/>
                    <a:pt x="659" y="367"/>
                  </a:cubicBezTo>
                  <a:cubicBezTo>
                    <a:pt x="657" y="367"/>
                    <a:pt x="656" y="367"/>
                    <a:pt x="656" y="368"/>
                  </a:cubicBezTo>
                  <a:cubicBezTo>
                    <a:pt x="656" y="368"/>
                    <a:pt x="656" y="368"/>
                    <a:pt x="655" y="368"/>
                  </a:cubicBezTo>
                  <a:cubicBezTo>
                    <a:pt x="655" y="368"/>
                    <a:pt x="655" y="368"/>
                    <a:pt x="655" y="368"/>
                  </a:cubicBezTo>
                  <a:cubicBezTo>
                    <a:pt x="656" y="367"/>
                    <a:pt x="656" y="366"/>
                    <a:pt x="656" y="366"/>
                  </a:cubicBezTo>
                  <a:cubicBezTo>
                    <a:pt x="655" y="365"/>
                    <a:pt x="654" y="365"/>
                    <a:pt x="653" y="365"/>
                  </a:cubicBezTo>
                  <a:cubicBezTo>
                    <a:pt x="653" y="365"/>
                    <a:pt x="652" y="365"/>
                    <a:pt x="652" y="365"/>
                  </a:cubicBezTo>
                  <a:cubicBezTo>
                    <a:pt x="654" y="364"/>
                    <a:pt x="654" y="364"/>
                    <a:pt x="654" y="364"/>
                  </a:cubicBezTo>
                  <a:cubicBezTo>
                    <a:pt x="654" y="364"/>
                    <a:pt x="654" y="364"/>
                    <a:pt x="654" y="364"/>
                  </a:cubicBezTo>
                  <a:cubicBezTo>
                    <a:pt x="654" y="363"/>
                    <a:pt x="654" y="362"/>
                    <a:pt x="654" y="362"/>
                  </a:cubicBezTo>
                  <a:cubicBezTo>
                    <a:pt x="654" y="361"/>
                    <a:pt x="653" y="361"/>
                    <a:pt x="652" y="360"/>
                  </a:cubicBezTo>
                  <a:cubicBezTo>
                    <a:pt x="652" y="360"/>
                    <a:pt x="652" y="360"/>
                    <a:pt x="652" y="360"/>
                  </a:cubicBezTo>
                  <a:cubicBezTo>
                    <a:pt x="652" y="359"/>
                    <a:pt x="652" y="359"/>
                    <a:pt x="652" y="359"/>
                  </a:cubicBezTo>
                  <a:cubicBezTo>
                    <a:pt x="651" y="359"/>
                    <a:pt x="651" y="359"/>
                    <a:pt x="651" y="359"/>
                  </a:cubicBezTo>
                  <a:cubicBezTo>
                    <a:pt x="651" y="359"/>
                    <a:pt x="651" y="359"/>
                    <a:pt x="651" y="359"/>
                  </a:cubicBezTo>
                  <a:cubicBezTo>
                    <a:pt x="651" y="358"/>
                    <a:pt x="651" y="358"/>
                    <a:pt x="651" y="358"/>
                  </a:cubicBezTo>
                  <a:cubicBezTo>
                    <a:pt x="651" y="358"/>
                    <a:pt x="652" y="358"/>
                    <a:pt x="652" y="357"/>
                  </a:cubicBezTo>
                  <a:cubicBezTo>
                    <a:pt x="653" y="357"/>
                    <a:pt x="654" y="357"/>
                    <a:pt x="654" y="357"/>
                  </a:cubicBezTo>
                  <a:cubicBezTo>
                    <a:pt x="655" y="356"/>
                    <a:pt x="655" y="355"/>
                    <a:pt x="656" y="355"/>
                  </a:cubicBezTo>
                  <a:cubicBezTo>
                    <a:pt x="656" y="354"/>
                    <a:pt x="656" y="354"/>
                    <a:pt x="656" y="354"/>
                  </a:cubicBezTo>
                  <a:cubicBezTo>
                    <a:pt x="656" y="354"/>
                    <a:pt x="657" y="354"/>
                    <a:pt x="657" y="354"/>
                  </a:cubicBezTo>
                  <a:cubicBezTo>
                    <a:pt x="658" y="354"/>
                    <a:pt x="658" y="354"/>
                    <a:pt x="659" y="353"/>
                  </a:cubicBezTo>
                  <a:cubicBezTo>
                    <a:pt x="659" y="353"/>
                    <a:pt x="659" y="353"/>
                    <a:pt x="659" y="353"/>
                  </a:cubicBezTo>
                  <a:cubicBezTo>
                    <a:pt x="660" y="352"/>
                    <a:pt x="660" y="352"/>
                    <a:pt x="660" y="352"/>
                  </a:cubicBezTo>
                  <a:cubicBezTo>
                    <a:pt x="660" y="352"/>
                    <a:pt x="660" y="352"/>
                    <a:pt x="660" y="352"/>
                  </a:cubicBezTo>
                  <a:cubicBezTo>
                    <a:pt x="661" y="351"/>
                    <a:pt x="662" y="350"/>
                    <a:pt x="661" y="349"/>
                  </a:cubicBezTo>
                  <a:cubicBezTo>
                    <a:pt x="662" y="349"/>
                    <a:pt x="662" y="349"/>
                    <a:pt x="662" y="349"/>
                  </a:cubicBezTo>
                  <a:cubicBezTo>
                    <a:pt x="664" y="349"/>
                    <a:pt x="664" y="348"/>
                    <a:pt x="665" y="347"/>
                  </a:cubicBezTo>
                  <a:cubicBezTo>
                    <a:pt x="665" y="347"/>
                    <a:pt x="665" y="347"/>
                    <a:pt x="665" y="347"/>
                  </a:cubicBezTo>
                  <a:cubicBezTo>
                    <a:pt x="665" y="347"/>
                    <a:pt x="666" y="346"/>
                    <a:pt x="666" y="346"/>
                  </a:cubicBezTo>
                  <a:cubicBezTo>
                    <a:pt x="666" y="346"/>
                    <a:pt x="667" y="344"/>
                    <a:pt x="666" y="344"/>
                  </a:cubicBezTo>
                  <a:cubicBezTo>
                    <a:pt x="666" y="343"/>
                    <a:pt x="666" y="343"/>
                    <a:pt x="665" y="343"/>
                  </a:cubicBezTo>
                  <a:cubicBezTo>
                    <a:pt x="665" y="342"/>
                    <a:pt x="665" y="342"/>
                    <a:pt x="665" y="342"/>
                  </a:cubicBezTo>
                  <a:cubicBezTo>
                    <a:pt x="664" y="342"/>
                    <a:pt x="664" y="343"/>
                    <a:pt x="663" y="343"/>
                  </a:cubicBezTo>
                  <a:cubicBezTo>
                    <a:pt x="663" y="343"/>
                    <a:pt x="663" y="343"/>
                    <a:pt x="663" y="343"/>
                  </a:cubicBezTo>
                  <a:cubicBezTo>
                    <a:pt x="663" y="343"/>
                    <a:pt x="663" y="342"/>
                    <a:pt x="662" y="342"/>
                  </a:cubicBezTo>
                  <a:cubicBezTo>
                    <a:pt x="663" y="342"/>
                    <a:pt x="663" y="342"/>
                    <a:pt x="663" y="342"/>
                  </a:cubicBezTo>
                  <a:cubicBezTo>
                    <a:pt x="663" y="341"/>
                    <a:pt x="663" y="341"/>
                    <a:pt x="663" y="341"/>
                  </a:cubicBezTo>
                  <a:cubicBezTo>
                    <a:pt x="663" y="341"/>
                    <a:pt x="663" y="341"/>
                    <a:pt x="663" y="341"/>
                  </a:cubicBezTo>
                  <a:cubicBezTo>
                    <a:pt x="664" y="341"/>
                    <a:pt x="664" y="341"/>
                    <a:pt x="664" y="341"/>
                  </a:cubicBezTo>
                  <a:cubicBezTo>
                    <a:pt x="664" y="341"/>
                    <a:pt x="664" y="341"/>
                    <a:pt x="664" y="341"/>
                  </a:cubicBezTo>
                  <a:cubicBezTo>
                    <a:pt x="665" y="341"/>
                    <a:pt x="665" y="341"/>
                    <a:pt x="665" y="340"/>
                  </a:cubicBezTo>
                  <a:cubicBezTo>
                    <a:pt x="666" y="340"/>
                    <a:pt x="666" y="340"/>
                    <a:pt x="666" y="340"/>
                  </a:cubicBezTo>
                  <a:cubicBezTo>
                    <a:pt x="666" y="340"/>
                    <a:pt x="666" y="340"/>
                    <a:pt x="667" y="340"/>
                  </a:cubicBezTo>
                  <a:cubicBezTo>
                    <a:pt x="667" y="340"/>
                    <a:pt x="668" y="339"/>
                    <a:pt x="669" y="338"/>
                  </a:cubicBezTo>
                  <a:cubicBezTo>
                    <a:pt x="669" y="338"/>
                    <a:pt x="669" y="337"/>
                    <a:pt x="669" y="336"/>
                  </a:cubicBezTo>
                  <a:cubicBezTo>
                    <a:pt x="669" y="336"/>
                    <a:pt x="669" y="335"/>
                    <a:pt x="669" y="335"/>
                  </a:cubicBezTo>
                  <a:cubicBezTo>
                    <a:pt x="669" y="334"/>
                    <a:pt x="669" y="334"/>
                    <a:pt x="669" y="334"/>
                  </a:cubicBezTo>
                  <a:cubicBezTo>
                    <a:pt x="669" y="333"/>
                    <a:pt x="669" y="333"/>
                    <a:pt x="669" y="333"/>
                  </a:cubicBezTo>
                  <a:cubicBezTo>
                    <a:pt x="669" y="334"/>
                    <a:pt x="669" y="334"/>
                    <a:pt x="669" y="334"/>
                  </a:cubicBezTo>
                  <a:cubicBezTo>
                    <a:pt x="670" y="334"/>
                    <a:pt x="670" y="334"/>
                    <a:pt x="670" y="334"/>
                  </a:cubicBezTo>
                  <a:cubicBezTo>
                    <a:pt x="670" y="334"/>
                    <a:pt x="670" y="334"/>
                    <a:pt x="670" y="334"/>
                  </a:cubicBezTo>
                  <a:cubicBezTo>
                    <a:pt x="671" y="334"/>
                    <a:pt x="672" y="334"/>
                    <a:pt x="672" y="332"/>
                  </a:cubicBezTo>
                  <a:cubicBezTo>
                    <a:pt x="672" y="331"/>
                    <a:pt x="672" y="331"/>
                    <a:pt x="672" y="331"/>
                  </a:cubicBezTo>
                  <a:cubicBezTo>
                    <a:pt x="672" y="331"/>
                    <a:pt x="672" y="330"/>
                    <a:pt x="672" y="330"/>
                  </a:cubicBezTo>
                  <a:cubicBezTo>
                    <a:pt x="672" y="330"/>
                    <a:pt x="672" y="330"/>
                    <a:pt x="672" y="330"/>
                  </a:cubicBezTo>
                  <a:cubicBezTo>
                    <a:pt x="673" y="329"/>
                    <a:pt x="673" y="328"/>
                    <a:pt x="673" y="327"/>
                  </a:cubicBezTo>
                  <a:cubicBezTo>
                    <a:pt x="673" y="327"/>
                    <a:pt x="673" y="327"/>
                    <a:pt x="673" y="327"/>
                  </a:cubicBezTo>
                  <a:cubicBezTo>
                    <a:pt x="673" y="326"/>
                    <a:pt x="673" y="326"/>
                    <a:pt x="673" y="326"/>
                  </a:cubicBezTo>
                  <a:cubicBezTo>
                    <a:pt x="673" y="326"/>
                    <a:pt x="673" y="326"/>
                    <a:pt x="673" y="326"/>
                  </a:cubicBezTo>
                  <a:cubicBezTo>
                    <a:pt x="673" y="325"/>
                    <a:pt x="673" y="325"/>
                    <a:pt x="673" y="324"/>
                  </a:cubicBezTo>
                  <a:cubicBezTo>
                    <a:pt x="673" y="324"/>
                    <a:pt x="674" y="323"/>
                    <a:pt x="673" y="322"/>
                  </a:cubicBezTo>
                  <a:cubicBezTo>
                    <a:pt x="673" y="320"/>
                    <a:pt x="671" y="319"/>
                    <a:pt x="669" y="319"/>
                  </a:cubicBezTo>
                  <a:cubicBezTo>
                    <a:pt x="670" y="319"/>
                    <a:pt x="670" y="317"/>
                    <a:pt x="670" y="316"/>
                  </a:cubicBezTo>
                  <a:cubicBezTo>
                    <a:pt x="670" y="315"/>
                    <a:pt x="669" y="314"/>
                    <a:pt x="668" y="313"/>
                  </a:cubicBezTo>
                  <a:cubicBezTo>
                    <a:pt x="668" y="313"/>
                    <a:pt x="668" y="313"/>
                    <a:pt x="669" y="313"/>
                  </a:cubicBezTo>
                  <a:cubicBezTo>
                    <a:pt x="670" y="313"/>
                    <a:pt x="670" y="313"/>
                    <a:pt x="670" y="313"/>
                  </a:cubicBezTo>
                  <a:cubicBezTo>
                    <a:pt x="670" y="313"/>
                    <a:pt x="671" y="313"/>
                    <a:pt x="672" y="313"/>
                  </a:cubicBezTo>
                  <a:cubicBezTo>
                    <a:pt x="673" y="312"/>
                    <a:pt x="674" y="311"/>
                    <a:pt x="674" y="310"/>
                  </a:cubicBezTo>
                  <a:cubicBezTo>
                    <a:pt x="674" y="309"/>
                    <a:pt x="673" y="309"/>
                    <a:pt x="672" y="308"/>
                  </a:cubicBezTo>
                  <a:cubicBezTo>
                    <a:pt x="672" y="308"/>
                    <a:pt x="672" y="308"/>
                    <a:pt x="672" y="308"/>
                  </a:cubicBezTo>
                  <a:cubicBezTo>
                    <a:pt x="673" y="308"/>
                    <a:pt x="673" y="307"/>
                    <a:pt x="673" y="307"/>
                  </a:cubicBezTo>
                  <a:cubicBezTo>
                    <a:pt x="673" y="306"/>
                    <a:pt x="672" y="305"/>
                    <a:pt x="671" y="305"/>
                  </a:cubicBezTo>
                  <a:cubicBezTo>
                    <a:pt x="671" y="305"/>
                    <a:pt x="670" y="305"/>
                    <a:pt x="670" y="305"/>
                  </a:cubicBezTo>
                  <a:cubicBezTo>
                    <a:pt x="669" y="305"/>
                    <a:pt x="669" y="305"/>
                    <a:pt x="669" y="305"/>
                  </a:cubicBezTo>
                  <a:cubicBezTo>
                    <a:pt x="669" y="305"/>
                    <a:pt x="669" y="305"/>
                    <a:pt x="669" y="305"/>
                  </a:cubicBezTo>
                  <a:cubicBezTo>
                    <a:pt x="669" y="305"/>
                    <a:pt x="669" y="305"/>
                    <a:pt x="668" y="305"/>
                  </a:cubicBezTo>
                  <a:cubicBezTo>
                    <a:pt x="668" y="305"/>
                    <a:pt x="668" y="305"/>
                    <a:pt x="668" y="304"/>
                  </a:cubicBezTo>
                  <a:cubicBezTo>
                    <a:pt x="668" y="304"/>
                    <a:pt x="668" y="304"/>
                    <a:pt x="668" y="303"/>
                  </a:cubicBezTo>
                  <a:cubicBezTo>
                    <a:pt x="668" y="303"/>
                    <a:pt x="668" y="302"/>
                    <a:pt x="668" y="301"/>
                  </a:cubicBezTo>
                  <a:cubicBezTo>
                    <a:pt x="667" y="300"/>
                    <a:pt x="666" y="300"/>
                    <a:pt x="665" y="301"/>
                  </a:cubicBezTo>
                  <a:cubicBezTo>
                    <a:pt x="665" y="301"/>
                    <a:pt x="665" y="301"/>
                    <a:pt x="665" y="301"/>
                  </a:cubicBezTo>
                  <a:cubicBezTo>
                    <a:pt x="665" y="301"/>
                    <a:pt x="665" y="301"/>
                    <a:pt x="665" y="301"/>
                  </a:cubicBezTo>
                  <a:cubicBezTo>
                    <a:pt x="665" y="300"/>
                    <a:pt x="665" y="300"/>
                    <a:pt x="664" y="300"/>
                  </a:cubicBezTo>
                  <a:cubicBezTo>
                    <a:pt x="663" y="301"/>
                    <a:pt x="663" y="301"/>
                    <a:pt x="663" y="301"/>
                  </a:cubicBezTo>
                  <a:cubicBezTo>
                    <a:pt x="664" y="300"/>
                    <a:pt x="664" y="300"/>
                    <a:pt x="664" y="300"/>
                  </a:cubicBezTo>
                  <a:cubicBezTo>
                    <a:pt x="664" y="299"/>
                    <a:pt x="664" y="299"/>
                    <a:pt x="663" y="299"/>
                  </a:cubicBezTo>
                  <a:cubicBezTo>
                    <a:pt x="663" y="298"/>
                    <a:pt x="663" y="298"/>
                    <a:pt x="663" y="298"/>
                  </a:cubicBezTo>
                  <a:cubicBezTo>
                    <a:pt x="662" y="298"/>
                    <a:pt x="662" y="298"/>
                    <a:pt x="662" y="298"/>
                  </a:cubicBezTo>
                  <a:cubicBezTo>
                    <a:pt x="661" y="298"/>
                    <a:pt x="661" y="299"/>
                    <a:pt x="661" y="299"/>
                  </a:cubicBezTo>
                  <a:cubicBezTo>
                    <a:pt x="661" y="299"/>
                    <a:pt x="660" y="299"/>
                    <a:pt x="661" y="299"/>
                  </a:cubicBezTo>
                  <a:cubicBezTo>
                    <a:pt x="660" y="299"/>
                    <a:pt x="660" y="299"/>
                    <a:pt x="660" y="299"/>
                  </a:cubicBezTo>
                  <a:cubicBezTo>
                    <a:pt x="660" y="299"/>
                    <a:pt x="660" y="299"/>
                    <a:pt x="659" y="299"/>
                  </a:cubicBezTo>
                  <a:cubicBezTo>
                    <a:pt x="659" y="299"/>
                    <a:pt x="659" y="299"/>
                    <a:pt x="660" y="299"/>
                  </a:cubicBezTo>
                  <a:cubicBezTo>
                    <a:pt x="660" y="299"/>
                    <a:pt x="660" y="298"/>
                    <a:pt x="661" y="298"/>
                  </a:cubicBezTo>
                  <a:cubicBezTo>
                    <a:pt x="661" y="297"/>
                    <a:pt x="661" y="297"/>
                    <a:pt x="661" y="297"/>
                  </a:cubicBezTo>
                  <a:cubicBezTo>
                    <a:pt x="661" y="296"/>
                    <a:pt x="661" y="296"/>
                    <a:pt x="661" y="296"/>
                  </a:cubicBezTo>
                  <a:cubicBezTo>
                    <a:pt x="661" y="296"/>
                    <a:pt x="661" y="296"/>
                    <a:pt x="662" y="296"/>
                  </a:cubicBezTo>
                  <a:cubicBezTo>
                    <a:pt x="662" y="296"/>
                    <a:pt x="663" y="295"/>
                    <a:pt x="663" y="294"/>
                  </a:cubicBezTo>
                  <a:cubicBezTo>
                    <a:pt x="663" y="294"/>
                    <a:pt x="663" y="293"/>
                    <a:pt x="662" y="293"/>
                  </a:cubicBezTo>
                  <a:cubicBezTo>
                    <a:pt x="662" y="292"/>
                    <a:pt x="660" y="292"/>
                    <a:pt x="659" y="292"/>
                  </a:cubicBezTo>
                  <a:cubicBezTo>
                    <a:pt x="659" y="292"/>
                    <a:pt x="659" y="292"/>
                    <a:pt x="659" y="292"/>
                  </a:cubicBezTo>
                  <a:cubicBezTo>
                    <a:pt x="659" y="292"/>
                    <a:pt x="659" y="292"/>
                    <a:pt x="659" y="292"/>
                  </a:cubicBezTo>
                  <a:cubicBezTo>
                    <a:pt x="659" y="292"/>
                    <a:pt x="659" y="292"/>
                    <a:pt x="659" y="292"/>
                  </a:cubicBezTo>
                  <a:cubicBezTo>
                    <a:pt x="659" y="291"/>
                    <a:pt x="659" y="291"/>
                    <a:pt x="659" y="291"/>
                  </a:cubicBezTo>
                  <a:cubicBezTo>
                    <a:pt x="657" y="291"/>
                    <a:pt x="657" y="291"/>
                    <a:pt x="657" y="291"/>
                  </a:cubicBezTo>
                  <a:cubicBezTo>
                    <a:pt x="657" y="291"/>
                    <a:pt x="657" y="291"/>
                    <a:pt x="657" y="291"/>
                  </a:cubicBezTo>
                  <a:cubicBezTo>
                    <a:pt x="658" y="291"/>
                    <a:pt x="658" y="291"/>
                    <a:pt x="658" y="291"/>
                  </a:cubicBezTo>
                  <a:cubicBezTo>
                    <a:pt x="658" y="290"/>
                    <a:pt x="658" y="290"/>
                    <a:pt x="658" y="290"/>
                  </a:cubicBezTo>
                  <a:cubicBezTo>
                    <a:pt x="658" y="290"/>
                    <a:pt x="658" y="290"/>
                    <a:pt x="658" y="290"/>
                  </a:cubicBezTo>
                  <a:cubicBezTo>
                    <a:pt x="658" y="289"/>
                    <a:pt x="658" y="288"/>
                    <a:pt x="657" y="288"/>
                  </a:cubicBezTo>
                  <a:cubicBezTo>
                    <a:pt x="657" y="288"/>
                    <a:pt x="657" y="288"/>
                    <a:pt x="657" y="288"/>
                  </a:cubicBezTo>
                  <a:cubicBezTo>
                    <a:pt x="657" y="288"/>
                    <a:pt x="657" y="287"/>
                    <a:pt x="657" y="287"/>
                  </a:cubicBezTo>
                  <a:cubicBezTo>
                    <a:pt x="657" y="287"/>
                    <a:pt x="657" y="287"/>
                    <a:pt x="657" y="287"/>
                  </a:cubicBezTo>
                  <a:cubicBezTo>
                    <a:pt x="657" y="286"/>
                    <a:pt x="657" y="286"/>
                    <a:pt x="657" y="286"/>
                  </a:cubicBezTo>
                  <a:cubicBezTo>
                    <a:pt x="659" y="286"/>
                    <a:pt x="660" y="286"/>
                    <a:pt x="660" y="285"/>
                  </a:cubicBezTo>
                  <a:cubicBezTo>
                    <a:pt x="660" y="284"/>
                    <a:pt x="660" y="284"/>
                    <a:pt x="661" y="283"/>
                  </a:cubicBezTo>
                  <a:cubicBezTo>
                    <a:pt x="661" y="283"/>
                    <a:pt x="661" y="282"/>
                    <a:pt x="661" y="282"/>
                  </a:cubicBezTo>
                  <a:cubicBezTo>
                    <a:pt x="661" y="282"/>
                    <a:pt x="662" y="281"/>
                    <a:pt x="662" y="281"/>
                  </a:cubicBezTo>
                  <a:cubicBezTo>
                    <a:pt x="663" y="281"/>
                    <a:pt x="663" y="281"/>
                    <a:pt x="663" y="281"/>
                  </a:cubicBezTo>
                  <a:cubicBezTo>
                    <a:pt x="663" y="281"/>
                    <a:pt x="664" y="281"/>
                    <a:pt x="664" y="280"/>
                  </a:cubicBezTo>
                  <a:cubicBezTo>
                    <a:pt x="666" y="280"/>
                    <a:pt x="666" y="279"/>
                    <a:pt x="667" y="278"/>
                  </a:cubicBezTo>
                  <a:cubicBezTo>
                    <a:pt x="667" y="277"/>
                    <a:pt x="666" y="276"/>
                    <a:pt x="666" y="276"/>
                  </a:cubicBezTo>
                  <a:cubicBezTo>
                    <a:pt x="665" y="275"/>
                    <a:pt x="665" y="275"/>
                    <a:pt x="665" y="275"/>
                  </a:cubicBezTo>
                  <a:cubicBezTo>
                    <a:pt x="665" y="275"/>
                    <a:pt x="665" y="275"/>
                    <a:pt x="665" y="275"/>
                  </a:cubicBezTo>
                  <a:cubicBezTo>
                    <a:pt x="665" y="275"/>
                    <a:pt x="665" y="275"/>
                    <a:pt x="665" y="275"/>
                  </a:cubicBezTo>
                  <a:cubicBezTo>
                    <a:pt x="665" y="274"/>
                    <a:pt x="665" y="274"/>
                    <a:pt x="665" y="273"/>
                  </a:cubicBezTo>
                  <a:cubicBezTo>
                    <a:pt x="665" y="273"/>
                    <a:pt x="665" y="273"/>
                    <a:pt x="665" y="273"/>
                  </a:cubicBezTo>
                  <a:cubicBezTo>
                    <a:pt x="666" y="273"/>
                    <a:pt x="667" y="272"/>
                    <a:pt x="668" y="271"/>
                  </a:cubicBezTo>
                  <a:cubicBezTo>
                    <a:pt x="668" y="270"/>
                    <a:pt x="669" y="269"/>
                    <a:pt x="669" y="268"/>
                  </a:cubicBezTo>
                  <a:cubicBezTo>
                    <a:pt x="669" y="267"/>
                    <a:pt x="669" y="266"/>
                    <a:pt x="668" y="266"/>
                  </a:cubicBezTo>
                  <a:cubicBezTo>
                    <a:pt x="668" y="265"/>
                    <a:pt x="668" y="265"/>
                    <a:pt x="668" y="265"/>
                  </a:cubicBezTo>
                  <a:cubicBezTo>
                    <a:pt x="667" y="265"/>
                    <a:pt x="667" y="265"/>
                    <a:pt x="667" y="265"/>
                  </a:cubicBezTo>
                  <a:cubicBezTo>
                    <a:pt x="668" y="265"/>
                    <a:pt x="668" y="265"/>
                    <a:pt x="668" y="265"/>
                  </a:cubicBezTo>
                  <a:cubicBezTo>
                    <a:pt x="668" y="265"/>
                    <a:pt x="668" y="265"/>
                    <a:pt x="668" y="265"/>
                  </a:cubicBezTo>
                  <a:cubicBezTo>
                    <a:pt x="668" y="265"/>
                    <a:pt x="669" y="264"/>
                    <a:pt x="669" y="264"/>
                  </a:cubicBezTo>
                  <a:cubicBezTo>
                    <a:pt x="669" y="264"/>
                    <a:pt x="670" y="264"/>
                    <a:pt x="670" y="263"/>
                  </a:cubicBezTo>
                  <a:cubicBezTo>
                    <a:pt x="671" y="261"/>
                    <a:pt x="671" y="261"/>
                    <a:pt x="671" y="261"/>
                  </a:cubicBezTo>
                  <a:cubicBezTo>
                    <a:pt x="670" y="261"/>
                    <a:pt x="670" y="261"/>
                    <a:pt x="670" y="261"/>
                  </a:cubicBezTo>
                  <a:cubicBezTo>
                    <a:pt x="671" y="260"/>
                    <a:pt x="671" y="259"/>
                    <a:pt x="671" y="259"/>
                  </a:cubicBezTo>
                  <a:cubicBezTo>
                    <a:pt x="671" y="259"/>
                    <a:pt x="671" y="258"/>
                    <a:pt x="671" y="258"/>
                  </a:cubicBezTo>
                  <a:cubicBezTo>
                    <a:pt x="671" y="258"/>
                    <a:pt x="671" y="258"/>
                    <a:pt x="671" y="258"/>
                  </a:cubicBezTo>
                  <a:cubicBezTo>
                    <a:pt x="671" y="257"/>
                    <a:pt x="671" y="256"/>
                    <a:pt x="670" y="256"/>
                  </a:cubicBezTo>
                  <a:cubicBezTo>
                    <a:pt x="670" y="255"/>
                    <a:pt x="670" y="255"/>
                    <a:pt x="670" y="255"/>
                  </a:cubicBezTo>
                  <a:cubicBezTo>
                    <a:pt x="671" y="255"/>
                    <a:pt x="671" y="254"/>
                    <a:pt x="672" y="253"/>
                  </a:cubicBezTo>
                  <a:cubicBezTo>
                    <a:pt x="672" y="252"/>
                    <a:pt x="671" y="252"/>
                    <a:pt x="671" y="251"/>
                  </a:cubicBezTo>
                  <a:cubicBezTo>
                    <a:pt x="671" y="251"/>
                    <a:pt x="671" y="251"/>
                    <a:pt x="671" y="250"/>
                  </a:cubicBezTo>
                  <a:cubicBezTo>
                    <a:pt x="671" y="250"/>
                    <a:pt x="671" y="250"/>
                    <a:pt x="671" y="250"/>
                  </a:cubicBezTo>
                  <a:cubicBezTo>
                    <a:pt x="671" y="250"/>
                    <a:pt x="672" y="249"/>
                    <a:pt x="672" y="248"/>
                  </a:cubicBezTo>
                  <a:cubicBezTo>
                    <a:pt x="672" y="248"/>
                    <a:pt x="672" y="247"/>
                    <a:pt x="671" y="246"/>
                  </a:cubicBezTo>
                  <a:cubicBezTo>
                    <a:pt x="671" y="246"/>
                    <a:pt x="671" y="246"/>
                    <a:pt x="671" y="246"/>
                  </a:cubicBezTo>
                  <a:cubicBezTo>
                    <a:pt x="671" y="246"/>
                    <a:pt x="672" y="246"/>
                    <a:pt x="672" y="246"/>
                  </a:cubicBezTo>
                  <a:cubicBezTo>
                    <a:pt x="673" y="246"/>
                    <a:pt x="674" y="245"/>
                    <a:pt x="674" y="244"/>
                  </a:cubicBezTo>
                  <a:cubicBezTo>
                    <a:pt x="674" y="243"/>
                    <a:pt x="673" y="243"/>
                    <a:pt x="673" y="243"/>
                  </a:cubicBezTo>
                  <a:cubicBezTo>
                    <a:pt x="673" y="242"/>
                    <a:pt x="673" y="242"/>
                    <a:pt x="673" y="242"/>
                  </a:cubicBezTo>
                  <a:cubicBezTo>
                    <a:pt x="673" y="240"/>
                    <a:pt x="672" y="239"/>
                    <a:pt x="671" y="238"/>
                  </a:cubicBezTo>
                  <a:cubicBezTo>
                    <a:pt x="671" y="238"/>
                    <a:pt x="669" y="238"/>
                    <a:pt x="669" y="239"/>
                  </a:cubicBezTo>
                  <a:cubicBezTo>
                    <a:pt x="668" y="239"/>
                    <a:pt x="668" y="239"/>
                    <a:pt x="668" y="240"/>
                  </a:cubicBezTo>
                  <a:cubicBezTo>
                    <a:pt x="668" y="240"/>
                    <a:pt x="668" y="240"/>
                    <a:pt x="667" y="241"/>
                  </a:cubicBezTo>
                  <a:cubicBezTo>
                    <a:pt x="667" y="241"/>
                    <a:pt x="667" y="241"/>
                    <a:pt x="667" y="241"/>
                  </a:cubicBezTo>
                  <a:cubicBezTo>
                    <a:pt x="666" y="241"/>
                    <a:pt x="665" y="241"/>
                    <a:pt x="665" y="242"/>
                  </a:cubicBezTo>
                  <a:cubicBezTo>
                    <a:pt x="665" y="242"/>
                    <a:pt x="664" y="243"/>
                    <a:pt x="664" y="243"/>
                  </a:cubicBezTo>
                  <a:cubicBezTo>
                    <a:pt x="664" y="243"/>
                    <a:pt x="664" y="243"/>
                    <a:pt x="664" y="243"/>
                  </a:cubicBezTo>
                  <a:cubicBezTo>
                    <a:pt x="663" y="243"/>
                    <a:pt x="663" y="243"/>
                    <a:pt x="663" y="243"/>
                  </a:cubicBezTo>
                  <a:cubicBezTo>
                    <a:pt x="662" y="243"/>
                    <a:pt x="662" y="244"/>
                    <a:pt x="662" y="244"/>
                  </a:cubicBezTo>
                  <a:cubicBezTo>
                    <a:pt x="662" y="244"/>
                    <a:pt x="661" y="245"/>
                    <a:pt x="661" y="245"/>
                  </a:cubicBezTo>
                  <a:cubicBezTo>
                    <a:pt x="661" y="245"/>
                    <a:pt x="661" y="245"/>
                    <a:pt x="660" y="245"/>
                  </a:cubicBezTo>
                  <a:cubicBezTo>
                    <a:pt x="660" y="246"/>
                    <a:pt x="659" y="246"/>
                    <a:pt x="659" y="247"/>
                  </a:cubicBezTo>
                  <a:cubicBezTo>
                    <a:pt x="659" y="247"/>
                    <a:pt x="659" y="248"/>
                    <a:pt x="659" y="248"/>
                  </a:cubicBezTo>
                  <a:cubicBezTo>
                    <a:pt x="659" y="248"/>
                    <a:pt x="659" y="248"/>
                    <a:pt x="659" y="248"/>
                  </a:cubicBezTo>
                  <a:cubicBezTo>
                    <a:pt x="659" y="248"/>
                    <a:pt x="658" y="248"/>
                    <a:pt x="657" y="249"/>
                  </a:cubicBezTo>
                  <a:cubicBezTo>
                    <a:pt x="657" y="249"/>
                    <a:pt x="657" y="249"/>
                    <a:pt x="657" y="249"/>
                  </a:cubicBezTo>
                  <a:cubicBezTo>
                    <a:pt x="657" y="249"/>
                    <a:pt x="657" y="249"/>
                    <a:pt x="657" y="249"/>
                  </a:cubicBezTo>
                  <a:cubicBezTo>
                    <a:pt x="656" y="249"/>
                    <a:pt x="656" y="250"/>
                    <a:pt x="656" y="250"/>
                  </a:cubicBezTo>
                  <a:cubicBezTo>
                    <a:pt x="655" y="250"/>
                    <a:pt x="655" y="250"/>
                    <a:pt x="655" y="250"/>
                  </a:cubicBezTo>
                  <a:cubicBezTo>
                    <a:pt x="655" y="250"/>
                    <a:pt x="655" y="251"/>
                    <a:pt x="655" y="251"/>
                  </a:cubicBezTo>
                  <a:cubicBezTo>
                    <a:pt x="654" y="251"/>
                    <a:pt x="654" y="252"/>
                    <a:pt x="654" y="252"/>
                  </a:cubicBezTo>
                  <a:cubicBezTo>
                    <a:pt x="654" y="252"/>
                    <a:pt x="654" y="253"/>
                    <a:pt x="654" y="253"/>
                  </a:cubicBezTo>
                  <a:cubicBezTo>
                    <a:pt x="653" y="253"/>
                    <a:pt x="653" y="253"/>
                    <a:pt x="652" y="253"/>
                  </a:cubicBezTo>
                  <a:cubicBezTo>
                    <a:pt x="652" y="253"/>
                    <a:pt x="652" y="253"/>
                    <a:pt x="651" y="254"/>
                  </a:cubicBezTo>
                  <a:cubicBezTo>
                    <a:pt x="651" y="254"/>
                    <a:pt x="650" y="254"/>
                    <a:pt x="650" y="255"/>
                  </a:cubicBezTo>
                  <a:cubicBezTo>
                    <a:pt x="651" y="255"/>
                    <a:pt x="651" y="255"/>
                    <a:pt x="651" y="255"/>
                  </a:cubicBezTo>
                  <a:cubicBezTo>
                    <a:pt x="650" y="255"/>
                    <a:pt x="650" y="255"/>
                    <a:pt x="650" y="255"/>
                  </a:cubicBezTo>
                  <a:cubicBezTo>
                    <a:pt x="650" y="255"/>
                    <a:pt x="650" y="254"/>
                    <a:pt x="649" y="254"/>
                  </a:cubicBezTo>
                  <a:cubicBezTo>
                    <a:pt x="649" y="254"/>
                    <a:pt x="649" y="254"/>
                    <a:pt x="649" y="254"/>
                  </a:cubicBezTo>
                  <a:cubicBezTo>
                    <a:pt x="648" y="254"/>
                    <a:pt x="648" y="254"/>
                    <a:pt x="648" y="254"/>
                  </a:cubicBezTo>
                  <a:cubicBezTo>
                    <a:pt x="647" y="255"/>
                    <a:pt x="647" y="255"/>
                    <a:pt x="647" y="255"/>
                  </a:cubicBezTo>
                  <a:cubicBezTo>
                    <a:pt x="646" y="255"/>
                    <a:pt x="646" y="255"/>
                    <a:pt x="646" y="255"/>
                  </a:cubicBezTo>
                  <a:cubicBezTo>
                    <a:pt x="646" y="255"/>
                    <a:pt x="646" y="255"/>
                    <a:pt x="646" y="255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4" y="256"/>
                    <a:pt x="644" y="256"/>
                    <a:pt x="644" y="256"/>
                  </a:cubicBezTo>
                  <a:cubicBezTo>
                    <a:pt x="644" y="256"/>
                    <a:pt x="644" y="256"/>
                    <a:pt x="643" y="256"/>
                  </a:cubicBezTo>
                  <a:cubicBezTo>
                    <a:pt x="643" y="256"/>
                    <a:pt x="643" y="256"/>
                    <a:pt x="643" y="256"/>
                  </a:cubicBezTo>
                  <a:cubicBezTo>
                    <a:pt x="643" y="256"/>
                    <a:pt x="642" y="257"/>
                    <a:pt x="642" y="257"/>
                  </a:cubicBezTo>
                  <a:cubicBezTo>
                    <a:pt x="641" y="257"/>
                    <a:pt x="641" y="258"/>
                    <a:pt x="640" y="258"/>
                  </a:cubicBezTo>
                  <a:cubicBezTo>
                    <a:pt x="640" y="258"/>
                    <a:pt x="640" y="257"/>
                    <a:pt x="640" y="257"/>
                  </a:cubicBezTo>
                  <a:cubicBezTo>
                    <a:pt x="640" y="257"/>
                    <a:pt x="640" y="256"/>
                    <a:pt x="640" y="256"/>
                  </a:cubicBezTo>
                  <a:cubicBezTo>
                    <a:pt x="639" y="255"/>
                    <a:pt x="639" y="255"/>
                    <a:pt x="639" y="255"/>
                  </a:cubicBezTo>
                  <a:cubicBezTo>
                    <a:pt x="639" y="255"/>
                    <a:pt x="639" y="254"/>
                    <a:pt x="638" y="254"/>
                  </a:cubicBezTo>
                  <a:cubicBezTo>
                    <a:pt x="638" y="254"/>
                    <a:pt x="638" y="254"/>
                    <a:pt x="638" y="254"/>
                  </a:cubicBezTo>
                  <a:cubicBezTo>
                    <a:pt x="638" y="253"/>
                    <a:pt x="638" y="253"/>
                    <a:pt x="638" y="253"/>
                  </a:cubicBezTo>
                  <a:cubicBezTo>
                    <a:pt x="638" y="252"/>
                    <a:pt x="637" y="251"/>
                    <a:pt x="635" y="251"/>
                  </a:cubicBezTo>
                  <a:cubicBezTo>
                    <a:pt x="635" y="251"/>
                    <a:pt x="634" y="251"/>
                    <a:pt x="633" y="251"/>
                  </a:cubicBezTo>
                  <a:cubicBezTo>
                    <a:pt x="633" y="251"/>
                    <a:pt x="633" y="251"/>
                    <a:pt x="633" y="250"/>
                  </a:cubicBezTo>
                  <a:cubicBezTo>
                    <a:pt x="633" y="250"/>
                    <a:pt x="634" y="250"/>
                    <a:pt x="634" y="250"/>
                  </a:cubicBezTo>
                  <a:cubicBezTo>
                    <a:pt x="634" y="250"/>
                    <a:pt x="634" y="249"/>
                    <a:pt x="634" y="249"/>
                  </a:cubicBezTo>
                  <a:cubicBezTo>
                    <a:pt x="634" y="249"/>
                    <a:pt x="634" y="249"/>
                    <a:pt x="634" y="249"/>
                  </a:cubicBezTo>
                  <a:cubicBezTo>
                    <a:pt x="634" y="249"/>
                    <a:pt x="635" y="249"/>
                    <a:pt x="635" y="249"/>
                  </a:cubicBezTo>
                  <a:cubicBezTo>
                    <a:pt x="635" y="249"/>
                    <a:pt x="635" y="249"/>
                    <a:pt x="635" y="249"/>
                  </a:cubicBezTo>
                  <a:cubicBezTo>
                    <a:pt x="636" y="249"/>
                    <a:pt x="636" y="249"/>
                    <a:pt x="637" y="248"/>
                  </a:cubicBezTo>
                  <a:cubicBezTo>
                    <a:pt x="638" y="248"/>
                    <a:pt x="638" y="248"/>
                    <a:pt x="638" y="247"/>
                  </a:cubicBezTo>
                  <a:cubicBezTo>
                    <a:pt x="638" y="246"/>
                    <a:pt x="638" y="246"/>
                    <a:pt x="638" y="245"/>
                  </a:cubicBezTo>
                  <a:cubicBezTo>
                    <a:pt x="638" y="245"/>
                    <a:pt x="639" y="244"/>
                    <a:pt x="639" y="244"/>
                  </a:cubicBezTo>
                  <a:cubicBezTo>
                    <a:pt x="639" y="243"/>
                    <a:pt x="640" y="243"/>
                    <a:pt x="640" y="243"/>
                  </a:cubicBezTo>
                  <a:cubicBezTo>
                    <a:pt x="641" y="242"/>
                    <a:pt x="641" y="242"/>
                    <a:pt x="641" y="242"/>
                  </a:cubicBezTo>
                  <a:cubicBezTo>
                    <a:pt x="641" y="242"/>
                    <a:pt x="641" y="241"/>
                    <a:pt x="641" y="240"/>
                  </a:cubicBezTo>
                  <a:cubicBezTo>
                    <a:pt x="641" y="240"/>
                    <a:pt x="641" y="240"/>
                    <a:pt x="641" y="239"/>
                  </a:cubicBezTo>
                  <a:cubicBezTo>
                    <a:pt x="642" y="239"/>
                    <a:pt x="643" y="239"/>
                    <a:pt x="643" y="238"/>
                  </a:cubicBezTo>
                  <a:cubicBezTo>
                    <a:pt x="642" y="237"/>
                    <a:pt x="642" y="237"/>
                    <a:pt x="642" y="237"/>
                  </a:cubicBezTo>
                  <a:cubicBezTo>
                    <a:pt x="643" y="238"/>
                    <a:pt x="643" y="238"/>
                    <a:pt x="643" y="238"/>
                  </a:cubicBezTo>
                  <a:cubicBezTo>
                    <a:pt x="643" y="238"/>
                    <a:pt x="644" y="237"/>
                    <a:pt x="644" y="237"/>
                  </a:cubicBezTo>
                  <a:cubicBezTo>
                    <a:pt x="644" y="237"/>
                    <a:pt x="644" y="236"/>
                    <a:pt x="644" y="236"/>
                  </a:cubicBezTo>
                  <a:cubicBezTo>
                    <a:pt x="645" y="235"/>
                    <a:pt x="645" y="235"/>
                    <a:pt x="645" y="234"/>
                  </a:cubicBezTo>
                  <a:cubicBezTo>
                    <a:pt x="646" y="234"/>
                    <a:pt x="646" y="234"/>
                    <a:pt x="646" y="234"/>
                  </a:cubicBezTo>
                  <a:cubicBezTo>
                    <a:pt x="646" y="232"/>
                    <a:pt x="646" y="232"/>
                    <a:pt x="646" y="232"/>
                  </a:cubicBezTo>
                  <a:cubicBezTo>
                    <a:pt x="646" y="232"/>
                    <a:pt x="646" y="232"/>
                    <a:pt x="646" y="232"/>
                  </a:cubicBezTo>
                  <a:cubicBezTo>
                    <a:pt x="647" y="233"/>
                    <a:pt x="647" y="233"/>
                    <a:pt x="647" y="233"/>
                  </a:cubicBezTo>
                  <a:cubicBezTo>
                    <a:pt x="647" y="233"/>
                    <a:pt x="647" y="233"/>
                    <a:pt x="648" y="233"/>
                  </a:cubicBezTo>
                  <a:cubicBezTo>
                    <a:pt x="648" y="233"/>
                    <a:pt x="648" y="233"/>
                    <a:pt x="648" y="233"/>
                  </a:cubicBezTo>
                  <a:cubicBezTo>
                    <a:pt x="649" y="233"/>
                    <a:pt x="649" y="232"/>
                    <a:pt x="649" y="232"/>
                  </a:cubicBezTo>
                  <a:cubicBezTo>
                    <a:pt x="650" y="231"/>
                    <a:pt x="650" y="230"/>
                    <a:pt x="651" y="230"/>
                  </a:cubicBezTo>
                  <a:cubicBezTo>
                    <a:pt x="651" y="229"/>
                    <a:pt x="651" y="229"/>
                    <a:pt x="651" y="229"/>
                  </a:cubicBezTo>
                  <a:cubicBezTo>
                    <a:pt x="651" y="229"/>
                    <a:pt x="651" y="228"/>
                    <a:pt x="651" y="228"/>
                  </a:cubicBezTo>
                  <a:cubicBezTo>
                    <a:pt x="651" y="227"/>
                    <a:pt x="651" y="227"/>
                    <a:pt x="651" y="226"/>
                  </a:cubicBezTo>
                  <a:cubicBezTo>
                    <a:pt x="650" y="225"/>
                    <a:pt x="648" y="226"/>
                    <a:pt x="648" y="226"/>
                  </a:cubicBezTo>
                  <a:cubicBezTo>
                    <a:pt x="647" y="226"/>
                    <a:pt x="647" y="225"/>
                    <a:pt x="646" y="225"/>
                  </a:cubicBezTo>
                  <a:cubicBezTo>
                    <a:pt x="645" y="225"/>
                    <a:pt x="645" y="225"/>
                    <a:pt x="645" y="225"/>
                  </a:cubicBezTo>
                  <a:cubicBezTo>
                    <a:pt x="644" y="225"/>
                    <a:pt x="644" y="225"/>
                    <a:pt x="644" y="225"/>
                  </a:cubicBezTo>
                  <a:cubicBezTo>
                    <a:pt x="644" y="225"/>
                    <a:pt x="643" y="225"/>
                    <a:pt x="643" y="224"/>
                  </a:cubicBezTo>
                  <a:cubicBezTo>
                    <a:pt x="643" y="224"/>
                    <a:pt x="642" y="224"/>
                    <a:pt x="641" y="224"/>
                  </a:cubicBezTo>
                  <a:cubicBezTo>
                    <a:pt x="642" y="223"/>
                    <a:pt x="642" y="223"/>
                    <a:pt x="642" y="222"/>
                  </a:cubicBezTo>
                  <a:cubicBezTo>
                    <a:pt x="642" y="222"/>
                    <a:pt x="642" y="221"/>
                    <a:pt x="642" y="221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2" y="220"/>
                    <a:pt x="643" y="220"/>
                    <a:pt x="643" y="220"/>
                  </a:cubicBezTo>
                  <a:cubicBezTo>
                    <a:pt x="645" y="219"/>
                    <a:pt x="645" y="219"/>
                    <a:pt x="645" y="219"/>
                  </a:cubicBezTo>
                  <a:cubicBezTo>
                    <a:pt x="642" y="217"/>
                    <a:pt x="642" y="217"/>
                    <a:pt x="642" y="217"/>
                  </a:cubicBezTo>
                  <a:cubicBezTo>
                    <a:pt x="642" y="217"/>
                    <a:pt x="641" y="217"/>
                    <a:pt x="641" y="217"/>
                  </a:cubicBezTo>
                  <a:cubicBezTo>
                    <a:pt x="641" y="216"/>
                    <a:pt x="641" y="215"/>
                    <a:pt x="640" y="214"/>
                  </a:cubicBezTo>
                  <a:cubicBezTo>
                    <a:pt x="640" y="214"/>
                    <a:pt x="640" y="214"/>
                    <a:pt x="640" y="214"/>
                  </a:cubicBezTo>
                  <a:cubicBezTo>
                    <a:pt x="640" y="213"/>
                    <a:pt x="640" y="213"/>
                    <a:pt x="640" y="212"/>
                  </a:cubicBezTo>
                  <a:cubicBezTo>
                    <a:pt x="640" y="211"/>
                    <a:pt x="640" y="211"/>
                    <a:pt x="640" y="210"/>
                  </a:cubicBezTo>
                  <a:cubicBezTo>
                    <a:pt x="640" y="210"/>
                    <a:pt x="640" y="209"/>
                    <a:pt x="640" y="208"/>
                  </a:cubicBezTo>
                  <a:cubicBezTo>
                    <a:pt x="640" y="207"/>
                    <a:pt x="639" y="206"/>
                    <a:pt x="638" y="206"/>
                  </a:cubicBezTo>
                  <a:cubicBezTo>
                    <a:pt x="636" y="206"/>
                    <a:pt x="636" y="206"/>
                    <a:pt x="635" y="207"/>
                  </a:cubicBezTo>
                  <a:cubicBezTo>
                    <a:pt x="634" y="207"/>
                    <a:pt x="633" y="207"/>
                    <a:pt x="633" y="207"/>
                  </a:cubicBezTo>
                  <a:cubicBezTo>
                    <a:pt x="633" y="207"/>
                    <a:pt x="632" y="207"/>
                    <a:pt x="632" y="207"/>
                  </a:cubicBezTo>
                  <a:cubicBezTo>
                    <a:pt x="632" y="208"/>
                    <a:pt x="632" y="208"/>
                    <a:pt x="631" y="208"/>
                  </a:cubicBezTo>
                  <a:cubicBezTo>
                    <a:pt x="631" y="208"/>
                    <a:pt x="630" y="208"/>
                    <a:pt x="630" y="208"/>
                  </a:cubicBezTo>
                  <a:cubicBezTo>
                    <a:pt x="630" y="208"/>
                    <a:pt x="629" y="208"/>
                    <a:pt x="629" y="208"/>
                  </a:cubicBezTo>
                  <a:cubicBezTo>
                    <a:pt x="629" y="207"/>
                    <a:pt x="628" y="207"/>
                    <a:pt x="627" y="207"/>
                  </a:cubicBezTo>
                  <a:cubicBezTo>
                    <a:pt x="627" y="207"/>
                    <a:pt x="627" y="207"/>
                    <a:pt x="627" y="207"/>
                  </a:cubicBezTo>
                  <a:cubicBezTo>
                    <a:pt x="627" y="206"/>
                    <a:pt x="626" y="205"/>
                    <a:pt x="625" y="205"/>
                  </a:cubicBezTo>
                  <a:cubicBezTo>
                    <a:pt x="625" y="204"/>
                    <a:pt x="624" y="204"/>
                    <a:pt x="624" y="204"/>
                  </a:cubicBezTo>
                  <a:cubicBezTo>
                    <a:pt x="624" y="204"/>
                    <a:pt x="624" y="204"/>
                    <a:pt x="624" y="203"/>
                  </a:cubicBezTo>
                  <a:cubicBezTo>
                    <a:pt x="623" y="203"/>
                    <a:pt x="623" y="202"/>
                    <a:pt x="622" y="202"/>
                  </a:cubicBezTo>
                  <a:cubicBezTo>
                    <a:pt x="621" y="202"/>
                    <a:pt x="621" y="202"/>
                    <a:pt x="621" y="202"/>
                  </a:cubicBezTo>
                  <a:cubicBezTo>
                    <a:pt x="621" y="201"/>
                    <a:pt x="621" y="201"/>
                    <a:pt x="620" y="201"/>
                  </a:cubicBezTo>
                  <a:cubicBezTo>
                    <a:pt x="620" y="201"/>
                    <a:pt x="619" y="201"/>
                    <a:pt x="618" y="201"/>
                  </a:cubicBezTo>
                  <a:cubicBezTo>
                    <a:pt x="618" y="201"/>
                    <a:pt x="618" y="201"/>
                    <a:pt x="618" y="201"/>
                  </a:cubicBezTo>
                  <a:cubicBezTo>
                    <a:pt x="617" y="201"/>
                    <a:pt x="616" y="201"/>
                    <a:pt x="615" y="202"/>
                  </a:cubicBezTo>
                  <a:cubicBezTo>
                    <a:pt x="614" y="202"/>
                    <a:pt x="614" y="202"/>
                    <a:pt x="614" y="202"/>
                  </a:cubicBezTo>
                  <a:cubicBezTo>
                    <a:pt x="614" y="202"/>
                    <a:pt x="614" y="203"/>
                    <a:pt x="613" y="203"/>
                  </a:cubicBezTo>
                  <a:cubicBezTo>
                    <a:pt x="613" y="203"/>
                    <a:pt x="613" y="203"/>
                    <a:pt x="612" y="203"/>
                  </a:cubicBezTo>
                  <a:cubicBezTo>
                    <a:pt x="611" y="203"/>
                    <a:pt x="610" y="204"/>
                    <a:pt x="610" y="205"/>
                  </a:cubicBezTo>
                  <a:cubicBezTo>
                    <a:pt x="610" y="206"/>
                    <a:pt x="610" y="207"/>
                    <a:pt x="609" y="207"/>
                  </a:cubicBezTo>
                  <a:cubicBezTo>
                    <a:pt x="609" y="207"/>
                    <a:pt x="609" y="207"/>
                    <a:pt x="609" y="207"/>
                  </a:cubicBezTo>
                  <a:cubicBezTo>
                    <a:pt x="608" y="208"/>
                    <a:pt x="608" y="208"/>
                    <a:pt x="607" y="209"/>
                  </a:cubicBezTo>
                  <a:cubicBezTo>
                    <a:pt x="607" y="209"/>
                    <a:pt x="606" y="210"/>
                    <a:pt x="606" y="211"/>
                  </a:cubicBezTo>
                  <a:cubicBezTo>
                    <a:pt x="606" y="212"/>
                    <a:pt x="607" y="212"/>
                    <a:pt x="607" y="212"/>
                  </a:cubicBezTo>
                  <a:cubicBezTo>
                    <a:pt x="607" y="213"/>
                    <a:pt x="607" y="213"/>
                    <a:pt x="606" y="213"/>
                  </a:cubicBezTo>
                  <a:cubicBezTo>
                    <a:pt x="606" y="213"/>
                    <a:pt x="606" y="213"/>
                    <a:pt x="605" y="213"/>
                  </a:cubicBezTo>
                  <a:cubicBezTo>
                    <a:pt x="604" y="213"/>
                    <a:pt x="603" y="213"/>
                    <a:pt x="603" y="215"/>
                  </a:cubicBezTo>
                  <a:cubicBezTo>
                    <a:pt x="603" y="215"/>
                    <a:pt x="603" y="215"/>
                    <a:pt x="602" y="216"/>
                  </a:cubicBezTo>
                  <a:cubicBezTo>
                    <a:pt x="602" y="216"/>
                    <a:pt x="601" y="217"/>
                    <a:pt x="601" y="217"/>
                  </a:cubicBezTo>
                  <a:cubicBezTo>
                    <a:pt x="601" y="217"/>
                    <a:pt x="600" y="218"/>
                    <a:pt x="600" y="218"/>
                  </a:cubicBezTo>
                  <a:cubicBezTo>
                    <a:pt x="600" y="218"/>
                    <a:pt x="600" y="218"/>
                    <a:pt x="600" y="218"/>
                  </a:cubicBezTo>
                  <a:cubicBezTo>
                    <a:pt x="598" y="219"/>
                    <a:pt x="598" y="219"/>
                    <a:pt x="598" y="219"/>
                  </a:cubicBezTo>
                  <a:cubicBezTo>
                    <a:pt x="598" y="219"/>
                    <a:pt x="596" y="220"/>
                    <a:pt x="596" y="221"/>
                  </a:cubicBezTo>
                  <a:cubicBezTo>
                    <a:pt x="596" y="221"/>
                    <a:pt x="596" y="222"/>
                    <a:pt x="597" y="223"/>
                  </a:cubicBezTo>
                  <a:cubicBezTo>
                    <a:pt x="597" y="223"/>
                    <a:pt x="597" y="223"/>
                    <a:pt x="597" y="223"/>
                  </a:cubicBezTo>
                  <a:cubicBezTo>
                    <a:pt x="597" y="223"/>
                    <a:pt x="597" y="223"/>
                    <a:pt x="597" y="224"/>
                  </a:cubicBezTo>
                  <a:cubicBezTo>
                    <a:pt x="597" y="224"/>
                    <a:pt x="597" y="224"/>
                    <a:pt x="597" y="224"/>
                  </a:cubicBezTo>
                  <a:cubicBezTo>
                    <a:pt x="596" y="224"/>
                    <a:pt x="596" y="225"/>
                    <a:pt x="595" y="225"/>
                  </a:cubicBezTo>
                  <a:cubicBezTo>
                    <a:pt x="594" y="226"/>
                    <a:pt x="594" y="227"/>
                    <a:pt x="594" y="227"/>
                  </a:cubicBezTo>
                  <a:cubicBezTo>
                    <a:pt x="594" y="227"/>
                    <a:pt x="594" y="227"/>
                    <a:pt x="594" y="228"/>
                  </a:cubicBezTo>
                  <a:cubicBezTo>
                    <a:pt x="594" y="228"/>
                    <a:pt x="593" y="228"/>
                    <a:pt x="593" y="229"/>
                  </a:cubicBezTo>
                  <a:cubicBezTo>
                    <a:pt x="593" y="229"/>
                    <a:pt x="593" y="230"/>
                    <a:pt x="593" y="230"/>
                  </a:cubicBezTo>
                  <a:cubicBezTo>
                    <a:pt x="593" y="231"/>
                    <a:pt x="593" y="231"/>
                    <a:pt x="594" y="231"/>
                  </a:cubicBezTo>
                  <a:cubicBezTo>
                    <a:pt x="594" y="232"/>
                    <a:pt x="594" y="232"/>
                    <a:pt x="593" y="232"/>
                  </a:cubicBezTo>
                  <a:cubicBezTo>
                    <a:pt x="593" y="232"/>
                    <a:pt x="593" y="232"/>
                    <a:pt x="593" y="232"/>
                  </a:cubicBezTo>
                  <a:cubicBezTo>
                    <a:pt x="593" y="232"/>
                    <a:pt x="592" y="232"/>
                    <a:pt x="591" y="232"/>
                  </a:cubicBezTo>
                  <a:cubicBezTo>
                    <a:pt x="591" y="232"/>
                    <a:pt x="590" y="233"/>
                    <a:pt x="590" y="233"/>
                  </a:cubicBezTo>
                  <a:cubicBezTo>
                    <a:pt x="590" y="233"/>
                    <a:pt x="589" y="232"/>
                    <a:pt x="588" y="233"/>
                  </a:cubicBezTo>
                  <a:cubicBezTo>
                    <a:pt x="587" y="233"/>
                    <a:pt x="587" y="233"/>
                    <a:pt x="587" y="234"/>
                  </a:cubicBezTo>
                  <a:cubicBezTo>
                    <a:pt x="586" y="234"/>
                    <a:pt x="586" y="234"/>
                    <a:pt x="586" y="234"/>
                  </a:cubicBezTo>
                  <a:cubicBezTo>
                    <a:pt x="585" y="234"/>
                    <a:pt x="584" y="235"/>
                    <a:pt x="584" y="236"/>
                  </a:cubicBezTo>
                  <a:cubicBezTo>
                    <a:pt x="584" y="236"/>
                    <a:pt x="583" y="237"/>
                    <a:pt x="584" y="237"/>
                  </a:cubicBezTo>
                  <a:cubicBezTo>
                    <a:pt x="583" y="237"/>
                    <a:pt x="583" y="237"/>
                    <a:pt x="583" y="237"/>
                  </a:cubicBezTo>
                  <a:cubicBezTo>
                    <a:pt x="583" y="238"/>
                    <a:pt x="583" y="238"/>
                    <a:pt x="583" y="238"/>
                  </a:cubicBezTo>
                  <a:cubicBezTo>
                    <a:pt x="582" y="238"/>
                    <a:pt x="581" y="238"/>
                    <a:pt x="581" y="238"/>
                  </a:cubicBezTo>
                  <a:cubicBezTo>
                    <a:pt x="580" y="238"/>
                    <a:pt x="580" y="239"/>
                    <a:pt x="580" y="239"/>
                  </a:cubicBezTo>
                  <a:cubicBezTo>
                    <a:pt x="579" y="240"/>
                    <a:pt x="579" y="240"/>
                    <a:pt x="579" y="240"/>
                  </a:cubicBezTo>
                  <a:cubicBezTo>
                    <a:pt x="578" y="240"/>
                    <a:pt x="578" y="240"/>
                    <a:pt x="578" y="240"/>
                  </a:cubicBezTo>
                  <a:cubicBezTo>
                    <a:pt x="577" y="241"/>
                    <a:pt x="577" y="241"/>
                    <a:pt x="577" y="241"/>
                  </a:cubicBezTo>
                  <a:cubicBezTo>
                    <a:pt x="576" y="242"/>
                    <a:pt x="576" y="242"/>
                    <a:pt x="576" y="242"/>
                  </a:cubicBezTo>
                  <a:cubicBezTo>
                    <a:pt x="575" y="242"/>
                    <a:pt x="575" y="242"/>
                    <a:pt x="575" y="242"/>
                  </a:cubicBezTo>
                  <a:cubicBezTo>
                    <a:pt x="575" y="243"/>
                    <a:pt x="573" y="243"/>
                    <a:pt x="573" y="245"/>
                  </a:cubicBezTo>
                  <a:cubicBezTo>
                    <a:pt x="573" y="246"/>
                    <a:pt x="573" y="247"/>
                    <a:pt x="573" y="247"/>
                  </a:cubicBezTo>
                  <a:cubicBezTo>
                    <a:pt x="574" y="248"/>
                    <a:pt x="574" y="248"/>
                    <a:pt x="574" y="248"/>
                  </a:cubicBezTo>
                  <a:cubicBezTo>
                    <a:pt x="574" y="249"/>
                    <a:pt x="574" y="249"/>
                    <a:pt x="574" y="249"/>
                  </a:cubicBezTo>
                  <a:cubicBezTo>
                    <a:pt x="574" y="249"/>
                    <a:pt x="574" y="250"/>
                    <a:pt x="574" y="251"/>
                  </a:cubicBezTo>
                  <a:cubicBezTo>
                    <a:pt x="574" y="251"/>
                    <a:pt x="574" y="251"/>
                    <a:pt x="574" y="251"/>
                  </a:cubicBezTo>
                  <a:cubicBezTo>
                    <a:pt x="574" y="252"/>
                    <a:pt x="575" y="252"/>
                    <a:pt x="575" y="252"/>
                  </a:cubicBezTo>
                  <a:cubicBezTo>
                    <a:pt x="575" y="253"/>
                    <a:pt x="575" y="254"/>
                    <a:pt x="575" y="255"/>
                  </a:cubicBezTo>
                  <a:cubicBezTo>
                    <a:pt x="575" y="257"/>
                    <a:pt x="574" y="258"/>
                    <a:pt x="574" y="259"/>
                  </a:cubicBezTo>
                  <a:cubicBezTo>
                    <a:pt x="574" y="259"/>
                    <a:pt x="574" y="259"/>
                    <a:pt x="573" y="260"/>
                  </a:cubicBezTo>
                  <a:cubicBezTo>
                    <a:pt x="573" y="260"/>
                    <a:pt x="573" y="261"/>
                    <a:pt x="572" y="262"/>
                  </a:cubicBezTo>
                  <a:cubicBezTo>
                    <a:pt x="572" y="262"/>
                    <a:pt x="572" y="262"/>
                    <a:pt x="572" y="262"/>
                  </a:cubicBezTo>
                  <a:cubicBezTo>
                    <a:pt x="571" y="263"/>
                    <a:pt x="571" y="263"/>
                    <a:pt x="571" y="263"/>
                  </a:cubicBezTo>
                  <a:cubicBezTo>
                    <a:pt x="570" y="264"/>
                    <a:pt x="570" y="264"/>
                    <a:pt x="570" y="264"/>
                  </a:cubicBezTo>
                  <a:cubicBezTo>
                    <a:pt x="570" y="265"/>
                    <a:pt x="570" y="265"/>
                    <a:pt x="570" y="265"/>
                  </a:cubicBezTo>
                  <a:cubicBezTo>
                    <a:pt x="570" y="265"/>
                    <a:pt x="569" y="265"/>
                    <a:pt x="569" y="266"/>
                  </a:cubicBezTo>
                  <a:cubicBezTo>
                    <a:pt x="569" y="266"/>
                    <a:pt x="568" y="267"/>
                    <a:pt x="568" y="267"/>
                  </a:cubicBezTo>
                  <a:cubicBezTo>
                    <a:pt x="568" y="268"/>
                    <a:pt x="568" y="268"/>
                    <a:pt x="568" y="268"/>
                  </a:cubicBezTo>
                  <a:cubicBezTo>
                    <a:pt x="567" y="268"/>
                    <a:pt x="567" y="268"/>
                    <a:pt x="567" y="269"/>
                  </a:cubicBezTo>
                  <a:cubicBezTo>
                    <a:pt x="566" y="269"/>
                    <a:pt x="566" y="269"/>
                    <a:pt x="566" y="270"/>
                  </a:cubicBezTo>
                  <a:cubicBezTo>
                    <a:pt x="565" y="270"/>
                    <a:pt x="565" y="270"/>
                    <a:pt x="565" y="270"/>
                  </a:cubicBezTo>
                  <a:cubicBezTo>
                    <a:pt x="565" y="270"/>
                    <a:pt x="565" y="271"/>
                    <a:pt x="565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564" y="271"/>
                    <a:pt x="564" y="271"/>
                    <a:pt x="564" y="271"/>
                  </a:cubicBezTo>
                  <a:cubicBezTo>
                    <a:pt x="564" y="272"/>
                    <a:pt x="563" y="272"/>
                    <a:pt x="563" y="272"/>
                  </a:cubicBezTo>
                  <a:cubicBezTo>
                    <a:pt x="563" y="272"/>
                    <a:pt x="563" y="273"/>
                    <a:pt x="563" y="273"/>
                  </a:cubicBezTo>
                  <a:cubicBezTo>
                    <a:pt x="562" y="273"/>
                    <a:pt x="562" y="273"/>
                    <a:pt x="562" y="273"/>
                  </a:cubicBezTo>
                  <a:cubicBezTo>
                    <a:pt x="561" y="274"/>
                    <a:pt x="561" y="274"/>
                    <a:pt x="560" y="274"/>
                  </a:cubicBezTo>
                  <a:cubicBezTo>
                    <a:pt x="559" y="275"/>
                    <a:pt x="559" y="276"/>
                    <a:pt x="558" y="276"/>
                  </a:cubicBezTo>
                  <a:cubicBezTo>
                    <a:pt x="558" y="277"/>
                    <a:pt x="557" y="277"/>
                    <a:pt x="557" y="278"/>
                  </a:cubicBezTo>
                  <a:cubicBezTo>
                    <a:pt x="556" y="278"/>
                    <a:pt x="556" y="278"/>
                    <a:pt x="556" y="278"/>
                  </a:cubicBezTo>
                  <a:cubicBezTo>
                    <a:pt x="555" y="279"/>
                    <a:pt x="554" y="279"/>
                    <a:pt x="554" y="281"/>
                  </a:cubicBezTo>
                  <a:cubicBezTo>
                    <a:pt x="555" y="281"/>
                    <a:pt x="555" y="281"/>
                    <a:pt x="555" y="281"/>
                  </a:cubicBezTo>
                  <a:cubicBezTo>
                    <a:pt x="554" y="281"/>
                    <a:pt x="554" y="281"/>
                    <a:pt x="554" y="281"/>
                  </a:cubicBezTo>
                  <a:cubicBezTo>
                    <a:pt x="554" y="281"/>
                    <a:pt x="554" y="281"/>
                    <a:pt x="553" y="281"/>
                  </a:cubicBezTo>
                  <a:cubicBezTo>
                    <a:pt x="553" y="281"/>
                    <a:pt x="552" y="282"/>
                    <a:pt x="551" y="282"/>
                  </a:cubicBezTo>
                  <a:cubicBezTo>
                    <a:pt x="550" y="282"/>
                    <a:pt x="550" y="282"/>
                    <a:pt x="550" y="282"/>
                  </a:cubicBezTo>
                  <a:cubicBezTo>
                    <a:pt x="550" y="283"/>
                    <a:pt x="549" y="283"/>
                    <a:pt x="549" y="283"/>
                  </a:cubicBezTo>
                  <a:cubicBezTo>
                    <a:pt x="548" y="283"/>
                    <a:pt x="548" y="283"/>
                    <a:pt x="548" y="283"/>
                  </a:cubicBezTo>
                  <a:cubicBezTo>
                    <a:pt x="548" y="283"/>
                    <a:pt x="547" y="283"/>
                    <a:pt x="547" y="284"/>
                  </a:cubicBezTo>
                  <a:cubicBezTo>
                    <a:pt x="546" y="284"/>
                    <a:pt x="544" y="284"/>
                    <a:pt x="543" y="285"/>
                  </a:cubicBezTo>
                  <a:cubicBezTo>
                    <a:pt x="542" y="285"/>
                    <a:pt x="542" y="285"/>
                    <a:pt x="542" y="285"/>
                  </a:cubicBezTo>
                  <a:cubicBezTo>
                    <a:pt x="542" y="285"/>
                    <a:pt x="541" y="285"/>
                    <a:pt x="541" y="285"/>
                  </a:cubicBezTo>
                  <a:cubicBezTo>
                    <a:pt x="540" y="285"/>
                    <a:pt x="540" y="285"/>
                    <a:pt x="540" y="285"/>
                  </a:cubicBezTo>
                  <a:cubicBezTo>
                    <a:pt x="539" y="285"/>
                    <a:pt x="538" y="285"/>
                    <a:pt x="538" y="285"/>
                  </a:cubicBezTo>
                  <a:cubicBezTo>
                    <a:pt x="537" y="286"/>
                    <a:pt x="537" y="286"/>
                    <a:pt x="537" y="286"/>
                  </a:cubicBezTo>
                  <a:cubicBezTo>
                    <a:pt x="537" y="286"/>
                    <a:pt x="537" y="286"/>
                    <a:pt x="536" y="286"/>
                  </a:cubicBezTo>
                  <a:cubicBezTo>
                    <a:pt x="536" y="286"/>
                    <a:pt x="535" y="286"/>
                    <a:pt x="535" y="287"/>
                  </a:cubicBezTo>
                  <a:cubicBezTo>
                    <a:pt x="535" y="287"/>
                    <a:pt x="534" y="287"/>
                    <a:pt x="534" y="287"/>
                  </a:cubicBezTo>
                  <a:cubicBezTo>
                    <a:pt x="534" y="287"/>
                    <a:pt x="534" y="287"/>
                    <a:pt x="534" y="287"/>
                  </a:cubicBezTo>
                  <a:cubicBezTo>
                    <a:pt x="534" y="287"/>
                    <a:pt x="533" y="287"/>
                    <a:pt x="532" y="288"/>
                  </a:cubicBezTo>
                  <a:cubicBezTo>
                    <a:pt x="532" y="288"/>
                    <a:pt x="531" y="288"/>
                    <a:pt x="530" y="289"/>
                  </a:cubicBezTo>
                  <a:cubicBezTo>
                    <a:pt x="530" y="290"/>
                    <a:pt x="530" y="291"/>
                    <a:pt x="530" y="291"/>
                  </a:cubicBezTo>
                  <a:cubicBezTo>
                    <a:pt x="530" y="291"/>
                    <a:pt x="530" y="291"/>
                    <a:pt x="530" y="292"/>
                  </a:cubicBezTo>
                  <a:cubicBezTo>
                    <a:pt x="530" y="292"/>
                    <a:pt x="530" y="292"/>
                    <a:pt x="530" y="292"/>
                  </a:cubicBezTo>
                  <a:cubicBezTo>
                    <a:pt x="529" y="293"/>
                    <a:pt x="528" y="295"/>
                    <a:pt x="530" y="296"/>
                  </a:cubicBezTo>
                  <a:cubicBezTo>
                    <a:pt x="530" y="296"/>
                    <a:pt x="530" y="296"/>
                    <a:pt x="530" y="296"/>
                  </a:cubicBezTo>
                  <a:cubicBezTo>
                    <a:pt x="530" y="297"/>
                    <a:pt x="530" y="297"/>
                    <a:pt x="530" y="297"/>
                  </a:cubicBezTo>
                  <a:cubicBezTo>
                    <a:pt x="530" y="297"/>
                    <a:pt x="530" y="297"/>
                    <a:pt x="530" y="297"/>
                  </a:cubicBezTo>
                  <a:cubicBezTo>
                    <a:pt x="530" y="297"/>
                    <a:pt x="530" y="298"/>
                    <a:pt x="530" y="298"/>
                  </a:cubicBezTo>
                  <a:cubicBezTo>
                    <a:pt x="530" y="298"/>
                    <a:pt x="530" y="298"/>
                    <a:pt x="530" y="298"/>
                  </a:cubicBezTo>
                  <a:cubicBezTo>
                    <a:pt x="529" y="298"/>
                    <a:pt x="529" y="298"/>
                    <a:pt x="529" y="298"/>
                  </a:cubicBezTo>
                  <a:cubicBezTo>
                    <a:pt x="529" y="298"/>
                    <a:pt x="529" y="298"/>
                    <a:pt x="529" y="298"/>
                  </a:cubicBezTo>
                  <a:cubicBezTo>
                    <a:pt x="528" y="298"/>
                    <a:pt x="527" y="299"/>
                    <a:pt x="527" y="299"/>
                  </a:cubicBezTo>
                  <a:cubicBezTo>
                    <a:pt x="527" y="300"/>
                    <a:pt x="527" y="300"/>
                    <a:pt x="527" y="300"/>
                  </a:cubicBezTo>
                  <a:cubicBezTo>
                    <a:pt x="526" y="300"/>
                    <a:pt x="526" y="300"/>
                    <a:pt x="526" y="301"/>
                  </a:cubicBezTo>
                  <a:cubicBezTo>
                    <a:pt x="526" y="301"/>
                    <a:pt x="526" y="301"/>
                    <a:pt x="525" y="302"/>
                  </a:cubicBezTo>
                  <a:cubicBezTo>
                    <a:pt x="525" y="302"/>
                    <a:pt x="525" y="303"/>
                    <a:pt x="525" y="303"/>
                  </a:cubicBezTo>
                  <a:cubicBezTo>
                    <a:pt x="524" y="302"/>
                    <a:pt x="523" y="303"/>
                    <a:pt x="523" y="303"/>
                  </a:cubicBezTo>
                  <a:cubicBezTo>
                    <a:pt x="523" y="303"/>
                    <a:pt x="522" y="304"/>
                    <a:pt x="522" y="305"/>
                  </a:cubicBezTo>
                  <a:cubicBezTo>
                    <a:pt x="522" y="305"/>
                    <a:pt x="523" y="305"/>
                    <a:pt x="523" y="306"/>
                  </a:cubicBezTo>
                  <a:cubicBezTo>
                    <a:pt x="522" y="306"/>
                    <a:pt x="522" y="307"/>
                    <a:pt x="521" y="308"/>
                  </a:cubicBezTo>
                  <a:cubicBezTo>
                    <a:pt x="521" y="308"/>
                    <a:pt x="521" y="308"/>
                    <a:pt x="521" y="309"/>
                  </a:cubicBezTo>
                  <a:cubicBezTo>
                    <a:pt x="521" y="309"/>
                    <a:pt x="521" y="309"/>
                    <a:pt x="521" y="309"/>
                  </a:cubicBezTo>
                  <a:cubicBezTo>
                    <a:pt x="521" y="309"/>
                    <a:pt x="521" y="309"/>
                    <a:pt x="521" y="310"/>
                  </a:cubicBezTo>
                  <a:cubicBezTo>
                    <a:pt x="520" y="310"/>
                    <a:pt x="519" y="311"/>
                    <a:pt x="519" y="312"/>
                  </a:cubicBezTo>
                  <a:cubicBezTo>
                    <a:pt x="519" y="312"/>
                    <a:pt x="519" y="313"/>
                    <a:pt x="519" y="313"/>
                  </a:cubicBezTo>
                  <a:cubicBezTo>
                    <a:pt x="519" y="313"/>
                    <a:pt x="519" y="314"/>
                    <a:pt x="519" y="314"/>
                  </a:cubicBezTo>
                  <a:cubicBezTo>
                    <a:pt x="519" y="314"/>
                    <a:pt x="519" y="314"/>
                    <a:pt x="519" y="314"/>
                  </a:cubicBezTo>
                  <a:cubicBezTo>
                    <a:pt x="519" y="314"/>
                    <a:pt x="518" y="315"/>
                    <a:pt x="518" y="316"/>
                  </a:cubicBezTo>
                  <a:cubicBezTo>
                    <a:pt x="518" y="316"/>
                    <a:pt x="518" y="316"/>
                    <a:pt x="518" y="316"/>
                  </a:cubicBezTo>
                  <a:cubicBezTo>
                    <a:pt x="518" y="316"/>
                    <a:pt x="517" y="317"/>
                    <a:pt x="517" y="317"/>
                  </a:cubicBezTo>
                  <a:cubicBezTo>
                    <a:pt x="516" y="318"/>
                    <a:pt x="516" y="318"/>
                    <a:pt x="516" y="318"/>
                  </a:cubicBezTo>
                  <a:cubicBezTo>
                    <a:pt x="516" y="318"/>
                    <a:pt x="516" y="318"/>
                    <a:pt x="516" y="318"/>
                  </a:cubicBezTo>
                  <a:cubicBezTo>
                    <a:pt x="515" y="319"/>
                    <a:pt x="515" y="320"/>
                    <a:pt x="514" y="320"/>
                  </a:cubicBezTo>
                  <a:cubicBezTo>
                    <a:pt x="514" y="320"/>
                    <a:pt x="514" y="320"/>
                    <a:pt x="514" y="320"/>
                  </a:cubicBezTo>
                  <a:cubicBezTo>
                    <a:pt x="513" y="320"/>
                    <a:pt x="512" y="321"/>
                    <a:pt x="512" y="322"/>
                  </a:cubicBezTo>
                  <a:cubicBezTo>
                    <a:pt x="511" y="322"/>
                    <a:pt x="511" y="323"/>
                    <a:pt x="511" y="324"/>
                  </a:cubicBezTo>
                  <a:cubicBezTo>
                    <a:pt x="511" y="324"/>
                    <a:pt x="511" y="325"/>
                    <a:pt x="511" y="325"/>
                  </a:cubicBezTo>
                  <a:cubicBezTo>
                    <a:pt x="511" y="325"/>
                    <a:pt x="511" y="326"/>
                    <a:pt x="511" y="326"/>
                  </a:cubicBezTo>
                  <a:cubicBezTo>
                    <a:pt x="511" y="325"/>
                    <a:pt x="510" y="324"/>
                    <a:pt x="510" y="324"/>
                  </a:cubicBezTo>
                  <a:cubicBezTo>
                    <a:pt x="510" y="323"/>
                    <a:pt x="510" y="323"/>
                    <a:pt x="510" y="323"/>
                  </a:cubicBezTo>
                  <a:cubicBezTo>
                    <a:pt x="510" y="323"/>
                    <a:pt x="510" y="323"/>
                    <a:pt x="510" y="323"/>
                  </a:cubicBezTo>
                  <a:cubicBezTo>
                    <a:pt x="509" y="322"/>
                    <a:pt x="508" y="323"/>
                    <a:pt x="507" y="323"/>
                  </a:cubicBezTo>
                  <a:cubicBezTo>
                    <a:pt x="507" y="323"/>
                    <a:pt x="507" y="323"/>
                    <a:pt x="507" y="324"/>
                  </a:cubicBezTo>
                  <a:cubicBezTo>
                    <a:pt x="506" y="324"/>
                    <a:pt x="506" y="324"/>
                    <a:pt x="505" y="324"/>
                  </a:cubicBezTo>
                  <a:cubicBezTo>
                    <a:pt x="505" y="324"/>
                    <a:pt x="504" y="324"/>
                    <a:pt x="503" y="325"/>
                  </a:cubicBezTo>
                  <a:cubicBezTo>
                    <a:pt x="503" y="325"/>
                    <a:pt x="503" y="325"/>
                    <a:pt x="503" y="326"/>
                  </a:cubicBezTo>
                  <a:cubicBezTo>
                    <a:pt x="503" y="324"/>
                    <a:pt x="503" y="324"/>
                    <a:pt x="503" y="324"/>
                  </a:cubicBezTo>
                  <a:cubicBezTo>
                    <a:pt x="503" y="323"/>
                    <a:pt x="503" y="322"/>
                    <a:pt x="503" y="320"/>
                  </a:cubicBezTo>
                  <a:cubicBezTo>
                    <a:pt x="503" y="319"/>
                    <a:pt x="503" y="316"/>
                    <a:pt x="501" y="315"/>
                  </a:cubicBezTo>
                  <a:cubicBezTo>
                    <a:pt x="502" y="314"/>
                    <a:pt x="502" y="314"/>
                    <a:pt x="502" y="314"/>
                  </a:cubicBezTo>
                  <a:cubicBezTo>
                    <a:pt x="503" y="313"/>
                    <a:pt x="503" y="312"/>
                    <a:pt x="503" y="311"/>
                  </a:cubicBezTo>
                  <a:cubicBezTo>
                    <a:pt x="503" y="311"/>
                    <a:pt x="503" y="311"/>
                    <a:pt x="503" y="310"/>
                  </a:cubicBezTo>
                  <a:cubicBezTo>
                    <a:pt x="503" y="309"/>
                    <a:pt x="503" y="308"/>
                    <a:pt x="503" y="307"/>
                  </a:cubicBezTo>
                  <a:cubicBezTo>
                    <a:pt x="503" y="306"/>
                    <a:pt x="504" y="306"/>
                    <a:pt x="504" y="305"/>
                  </a:cubicBezTo>
                  <a:cubicBezTo>
                    <a:pt x="505" y="305"/>
                    <a:pt x="505" y="305"/>
                    <a:pt x="505" y="304"/>
                  </a:cubicBezTo>
                  <a:cubicBezTo>
                    <a:pt x="506" y="304"/>
                    <a:pt x="506" y="303"/>
                    <a:pt x="506" y="303"/>
                  </a:cubicBezTo>
                  <a:cubicBezTo>
                    <a:pt x="506" y="302"/>
                    <a:pt x="506" y="302"/>
                    <a:pt x="506" y="302"/>
                  </a:cubicBezTo>
                  <a:cubicBezTo>
                    <a:pt x="506" y="302"/>
                    <a:pt x="507" y="301"/>
                    <a:pt x="508" y="300"/>
                  </a:cubicBezTo>
                  <a:cubicBezTo>
                    <a:pt x="508" y="300"/>
                    <a:pt x="508" y="300"/>
                    <a:pt x="508" y="300"/>
                  </a:cubicBezTo>
                  <a:cubicBezTo>
                    <a:pt x="509" y="299"/>
                    <a:pt x="510" y="299"/>
                    <a:pt x="510" y="298"/>
                  </a:cubicBezTo>
                  <a:cubicBezTo>
                    <a:pt x="510" y="298"/>
                    <a:pt x="511" y="297"/>
                    <a:pt x="511" y="296"/>
                  </a:cubicBezTo>
                  <a:cubicBezTo>
                    <a:pt x="510" y="296"/>
                    <a:pt x="510" y="296"/>
                    <a:pt x="510" y="296"/>
                  </a:cubicBezTo>
                  <a:cubicBezTo>
                    <a:pt x="510" y="296"/>
                    <a:pt x="510" y="296"/>
                    <a:pt x="510" y="296"/>
                  </a:cubicBezTo>
                  <a:cubicBezTo>
                    <a:pt x="511" y="296"/>
                    <a:pt x="511" y="296"/>
                    <a:pt x="511" y="296"/>
                  </a:cubicBezTo>
                  <a:cubicBezTo>
                    <a:pt x="512" y="295"/>
                    <a:pt x="512" y="294"/>
                    <a:pt x="512" y="293"/>
                  </a:cubicBezTo>
                  <a:cubicBezTo>
                    <a:pt x="513" y="293"/>
                    <a:pt x="513" y="293"/>
                    <a:pt x="513" y="293"/>
                  </a:cubicBezTo>
                  <a:cubicBezTo>
                    <a:pt x="513" y="293"/>
                    <a:pt x="513" y="292"/>
                    <a:pt x="513" y="292"/>
                  </a:cubicBezTo>
                  <a:cubicBezTo>
                    <a:pt x="513" y="291"/>
                    <a:pt x="514" y="291"/>
                    <a:pt x="514" y="290"/>
                  </a:cubicBezTo>
                  <a:cubicBezTo>
                    <a:pt x="515" y="290"/>
                    <a:pt x="515" y="290"/>
                    <a:pt x="515" y="290"/>
                  </a:cubicBezTo>
                  <a:cubicBezTo>
                    <a:pt x="516" y="290"/>
                    <a:pt x="516" y="289"/>
                    <a:pt x="517" y="288"/>
                  </a:cubicBezTo>
                  <a:cubicBezTo>
                    <a:pt x="517" y="288"/>
                    <a:pt x="517" y="288"/>
                    <a:pt x="517" y="287"/>
                  </a:cubicBezTo>
                  <a:cubicBezTo>
                    <a:pt x="518" y="287"/>
                    <a:pt x="518" y="287"/>
                    <a:pt x="518" y="287"/>
                  </a:cubicBezTo>
                  <a:cubicBezTo>
                    <a:pt x="518" y="287"/>
                    <a:pt x="518" y="287"/>
                    <a:pt x="518" y="286"/>
                  </a:cubicBezTo>
                  <a:cubicBezTo>
                    <a:pt x="518" y="286"/>
                    <a:pt x="518" y="286"/>
                    <a:pt x="518" y="286"/>
                  </a:cubicBezTo>
                  <a:cubicBezTo>
                    <a:pt x="519" y="285"/>
                    <a:pt x="519" y="284"/>
                    <a:pt x="519" y="284"/>
                  </a:cubicBezTo>
                  <a:cubicBezTo>
                    <a:pt x="520" y="283"/>
                    <a:pt x="520" y="283"/>
                    <a:pt x="520" y="283"/>
                  </a:cubicBezTo>
                  <a:cubicBezTo>
                    <a:pt x="520" y="282"/>
                    <a:pt x="520" y="280"/>
                    <a:pt x="519" y="279"/>
                  </a:cubicBezTo>
                  <a:cubicBezTo>
                    <a:pt x="518" y="279"/>
                    <a:pt x="517" y="278"/>
                    <a:pt x="516" y="278"/>
                  </a:cubicBezTo>
                  <a:cubicBezTo>
                    <a:pt x="515" y="278"/>
                    <a:pt x="515" y="278"/>
                    <a:pt x="515" y="278"/>
                  </a:cubicBezTo>
                  <a:cubicBezTo>
                    <a:pt x="515" y="278"/>
                    <a:pt x="515" y="278"/>
                    <a:pt x="515" y="278"/>
                  </a:cubicBezTo>
                  <a:cubicBezTo>
                    <a:pt x="515" y="277"/>
                    <a:pt x="514" y="277"/>
                    <a:pt x="514" y="277"/>
                  </a:cubicBezTo>
                  <a:cubicBezTo>
                    <a:pt x="513" y="277"/>
                    <a:pt x="512" y="277"/>
                    <a:pt x="512" y="277"/>
                  </a:cubicBezTo>
                  <a:cubicBezTo>
                    <a:pt x="512" y="277"/>
                    <a:pt x="512" y="277"/>
                    <a:pt x="511" y="277"/>
                  </a:cubicBezTo>
                  <a:cubicBezTo>
                    <a:pt x="510" y="276"/>
                    <a:pt x="509" y="276"/>
                    <a:pt x="508" y="276"/>
                  </a:cubicBezTo>
                  <a:cubicBezTo>
                    <a:pt x="509" y="277"/>
                    <a:pt x="509" y="277"/>
                    <a:pt x="509" y="277"/>
                  </a:cubicBezTo>
                  <a:cubicBezTo>
                    <a:pt x="508" y="276"/>
                    <a:pt x="508" y="276"/>
                    <a:pt x="508" y="276"/>
                  </a:cubicBezTo>
                  <a:cubicBezTo>
                    <a:pt x="508" y="276"/>
                    <a:pt x="507" y="275"/>
                    <a:pt x="507" y="275"/>
                  </a:cubicBezTo>
                  <a:cubicBezTo>
                    <a:pt x="506" y="275"/>
                    <a:pt x="506" y="275"/>
                    <a:pt x="505" y="275"/>
                  </a:cubicBezTo>
                  <a:cubicBezTo>
                    <a:pt x="505" y="275"/>
                    <a:pt x="505" y="275"/>
                    <a:pt x="505" y="275"/>
                  </a:cubicBezTo>
                  <a:cubicBezTo>
                    <a:pt x="505" y="275"/>
                    <a:pt x="505" y="274"/>
                    <a:pt x="505" y="274"/>
                  </a:cubicBezTo>
                  <a:cubicBezTo>
                    <a:pt x="504" y="273"/>
                    <a:pt x="504" y="272"/>
                    <a:pt x="503" y="272"/>
                  </a:cubicBezTo>
                  <a:cubicBezTo>
                    <a:pt x="503" y="272"/>
                    <a:pt x="503" y="271"/>
                    <a:pt x="502" y="271"/>
                  </a:cubicBezTo>
                  <a:cubicBezTo>
                    <a:pt x="502" y="271"/>
                    <a:pt x="502" y="271"/>
                    <a:pt x="502" y="271"/>
                  </a:cubicBezTo>
                  <a:cubicBezTo>
                    <a:pt x="501" y="270"/>
                    <a:pt x="501" y="270"/>
                    <a:pt x="501" y="269"/>
                  </a:cubicBezTo>
                  <a:cubicBezTo>
                    <a:pt x="500" y="268"/>
                    <a:pt x="499" y="267"/>
                    <a:pt x="498" y="266"/>
                  </a:cubicBezTo>
                  <a:cubicBezTo>
                    <a:pt x="498" y="265"/>
                    <a:pt x="497" y="265"/>
                    <a:pt x="496" y="265"/>
                  </a:cubicBezTo>
                  <a:cubicBezTo>
                    <a:pt x="497" y="264"/>
                    <a:pt x="497" y="264"/>
                    <a:pt x="497" y="264"/>
                  </a:cubicBezTo>
                  <a:cubicBezTo>
                    <a:pt x="497" y="264"/>
                    <a:pt x="497" y="264"/>
                    <a:pt x="497" y="264"/>
                  </a:cubicBezTo>
                  <a:cubicBezTo>
                    <a:pt x="499" y="262"/>
                    <a:pt x="499" y="260"/>
                    <a:pt x="498" y="259"/>
                  </a:cubicBezTo>
                  <a:cubicBezTo>
                    <a:pt x="498" y="258"/>
                    <a:pt x="498" y="258"/>
                    <a:pt x="497" y="258"/>
                  </a:cubicBezTo>
                  <a:cubicBezTo>
                    <a:pt x="497" y="257"/>
                    <a:pt x="496" y="256"/>
                    <a:pt x="496" y="256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95" y="255"/>
                    <a:pt x="495" y="254"/>
                    <a:pt x="495" y="254"/>
                  </a:cubicBezTo>
                  <a:cubicBezTo>
                    <a:pt x="495" y="254"/>
                    <a:pt x="495" y="254"/>
                    <a:pt x="495" y="254"/>
                  </a:cubicBezTo>
                  <a:cubicBezTo>
                    <a:pt x="495" y="254"/>
                    <a:pt x="495" y="253"/>
                    <a:pt x="495" y="253"/>
                  </a:cubicBezTo>
                  <a:cubicBezTo>
                    <a:pt x="494" y="252"/>
                    <a:pt x="493" y="251"/>
                    <a:pt x="492" y="251"/>
                  </a:cubicBezTo>
                  <a:cubicBezTo>
                    <a:pt x="492" y="251"/>
                    <a:pt x="492" y="251"/>
                    <a:pt x="492" y="251"/>
                  </a:cubicBezTo>
                  <a:cubicBezTo>
                    <a:pt x="491" y="251"/>
                    <a:pt x="491" y="251"/>
                    <a:pt x="491" y="251"/>
                  </a:cubicBezTo>
                  <a:cubicBezTo>
                    <a:pt x="491" y="251"/>
                    <a:pt x="491" y="251"/>
                    <a:pt x="490" y="250"/>
                  </a:cubicBezTo>
                  <a:cubicBezTo>
                    <a:pt x="490" y="250"/>
                    <a:pt x="490" y="250"/>
                    <a:pt x="490" y="250"/>
                  </a:cubicBezTo>
                  <a:cubicBezTo>
                    <a:pt x="490" y="250"/>
                    <a:pt x="490" y="250"/>
                    <a:pt x="490" y="250"/>
                  </a:cubicBezTo>
                  <a:cubicBezTo>
                    <a:pt x="489" y="249"/>
                    <a:pt x="489" y="247"/>
                    <a:pt x="486" y="247"/>
                  </a:cubicBezTo>
                  <a:cubicBezTo>
                    <a:pt x="485" y="247"/>
                    <a:pt x="484" y="247"/>
                    <a:pt x="483" y="247"/>
                  </a:cubicBezTo>
                  <a:cubicBezTo>
                    <a:pt x="483" y="247"/>
                    <a:pt x="483" y="247"/>
                    <a:pt x="483" y="247"/>
                  </a:cubicBezTo>
                  <a:cubicBezTo>
                    <a:pt x="482" y="247"/>
                    <a:pt x="482" y="247"/>
                    <a:pt x="481" y="247"/>
                  </a:cubicBezTo>
                  <a:cubicBezTo>
                    <a:pt x="481" y="247"/>
                    <a:pt x="481" y="247"/>
                    <a:pt x="480" y="248"/>
                  </a:cubicBezTo>
                  <a:cubicBezTo>
                    <a:pt x="480" y="248"/>
                    <a:pt x="480" y="248"/>
                    <a:pt x="480" y="248"/>
                  </a:cubicBezTo>
                  <a:cubicBezTo>
                    <a:pt x="479" y="248"/>
                    <a:pt x="479" y="248"/>
                    <a:pt x="479" y="248"/>
                  </a:cubicBezTo>
                  <a:cubicBezTo>
                    <a:pt x="479" y="248"/>
                    <a:pt x="479" y="248"/>
                    <a:pt x="479" y="248"/>
                  </a:cubicBezTo>
                  <a:cubicBezTo>
                    <a:pt x="478" y="248"/>
                    <a:pt x="478" y="248"/>
                    <a:pt x="478" y="248"/>
                  </a:cubicBezTo>
                  <a:cubicBezTo>
                    <a:pt x="478" y="248"/>
                    <a:pt x="478" y="247"/>
                    <a:pt x="478" y="247"/>
                  </a:cubicBezTo>
                  <a:cubicBezTo>
                    <a:pt x="478" y="247"/>
                    <a:pt x="478" y="246"/>
                    <a:pt x="477" y="246"/>
                  </a:cubicBezTo>
                  <a:cubicBezTo>
                    <a:pt x="477" y="246"/>
                    <a:pt x="477" y="246"/>
                    <a:pt x="476" y="245"/>
                  </a:cubicBezTo>
                  <a:cubicBezTo>
                    <a:pt x="476" y="245"/>
                    <a:pt x="476" y="245"/>
                    <a:pt x="476" y="245"/>
                  </a:cubicBezTo>
                  <a:cubicBezTo>
                    <a:pt x="475" y="245"/>
                    <a:pt x="475" y="245"/>
                    <a:pt x="475" y="245"/>
                  </a:cubicBezTo>
                  <a:cubicBezTo>
                    <a:pt x="477" y="245"/>
                    <a:pt x="477" y="245"/>
                    <a:pt x="477" y="245"/>
                  </a:cubicBezTo>
                  <a:cubicBezTo>
                    <a:pt x="477" y="244"/>
                    <a:pt x="478" y="242"/>
                    <a:pt x="479" y="241"/>
                  </a:cubicBezTo>
                  <a:cubicBezTo>
                    <a:pt x="479" y="241"/>
                    <a:pt x="479" y="240"/>
                    <a:pt x="480" y="240"/>
                  </a:cubicBezTo>
                  <a:cubicBezTo>
                    <a:pt x="480" y="239"/>
                    <a:pt x="481" y="239"/>
                    <a:pt x="481" y="238"/>
                  </a:cubicBezTo>
                  <a:cubicBezTo>
                    <a:pt x="482" y="238"/>
                    <a:pt x="483" y="237"/>
                    <a:pt x="484" y="236"/>
                  </a:cubicBezTo>
                  <a:cubicBezTo>
                    <a:pt x="484" y="236"/>
                    <a:pt x="485" y="235"/>
                    <a:pt x="486" y="234"/>
                  </a:cubicBezTo>
                  <a:cubicBezTo>
                    <a:pt x="486" y="233"/>
                    <a:pt x="487" y="233"/>
                    <a:pt x="487" y="232"/>
                  </a:cubicBezTo>
                  <a:cubicBezTo>
                    <a:pt x="487" y="232"/>
                    <a:pt x="488" y="232"/>
                    <a:pt x="488" y="231"/>
                  </a:cubicBezTo>
                  <a:cubicBezTo>
                    <a:pt x="488" y="231"/>
                    <a:pt x="488" y="230"/>
                    <a:pt x="489" y="230"/>
                  </a:cubicBezTo>
                  <a:cubicBezTo>
                    <a:pt x="489" y="229"/>
                    <a:pt x="489" y="227"/>
                    <a:pt x="487" y="226"/>
                  </a:cubicBezTo>
                  <a:cubicBezTo>
                    <a:pt x="487" y="226"/>
                    <a:pt x="486" y="226"/>
                    <a:pt x="486" y="226"/>
                  </a:cubicBezTo>
                  <a:cubicBezTo>
                    <a:pt x="486" y="226"/>
                    <a:pt x="486" y="226"/>
                    <a:pt x="486" y="226"/>
                  </a:cubicBezTo>
                  <a:cubicBezTo>
                    <a:pt x="485" y="227"/>
                    <a:pt x="485" y="227"/>
                    <a:pt x="485" y="227"/>
                  </a:cubicBezTo>
                  <a:cubicBezTo>
                    <a:pt x="485" y="226"/>
                    <a:pt x="485" y="226"/>
                    <a:pt x="485" y="226"/>
                  </a:cubicBezTo>
                  <a:cubicBezTo>
                    <a:pt x="485" y="226"/>
                    <a:pt x="485" y="226"/>
                    <a:pt x="485" y="226"/>
                  </a:cubicBezTo>
                  <a:cubicBezTo>
                    <a:pt x="484" y="226"/>
                    <a:pt x="484" y="225"/>
                    <a:pt x="483" y="226"/>
                  </a:cubicBezTo>
                  <a:cubicBezTo>
                    <a:pt x="482" y="226"/>
                    <a:pt x="482" y="226"/>
                    <a:pt x="482" y="226"/>
                  </a:cubicBezTo>
                  <a:cubicBezTo>
                    <a:pt x="482" y="226"/>
                    <a:pt x="482" y="226"/>
                    <a:pt x="482" y="226"/>
                  </a:cubicBezTo>
                  <a:cubicBezTo>
                    <a:pt x="482" y="226"/>
                    <a:pt x="482" y="225"/>
                    <a:pt x="482" y="225"/>
                  </a:cubicBezTo>
                  <a:cubicBezTo>
                    <a:pt x="482" y="225"/>
                    <a:pt x="482" y="225"/>
                    <a:pt x="482" y="225"/>
                  </a:cubicBezTo>
                  <a:cubicBezTo>
                    <a:pt x="482" y="225"/>
                    <a:pt x="482" y="225"/>
                    <a:pt x="482" y="225"/>
                  </a:cubicBezTo>
                  <a:cubicBezTo>
                    <a:pt x="482" y="224"/>
                    <a:pt x="483" y="224"/>
                    <a:pt x="483" y="224"/>
                  </a:cubicBezTo>
                  <a:cubicBezTo>
                    <a:pt x="483" y="223"/>
                    <a:pt x="483" y="223"/>
                    <a:pt x="483" y="223"/>
                  </a:cubicBezTo>
                  <a:cubicBezTo>
                    <a:pt x="484" y="223"/>
                    <a:pt x="484" y="222"/>
                    <a:pt x="484" y="222"/>
                  </a:cubicBezTo>
                  <a:cubicBezTo>
                    <a:pt x="484" y="222"/>
                    <a:pt x="484" y="222"/>
                    <a:pt x="485" y="222"/>
                  </a:cubicBezTo>
                  <a:cubicBezTo>
                    <a:pt x="485" y="221"/>
                    <a:pt x="485" y="221"/>
                    <a:pt x="486" y="221"/>
                  </a:cubicBezTo>
                  <a:cubicBezTo>
                    <a:pt x="486" y="220"/>
                    <a:pt x="487" y="220"/>
                    <a:pt x="487" y="219"/>
                  </a:cubicBezTo>
                  <a:cubicBezTo>
                    <a:pt x="488" y="218"/>
                    <a:pt x="488" y="218"/>
                    <a:pt x="488" y="218"/>
                  </a:cubicBezTo>
                  <a:cubicBezTo>
                    <a:pt x="488" y="218"/>
                    <a:pt x="488" y="217"/>
                    <a:pt x="489" y="217"/>
                  </a:cubicBezTo>
                  <a:cubicBezTo>
                    <a:pt x="489" y="217"/>
                    <a:pt x="489" y="216"/>
                    <a:pt x="490" y="215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490" y="215"/>
                    <a:pt x="491" y="215"/>
                    <a:pt x="491" y="214"/>
                  </a:cubicBezTo>
                  <a:cubicBezTo>
                    <a:pt x="491" y="214"/>
                    <a:pt x="491" y="214"/>
                    <a:pt x="491" y="214"/>
                  </a:cubicBezTo>
                  <a:cubicBezTo>
                    <a:pt x="492" y="213"/>
                    <a:pt x="492" y="213"/>
                    <a:pt x="493" y="213"/>
                  </a:cubicBezTo>
                  <a:cubicBezTo>
                    <a:pt x="492" y="212"/>
                    <a:pt x="492" y="212"/>
                    <a:pt x="492" y="212"/>
                  </a:cubicBezTo>
                  <a:cubicBezTo>
                    <a:pt x="493" y="212"/>
                    <a:pt x="493" y="212"/>
                    <a:pt x="493" y="212"/>
                  </a:cubicBezTo>
                  <a:cubicBezTo>
                    <a:pt x="494" y="212"/>
                    <a:pt x="494" y="212"/>
                    <a:pt x="494" y="212"/>
                  </a:cubicBezTo>
                  <a:cubicBezTo>
                    <a:pt x="495" y="211"/>
                    <a:pt x="495" y="211"/>
                    <a:pt x="495" y="211"/>
                  </a:cubicBezTo>
                  <a:cubicBezTo>
                    <a:pt x="496" y="210"/>
                    <a:pt x="496" y="210"/>
                    <a:pt x="496" y="210"/>
                  </a:cubicBezTo>
                  <a:cubicBezTo>
                    <a:pt x="496" y="210"/>
                    <a:pt x="496" y="210"/>
                    <a:pt x="496" y="210"/>
                  </a:cubicBezTo>
                  <a:cubicBezTo>
                    <a:pt x="497" y="210"/>
                    <a:pt x="497" y="210"/>
                    <a:pt x="498" y="209"/>
                  </a:cubicBezTo>
                  <a:cubicBezTo>
                    <a:pt x="498" y="208"/>
                    <a:pt x="498" y="207"/>
                    <a:pt x="497" y="207"/>
                  </a:cubicBezTo>
                  <a:cubicBezTo>
                    <a:pt x="498" y="207"/>
                    <a:pt x="498" y="207"/>
                    <a:pt x="499" y="207"/>
                  </a:cubicBezTo>
                  <a:cubicBezTo>
                    <a:pt x="500" y="207"/>
                    <a:pt x="501" y="207"/>
                    <a:pt x="501" y="206"/>
                  </a:cubicBezTo>
                  <a:cubicBezTo>
                    <a:pt x="502" y="206"/>
                    <a:pt x="502" y="206"/>
                    <a:pt x="502" y="206"/>
                  </a:cubicBezTo>
                  <a:cubicBezTo>
                    <a:pt x="502" y="206"/>
                    <a:pt x="502" y="206"/>
                    <a:pt x="502" y="205"/>
                  </a:cubicBezTo>
                  <a:cubicBezTo>
                    <a:pt x="502" y="205"/>
                    <a:pt x="502" y="205"/>
                    <a:pt x="503" y="205"/>
                  </a:cubicBezTo>
                  <a:cubicBezTo>
                    <a:pt x="503" y="205"/>
                    <a:pt x="503" y="205"/>
                    <a:pt x="503" y="205"/>
                  </a:cubicBezTo>
                  <a:cubicBezTo>
                    <a:pt x="503" y="205"/>
                    <a:pt x="504" y="204"/>
                    <a:pt x="504" y="204"/>
                  </a:cubicBezTo>
                  <a:cubicBezTo>
                    <a:pt x="504" y="204"/>
                    <a:pt x="505" y="204"/>
                    <a:pt x="505" y="204"/>
                  </a:cubicBezTo>
                  <a:cubicBezTo>
                    <a:pt x="506" y="203"/>
                    <a:pt x="506" y="203"/>
                    <a:pt x="506" y="203"/>
                  </a:cubicBezTo>
                  <a:cubicBezTo>
                    <a:pt x="507" y="203"/>
                    <a:pt x="507" y="203"/>
                    <a:pt x="507" y="203"/>
                  </a:cubicBezTo>
                  <a:cubicBezTo>
                    <a:pt x="507" y="203"/>
                    <a:pt x="507" y="202"/>
                    <a:pt x="507" y="202"/>
                  </a:cubicBezTo>
                  <a:cubicBezTo>
                    <a:pt x="508" y="202"/>
                    <a:pt x="508" y="202"/>
                    <a:pt x="509" y="201"/>
                  </a:cubicBezTo>
                  <a:cubicBezTo>
                    <a:pt x="509" y="201"/>
                    <a:pt x="509" y="201"/>
                    <a:pt x="509" y="201"/>
                  </a:cubicBezTo>
                  <a:cubicBezTo>
                    <a:pt x="509" y="201"/>
                    <a:pt x="509" y="201"/>
                    <a:pt x="509" y="201"/>
                  </a:cubicBezTo>
                  <a:cubicBezTo>
                    <a:pt x="509" y="201"/>
                    <a:pt x="510" y="200"/>
                    <a:pt x="510" y="200"/>
                  </a:cubicBezTo>
                  <a:cubicBezTo>
                    <a:pt x="510" y="200"/>
                    <a:pt x="510" y="200"/>
                    <a:pt x="510" y="200"/>
                  </a:cubicBezTo>
                  <a:cubicBezTo>
                    <a:pt x="510" y="200"/>
                    <a:pt x="511" y="200"/>
                    <a:pt x="511" y="200"/>
                  </a:cubicBezTo>
                  <a:cubicBezTo>
                    <a:pt x="511" y="200"/>
                    <a:pt x="511" y="200"/>
                    <a:pt x="512" y="200"/>
                  </a:cubicBezTo>
                  <a:cubicBezTo>
                    <a:pt x="512" y="200"/>
                    <a:pt x="512" y="200"/>
                    <a:pt x="512" y="200"/>
                  </a:cubicBezTo>
                  <a:cubicBezTo>
                    <a:pt x="512" y="200"/>
                    <a:pt x="512" y="200"/>
                    <a:pt x="512" y="200"/>
                  </a:cubicBezTo>
                  <a:cubicBezTo>
                    <a:pt x="513" y="199"/>
                    <a:pt x="513" y="199"/>
                    <a:pt x="513" y="199"/>
                  </a:cubicBezTo>
                  <a:cubicBezTo>
                    <a:pt x="513" y="198"/>
                    <a:pt x="513" y="198"/>
                    <a:pt x="513" y="198"/>
                  </a:cubicBezTo>
                  <a:cubicBezTo>
                    <a:pt x="514" y="198"/>
                    <a:pt x="514" y="198"/>
                    <a:pt x="514" y="198"/>
                  </a:cubicBezTo>
                  <a:cubicBezTo>
                    <a:pt x="514" y="197"/>
                    <a:pt x="514" y="197"/>
                    <a:pt x="515" y="197"/>
                  </a:cubicBezTo>
                  <a:cubicBezTo>
                    <a:pt x="515" y="197"/>
                    <a:pt x="515" y="197"/>
                    <a:pt x="515" y="197"/>
                  </a:cubicBezTo>
                  <a:cubicBezTo>
                    <a:pt x="516" y="197"/>
                    <a:pt x="516" y="196"/>
                    <a:pt x="516" y="196"/>
                  </a:cubicBezTo>
                  <a:cubicBezTo>
                    <a:pt x="517" y="196"/>
                    <a:pt x="517" y="196"/>
                    <a:pt x="517" y="196"/>
                  </a:cubicBezTo>
                  <a:cubicBezTo>
                    <a:pt x="517" y="196"/>
                    <a:pt x="517" y="196"/>
                    <a:pt x="517" y="196"/>
                  </a:cubicBezTo>
                  <a:cubicBezTo>
                    <a:pt x="518" y="196"/>
                    <a:pt x="518" y="196"/>
                    <a:pt x="518" y="196"/>
                  </a:cubicBezTo>
                  <a:cubicBezTo>
                    <a:pt x="518" y="196"/>
                    <a:pt x="518" y="196"/>
                    <a:pt x="519" y="196"/>
                  </a:cubicBezTo>
                  <a:cubicBezTo>
                    <a:pt x="519" y="196"/>
                    <a:pt x="520" y="195"/>
                    <a:pt x="520" y="195"/>
                  </a:cubicBezTo>
                  <a:cubicBezTo>
                    <a:pt x="520" y="195"/>
                    <a:pt x="520" y="194"/>
                    <a:pt x="520" y="194"/>
                  </a:cubicBezTo>
                  <a:cubicBezTo>
                    <a:pt x="521" y="194"/>
                    <a:pt x="522" y="193"/>
                    <a:pt x="522" y="193"/>
                  </a:cubicBezTo>
                  <a:cubicBezTo>
                    <a:pt x="522" y="193"/>
                    <a:pt x="523" y="193"/>
                    <a:pt x="523" y="193"/>
                  </a:cubicBezTo>
                  <a:cubicBezTo>
                    <a:pt x="523" y="193"/>
                    <a:pt x="523" y="193"/>
                    <a:pt x="523" y="193"/>
                  </a:cubicBezTo>
                  <a:cubicBezTo>
                    <a:pt x="523" y="193"/>
                    <a:pt x="523" y="193"/>
                    <a:pt x="523" y="193"/>
                  </a:cubicBezTo>
                  <a:cubicBezTo>
                    <a:pt x="524" y="193"/>
                    <a:pt x="525" y="192"/>
                    <a:pt x="525" y="192"/>
                  </a:cubicBezTo>
                  <a:cubicBezTo>
                    <a:pt x="525" y="192"/>
                    <a:pt x="525" y="192"/>
                    <a:pt x="525" y="191"/>
                  </a:cubicBezTo>
                  <a:cubicBezTo>
                    <a:pt x="526" y="191"/>
                    <a:pt x="526" y="191"/>
                    <a:pt x="526" y="190"/>
                  </a:cubicBezTo>
                  <a:cubicBezTo>
                    <a:pt x="526" y="190"/>
                    <a:pt x="526" y="190"/>
                    <a:pt x="527" y="190"/>
                  </a:cubicBezTo>
                  <a:cubicBezTo>
                    <a:pt x="527" y="190"/>
                    <a:pt x="527" y="190"/>
                    <a:pt x="528" y="190"/>
                  </a:cubicBezTo>
                  <a:cubicBezTo>
                    <a:pt x="528" y="190"/>
                    <a:pt x="528" y="190"/>
                    <a:pt x="528" y="191"/>
                  </a:cubicBezTo>
                  <a:cubicBezTo>
                    <a:pt x="528" y="191"/>
                    <a:pt x="529" y="191"/>
                    <a:pt x="529" y="191"/>
                  </a:cubicBezTo>
                  <a:cubicBezTo>
                    <a:pt x="530" y="191"/>
                    <a:pt x="530" y="191"/>
                    <a:pt x="530" y="191"/>
                  </a:cubicBezTo>
                  <a:cubicBezTo>
                    <a:pt x="530" y="191"/>
                    <a:pt x="530" y="191"/>
                    <a:pt x="530" y="191"/>
                  </a:cubicBezTo>
                  <a:cubicBezTo>
                    <a:pt x="530" y="190"/>
                    <a:pt x="531" y="190"/>
                    <a:pt x="531" y="190"/>
                  </a:cubicBezTo>
                  <a:cubicBezTo>
                    <a:pt x="531" y="189"/>
                    <a:pt x="531" y="189"/>
                    <a:pt x="532" y="188"/>
                  </a:cubicBezTo>
                  <a:cubicBezTo>
                    <a:pt x="532" y="188"/>
                    <a:pt x="532" y="188"/>
                    <a:pt x="532" y="188"/>
                  </a:cubicBezTo>
                  <a:cubicBezTo>
                    <a:pt x="532" y="188"/>
                    <a:pt x="532" y="188"/>
                    <a:pt x="532" y="188"/>
                  </a:cubicBezTo>
                  <a:cubicBezTo>
                    <a:pt x="532" y="188"/>
                    <a:pt x="532" y="188"/>
                    <a:pt x="533" y="189"/>
                  </a:cubicBezTo>
                  <a:cubicBezTo>
                    <a:pt x="533" y="189"/>
                    <a:pt x="534" y="189"/>
                    <a:pt x="535" y="188"/>
                  </a:cubicBezTo>
                  <a:cubicBezTo>
                    <a:pt x="535" y="188"/>
                    <a:pt x="535" y="187"/>
                    <a:pt x="535" y="187"/>
                  </a:cubicBezTo>
                  <a:cubicBezTo>
                    <a:pt x="535" y="187"/>
                    <a:pt x="536" y="187"/>
                    <a:pt x="536" y="187"/>
                  </a:cubicBezTo>
                  <a:cubicBezTo>
                    <a:pt x="537" y="187"/>
                    <a:pt x="537" y="186"/>
                    <a:pt x="538" y="185"/>
                  </a:cubicBezTo>
                  <a:cubicBezTo>
                    <a:pt x="538" y="185"/>
                    <a:pt x="538" y="184"/>
                    <a:pt x="538" y="184"/>
                  </a:cubicBezTo>
                  <a:cubicBezTo>
                    <a:pt x="538" y="184"/>
                    <a:pt x="539" y="184"/>
                    <a:pt x="539" y="184"/>
                  </a:cubicBezTo>
                  <a:cubicBezTo>
                    <a:pt x="540" y="185"/>
                    <a:pt x="540" y="185"/>
                    <a:pt x="540" y="185"/>
                  </a:cubicBezTo>
                  <a:cubicBezTo>
                    <a:pt x="540" y="185"/>
                    <a:pt x="541" y="185"/>
                    <a:pt x="542" y="185"/>
                  </a:cubicBezTo>
                  <a:cubicBezTo>
                    <a:pt x="544" y="186"/>
                    <a:pt x="545" y="185"/>
                    <a:pt x="546" y="185"/>
                  </a:cubicBezTo>
                  <a:cubicBezTo>
                    <a:pt x="547" y="185"/>
                    <a:pt x="547" y="184"/>
                    <a:pt x="547" y="184"/>
                  </a:cubicBezTo>
                  <a:cubicBezTo>
                    <a:pt x="548" y="184"/>
                    <a:pt x="548" y="184"/>
                    <a:pt x="548" y="184"/>
                  </a:cubicBezTo>
                  <a:cubicBezTo>
                    <a:pt x="549" y="183"/>
                    <a:pt x="549" y="183"/>
                    <a:pt x="549" y="183"/>
                  </a:cubicBezTo>
                  <a:cubicBezTo>
                    <a:pt x="551" y="182"/>
                    <a:pt x="552" y="181"/>
                    <a:pt x="552" y="179"/>
                  </a:cubicBezTo>
                  <a:cubicBezTo>
                    <a:pt x="552" y="179"/>
                    <a:pt x="552" y="178"/>
                    <a:pt x="552" y="178"/>
                  </a:cubicBezTo>
                  <a:cubicBezTo>
                    <a:pt x="552" y="178"/>
                    <a:pt x="553" y="178"/>
                    <a:pt x="553" y="178"/>
                  </a:cubicBezTo>
                  <a:cubicBezTo>
                    <a:pt x="554" y="179"/>
                    <a:pt x="556" y="178"/>
                    <a:pt x="556" y="178"/>
                  </a:cubicBezTo>
                  <a:cubicBezTo>
                    <a:pt x="557" y="178"/>
                    <a:pt x="557" y="178"/>
                    <a:pt x="557" y="178"/>
                  </a:cubicBezTo>
                  <a:cubicBezTo>
                    <a:pt x="557" y="178"/>
                    <a:pt x="557" y="178"/>
                    <a:pt x="557" y="178"/>
                  </a:cubicBezTo>
                  <a:cubicBezTo>
                    <a:pt x="559" y="178"/>
                    <a:pt x="560" y="178"/>
                    <a:pt x="561" y="177"/>
                  </a:cubicBezTo>
                  <a:cubicBezTo>
                    <a:pt x="561" y="177"/>
                    <a:pt x="561" y="176"/>
                    <a:pt x="561" y="176"/>
                  </a:cubicBezTo>
                  <a:cubicBezTo>
                    <a:pt x="562" y="176"/>
                    <a:pt x="562" y="176"/>
                    <a:pt x="562" y="176"/>
                  </a:cubicBezTo>
                  <a:cubicBezTo>
                    <a:pt x="562" y="176"/>
                    <a:pt x="562" y="176"/>
                    <a:pt x="562" y="176"/>
                  </a:cubicBezTo>
                  <a:cubicBezTo>
                    <a:pt x="563" y="176"/>
                    <a:pt x="564" y="175"/>
                    <a:pt x="564" y="174"/>
                  </a:cubicBezTo>
                  <a:cubicBezTo>
                    <a:pt x="564" y="174"/>
                    <a:pt x="564" y="174"/>
                    <a:pt x="564" y="174"/>
                  </a:cubicBezTo>
                  <a:cubicBezTo>
                    <a:pt x="565" y="175"/>
                    <a:pt x="565" y="175"/>
                    <a:pt x="566" y="175"/>
                  </a:cubicBezTo>
                  <a:cubicBezTo>
                    <a:pt x="566" y="175"/>
                    <a:pt x="566" y="175"/>
                    <a:pt x="566" y="175"/>
                  </a:cubicBezTo>
                  <a:cubicBezTo>
                    <a:pt x="567" y="175"/>
                    <a:pt x="567" y="175"/>
                    <a:pt x="567" y="175"/>
                  </a:cubicBezTo>
                  <a:cubicBezTo>
                    <a:pt x="567" y="175"/>
                    <a:pt x="568" y="175"/>
                    <a:pt x="568" y="175"/>
                  </a:cubicBezTo>
                  <a:cubicBezTo>
                    <a:pt x="568" y="176"/>
                    <a:pt x="568" y="176"/>
                    <a:pt x="568" y="176"/>
                  </a:cubicBezTo>
                  <a:cubicBezTo>
                    <a:pt x="568" y="176"/>
                    <a:pt x="569" y="176"/>
                    <a:pt x="570" y="176"/>
                  </a:cubicBezTo>
                  <a:cubicBezTo>
                    <a:pt x="570" y="176"/>
                    <a:pt x="570" y="176"/>
                    <a:pt x="570" y="176"/>
                  </a:cubicBezTo>
                  <a:cubicBezTo>
                    <a:pt x="570" y="176"/>
                    <a:pt x="571" y="176"/>
                    <a:pt x="571" y="175"/>
                  </a:cubicBezTo>
                  <a:cubicBezTo>
                    <a:pt x="571" y="175"/>
                    <a:pt x="571" y="175"/>
                    <a:pt x="571" y="175"/>
                  </a:cubicBezTo>
                  <a:cubicBezTo>
                    <a:pt x="571" y="175"/>
                    <a:pt x="571" y="175"/>
                    <a:pt x="571" y="175"/>
                  </a:cubicBezTo>
                  <a:cubicBezTo>
                    <a:pt x="572" y="175"/>
                    <a:pt x="572" y="175"/>
                    <a:pt x="573" y="175"/>
                  </a:cubicBezTo>
                  <a:cubicBezTo>
                    <a:pt x="574" y="175"/>
                    <a:pt x="574" y="175"/>
                    <a:pt x="575" y="175"/>
                  </a:cubicBezTo>
                  <a:cubicBezTo>
                    <a:pt x="575" y="174"/>
                    <a:pt x="576" y="174"/>
                    <a:pt x="577" y="173"/>
                  </a:cubicBezTo>
                  <a:cubicBezTo>
                    <a:pt x="577" y="172"/>
                    <a:pt x="578" y="172"/>
                    <a:pt x="578" y="172"/>
                  </a:cubicBezTo>
                  <a:cubicBezTo>
                    <a:pt x="578" y="172"/>
                    <a:pt x="578" y="172"/>
                    <a:pt x="578" y="172"/>
                  </a:cubicBezTo>
                  <a:cubicBezTo>
                    <a:pt x="579" y="171"/>
                    <a:pt x="579" y="171"/>
                    <a:pt x="579" y="171"/>
                  </a:cubicBezTo>
                  <a:cubicBezTo>
                    <a:pt x="579" y="171"/>
                    <a:pt x="580" y="171"/>
                    <a:pt x="580" y="170"/>
                  </a:cubicBezTo>
                  <a:cubicBezTo>
                    <a:pt x="580" y="170"/>
                    <a:pt x="580" y="170"/>
                    <a:pt x="580" y="170"/>
                  </a:cubicBezTo>
                  <a:cubicBezTo>
                    <a:pt x="580" y="170"/>
                    <a:pt x="581" y="170"/>
                    <a:pt x="581" y="170"/>
                  </a:cubicBezTo>
                  <a:cubicBezTo>
                    <a:pt x="581" y="169"/>
                    <a:pt x="581" y="169"/>
                    <a:pt x="582" y="169"/>
                  </a:cubicBezTo>
                  <a:cubicBezTo>
                    <a:pt x="584" y="169"/>
                    <a:pt x="584" y="169"/>
                    <a:pt x="584" y="169"/>
                  </a:cubicBezTo>
                  <a:cubicBezTo>
                    <a:pt x="584" y="169"/>
                    <a:pt x="585" y="169"/>
                    <a:pt x="585" y="169"/>
                  </a:cubicBezTo>
                  <a:cubicBezTo>
                    <a:pt x="586" y="169"/>
                    <a:pt x="586" y="168"/>
                    <a:pt x="587" y="168"/>
                  </a:cubicBezTo>
                  <a:cubicBezTo>
                    <a:pt x="587" y="168"/>
                    <a:pt x="587" y="168"/>
                    <a:pt x="587" y="167"/>
                  </a:cubicBezTo>
                  <a:cubicBezTo>
                    <a:pt x="587" y="167"/>
                    <a:pt x="588" y="167"/>
                    <a:pt x="588" y="167"/>
                  </a:cubicBezTo>
                  <a:cubicBezTo>
                    <a:pt x="588" y="167"/>
                    <a:pt x="588" y="167"/>
                    <a:pt x="588" y="167"/>
                  </a:cubicBezTo>
                  <a:cubicBezTo>
                    <a:pt x="589" y="167"/>
                    <a:pt x="589" y="167"/>
                    <a:pt x="589" y="167"/>
                  </a:cubicBezTo>
                  <a:cubicBezTo>
                    <a:pt x="591" y="166"/>
                    <a:pt x="591" y="166"/>
                    <a:pt x="592" y="165"/>
                  </a:cubicBezTo>
                  <a:cubicBezTo>
                    <a:pt x="592" y="165"/>
                    <a:pt x="592" y="165"/>
                    <a:pt x="592" y="165"/>
                  </a:cubicBezTo>
                  <a:cubicBezTo>
                    <a:pt x="592" y="164"/>
                    <a:pt x="593" y="164"/>
                    <a:pt x="593" y="163"/>
                  </a:cubicBezTo>
                  <a:cubicBezTo>
                    <a:pt x="593" y="162"/>
                    <a:pt x="593" y="162"/>
                    <a:pt x="593" y="161"/>
                  </a:cubicBezTo>
                  <a:cubicBezTo>
                    <a:pt x="593" y="161"/>
                    <a:pt x="593" y="161"/>
                    <a:pt x="593" y="161"/>
                  </a:cubicBezTo>
                  <a:cubicBezTo>
                    <a:pt x="593" y="161"/>
                    <a:pt x="593" y="161"/>
                    <a:pt x="594" y="161"/>
                  </a:cubicBezTo>
                  <a:cubicBezTo>
                    <a:pt x="594" y="161"/>
                    <a:pt x="594" y="161"/>
                    <a:pt x="594" y="160"/>
                  </a:cubicBezTo>
                  <a:cubicBezTo>
                    <a:pt x="595" y="160"/>
                    <a:pt x="595" y="160"/>
                    <a:pt x="595" y="160"/>
                  </a:cubicBezTo>
                  <a:cubicBezTo>
                    <a:pt x="596" y="160"/>
                    <a:pt x="596" y="160"/>
                    <a:pt x="596" y="159"/>
                  </a:cubicBezTo>
                  <a:cubicBezTo>
                    <a:pt x="596" y="159"/>
                    <a:pt x="596" y="159"/>
                    <a:pt x="596" y="159"/>
                  </a:cubicBezTo>
                  <a:cubicBezTo>
                    <a:pt x="597" y="159"/>
                    <a:pt x="597" y="159"/>
                    <a:pt x="598" y="159"/>
                  </a:cubicBezTo>
                  <a:cubicBezTo>
                    <a:pt x="599" y="159"/>
                    <a:pt x="600" y="159"/>
                    <a:pt x="601" y="158"/>
                  </a:cubicBezTo>
                  <a:cubicBezTo>
                    <a:pt x="601" y="158"/>
                    <a:pt x="601" y="158"/>
                    <a:pt x="601" y="158"/>
                  </a:cubicBezTo>
                  <a:cubicBezTo>
                    <a:pt x="601" y="158"/>
                    <a:pt x="601" y="159"/>
                    <a:pt x="600" y="160"/>
                  </a:cubicBezTo>
                  <a:cubicBezTo>
                    <a:pt x="600" y="160"/>
                    <a:pt x="599" y="161"/>
                    <a:pt x="599" y="161"/>
                  </a:cubicBezTo>
                  <a:cubicBezTo>
                    <a:pt x="598" y="162"/>
                    <a:pt x="598" y="162"/>
                    <a:pt x="597" y="163"/>
                  </a:cubicBezTo>
                  <a:cubicBezTo>
                    <a:pt x="597" y="163"/>
                    <a:pt x="597" y="163"/>
                    <a:pt x="597" y="163"/>
                  </a:cubicBezTo>
                  <a:cubicBezTo>
                    <a:pt x="596" y="163"/>
                    <a:pt x="596" y="164"/>
                    <a:pt x="595" y="164"/>
                  </a:cubicBezTo>
                  <a:cubicBezTo>
                    <a:pt x="594" y="165"/>
                    <a:pt x="594" y="165"/>
                    <a:pt x="593" y="166"/>
                  </a:cubicBezTo>
                  <a:cubicBezTo>
                    <a:pt x="593" y="166"/>
                    <a:pt x="592" y="167"/>
                    <a:pt x="591" y="167"/>
                  </a:cubicBezTo>
                  <a:cubicBezTo>
                    <a:pt x="590" y="168"/>
                    <a:pt x="590" y="168"/>
                    <a:pt x="589" y="168"/>
                  </a:cubicBezTo>
                  <a:cubicBezTo>
                    <a:pt x="587" y="169"/>
                    <a:pt x="587" y="171"/>
                    <a:pt x="586" y="172"/>
                  </a:cubicBezTo>
                  <a:cubicBezTo>
                    <a:pt x="585" y="172"/>
                    <a:pt x="585" y="172"/>
                    <a:pt x="585" y="172"/>
                  </a:cubicBezTo>
                  <a:cubicBezTo>
                    <a:pt x="585" y="173"/>
                    <a:pt x="583" y="174"/>
                    <a:pt x="582" y="175"/>
                  </a:cubicBezTo>
                  <a:cubicBezTo>
                    <a:pt x="582" y="175"/>
                    <a:pt x="581" y="175"/>
                    <a:pt x="580" y="175"/>
                  </a:cubicBezTo>
                  <a:cubicBezTo>
                    <a:pt x="579" y="175"/>
                    <a:pt x="579" y="175"/>
                    <a:pt x="578" y="175"/>
                  </a:cubicBezTo>
                  <a:cubicBezTo>
                    <a:pt x="576" y="176"/>
                    <a:pt x="575" y="177"/>
                    <a:pt x="574" y="178"/>
                  </a:cubicBezTo>
                  <a:cubicBezTo>
                    <a:pt x="573" y="178"/>
                    <a:pt x="573" y="178"/>
                    <a:pt x="573" y="178"/>
                  </a:cubicBezTo>
                  <a:cubicBezTo>
                    <a:pt x="573" y="178"/>
                    <a:pt x="573" y="179"/>
                    <a:pt x="572" y="179"/>
                  </a:cubicBezTo>
                  <a:cubicBezTo>
                    <a:pt x="572" y="179"/>
                    <a:pt x="572" y="179"/>
                    <a:pt x="572" y="180"/>
                  </a:cubicBezTo>
                  <a:cubicBezTo>
                    <a:pt x="571" y="180"/>
                    <a:pt x="571" y="181"/>
                    <a:pt x="572" y="181"/>
                  </a:cubicBezTo>
                  <a:cubicBezTo>
                    <a:pt x="572" y="182"/>
                    <a:pt x="573" y="182"/>
                    <a:pt x="574" y="182"/>
                  </a:cubicBezTo>
                  <a:cubicBezTo>
                    <a:pt x="574" y="182"/>
                    <a:pt x="575" y="182"/>
                    <a:pt x="576" y="182"/>
                  </a:cubicBezTo>
                  <a:cubicBezTo>
                    <a:pt x="576" y="182"/>
                    <a:pt x="576" y="182"/>
                    <a:pt x="576" y="182"/>
                  </a:cubicBezTo>
                  <a:cubicBezTo>
                    <a:pt x="576" y="182"/>
                    <a:pt x="577" y="182"/>
                    <a:pt x="577" y="182"/>
                  </a:cubicBezTo>
                  <a:cubicBezTo>
                    <a:pt x="577" y="181"/>
                    <a:pt x="577" y="181"/>
                    <a:pt x="577" y="181"/>
                  </a:cubicBezTo>
                  <a:cubicBezTo>
                    <a:pt x="577" y="181"/>
                    <a:pt x="577" y="181"/>
                    <a:pt x="577" y="181"/>
                  </a:cubicBezTo>
                  <a:cubicBezTo>
                    <a:pt x="577" y="182"/>
                    <a:pt x="577" y="182"/>
                    <a:pt x="577" y="182"/>
                  </a:cubicBezTo>
                  <a:cubicBezTo>
                    <a:pt x="578" y="183"/>
                    <a:pt x="578" y="183"/>
                    <a:pt x="578" y="183"/>
                  </a:cubicBezTo>
                  <a:cubicBezTo>
                    <a:pt x="578" y="183"/>
                    <a:pt x="578" y="183"/>
                    <a:pt x="578" y="183"/>
                  </a:cubicBezTo>
                  <a:cubicBezTo>
                    <a:pt x="578" y="184"/>
                    <a:pt x="577" y="185"/>
                    <a:pt x="577" y="186"/>
                  </a:cubicBezTo>
                  <a:cubicBezTo>
                    <a:pt x="577" y="187"/>
                    <a:pt x="577" y="188"/>
                    <a:pt x="578" y="188"/>
                  </a:cubicBezTo>
                  <a:cubicBezTo>
                    <a:pt x="578" y="189"/>
                    <a:pt x="579" y="189"/>
                    <a:pt x="580" y="188"/>
                  </a:cubicBezTo>
                  <a:cubicBezTo>
                    <a:pt x="580" y="188"/>
                    <a:pt x="581" y="188"/>
                    <a:pt x="581" y="188"/>
                  </a:cubicBezTo>
                  <a:cubicBezTo>
                    <a:pt x="582" y="188"/>
                    <a:pt x="582" y="188"/>
                    <a:pt x="582" y="188"/>
                  </a:cubicBezTo>
                  <a:cubicBezTo>
                    <a:pt x="582" y="188"/>
                    <a:pt x="582" y="188"/>
                    <a:pt x="583" y="188"/>
                  </a:cubicBezTo>
                  <a:cubicBezTo>
                    <a:pt x="583" y="188"/>
                    <a:pt x="584" y="188"/>
                    <a:pt x="585" y="187"/>
                  </a:cubicBezTo>
                  <a:cubicBezTo>
                    <a:pt x="585" y="187"/>
                    <a:pt x="585" y="187"/>
                    <a:pt x="585" y="187"/>
                  </a:cubicBezTo>
                  <a:cubicBezTo>
                    <a:pt x="586" y="187"/>
                    <a:pt x="586" y="187"/>
                    <a:pt x="586" y="187"/>
                  </a:cubicBezTo>
                  <a:cubicBezTo>
                    <a:pt x="587" y="187"/>
                    <a:pt x="588" y="186"/>
                    <a:pt x="588" y="186"/>
                  </a:cubicBezTo>
                  <a:cubicBezTo>
                    <a:pt x="588" y="185"/>
                    <a:pt x="589" y="185"/>
                    <a:pt x="589" y="185"/>
                  </a:cubicBezTo>
                  <a:cubicBezTo>
                    <a:pt x="590" y="185"/>
                    <a:pt x="590" y="184"/>
                    <a:pt x="591" y="184"/>
                  </a:cubicBezTo>
                  <a:cubicBezTo>
                    <a:pt x="592" y="184"/>
                    <a:pt x="593" y="184"/>
                    <a:pt x="593" y="184"/>
                  </a:cubicBezTo>
                  <a:cubicBezTo>
                    <a:pt x="594" y="183"/>
                    <a:pt x="595" y="183"/>
                    <a:pt x="596" y="182"/>
                  </a:cubicBezTo>
                  <a:cubicBezTo>
                    <a:pt x="596" y="182"/>
                    <a:pt x="597" y="182"/>
                    <a:pt x="597" y="181"/>
                  </a:cubicBezTo>
                  <a:cubicBezTo>
                    <a:pt x="597" y="181"/>
                    <a:pt x="598" y="181"/>
                    <a:pt x="598" y="181"/>
                  </a:cubicBezTo>
                  <a:cubicBezTo>
                    <a:pt x="598" y="180"/>
                    <a:pt x="598" y="180"/>
                    <a:pt x="599" y="180"/>
                  </a:cubicBezTo>
                  <a:cubicBezTo>
                    <a:pt x="599" y="180"/>
                    <a:pt x="599" y="180"/>
                    <a:pt x="599" y="181"/>
                  </a:cubicBezTo>
                  <a:cubicBezTo>
                    <a:pt x="599" y="182"/>
                    <a:pt x="600" y="182"/>
                    <a:pt x="601" y="182"/>
                  </a:cubicBezTo>
                  <a:cubicBezTo>
                    <a:pt x="601" y="182"/>
                    <a:pt x="601" y="182"/>
                    <a:pt x="601" y="182"/>
                  </a:cubicBezTo>
                  <a:cubicBezTo>
                    <a:pt x="601" y="183"/>
                    <a:pt x="601" y="183"/>
                    <a:pt x="601" y="184"/>
                  </a:cubicBezTo>
                  <a:cubicBezTo>
                    <a:pt x="602" y="184"/>
                    <a:pt x="602" y="185"/>
                    <a:pt x="602" y="185"/>
                  </a:cubicBezTo>
                  <a:cubicBezTo>
                    <a:pt x="602" y="185"/>
                    <a:pt x="603" y="185"/>
                    <a:pt x="603" y="186"/>
                  </a:cubicBezTo>
                  <a:cubicBezTo>
                    <a:pt x="603" y="186"/>
                    <a:pt x="603" y="186"/>
                    <a:pt x="603" y="187"/>
                  </a:cubicBezTo>
                  <a:cubicBezTo>
                    <a:pt x="603" y="187"/>
                    <a:pt x="604" y="187"/>
                    <a:pt x="604" y="188"/>
                  </a:cubicBezTo>
                  <a:cubicBezTo>
                    <a:pt x="604" y="189"/>
                    <a:pt x="605" y="189"/>
                    <a:pt x="606" y="189"/>
                  </a:cubicBezTo>
                  <a:cubicBezTo>
                    <a:pt x="606" y="189"/>
                    <a:pt x="607" y="189"/>
                    <a:pt x="607" y="189"/>
                  </a:cubicBezTo>
                  <a:cubicBezTo>
                    <a:pt x="608" y="189"/>
                    <a:pt x="608" y="189"/>
                    <a:pt x="608" y="189"/>
                  </a:cubicBezTo>
                  <a:cubicBezTo>
                    <a:pt x="608" y="188"/>
                    <a:pt x="609" y="188"/>
                    <a:pt x="609" y="188"/>
                  </a:cubicBezTo>
                  <a:cubicBezTo>
                    <a:pt x="610" y="188"/>
                    <a:pt x="610" y="188"/>
                    <a:pt x="611" y="188"/>
                  </a:cubicBezTo>
                  <a:cubicBezTo>
                    <a:pt x="611" y="187"/>
                    <a:pt x="611" y="187"/>
                    <a:pt x="611" y="187"/>
                  </a:cubicBezTo>
                  <a:cubicBezTo>
                    <a:pt x="612" y="188"/>
                    <a:pt x="612" y="188"/>
                    <a:pt x="612" y="188"/>
                  </a:cubicBezTo>
                  <a:cubicBezTo>
                    <a:pt x="612" y="188"/>
                    <a:pt x="612" y="188"/>
                    <a:pt x="612" y="188"/>
                  </a:cubicBezTo>
                  <a:cubicBezTo>
                    <a:pt x="612" y="188"/>
                    <a:pt x="614" y="188"/>
                    <a:pt x="614" y="187"/>
                  </a:cubicBezTo>
                  <a:cubicBezTo>
                    <a:pt x="615" y="187"/>
                    <a:pt x="615" y="186"/>
                    <a:pt x="615" y="185"/>
                  </a:cubicBezTo>
                  <a:cubicBezTo>
                    <a:pt x="615" y="184"/>
                    <a:pt x="615" y="184"/>
                    <a:pt x="615" y="184"/>
                  </a:cubicBezTo>
                  <a:cubicBezTo>
                    <a:pt x="615" y="184"/>
                    <a:pt x="615" y="184"/>
                    <a:pt x="615" y="183"/>
                  </a:cubicBezTo>
                  <a:cubicBezTo>
                    <a:pt x="615" y="183"/>
                    <a:pt x="616" y="182"/>
                    <a:pt x="616" y="182"/>
                  </a:cubicBezTo>
                  <a:cubicBezTo>
                    <a:pt x="616" y="181"/>
                    <a:pt x="615" y="180"/>
                    <a:pt x="614" y="180"/>
                  </a:cubicBezTo>
                  <a:cubicBezTo>
                    <a:pt x="614" y="180"/>
                    <a:pt x="614" y="180"/>
                    <a:pt x="614" y="180"/>
                  </a:cubicBezTo>
                  <a:cubicBezTo>
                    <a:pt x="615" y="179"/>
                    <a:pt x="616" y="178"/>
                    <a:pt x="615" y="177"/>
                  </a:cubicBezTo>
                  <a:cubicBezTo>
                    <a:pt x="615" y="177"/>
                    <a:pt x="615" y="176"/>
                    <a:pt x="615" y="176"/>
                  </a:cubicBezTo>
                  <a:cubicBezTo>
                    <a:pt x="614" y="176"/>
                    <a:pt x="614" y="175"/>
                    <a:pt x="614" y="175"/>
                  </a:cubicBezTo>
                  <a:cubicBezTo>
                    <a:pt x="614" y="175"/>
                    <a:pt x="614" y="174"/>
                    <a:pt x="614" y="174"/>
                  </a:cubicBezTo>
                  <a:cubicBezTo>
                    <a:pt x="614" y="173"/>
                    <a:pt x="614" y="172"/>
                    <a:pt x="613" y="171"/>
                  </a:cubicBezTo>
                  <a:cubicBezTo>
                    <a:pt x="613" y="171"/>
                    <a:pt x="613" y="171"/>
                    <a:pt x="612" y="170"/>
                  </a:cubicBezTo>
                  <a:cubicBezTo>
                    <a:pt x="612" y="170"/>
                    <a:pt x="612" y="170"/>
                    <a:pt x="612" y="170"/>
                  </a:cubicBezTo>
                  <a:cubicBezTo>
                    <a:pt x="612" y="170"/>
                    <a:pt x="611" y="169"/>
                    <a:pt x="611" y="170"/>
                  </a:cubicBezTo>
                  <a:cubicBezTo>
                    <a:pt x="611" y="169"/>
                    <a:pt x="612" y="169"/>
                    <a:pt x="612" y="169"/>
                  </a:cubicBezTo>
                  <a:cubicBezTo>
                    <a:pt x="612" y="168"/>
                    <a:pt x="612" y="168"/>
                    <a:pt x="612" y="168"/>
                  </a:cubicBezTo>
                  <a:cubicBezTo>
                    <a:pt x="613" y="167"/>
                    <a:pt x="613" y="166"/>
                    <a:pt x="612" y="165"/>
                  </a:cubicBezTo>
                  <a:cubicBezTo>
                    <a:pt x="612" y="164"/>
                    <a:pt x="611" y="164"/>
                    <a:pt x="610" y="164"/>
                  </a:cubicBezTo>
                  <a:cubicBezTo>
                    <a:pt x="610" y="164"/>
                    <a:pt x="610" y="164"/>
                    <a:pt x="610" y="164"/>
                  </a:cubicBezTo>
                  <a:cubicBezTo>
                    <a:pt x="610" y="164"/>
                    <a:pt x="610" y="164"/>
                    <a:pt x="610" y="163"/>
                  </a:cubicBezTo>
                  <a:cubicBezTo>
                    <a:pt x="610" y="163"/>
                    <a:pt x="610" y="162"/>
                    <a:pt x="610" y="162"/>
                  </a:cubicBezTo>
                  <a:cubicBezTo>
                    <a:pt x="609" y="161"/>
                    <a:pt x="608" y="161"/>
                    <a:pt x="607" y="161"/>
                  </a:cubicBezTo>
                  <a:cubicBezTo>
                    <a:pt x="607" y="161"/>
                    <a:pt x="607" y="160"/>
                    <a:pt x="607" y="160"/>
                  </a:cubicBezTo>
                  <a:cubicBezTo>
                    <a:pt x="608" y="160"/>
                    <a:pt x="608" y="159"/>
                    <a:pt x="608" y="159"/>
                  </a:cubicBezTo>
                  <a:cubicBezTo>
                    <a:pt x="608" y="159"/>
                    <a:pt x="608" y="159"/>
                    <a:pt x="608" y="159"/>
                  </a:cubicBezTo>
                  <a:cubicBezTo>
                    <a:pt x="609" y="158"/>
                    <a:pt x="610" y="157"/>
                    <a:pt x="610" y="157"/>
                  </a:cubicBezTo>
                  <a:cubicBezTo>
                    <a:pt x="610" y="156"/>
                    <a:pt x="610" y="156"/>
                    <a:pt x="610" y="156"/>
                  </a:cubicBezTo>
                  <a:cubicBezTo>
                    <a:pt x="610" y="155"/>
                    <a:pt x="611" y="154"/>
                    <a:pt x="611" y="154"/>
                  </a:cubicBezTo>
                  <a:cubicBezTo>
                    <a:pt x="610" y="153"/>
                    <a:pt x="610" y="153"/>
                    <a:pt x="610" y="153"/>
                  </a:cubicBezTo>
                  <a:cubicBezTo>
                    <a:pt x="610" y="152"/>
                    <a:pt x="610" y="152"/>
                    <a:pt x="610" y="152"/>
                  </a:cubicBezTo>
                  <a:cubicBezTo>
                    <a:pt x="611" y="151"/>
                    <a:pt x="611" y="151"/>
                    <a:pt x="611" y="150"/>
                  </a:cubicBezTo>
                  <a:cubicBezTo>
                    <a:pt x="611" y="150"/>
                    <a:pt x="611" y="149"/>
                    <a:pt x="611" y="149"/>
                  </a:cubicBezTo>
                  <a:cubicBezTo>
                    <a:pt x="611" y="149"/>
                    <a:pt x="610" y="148"/>
                    <a:pt x="610" y="148"/>
                  </a:cubicBezTo>
                  <a:cubicBezTo>
                    <a:pt x="611" y="148"/>
                    <a:pt x="611" y="148"/>
                    <a:pt x="611" y="148"/>
                  </a:cubicBezTo>
                  <a:cubicBezTo>
                    <a:pt x="611" y="149"/>
                    <a:pt x="611" y="149"/>
                    <a:pt x="611" y="149"/>
                  </a:cubicBezTo>
                  <a:cubicBezTo>
                    <a:pt x="612" y="149"/>
                    <a:pt x="612" y="149"/>
                    <a:pt x="613" y="149"/>
                  </a:cubicBezTo>
                  <a:cubicBezTo>
                    <a:pt x="614" y="149"/>
                    <a:pt x="614" y="149"/>
                    <a:pt x="615" y="149"/>
                  </a:cubicBezTo>
                  <a:cubicBezTo>
                    <a:pt x="615" y="149"/>
                    <a:pt x="615" y="149"/>
                    <a:pt x="615" y="149"/>
                  </a:cubicBezTo>
                  <a:cubicBezTo>
                    <a:pt x="615" y="150"/>
                    <a:pt x="615" y="151"/>
                    <a:pt x="615" y="152"/>
                  </a:cubicBezTo>
                  <a:cubicBezTo>
                    <a:pt x="616" y="152"/>
                    <a:pt x="617" y="153"/>
                    <a:pt x="618" y="153"/>
                  </a:cubicBezTo>
                  <a:cubicBezTo>
                    <a:pt x="619" y="153"/>
                    <a:pt x="619" y="153"/>
                    <a:pt x="620" y="152"/>
                  </a:cubicBezTo>
                  <a:cubicBezTo>
                    <a:pt x="620" y="153"/>
                    <a:pt x="620" y="153"/>
                    <a:pt x="620" y="153"/>
                  </a:cubicBezTo>
                  <a:cubicBezTo>
                    <a:pt x="620" y="153"/>
                    <a:pt x="620" y="154"/>
                    <a:pt x="620" y="154"/>
                  </a:cubicBezTo>
                  <a:cubicBezTo>
                    <a:pt x="620" y="155"/>
                    <a:pt x="621" y="155"/>
                    <a:pt x="622" y="155"/>
                  </a:cubicBezTo>
                  <a:cubicBezTo>
                    <a:pt x="623" y="155"/>
                    <a:pt x="623" y="155"/>
                    <a:pt x="624" y="154"/>
                  </a:cubicBezTo>
                  <a:cubicBezTo>
                    <a:pt x="624" y="154"/>
                    <a:pt x="624" y="153"/>
                    <a:pt x="625" y="153"/>
                  </a:cubicBezTo>
                  <a:cubicBezTo>
                    <a:pt x="625" y="153"/>
                    <a:pt x="625" y="153"/>
                    <a:pt x="625" y="153"/>
                  </a:cubicBezTo>
                  <a:cubicBezTo>
                    <a:pt x="625" y="154"/>
                    <a:pt x="626" y="154"/>
                    <a:pt x="627" y="154"/>
                  </a:cubicBezTo>
                  <a:cubicBezTo>
                    <a:pt x="627" y="154"/>
                    <a:pt x="628" y="154"/>
                    <a:pt x="628" y="154"/>
                  </a:cubicBezTo>
                  <a:cubicBezTo>
                    <a:pt x="629" y="154"/>
                    <a:pt x="629" y="153"/>
                    <a:pt x="630" y="153"/>
                  </a:cubicBezTo>
                  <a:cubicBezTo>
                    <a:pt x="631" y="153"/>
                    <a:pt x="631" y="153"/>
                    <a:pt x="631" y="153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32" y="153"/>
                    <a:pt x="633" y="153"/>
                    <a:pt x="634" y="153"/>
                  </a:cubicBezTo>
                  <a:cubicBezTo>
                    <a:pt x="635" y="153"/>
                    <a:pt x="635" y="152"/>
                    <a:pt x="636" y="152"/>
                  </a:cubicBezTo>
                  <a:cubicBezTo>
                    <a:pt x="636" y="152"/>
                    <a:pt x="636" y="152"/>
                    <a:pt x="636" y="152"/>
                  </a:cubicBezTo>
                  <a:cubicBezTo>
                    <a:pt x="636" y="151"/>
                    <a:pt x="637" y="151"/>
                    <a:pt x="637" y="151"/>
                  </a:cubicBezTo>
                  <a:cubicBezTo>
                    <a:pt x="637" y="152"/>
                    <a:pt x="637" y="152"/>
                    <a:pt x="637" y="152"/>
                  </a:cubicBezTo>
                  <a:cubicBezTo>
                    <a:pt x="638" y="152"/>
                    <a:pt x="638" y="152"/>
                    <a:pt x="639" y="151"/>
                  </a:cubicBezTo>
                  <a:cubicBezTo>
                    <a:pt x="640" y="151"/>
                    <a:pt x="640" y="151"/>
                    <a:pt x="640" y="151"/>
                  </a:cubicBezTo>
                  <a:cubicBezTo>
                    <a:pt x="641" y="150"/>
                    <a:pt x="641" y="150"/>
                    <a:pt x="641" y="150"/>
                  </a:cubicBezTo>
                  <a:cubicBezTo>
                    <a:pt x="641" y="150"/>
                    <a:pt x="641" y="150"/>
                    <a:pt x="641" y="150"/>
                  </a:cubicBezTo>
                  <a:cubicBezTo>
                    <a:pt x="641" y="149"/>
                    <a:pt x="641" y="149"/>
                    <a:pt x="641" y="149"/>
                  </a:cubicBezTo>
                  <a:cubicBezTo>
                    <a:pt x="641" y="149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7"/>
                    <a:pt x="642" y="147"/>
                    <a:pt x="642" y="147"/>
                  </a:cubicBezTo>
                  <a:cubicBezTo>
                    <a:pt x="642" y="147"/>
                    <a:pt x="642" y="147"/>
                    <a:pt x="642" y="147"/>
                  </a:cubicBezTo>
                  <a:cubicBezTo>
                    <a:pt x="643" y="148"/>
                    <a:pt x="643" y="148"/>
                    <a:pt x="643" y="148"/>
                  </a:cubicBezTo>
                  <a:cubicBezTo>
                    <a:pt x="643" y="148"/>
                    <a:pt x="643" y="148"/>
                    <a:pt x="644" y="148"/>
                  </a:cubicBezTo>
                  <a:cubicBezTo>
                    <a:pt x="644" y="148"/>
                    <a:pt x="644" y="148"/>
                    <a:pt x="644" y="148"/>
                  </a:cubicBezTo>
                  <a:cubicBezTo>
                    <a:pt x="644" y="148"/>
                    <a:pt x="644" y="148"/>
                    <a:pt x="644" y="148"/>
                  </a:cubicBezTo>
                  <a:cubicBezTo>
                    <a:pt x="645" y="148"/>
                    <a:pt x="645" y="148"/>
                    <a:pt x="645" y="148"/>
                  </a:cubicBezTo>
                  <a:cubicBezTo>
                    <a:pt x="645" y="148"/>
                    <a:pt x="645" y="148"/>
                    <a:pt x="645" y="148"/>
                  </a:cubicBezTo>
                  <a:cubicBezTo>
                    <a:pt x="645" y="148"/>
                    <a:pt x="646" y="148"/>
                    <a:pt x="646" y="148"/>
                  </a:cubicBezTo>
                  <a:cubicBezTo>
                    <a:pt x="646" y="148"/>
                    <a:pt x="646" y="148"/>
                    <a:pt x="646" y="148"/>
                  </a:cubicBezTo>
                  <a:cubicBezTo>
                    <a:pt x="647" y="148"/>
                    <a:pt x="647" y="148"/>
                    <a:pt x="647" y="148"/>
                  </a:cubicBezTo>
                  <a:cubicBezTo>
                    <a:pt x="647" y="148"/>
                    <a:pt x="647" y="148"/>
                    <a:pt x="648" y="147"/>
                  </a:cubicBezTo>
                  <a:cubicBezTo>
                    <a:pt x="648" y="147"/>
                    <a:pt x="649" y="147"/>
                    <a:pt x="649" y="146"/>
                  </a:cubicBezTo>
                  <a:cubicBezTo>
                    <a:pt x="649" y="146"/>
                    <a:pt x="649" y="146"/>
                    <a:pt x="650" y="145"/>
                  </a:cubicBezTo>
                  <a:cubicBezTo>
                    <a:pt x="650" y="145"/>
                    <a:pt x="650" y="145"/>
                    <a:pt x="650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50" y="144"/>
                    <a:pt x="650" y="144"/>
                    <a:pt x="650" y="144"/>
                  </a:cubicBezTo>
                  <a:cubicBezTo>
                    <a:pt x="650" y="144"/>
                    <a:pt x="650" y="143"/>
                    <a:pt x="650" y="143"/>
                  </a:cubicBezTo>
                  <a:cubicBezTo>
                    <a:pt x="650" y="143"/>
                    <a:pt x="650" y="143"/>
                    <a:pt x="650" y="143"/>
                  </a:cubicBezTo>
                  <a:cubicBezTo>
                    <a:pt x="650" y="142"/>
                    <a:pt x="650" y="142"/>
                    <a:pt x="650" y="142"/>
                  </a:cubicBezTo>
                  <a:cubicBezTo>
                    <a:pt x="650" y="142"/>
                    <a:pt x="650" y="142"/>
                    <a:pt x="650" y="142"/>
                  </a:cubicBezTo>
                  <a:cubicBezTo>
                    <a:pt x="651" y="141"/>
                    <a:pt x="651" y="141"/>
                    <a:pt x="651" y="140"/>
                  </a:cubicBezTo>
                  <a:cubicBezTo>
                    <a:pt x="651" y="140"/>
                    <a:pt x="652" y="139"/>
                    <a:pt x="652" y="139"/>
                  </a:cubicBezTo>
                  <a:cubicBezTo>
                    <a:pt x="652" y="138"/>
                    <a:pt x="652" y="138"/>
                    <a:pt x="652" y="138"/>
                  </a:cubicBezTo>
                  <a:cubicBezTo>
                    <a:pt x="652" y="138"/>
                    <a:pt x="652" y="138"/>
                    <a:pt x="653" y="138"/>
                  </a:cubicBezTo>
                  <a:cubicBezTo>
                    <a:pt x="653" y="137"/>
                    <a:pt x="653" y="137"/>
                    <a:pt x="653" y="137"/>
                  </a:cubicBezTo>
                  <a:cubicBezTo>
                    <a:pt x="655" y="135"/>
                    <a:pt x="654" y="134"/>
                    <a:pt x="654" y="133"/>
                  </a:cubicBezTo>
                  <a:cubicBezTo>
                    <a:pt x="653" y="133"/>
                    <a:pt x="653" y="133"/>
                    <a:pt x="653" y="133"/>
                  </a:cubicBezTo>
                  <a:cubicBezTo>
                    <a:pt x="653" y="133"/>
                    <a:pt x="653" y="133"/>
                    <a:pt x="653" y="133"/>
                  </a:cubicBezTo>
                  <a:cubicBezTo>
                    <a:pt x="653" y="132"/>
                    <a:pt x="654" y="132"/>
                    <a:pt x="655" y="132"/>
                  </a:cubicBezTo>
                  <a:cubicBezTo>
                    <a:pt x="655" y="131"/>
                    <a:pt x="655" y="131"/>
                    <a:pt x="655" y="131"/>
                  </a:cubicBezTo>
                  <a:cubicBezTo>
                    <a:pt x="656" y="131"/>
                    <a:pt x="656" y="131"/>
                    <a:pt x="656" y="131"/>
                  </a:cubicBezTo>
                  <a:cubicBezTo>
                    <a:pt x="656" y="131"/>
                    <a:pt x="656" y="131"/>
                    <a:pt x="656" y="131"/>
                  </a:cubicBezTo>
                  <a:cubicBezTo>
                    <a:pt x="657" y="131"/>
                    <a:pt x="657" y="131"/>
                    <a:pt x="657" y="131"/>
                  </a:cubicBezTo>
                  <a:cubicBezTo>
                    <a:pt x="657" y="132"/>
                    <a:pt x="657" y="132"/>
                    <a:pt x="658" y="132"/>
                  </a:cubicBezTo>
                  <a:cubicBezTo>
                    <a:pt x="659" y="133"/>
                    <a:pt x="660" y="132"/>
                    <a:pt x="660" y="132"/>
                  </a:cubicBezTo>
                  <a:cubicBezTo>
                    <a:pt x="661" y="132"/>
                    <a:pt x="662" y="131"/>
                    <a:pt x="662" y="131"/>
                  </a:cubicBezTo>
                  <a:cubicBezTo>
                    <a:pt x="663" y="131"/>
                    <a:pt x="664" y="131"/>
                    <a:pt x="665" y="129"/>
                  </a:cubicBezTo>
                  <a:cubicBezTo>
                    <a:pt x="665" y="128"/>
                    <a:pt x="665" y="128"/>
                    <a:pt x="664" y="127"/>
                  </a:cubicBezTo>
                  <a:cubicBezTo>
                    <a:pt x="664" y="127"/>
                    <a:pt x="665" y="127"/>
                    <a:pt x="665" y="127"/>
                  </a:cubicBezTo>
                  <a:cubicBezTo>
                    <a:pt x="665" y="127"/>
                    <a:pt x="665" y="126"/>
                    <a:pt x="665" y="126"/>
                  </a:cubicBezTo>
                  <a:cubicBezTo>
                    <a:pt x="666" y="126"/>
                    <a:pt x="666" y="126"/>
                    <a:pt x="666" y="126"/>
                  </a:cubicBezTo>
                  <a:cubicBezTo>
                    <a:pt x="666" y="126"/>
                    <a:pt x="667" y="126"/>
                    <a:pt x="668" y="126"/>
                  </a:cubicBezTo>
                  <a:cubicBezTo>
                    <a:pt x="669" y="125"/>
                    <a:pt x="669" y="123"/>
                    <a:pt x="668" y="122"/>
                  </a:cubicBezTo>
                  <a:cubicBezTo>
                    <a:pt x="668" y="122"/>
                    <a:pt x="668" y="122"/>
                    <a:pt x="667" y="122"/>
                  </a:cubicBezTo>
                  <a:cubicBezTo>
                    <a:pt x="667" y="122"/>
                    <a:pt x="667" y="121"/>
                    <a:pt x="667" y="121"/>
                  </a:cubicBezTo>
                  <a:cubicBezTo>
                    <a:pt x="668" y="121"/>
                    <a:pt x="668" y="121"/>
                    <a:pt x="668" y="121"/>
                  </a:cubicBezTo>
                  <a:cubicBezTo>
                    <a:pt x="668" y="120"/>
                    <a:pt x="668" y="119"/>
                    <a:pt x="667" y="118"/>
                  </a:cubicBezTo>
                  <a:cubicBezTo>
                    <a:pt x="667" y="118"/>
                    <a:pt x="667" y="118"/>
                    <a:pt x="667" y="118"/>
                  </a:cubicBezTo>
                  <a:cubicBezTo>
                    <a:pt x="668" y="117"/>
                    <a:pt x="668" y="116"/>
                    <a:pt x="667" y="116"/>
                  </a:cubicBezTo>
                  <a:cubicBezTo>
                    <a:pt x="667" y="115"/>
                    <a:pt x="667" y="115"/>
                    <a:pt x="666" y="115"/>
                  </a:cubicBezTo>
                  <a:cubicBezTo>
                    <a:pt x="667" y="115"/>
                    <a:pt x="668" y="115"/>
                    <a:pt x="669" y="114"/>
                  </a:cubicBezTo>
                  <a:cubicBezTo>
                    <a:pt x="669" y="114"/>
                    <a:pt x="669" y="114"/>
                    <a:pt x="669" y="114"/>
                  </a:cubicBezTo>
                  <a:cubicBezTo>
                    <a:pt x="669" y="115"/>
                    <a:pt x="670" y="115"/>
                    <a:pt x="670" y="116"/>
                  </a:cubicBezTo>
                  <a:cubicBezTo>
                    <a:pt x="670" y="116"/>
                    <a:pt x="670" y="116"/>
                    <a:pt x="670" y="116"/>
                  </a:cubicBezTo>
                  <a:cubicBezTo>
                    <a:pt x="671" y="117"/>
                    <a:pt x="671" y="118"/>
                    <a:pt x="673" y="118"/>
                  </a:cubicBezTo>
                  <a:cubicBezTo>
                    <a:pt x="673" y="118"/>
                    <a:pt x="674" y="118"/>
                    <a:pt x="674" y="117"/>
                  </a:cubicBezTo>
                  <a:cubicBezTo>
                    <a:pt x="675" y="117"/>
                    <a:pt x="675" y="117"/>
                    <a:pt x="675" y="117"/>
                  </a:cubicBezTo>
                  <a:cubicBezTo>
                    <a:pt x="675" y="117"/>
                    <a:pt x="675" y="117"/>
                    <a:pt x="676" y="116"/>
                  </a:cubicBezTo>
                  <a:cubicBezTo>
                    <a:pt x="676" y="117"/>
                    <a:pt x="678" y="117"/>
                    <a:pt x="678" y="116"/>
                  </a:cubicBezTo>
                  <a:cubicBezTo>
                    <a:pt x="679" y="116"/>
                    <a:pt x="679" y="115"/>
                    <a:pt x="679" y="115"/>
                  </a:cubicBezTo>
                  <a:cubicBezTo>
                    <a:pt x="680" y="115"/>
                    <a:pt x="681" y="115"/>
                    <a:pt x="681" y="115"/>
                  </a:cubicBezTo>
                  <a:cubicBezTo>
                    <a:pt x="681" y="115"/>
                    <a:pt x="681" y="115"/>
                    <a:pt x="681" y="115"/>
                  </a:cubicBezTo>
                  <a:cubicBezTo>
                    <a:pt x="681" y="116"/>
                    <a:pt x="681" y="116"/>
                    <a:pt x="681" y="116"/>
                  </a:cubicBezTo>
                  <a:cubicBezTo>
                    <a:pt x="682" y="117"/>
                    <a:pt x="683" y="117"/>
                    <a:pt x="684" y="117"/>
                  </a:cubicBezTo>
                  <a:cubicBezTo>
                    <a:pt x="684" y="117"/>
                    <a:pt x="684" y="118"/>
                    <a:pt x="684" y="118"/>
                  </a:cubicBezTo>
                  <a:cubicBezTo>
                    <a:pt x="685" y="118"/>
                    <a:pt x="685" y="118"/>
                    <a:pt x="686" y="118"/>
                  </a:cubicBezTo>
                  <a:cubicBezTo>
                    <a:pt x="686" y="118"/>
                    <a:pt x="687" y="118"/>
                    <a:pt x="687" y="118"/>
                  </a:cubicBezTo>
                  <a:cubicBezTo>
                    <a:pt x="687" y="118"/>
                    <a:pt x="687" y="118"/>
                    <a:pt x="688" y="118"/>
                  </a:cubicBezTo>
                  <a:cubicBezTo>
                    <a:pt x="689" y="119"/>
                    <a:pt x="690" y="119"/>
                    <a:pt x="691" y="118"/>
                  </a:cubicBezTo>
                  <a:cubicBezTo>
                    <a:pt x="692" y="118"/>
                    <a:pt x="693" y="117"/>
                    <a:pt x="693" y="117"/>
                  </a:cubicBezTo>
                  <a:cubicBezTo>
                    <a:pt x="693" y="117"/>
                    <a:pt x="693" y="117"/>
                    <a:pt x="693" y="117"/>
                  </a:cubicBezTo>
                  <a:cubicBezTo>
                    <a:pt x="693" y="116"/>
                    <a:pt x="693" y="116"/>
                    <a:pt x="694" y="116"/>
                  </a:cubicBezTo>
                  <a:cubicBezTo>
                    <a:pt x="694" y="116"/>
                    <a:pt x="694" y="116"/>
                    <a:pt x="694" y="116"/>
                  </a:cubicBezTo>
                  <a:cubicBezTo>
                    <a:pt x="695" y="115"/>
                    <a:pt x="695" y="115"/>
                    <a:pt x="695" y="115"/>
                  </a:cubicBezTo>
                  <a:cubicBezTo>
                    <a:pt x="695" y="115"/>
                    <a:pt x="696" y="115"/>
                    <a:pt x="696" y="115"/>
                  </a:cubicBezTo>
                  <a:cubicBezTo>
                    <a:pt x="696" y="116"/>
                    <a:pt x="697" y="116"/>
                    <a:pt x="697" y="116"/>
                  </a:cubicBezTo>
                  <a:cubicBezTo>
                    <a:pt x="697" y="116"/>
                    <a:pt x="697" y="116"/>
                    <a:pt x="696" y="116"/>
                  </a:cubicBezTo>
                  <a:cubicBezTo>
                    <a:pt x="696" y="117"/>
                    <a:pt x="696" y="117"/>
                    <a:pt x="695" y="118"/>
                  </a:cubicBezTo>
                  <a:cubicBezTo>
                    <a:pt x="694" y="118"/>
                    <a:pt x="693" y="119"/>
                    <a:pt x="693" y="120"/>
                  </a:cubicBezTo>
                  <a:cubicBezTo>
                    <a:pt x="693" y="121"/>
                    <a:pt x="693" y="122"/>
                    <a:pt x="693" y="122"/>
                  </a:cubicBezTo>
                  <a:cubicBezTo>
                    <a:pt x="693" y="122"/>
                    <a:pt x="694" y="123"/>
                    <a:pt x="694" y="123"/>
                  </a:cubicBezTo>
                  <a:cubicBezTo>
                    <a:pt x="694" y="123"/>
                    <a:pt x="694" y="123"/>
                    <a:pt x="694" y="124"/>
                  </a:cubicBezTo>
                  <a:cubicBezTo>
                    <a:pt x="694" y="124"/>
                    <a:pt x="695" y="125"/>
                    <a:pt x="696" y="125"/>
                  </a:cubicBezTo>
                  <a:cubicBezTo>
                    <a:pt x="696" y="125"/>
                    <a:pt x="696" y="125"/>
                    <a:pt x="696" y="125"/>
                  </a:cubicBezTo>
                  <a:cubicBezTo>
                    <a:pt x="696" y="126"/>
                    <a:pt x="696" y="126"/>
                    <a:pt x="696" y="127"/>
                  </a:cubicBezTo>
                  <a:cubicBezTo>
                    <a:pt x="696" y="127"/>
                    <a:pt x="696" y="127"/>
                    <a:pt x="696" y="127"/>
                  </a:cubicBezTo>
                  <a:cubicBezTo>
                    <a:pt x="696" y="128"/>
                    <a:pt x="696" y="128"/>
                    <a:pt x="696" y="128"/>
                  </a:cubicBezTo>
                  <a:cubicBezTo>
                    <a:pt x="696" y="128"/>
                    <a:pt x="696" y="128"/>
                    <a:pt x="696" y="128"/>
                  </a:cubicBezTo>
                  <a:cubicBezTo>
                    <a:pt x="696" y="129"/>
                    <a:pt x="696" y="129"/>
                    <a:pt x="696" y="129"/>
                  </a:cubicBezTo>
                  <a:cubicBezTo>
                    <a:pt x="696" y="129"/>
                    <a:pt x="696" y="129"/>
                    <a:pt x="696" y="129"/>
                  </a:cubicBezTo>
                  <a:cubicBezTo>
                    <a:pt x="696" y="128"/>
                    <a:pt x="696" y="128"/>
                    <a:pt x="696" y="128"/>
                  </a:cubicBezTo>
                  <a:cubicBezTo>
                    <a:pt x="695" y="128"/>
                    <a:pt x="695" y="128"/>
                    <a:pt x="695" y="128"/>
                  </a:cubicBezTo>
                  <a:cubicBezTo>
                    <a:pt x="695" y="128"/>
                    <a:pt x="694" y="128"/>
                    <a:pt x="694" y="128"/>
                  </a:cubicBezTo>
                  <a:cubicBezTo>
                    <a:pt x="693" y="128"/>
                    <a:pt x="692" y="128"/>
                    <a:pt x="691" y="129"/>
                  </a:cubicBezTo>
                  <a:cubicBezTo>
                    <a:pt x="690" y="129"/>
                    <a:pt x="690" y="130"/>
                    <a:pt x="690" y="130"/>
                  </a:cubicBezTo>
                  <a:cubicBezTo>
                    <a:pt x="690" y="130"/>
                    <a:pt x="690" y="130"/>
                    <a:pt x="690" y="130"/>
                  </a:cubicBezTo>
                  <a:cubicBezTo>
                    <a:pt x="690" y="130"/>
                    <a:pt x="690" y="130"/>
                    <a:pt x="689" y="130"/>
                  </a:cubicBezTo>
                  <a:cubicBezTo>
                    <a:pt x="689" y="131"/>
                    <a:pt x="688" y="131"/>
                    <a:pt x="687" y="133"/>
                  </a:cubicBezTo>
                  <a:cubicBezTo>
                    <a:pt x="688" y="134"/>
                    <a:pt x="688" y="134"/>
                    <a:pt x="688" y="134"/>
                  </a:cubicBezTo>
                  <a:cubicBezTo>
                    <a:pt x="689" y="134"/>
                    <a:pt x="689" y="134"/>
                    <a:pt x="689" y="134"/>
                  </a:cubicBezTo>
                  <a:cubicBezTo>
                    <a:pt x="689" y="134"/>
                    <a:pt x="689" y="134"/>
                    <a:pt x="690" y="134"/>
                  </a:cubicBezTo>
                  <a:cubicBezTo>
                    <a:pt x="691" y="134"/>
                    <a:pt x="691" y="134"/>
                    <a:pt x="691" y="134"/>
                  </a:cubicBezTo>
                  <a:cubicBezTo>
                    <a:pt x="691" y="134"/>
                    <a:pt x="691" y="134"/>
                    <a:pt x="691" y="134"/>
                  </a:cubicBezTo>
                  <a:cubicBezTo>
                    <a:pt x="692" y="134"/>
                    <a:pt x="693" y="134"/>
                    <a:pt x="693" y="134"/>
                  </a:cubicBezTo>
                  <a:cubicBezTo>
                    <a:pt x="694" y="134"/>
                    <a:pt x="695" y="133"/>
                    <a:pt x="695" y="133"/>
                  </a:cubicBezTo>
                  <a:cubicBezTo>
                    <a:pt x="695" y="133"/>
                    <a:pt x="695" y="134"/>
                    <a:pt x="696" y="134"/>
                  </a:cubicBezTo>
                  <a:cubicBezTo>
                    <a:pt x="696" y="134"/>
                    <a:pt x="696" y="135"/>
                    <a:pt x="696" y="136"/>
                  </a:cubicBezTo>
                  <a:cubicBezTo>
                    <a:pt x="696" y="136"/>
                    <a:pt x="696" y="136"/>
                    <a:pt x="697" y="136"/>
                  </a:cubicBezTo>
                  <a:cubicBezTo>
                    <a:pt x="697" y="136"/>
                    <a:pt x="697" y="136"/>
                    <a:pt x="697" y="136"/>
                  </a:cubicBezTo>
                  <a:cubicBezTo>
                    <a:pt x="697" y="136"/>
                    <a:pt x="697" y="136"/>
                    <a:pt x="697" y="136"/>
                  </a:cubicBezTo>
                  <a:cubicBezTo>
                    <a:pt x="697" y="137"/>
                    <a:pt x="697" y="137"/>
                    <a:pt x="697" y="137"/>
                  </a:cubicBezTo>
                  <a:cubicBezTo>
                    <a:pt x="696" y="138"/>
                    <a:pt x="695" y="139"/>
                    <a:pt x="696" y="140"/>
                  </a:cubicBezTo>
                  <a:cubicBezTo>
                    <a:pt x="696" y="140"/>
                    <a:pt x="697" y="141"/>
                    <a:pt x="698" y="141"/>
                  </a:cubicBezTo>
                  <a:cubicBezTo>
                    <a:pt x="698" y="141"/>
                    <a:pt x="698" y="141"/>
                    <a:pt x="698" y="141"/>
                  </a:cubicBezTo>
                  <a:cubicBezTo>
                    <a:pt x="698" y="141"/>
                    <a:pt x="698" y="141"/>
                    <a:pt x="698" y="141"/>
                  </a:cubicBezTo>
                  <a:cubicBezTo>
                    <a:pt x="698" y="141"/>
                    <a:pt x="698" y="141"/>
                    <a:pt x="698" y="141"/>
                  </a:cubicBezTo>
                  <a:cubicBezTo>
                    <a:pt x="697" y="142"/>
                    <a:pt x="697" y="142"/>
                    <a:pt x="698" y="143"/>
                  </a:cubicBezTo>
                  <a:cubicBezTo>
                    <a:pt x="698" y="143"/>
                    <a:pt x="698" y="143"/>
                    <a:pt x="698" y="143"/>
                  </a:cubicBezTo>
                  <a:cubicBezTo>
                    <a:pt x="697" y="144"/>
                    <a:pt x="695" y="145"/>
                    <a:pt x="695" y="147"/>
                  </a:cubicBezTo>
                  <a:cubicBezTo>
                    <a:pt x="694" y="148"/>
                    <a:pt x="695" y="149"/>
                    <a:pt x="695" y="149"/>
                  </a:cubicBezTo>
                  <a:cubicBezTo>
                    <a:pt x="695" y="149"/>
                    <a:pt x="694" y="150"/>
                    <a:pt x="694" y="150"/>
                  </a:cubicBezTo>
                  <a:cubicBezTo>
                    <a:pt x="693" y="150"/>
                    <a:pt x="692" y="151"/>
                    <a:pt x="692" y="152"/>
                  </a:cubicBezTo>
                  <a:cubicBezTo>
                    <a:pt x="692" y="152"/>
                    <a:pt x="692" y="152"/>
                    <a:pt x="692" y="153"/>
                  </a:cubicBezTo>
                  <a:cubicBezTo>
                    <a:pt x="691" y="153"/>
                    <a:pt x="691" y="153"/>
                    <a:pt x="690" y="153"/>
                  </a:cubicBezTo>
                  <a:cubicBezTo>
                    <a:pt x="689" y="153"/>
                    <a:pt x="688" y="153"/>
                    <a:pt x="687" y="154"/>
                  </a:cubicBezTo>
                  <a:cubicBezTo>
                    <a:pt x="686" y="155"/>
                    <a:pt x="685" y="156"/>
                    <a:pt x="685" y="156"/>
                  </a:cubicBezTo>
                  <a:cubicBezTo>
                    <a:pt x="685" y="157"/>
                    <a:pt x="685" y="157"/>
                    <a:pt x="685" y="157"/>
                  </a:cubicBezTo>
                  <a:cubicBezTo>
                    <a:pt x="684" y="157"/>
                    <a:pt x="683" y="158"/>
                    <a:pt x="682" y="158"/>
                  </a:cubicBezTo>
                  <a:cubicBezTo>
                    <a:pt x="681" y="158"/>
                    <a:pt x="681" y="158"/>
                    <a:pt x="681" y="158"/>
                  </a:cubicBezTo>
                  <a:cubicBezTo>
                    <a:pt x="681" y="159"/>
                    <a:pt x="680" y="159"/>
                    <a:pt x="679" y="160"/>
                  </a:cubicBezTo>
                  <a:cubicBezTo>
                    <a:pt x="678" y="160"/>
                    <a:pt x="677" y="160"/>
                    <a:pt x="677" y="160"/>
                  </a:cubicBezTo>
                  <a:cubicBezTo>
                    <a:pt x="675" y="161"/>
                    <a:pt x="673" y="161"/>
                    <a:pt x="671" y="163"/>
                  </a:cubicBezTo>
                  <a:cubicBezTo>
                    <a:pt x="670" y="163"/>
                    <a:pt x="669" y="165"/>
                    <a:pt x="669" y="167"/>
                  </a:cubicBezTo>
                  <a:cubicBezTo>
                    <a:pt x="669" y="168"/>
                    <a:pt x="669" y="168"/>
                    <a:pt x="669" y="168"/>
                  </a:cubicBezTo>
                  <a:cubicBezTo>
                    <a:pt x="670" y="169"/>
                    <a:pt x="670" y="169"/>
                    <a:pt x="669" y="170"/>
                  </a:cubicBezTo>
                  <a:cubicBezTo>
                    <a:pt x="669" y="170"/>
                    <a:pt x="669" y="171"/>
                    <a:pt x="668" y="171"/>
                  </a:cubicBezTo>
                  <a:cubicBezTo>
                    <a:pt x="668" y="170"/>
                    <a:pt x="667" y="170"/>
                    <a:pt x="666" y="170"/>
                  </a:cubicBezTo>
                  <a:cubicBezTo>
                    <a:pt x="665" y="170"/>
                    <a:pt x="665" y="171"/>
                    <a:pt x="664" y="171"/>
                  </a:cubicBezTo>
                  <a:cubicBezTo>
                    <a:pt x="664" y="171"/>
                    <a:pt x="664" y="171"/>
                    <a:pt x="664" y="171"/>
                  </a:cubicBezTo>
                  <a:cubicBezTo>
                    <a:pt x="663" y="171"/>
                    <a:pt x="663" y="172"/>
                    <a:pt x="663" y="172"/>
                  </a:cubicBezTo>
                  <a:cubicBezTo>
                    <a:pt x="663" y="172"/>
                    <a:pt x="663" y="171"/>
                    <a:pt x="662" y="171"/>
                  </a:cubicBezTo>
                  <a:cubicBezTo>
                    <a:pt x="662" y="171"/>
                    <a:pt x="661" y="170"/>
                    <a:pt x="660" y="170"/>
                  </a:cubicBezTo>
                  <a:cubicBezTo>
                    <a:pt x="660" y="170"/>
                    <a:pt x="660" y="170"/>
                    <a:pt x="660" y="170"/>
                  </a:cubicBezTo>
                  <a:cubicBezTo>
                    <a:pt x="659" y="170"/>
                    <a:pt x="658" y="171"/>
                    <a:pt x="658" y="171"/>
                  </a:cubicBezTo>
                  <a:cubicBezTo>
                    <a:pt x="658" y="171"/>
                    <a:pt x="658" y="171"/>
                    <a:pt x="658" y="171"/>
                  </a:cubicBezTo>
                  <a:cubicBezTo>
                    <a:pt x="657" y="171"/>
                    <a:pt x="657" y="170"/>
                    <a:pt x="656" y="170"/>
                  </a:cubicBezTo>
                  <a:cubicBezTo>
                    <a:pt x="655" y="170"/>
                    <a:pt x="654" y="170"/>
                    <a:pt x="653" y="171"/>
                  </a:cubicBezTo>
                  <a:cubicBezTo>
                    <a:pt x="653" y="171"/>
                    <a:pt x="653" y="171"/>
                    <a:pt x="653" y="171"/>
                  </a:cubicBezTo>
                  <a:cubicBezTo>
                    <a:pt x="653" y="171"/>
                    <a:pt x="653" y="171"/>
                    <a:pt x="653" y="171"/>
                  </a:cubicBezTo>
                  <a:cubicBezTo>
                    <a:pt x="653" y="170"/>
                    <a:pt x="653" y="170"/>
                    <a:pt x="652" y="170"/>
                  </a:cubicBezTo>
                  <a:cubicBezTo>
                    <a:pt x="652" y="169"/>
                    <a:pt x="651" y="168"/>
                    <a:pt x="650" y="168"/>
                  </a:cubicBezTo>
                  <a:cubicBezTo>
                    <a:pt x="648" y="167"/>
                    <a:pt x="646" y="168"/>
                    <a:pt x="645" y="170"/>
                  </a:cubicBezTo>
                  <a:cubicBezTo>
                    <a:pt x="644" y="171"/>
                    <a:pt x="644" y="171"/>
                    <a:pt x="644" y="171"/>
                  </a:cubicBezTo>
                  <a:cubicBezTo>
                    <a:pt x="644" y="171"/>
                    <a:pt x="643" y="171"/>
                    <a:pt x="643" y="171"/>
                  </a:cubicBezTo>
                  <a:cubicBezTo>
                    <a:pt x="641" y="170"/>
                    <a:pt x="639" y="171"/>
                    <a:pt x="638" y="172"/>
                  </a:cubicBezTo>
                  <a:cubicBezTo>
                    <a:pt x="636" y="173"/>
                    <a:pt x="635" y="174"/>
                    <a:pt x="634" y="175"/>
                  </a:cubicBezTo>
                  <a:cubicBezTo>
                    <a:pt x="634" y="176"/>
                    <a:pt x="632" y="178"/>
                    <a:pt x="632" y="180"/>
                  </a:cubicBezTo>
                  <a:cubicBezTo>
                    <a:pt x="632" y="180"/>
                    <a:pt x="633" y="181"/>
                    <a:pt x="633" y="181"/>
                  </a:cubicBezTo>
                  <a:cubicBezTo>
                    <a:pt x="634" y="182"/>
                    <a:pt x="634" y="182"/>
                    <a:pt x="635" y="182"/>
                  </a:cubicBezTo>
                  <a:cubicBezTo>
                    <a:pt x="635" y="182"/>
                    <a:pt x="635" y="182"/>
                    <a:pt x="635" y="182"/>
                  </a:cubicBezTo>
                  <a:cubicBezTo>
                    <a:pt x="636" y="182"/>
                    <a:pt x="636" y="182"/>
                    <a:pt x="636" y="182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4"/>
                    <a:pt x="641" y="185"/>
                    <a:pt x="642" y="184"/>
                  </a:cubicBezTo>
                  <a:cubicBezTo>
                    <a:pt x="643" y="184"/>
                    <a:pt x="643" y="183"/>
                    <a:pt x="643" y="183"/>
                  </a:cubicBezTo>
                  <a:cubicBezTo>
                    <a:pt x="643" y="183"/>
                    <a:pt x="643" y="182"/>
                    <a:pt x="644" y="182"/>
                  </a:cubicBezTo>
                  <a:cubicBezTo>
                    <a:pt x="644" y="182"/>
                    <a:pt x="644" y="182"/>
                    <a:pt x="644" y="183"/>
                  </a:cubicBezTo>
                  <a:cubicBezTo>
                    <a:pt x="645" y="183"/>
                    <a:pt x="645" y="183"/>
                    <a:pt x="645" y="183"/>
                  </a:cubicBezTo>
                  <a:cubicBezTo>
                    <a:pt x="647" y="183"/>
                    <a:pt x="647" y="182"/>
                    <a:pt x="648" y="181"/>
                  </a:cubicBezTo>
                  <a:cubicBezTo>
                    <a:pt x="648" y="182"/>
                    <a:pt x="648" y="183"/>
                    <a:pt x="649" y="183"/>
                  </a:cubicBezTo>
                  <a:cubicBezTo>
                    <a:pt x="650" y="184"/>
                    <a:pt x="651" y="184"/>
                    <a:pt x="652" y="184"/>
                  </a:cubicBezTo>
                  <a:cubicBezTo>
                    <a:pt x="653" y="184"/>
                    <a:pt x="653" y="184"/>
                    <a:pt x="654" y="183"/>
                  </a:cubicBezTo>
                  <a:cubicBezTo>
                    <a:pt x="654" y="183"/>
                    <a:pt x="654" y="183"/>
                    <a:pt x="654" y="183"/>
                  </a:cubicBezTo>
                  <a:cubicBezTo>
                    <a:pt x="654" y="184"/>
                    <a:pt x="655" y="185"/>
                    <a:pt x="656" y="185"/>
                  </a:cubicBezTo>
                  <a:cubicBezTo>
                    <a:pt x="656" y="185"/>
                    <a:pt x="656" y="185"/>
                    <a:pt x="657" y="185"/>
                  </a:cubicBezTo>
                  <a:cubicBezTo>
                    <a:pt x="657" y="185"/>
                    <a:pt x="657" y="185"/>
                    <a:pt x="657" y="185"/>
                  </a:cubicBezTo>
                  <a:cubicBezTo>
                    <a:pt x="657" y="185"/>
                    <a:pt x="657" y="186"/>
                    <a:pt x="657" y="186"/>
                  </a:cubicBezTo>
                  <a:cubicBezTo>
                    <a:pt x="657" y="187"/>
                    <a:pt x="657" y="187"/>
                    <a:pt x="656" y="188"/>
                  </a:cubicBezTo>
                  <a:cubicBezTo>
                    <a:pt x="656" y="188"/>
                    <a:pt x="655" y="188"/>
                    <a:pt x="655" y="189"/>
                  </a:cubicBezTo>
                  <a:cubicBezTo>
                    <a:pt x="655" y="190"/>
                    <a:pt x="656" y="190"/>
                    <a:pt x="656" y="190"/>
                  </a:cubicBezTo>
                  <a:cubicBezTo>
                    <a:pt x="656" y="190"/>
                    <a:pt x="656" y="190"/>
                    <a:pt x="656" y="190"/>
                  </a:cubicBezTo>
                  <a:cubicBezTo>
                    <a:pt x="656" y="191"/>
                    <a:pt x="655" y="192"/>
                    <a:pt x="655" y="193"/>
                  </a:cubicBezTo>
                  <a:cubicBezTo>
                    <a:pt x="655" y="194"/>
                    <a:pt x="656" y="194"/>
                    <a:pt x="657" y="194"/>
                  </a:cubicBezTo>
                  <a:cubicBezTo>
                    <a:pt x="657" y="195"/>
                    <a:pt x="657" y="195"/>
                    <a:pt x="657" y="195"/>
                  </a:cubicBezTo>
                  <a:cubicBezTo>
                    <a:pt x="657" y="195"/>
                    <a:pt x="657" y="195"/>
                    <a:pt x="657" y="195"/>
                  </a:cubicBezTo>
                  <a:cubicBezTo>
                    <a:pt x="655" y="195"/>
                    <a:pt x="655" y="196"/>
                    <a:pt x="655" y="197"/>
                  </a:cubicBezTo>
                  <a:cubicBezTo>
                    <a:pt x="654" y="198"/>
                    <a:pt x="655" y="199"/>
                    <a:pt x="656" y="199"/>
                  </a:cubicBezTo>
                  <a:cubicBezTo>
                    <a:pt x="656" y="199"/>
                    <a:pt x="656" y="200"/>
                    <a:pt x="656" y="200"/>
                  </a:cubicBezTo>
                  <a:cubicBezTo>
                    <a:pt x="656" y="200"/>
                    <a:pt x="655" y="201"/>
                    <a:pt x="656" y="202"/>
                  </a:cubicBezTo>
                  <a:cubicBezTo>
                    <a:pt x="656" y="203"/>
                    <a:pt x="657" y="203"/>
                    <a:pt x="658" y="203"/>
                  </a:cubicBezTo>
                  <a:cubicBezTo>
                    <a:pt x="658" y="203"/>
                    <a:pt x="658" y="203"/>
                    <a:pt x="658" y="203"/>
                  </a:cubicBezTo>
                  <a:cubicBezTo>
                    <a:pt x="658" y="204"/>
                    <a:pt x="658" y="204"/>
                    <a:pt x="658" y="205"/>
                  </a:cubicBezTo>
                  <a:cubicBezTo>
                    <a:pt x="659" y="206"/>
                    <a:pt x="659" y="206"/>
                    <a:pt x="660" y="206"/>
                  </a:cubicBezTo>
                  <a:cubicBezTo>
                    <a:pt x="660" y="206"/>
                    <a:pt x="660" y="206"/>
                    <a:pt x="660" y="206"/>
                  </a:cubicBezTo>
                  <a:cubicBezTo>
                    <a:pt x="660" y="206"/>
                    <a:pt x="660" y="206"/>
                    <a:pt x="660" y="207"/>
                  </a:cubicBezTo>
                  <a:cubicBezTo>
                    <a:pt x="660" y="207"/>
                    <a:pt x="660" y="208"/>
                    <a:pt x="661" y="209"/>
                  </a:cubicBezTo>
                  <a:cubicBezTo>
                    <a:pt x="661" y="210"/>
                    <a:pt x="661" y="210"/>
                    <a:pt x="661" y="210"/>
                  </a:cubicBezTo>
                  <a:cubicBezTo>
                    <a:pt x="662" y="210"/>
                    <a:pt x="662" y="210"/>
                    <a:pt x="662" y="210"/>
                  </a:cubicBezTo>
                  <a:cubicBezTo>
                    <a:pt x="663" y="210"/>
                    <a:pt x="663" y="209"/>
                    <a:pt x="663" y="209"/>
                  </a:cubicBezTo>
                  <a:cubicBezTo>
                    <a:pt x="663" y="209"/>
                    <a:pt x="663" y="210"/>
                    <a:pt x="663" y="210"/>
                  </a:cubicBezTo>
                  <a:cubicBezTo>
                    <a:pt x="663" y="211"/>
                    <a:pt x="664" y="212"/>
                    <a:pt x="664" y="212"/>
                  </a:cubicBezTo>
                  <a:cubicBezTo>
                    <a:pt x="664" y="213"/>
                    <a:pt x="664" y="213"/>
                    <a:pt x="664" y="213"/>
                  </a:cubicBezTo>
                  <a:cubicBezTo>
                    <a:pt x="664" y="213"/>
                    <a:pt x="664" y="213"/>
                    <a:pt x="665" y="213"/>
                  </a:cubicBezTo>
                  <a:cubicBezTo>
                    <a:pt x="665" y="214"/>
                    <a:pt x="665" y="214"/>
                    <a:pt x="665" y="215"/>
                  </a:cubicBezTo>
                  <a:cubicBezTo>
                    <a:pt x="666" y="216"/>
                    <a:pt x="667" y="216"/>
                    <a:pt x="667" y="217"/>
                  </a:cubicBezTo>
                  <a:cubicBezTo>
                    <a:pt x="668" y="218"/>
                    <a:pt x="670" y="218"/>
                    <a:pt x="671" y="219"/>
                  </a:cubicBezTo>
                  <a:cubicBezTo>
                    <a:pt x="672" y="219"/>
                    <a:pt x="672" y="219"/>
                    <a:pt x="673" y="220"/>
                  </a:cubicBezTo>
                  <a:cubicBezTo>
                    <a:pt x="673" y="220"/>
                    <a:pt x="673" y="220"/>
                    <a:pt x="673" y="220"/>
                  </a:cubicBezTo>
                  <a:cubicBezTo>
                    <a:pt x="674" y="220"/>
                    <a:pt x="674" y="220"/>
                    <a:pt x="674" y="221"/>
                  </a:cubicBezTo>
                  <a:cubicBezTo>
                    <a:pt x="675" y="221"/>
                    <a:pt x="675" y="221"/>
                    <a:pt x="675" y="221"/>
                  </a:cubicBezTo>
                  <a:cubicBezTo>
                    <a:pt x="675" y="221"/>
                    <a:pt x="676" y="222"/>
                    <a:pt x="677" y="222"/>
                  </a:cubicBezTo>
                  <a:cubicBezTo>
                    <a:pt x="677" y="222"/>
                    <a:pt x="678" y="222"/>
                    <a:pt x="679" y="222"/>
                  </a:cubicBezTo>
                  <a:cubicBezTo>
                    <a:pt x="679" y="221"/>
                    <a:pt x="679" y="220"/>
                    <a:pt x="679" y="219"/>
                  </a:cubicBezTo>
                  <a:cubicBezTo>
                    <a:pt x="679" y="219"/>
                    <a:pt x="679" y="219"/>
                    <a:pt x="679" y="219"/>
                  </a:cubicBezTo>
                  <a:cubicBezTo>
                    <a:pt x="679" y="219"/>
                    <a:pt x="680" y="219"/>
                    <a:pt x="680" y="219"/>
                  </a:cubicBezTo>
                  <a:cubicBezTo>
                    <a:pt x="680" y="219"/>
                    <a:pt x="681" y="219"/>
                    <a:pt x="682" y="218"/>
                  </a:cubicBezTo>
                  <a:cubicBezTo>
                    <a:pt x="682" y="218"/>
                    <a:pt x="682" y="217"/>
                    <a:pt x="682" y="217"/>
                  </a:cubicBezTo>
                  <a:cubicBezTo>
                    <a:pt x="682" y="216"/>
                    <a:pt x="682" y="216"/>
                    <a:pt x="682" y="215"/>
                  </a:cubicBezTo>
                  <a:cubicBezTo>
                    <a:pt x="682" y="215"/>
                    <a:pt x="682" y="214"/>
                    <a:pt x="682" y="214"/>
                  </a:cubicBezTo>
                  <a:cubicBezTo>
                    <a:pt x="682" y="213"/>
                    <a:pt x="682" y="211"/>
                    <a:pt x="682" y="210"/>
                  </a:cubicBezTo>
                  <a:cubicBezTo>
                    <a:pt x="681" y="210"/>
                    <a:pt x="681" y="210"/>
                    <a:pt x="681" y="210"/>
                  </a:cubicBezTo>
                  <a:cubicBezTo>
                    <a:pt x="681" y="210"/>
                    <a:pt x="681" y="209"/>
                    <a:pt x="681" y="209"/>
                  </a:cubicBezTo>
                  <a:cubicBezTo>
                    <a:pt x="681" y="209"/>
                    <a:pt x="681" y="209"/>
                    <a:pt x="681" y="209"/>
                  </a:cubicBezTo>
                  <a:cubicBezTo>
                    <a:pt x="681" y="209"/>
                    <a:pt x="681" y="208"/>
                    <a:pt x="680" y="208"/>
                  </a:cubicBezTo>
                  <a:cubicBezTo>
                    <a:pt x="680" y="207"/>
                    <a:pt x="680" y="207"/>
                    <a:pt x="679" y="207"/>
                  </a:cubicBezTo>
                  <a:cubicBezTo>
                    <a:pt x="679" y="207"/>
                    <a:pt x="679" y="206"/>
                    <a:pt x="679" y="206"/>
                  </a:cubicBezTo>
                  <a:cubicBezTo>
                    <a:pt x="679" y="206"/>
                    <a:pt x="679" y="206"/>
                    <a:pt x="679" y="205"/>
                  </a:cubicBezTo>
                  <a:cubicBezTo>
                    <a:pt x="679" y="205"/>
                    <a:pt x="679" y="205"/>
                    <a:pt x="679" y="204"/>
                  </a:cubicBezTo>
                  <a:cubicBezTo>
                    <a:pt x="679" y="204"/>
                    <a:pt x="680" y="204"/>
                    <a:pt x="680" y="204"/>
                  </a:cubicBezTo>
                  <a:cubicBezTo>
                    <a:pt x="680" y="203"/>
                    <a:pt x="680" y="203"/>
                    <a:pt x="680" y="202"/>
                  </a:cubicBezTo>
                  <a:cubicBezTo>
                    <a:pt x="681" y="203"/>
                    <a:pt x="682" y="203"/>
                    <a:pt x="683" y="202"/>
                  </a:cubicBezTo>
                  <a:cubicBezTo>
                    <a:pt x="683" y="203"/>
                    <a:pt x="683" y="204"/>
                    <a:pt x="684" y="205"/>
                  </a:cubicBezTo>
                  <a:cubicBezTo>
                    <a:pt x="684" y="205"/>
                    <a:pt x="684" y="205"/>
                    <a:pt x="684" y="206"/>
                  </a:cubicBezTo>
                  <a:cubicBezTo>
                    <a:pt x="684" y="206"/>
                    <a:pt x="684" y="206"/>
                    <a:pt x="685" y="207"/>
                  </a:cubicBezTo>
                  <a:cubicBezTo>
                    <a:pt x="685" y="208"/>
                    <a:pt x="685" y="208"/>
                    <a:pt x="686" y="209"/>
                  </a:cubicBezTo>
                  <a:cubicBezTo>
                    <a:pt x="686" y="209"/>
                    <a:pt x="686" y="210"/>
                    <a:pt x="687" y="210"/>
                  </a:cubicBezTo>
                  <a:cubicBezTo>
                    <a:pt x="686" y="211"/>
                    <a:pt x="686" y="212"/>
                    <a:pt x="686" y="213"/>
                  </a:cubicBezTo>
                  <a:cubicBezTo>
                    <a:pt x="686" y="214"/>
                    <a:pt x="687" y="215"/>
                    <a:pt x="688" y="215"/>
                  </a:cubicBezTo>
                  <a:cubicBezTo>
                    <a:pt x="689" y="215"/>
                    <a:pt x="689" y="215"/>
                    <a:pt x="690" y="215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1" y="214"/>
                    <a:pt x="692" y="214"/>
                    <a:pt x="692" y="213"/>
                  </a:cubicBezTo>
                  <a:cubicBezTo>
                    <a:pt x="693" y="213"/>
                    <a:pt x="693" y="212"/>
                    <a:pt x="693" y="212"/>
                  </a:cubicBezTo>
                  <a:cubicBezTo>
                    <a:pt x="693" y="212"/>
                    <a:pt x="694" y="212"/>
                    <a:pt x="694" y="212"/>
                  </a:cubicBezTo>
                  <a:cubicBezTo>
                    <a:pt x="695" y="212"/>
                    <a:pt x="695" y="212"/>
                    <a:pt x="695" y="212"/>
                  </a:cubicBezTo>
                  <a:cubicBezTo>
                    <a:pt x="696" y="212"/>
                    <a:pt x="696" y="211"/>
                    <a:pt x="697" y="211"/>
                  </a:cubicBezTo>
                  <a:cubicBezTo>
                    <a:pt x="697" y="210"/>
                    <a:pt x="697" y="210"/>
                    <a:pt x="697" y="209"/>
                  </a:cubicBezTo>
                  <a:cubicBezTo>
                    <a:pt x="697" y="209"/>
                    <a:pt x="698" y="209"/>
                    <a:pt x="698" y="209"/>
                  </a:cubicBezTo>
                  <a:cubicBezTo>
                    <a:pt x="699" y="208"/>
                    <a:pt x="700" y="207"/>
                    <a:pt x="701" y="206"/>
                  </a:cubicBezTo>
                  <a:cubicBezTo>
                    <a:pt x="701" y="206"/>
                    <a:pt x="701" y="205"/>
                    <a:pt x="702" y="204"/>
                  </a:cubicBezTo>
                  <a:cubicBezTo>
                    <a:pt x="702" y="204"/>
                    <a:pt x="702" y="204"/>
                    <a:pt x="702" y="204"/>
                  </a:cubicBezTo>
                  <a:cubicBezTo>
                    <a:pt x="702" y="204"/>
                    <a:pt x="702" y="203"/>
                    <a:pt x="702" y="203"/>
                  </a:cubicBezTo>
                  <a:cubicBezTo>
                    <a:pt x="703" y="204"/>
                    <a:pt x="704" y="203"/>
                    <a:pt x="704" y="203"/>
                  </a:cubicBezTo>
                  <a:cubicBezTo>
                    <a:pt x="705" y="202"/>
                    <a:pt x="705" y="201"/>
                    <a:pt x="705" y="201"/>
                  </a:cubicBezTo>
                  <a:cubicBezTo>
                    <a:pt x="705" y="201"/>
                    <a:pt x="705" y="201"/>
                    <a:pt x="705" y="201"/>
                  </a:cubicBezTo>
                  <a:cubicBezTo>
                    <a:pt x="705" y="200"/>
                    <a:pt x="706" y="199"/>
                    <a:pt x="705" y="199"/>
                  </a:cubicBezTo>
                  <a:cubicBezTo>
                    <a:pt x="705" y="198"/>
                    <a:pt x="705" y="198"/>
                    <a:pt x="704" y="197"/>
                  </a:cubicBezTo>
                  <a:cubicBezTo>
                    <a:pt x="704" y="197"/>
                    <a:pt x="704" y="197"/>
                    <a:pt x="704" y="197"/>
                  </a:cubicBezTo>
                  <a:cubicBezTo>
                    <a:pt x="704" y="197"/>
                    <a:pt x="703" y="197"/>
                    <a:pt x="703" y="197"/>
                  </a:cubicBezTo>
                  <a:cubicBezTo>
                    <a:pt x="703" y="196"/>
                    <a:pt x="703" y="196"/>
                    <a:pt x="703" y="196"/>
                  </a:cubicBezTo>
                  <a:cubicBezTo>
                    <a:pt x="704" y="196"/>
                    <a:pt x="705" y="196"/>
                    <a:pt x="706" y="195"/>
                  </a:cubicBezTo>
                  <a:cubicBezTo>
                    <a:pt x="706" y="195"/>
                    <a:pt x="707" y="193"/>
                    <a:pt x="707" y="192"/>
                  </a:cubicBezTo>
                  <a:cubicBezTo>
                    <a:pt x="706" y="192"/>
                    <a:pt x="706" y="191"/>
                    <a:pt x="705" y="191"/>
                  </a:cubicBezTo>
                  <a:cubicBezTo>
                    <a:pt x="706" y="191"/>
                    <a:pt x="706" y="191"/>
                    <a:pt x="706" y="190"/>
                  </a:cubicBezTo>
                  <a:cubicBezTo>
                    <a:pt x="706" y="190"/>
                    <a:pt x="706" y="189"/>
                    <a:pt x="706" y="189"/>
                  </a:cubicBezTo>
                  <a:cubicBezTo>
                    <a:pt x="707" y="188"/>
                    <a:pt x="706" y="187"/>
                    <a:pt x="706" y="187"/>
                  </a:cubicBezTo>
                  <a:cubicBezTo>
                    <a:pt x="705" y="186"/>
                    <a:pt x="704" y="186"/>
                    <a:pt x="703" y="186"/>
                  </a:cubicBezTo>
                  <a:cubicBezTo>
                    <a:pt x="703" y="186"/>
                    <a:pt x="703" y="186"/>
                    <a:pt x="703" y="186"/>
                  </a:cubicBezTo>
                  <a:cubicBezTo>
                    <a:pt x="703" y="185"/>
                    <a:pt x="703" y="185"/>
                    <a:pt x="702" y="184"/>
                  </a:cubicBezTo>
                  <a:cubicBezTo>
                    <a:pt x="702" y="184"/>
                    <a:pt x="702" y="184"/>
                    <a:pt x="702" y="184"/>
                  </a:cubicBezTo>
                  <a:cubicBezTo>
                    <a:pt x="703" y="183"/>
                    <a:pt x="703" y="182"/>
                    <a:pt x="702" y="182"/>
                  </a:cubicBezTo>
                  <a:cubicBezTo>
                    <a:pt x="702" y="182"/>
                    <a:pt x="703" y="182"/>
                    <a:pt x="703" y="181"/>
                  </a:cubicBezTo>
                  <a:cubicBezTo>
                    <a:pt x="703" y="181"/>
                    <a:pt x="704" y="181"/>
                    <a:pt x="704" y="180"/>
                  </a:cubicBezTo>
                  <a:cubicBezTo>
                    <a:pt x="705" y="179"/>
                    <a:pt x="704" y="178"/>
                    <a:pt x="704" y="177"/>
                  </a:cubicBezTo>
                  <a:cubicBezTo>
                    <a:pt x="704" y="177"/>
                    <a:pt x="703" y="177"/>
                    <a:pt x="702" y="177"/>
                  </a:cubicBezTo>
                  <a:cubicBezTo>
                    <a:pt x="702" y="176"/>
                    <a:pt x="702" y="176"/>
                    <a:pt x="703" y="175"/>
                  </a:cubicBezTo>
                  <a:cubicBezTo>
                    <a:pt x="703" y="175"/>
                    <a:pt x="703" y="175"/>
                    <a:pt x="703" y="175"/>
                  </a:cubicBezTo>
                  <a:cubicBezTo>
                    <a:pt x="703" y="175"/>
                    <a:pt x="703" y="175"/>
                    <a:pt x="703" y="175"/>
                  </a:cubicBezTo>
                  <a:cubicBezTo>
                    <a:pt x="704" y="176"/>
                    <a:pt x="705" y="176"/>
                    <a:pt x="706" y="175"/>
                  </a:cubicBezTo>
                  <a:cubicBezTo>
                    <a:pt x="706" y="175"/>
                    <a:pt x="706" y="175"/>
                    <a:pt x="706" y="175"/>
                  </a:cubicBezTo>
                  <a:cubicBezTo>
                    <a:pt x="707" y="175"/>
                    <a:pt x="707" y="175"/>
                    <a:pt x="707" y="175"/>
                  </a:cubicBezTo>
                  <a:cubicBezTo>
                    <a:pt x="707" y="175"/>
                    <a:pt x="707" y="175"/>
                    <a:pt x="708" y="175"/>
                  </a:cubicBezTo>
                  <a:cubicBezTo>
                    <a:pt x="708" y="175"/>
                    <a:pt x="709" y="175"/>
                    <a:pt x="709" y="174"/>
                  </a:cubicBezTo>
                  <a:cubicBezTo>
                    <a:pt x="710" y="174"/>
                    <a:pt x="710" y="173"/>
                    <a:pt x="710" y="173"/>
                  </a:cubicBezTo>
                  <a:cubicBezTo>
                    <a:pt x="710" y="173"/>
                    <a:pt x="710" y="173"/>
                    <a:pt x="710" y="173"/>
                  </a:cubicBezTo>
                  <a:cubicBezTo>
                    <a:pt x="711" y="173"/>
                    <a:pt x="711" y="173"/>
                    <a:pt x="711" y="173"/>
                  </a:cubicBezTo>
                  <a:cubicBezTo>
                    <a:pt x="712" y="173"/>
                    <a:pt x="713" y="172"/>
                    <a:pt x="713" y="170"/>
                  </a:cubicBezTo>
                  <a:cubicBezTo>
                    <a:pt x="713" y="170"/>
                    <a:pt x="714" y="170"/>
                    <a:pt x="714" y="169"/>
                  </a:cubicBezTo>
                  <a:cubicBezTo>
                    <a:pt x="714" y="169"/>
                    <a:pt x="714" y="169"/>
                    <a:pt x="714" y="169"/>
                  </a:cubicBezTo>
                  <a:cubicBezTo>
                    <a:pt x="714" y="169"/>
                    <a:pt x="714" y="169"/>
                    <a:pt x="714" y="169"/>
                  </a:cubicBezTo>
                  <a:cubicBezTo>
                    <a:pt x="714" y="169"/>
                    <a:pt x="715" y="169"/>
                    <a:pt x="715" y="169"/>
                  </a:cubicBezTo>
                  <a:cubicBezTo>
                    <a:pt x="715" y="169"/>
                    <a:pt x="715" y="169"/>
                    <a:pt x="715" y="170"/>
                  </a:cubicBezTo>
                  <a:cubicBezTo>
                    <a:pt x="715" y="170"/>
                    <a:pt x="715" y="170"/>
                    <a:pt x="715" y="170"/>
                  </a:cubicBezTo>
                  <a:cubicBezTo>
                    <a:pt x="715" y="170"/>
                    <a:pt x="715" y="170"/>
                    <a:pt x="715" y="171"/>
                  </a:cubicBezTo>
                  <a:cubicBezTo>
                    <a:pt x="715" y="171"/>
                    <a:pt x="714" y="172"/>
                    <a:pt x="715" y="173"/>
                  </a:cubicBezTo>
                  <a:cubicBezTo>
                    <a:pt x="715" y="174"/>
                    <a:pt x="715" y="174"/>
                    <a:pt x="715" y="174"/>
                  </a:cubicBezTo>
                  <a:cubicBezTo>
                    <a:pt x="715" y="175"/>
                    <a:pt x="715" y="176"/>
                    <a:pt x="715" y="176"/>
                  </a:cubicBezTo>
                  <a:cubicBezTo>
                    <a:pt x="715" y="176"/>
                    <a:pt x="715" y="177"/>
                    <a:pt x="715" y="178"/>
                  </a:cubicBezTo>
                  <a:cubicBezTo>
                    <a:pt x="716" y="178"/>
                    <a:pt x="716" y="178"/>
                    <a:pt x="716" y="178"/>
                  </a:cubicBezTo>
                  <a:cubicBezTo>
                    <a:pt x="716" y="179"/>
                    <a:pt x="716" y="179"/>
                    <a:pt x="715" y="180"/>
                  </a:cubicBezTo>
                  <a:cubicBezTo>
                    <a:pt x="715" y="180"/>
                    <a:pt x="715" y="180"/>
                    <a:pt x="715" y="181"/>
                  </a:cubicBezTo>
                  <a:cubicBezTo>
                    <a:pt x="715" y="181"/>
                    <a:pt x="715" y="181"/>
                    <a:pt x="715" y="181"/>
                  </a:cubicBezTo>
                  <a:cubicBezTo>
                    <a:pt x="714" y="182"/>
                    <a:pt x="715" y="183"/>
                    <a:pt x="715" y="183"/>
                  </a:cubicBezTo>
                  <a:cubicBezTo>
                    <a:pt x="714" y="184"/>
                    <a:pt x="714" y="184"/>
                    <a:pt x="714" y="185"/>
                  </a:cubicBezTo>
                  <a:cubicBezTo>
                    <a:pt x="714" y="186"/>
                    <a:pt x="715" y="187"/>
                    <a:pt x="716" y="187"/>
                  </a:cubicBezTo>
                  <a:cubicBezTo>
                    <a:pt x="716" y="187"/>
                    <a:pt x="716" y="187"/>
                    <a:pt x="716" y="188"/>
                  </a:cubicBezTo>
                  <a:cubicBezTo>
                    <a:pt x="716" y="188"/>
                    <a:pt x="716" y="188"/>
                    <a:pt x="716" y="189"/>
                  </a:cubicBezTo>
                  <a:cubicBezTo>
                    <a:pt x="716" y="189"/>
                    <a:pt x="716" y="190"/>
                    <a:pt x="717" y="190"/>
                  </a:cubicBezTo>
                  <a:cubicBezTo>
                    <a:pt x="717" y="190"/>
                    <a:pt x="717" y="190"/>
                    <a:pt x="718" y="190"/>
                  </a:cubicBezTo>
                  <a:cubicBezTo>
                    <a:pt x="719" y="190"/>
                    <a:pt x="720" y="189"/>
                    <a:pt x="720" y="188"/>
                  </a:cubicBezTo>
                  <a:cubicBezTo>
                    <a:pt x="721" y="188"/>
                    <a:pt x="721" y="188"/>
                    <a:pt x="721" y="188"/>
                  </a:cubicBezTo>
                  <a:cubicBezTo>
                    <a:pt x="721" y="188"/>
                    <a:pt x="721" y="188"/>
                    <a:pt x="722" y="188"/>
                  </a:cubicBezTo>
                  <a:cubicBezTo>
                    <a:pt x="723" y="187"/>
                    <a:pt x="723" y="186"/>
                    <a:pt x="723" y="185"/>
                  </a:cubicBezTo>
                  <a:cubicBezTo>
                    <a:pt x="723" y="185"/>
                    <a:pt x="723" y="185"/>
                    <a:pt x="723" y="184"/>
                  </a:cubicBezTo>
                  <a:cubicBezTo>
                    <a:pt x="723" y="184"/>
                    <a:pt x="723" y="184"/>
                    <a:pt x="723" y="184"/>
                  </a:cubicBezTo>
                  <a:cubicBezTo>
                    <a:pt x="724" y="184"/>
                    <a:pt x="724" y="184"/>
                    <a:pt x="725" y="183"/>
                  </a:cubicBezTo>
                  <a:cubicBezTo>
                    <a:pt x="725" y="183"/>
                    <a:pt x="725" y="183"/>
                    <a:pt x="725" y="183"/>
                  </a:cubicBezTo>
                  <a:cubicBezTo>
                    <a:pt x="726" y="183"/>
                    <a:pt x="726" y="182"/>
                    <a:pt x="727" y="182"/>
                  </a:cubicBezTo>
                  <a:cubicBezTo>
                    <a:pt x="727" y="182"/>
                    <a:pt x="727" y="182"/>
                    <a:pt x="728" y="182"/>
                  </a:cubicBezTo>
                  <a:cubicBezTo>
                    <a:pt x="728" y="182"/>
                    <a:pt x="728" y="182"/>
                    <a:pt x="729" y="182"/>
                  </a:cubicBezTo>
                  <a:cubicBezTo>
                    <a:pt x="729" y="182"/>
                    <a:pt x="729" y="182"/>
                    <a:pt x="730" y="182"/>
                  </a:cubicBezTo>
                  <a:cubicBezTo>
                    <a:pt x="730" y="183"/>
                    <a:pt x="730" y="183"/>
                    <a:pt x="730" y="183"/>
                  </a:cubicBezTo>
                  <a:cubicBezTo>
                    <a:pt x="731" y="182"/>
                    <a:pt x="731" y="182"/>
                    <a:pt x="731" y="182"/>
                  </a:cubicBezTo>
                  <a:cubicBezTo>
                    <a:pt x="731" y="182"/>
                    <a:pt x="731" y="182"/>
                    <a:pt x="731" y="182"/>
                  </a:cubicBezTo>
                  <a:cubicBezTo>
                    <a:pt x="731" y="182"/>
                    <a:pt x="732" y="181"/>
                    <a:pt x="732" y="181"/>
                  </a:cubicBezTo>
                  <a:cubicBezTo>
                    <a:pt x="732" y="181"/>
                    <a:pt x="732" y="181"/>
                    <a:pt x="732" y="181"/>
                  </a:cubicBezTo>
                  <a:cubicBezTo>
                    <a:pt x="732" y="180"/>
                    <a:pt x="733" y="180"/>
                    <a:pt x="733" y="180"/>
                  </a:cubicBezTo>
                  <a:cubicBezTo>
                    <a:pt x="734" y="180"/>
                    <a:pt x="734" y="180"/>
                    <a:pt x="735" y="180"/>
                  </a:cubicBezTo>
                  <a:cubicBezTo>
                    <a:pt x="735" y="179"/>
                    <a:pt x="735" y="179"/>
                    <a:pt x="736" y="179"/>
                  </a:cubicBezTo>
                  <a:cubicBezTo>
                    <a:pt x="736" y="179"/>
                    <a:pt x="736" y="179"/>
                    <a:pt x="737" y="179"/>
                  </a:cubicBezTo>
                  <a:cubicBezTo>
                    <a:pt x="738" y="179"/>
                    <a:pt x="738" y="179"/>
                    <a:pt x="738" y="179"/>
                  </a:cubicBezTo>
                  <a:cubicBezTo>
                    <a:pt x="738" y="179"/>
                    <a:pt x="738" y="179"/>
                    <a:pt x="739" y="179"/>
                  </a:cubicBezTo>
                  <a:cubicBezTo>
                    <a:pt x="740" y="179"/>
                    <a:pt x="740" y="179"/>
                    <a:pt x="741" y="178"/>
                  </a:cubicBezTo>
                  <a:cubicBezTo>
                    <a:pt x="741" y="177"/>
                    <a:pt x="740" y="176"/>
                    <a:pt x="740" y="176"/>
                  </a:cubicBezTo>
                  <a:cubicBezTo>
                    <a:pt x="740" y="175"/>
                    <a:pt x="740" y="175"/>
                    <a:pt x="740" y="175"/>
                  </a:cubicBezTo>
                  <a:cubicBezTo>
                    <a:pt x="740" y="175"/>
                    <a:pt x="740" y="175"/>
                    <a:pt x="740" y="175"/>
                  </a:cubicBezTo>
                  <a:cubicBezTo>
                    <a:pt x="740" y="175"/>
                    <a:pt x="740" y="175"/>
                    <a:pt x="740" y="175"/>
                  </a:cubicBezTo>
                  <a:cubicBezTo>
                    <a:pt x="740" y="175"/>
                    <a:pt x="741" y="176"/>
                    <a:pt x="741" y="176"/>
                  </a:cubicBezTo>
                  <a:cubicBezTo>
                    <a:pt x="741" y="176"/>
                    <a:pt x="742" y="177"/>
                    <a:pt x="743" y="176"/>
                  </a:cubicBezTo>
                  <a:cubicBezTo>
                    <a:pt x="744" y="175"/>
                    <a:pt x="745" y="174"/>
                    <a:pt x="744" y="173"/>
                  </a:cubicBezTo>
                  <a:cubicBezTo>
                    <a:pt x="744" y="173"/>
                    <a:pt x="744" y="173"/>
                    <a:pt x="744" y="173"/>
                  </a:cubicBezTo>
                  <a:cubicBezTo>
                    <a:pt x="744" y="173"/>
                    <a:pt x="745" y="173"/>
                    <a:pt x="745" y="173"/>
                  </a:cubicBezTo>
                  <a:cubicBezTo>
                    <a:pt x="746" y="173"/>
                    <a:pt x="746" y="173"/>
                    <a:pt x="747" y="172"/>
                  </a:cubicBezTo>
                  <a:cubicBezTo>
                    <a:pt x="748" y="171"/>
                    <a:pt x="747" y="170"/>
                    <a:pt x="747" y="169"/>
                  </a:cubicBezTo>
                  <a:cubicBezTo>
                    <a:pt x="747" y="169"/>
                    <a:pt x="747" y="169"/>
                    <a:pt x="747" y="168"/>
                  </a:cubicBezTo>
                  <a:cubicBezTo>
                    <a:pt x="747" y="168"/>
                    <a:pt x="747" y="167"/>
                    <a:pt x="747" y="166"/>
                  </a:cubicBezTo>
                  <a:cubicBezTo>
                    <a:pt x="746" y="164"/>
                    <a:pt x="744" y="164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1" y="165"/>
                    <a:pt x="741" y="165"/>
                  </a:cubicBezTo>
                  <a:cubicBezTo>
                    <a:pt x="741" y="165"/>
                    <a:pt x="741" y="165"/>
                    <a:pt x="742" y="165"/>
                  </a:cubicBezTo>
                  <a:cubicBezTo>
                    <a:pt x="742" y="165"/>
                    <a:pt x="742" y="164"/>
                    <a:pt x="742" y="164"/>
                  </a:cubicBezTo>
                  <a:cubicBezTo>
                    <a:pt x="742" y="164"/>
                    <a:pt x="742" y="164"/>
                    <a:pt x="742" y="164"/>
                  </a:cubicBezTo>
                  <a:cubicBezTo>
                    <a:pt x="744" y="164"/>
                    <a:pt x="745" y="164"/>
                    <a:pt x="745" y="163"/>
                  </a:cubicBezTo>
                  <a:cubicBezTo>
                    <a:pt x="746" y="162"/>
                    <a:pt x="746" y="161"/>
                    <a:pt x="746" y="161"/>
                  </a:cubicBezTo>
                  <a:cubicBezTo>
                    <a:pt x="745" y="160"/>
                    <a:pt x="744" y="159"/>
                    <a:pt x="743" y="159"/>
                  </a:cubicBezTo>
                  <a:cubicBezTo>
                    <a:pt x="743" y="159"/>
                    <a:pt x="743" y="159"/>
                    <a:pt x="743" y="159"/>
                  </a:cubicBezTo>
                  <a:cubicBezTo>
                    <a:pt x="742" y="159"/>
                    <a:pt x="741" y="160"/>
                    <a:pt x="740" y="160"/>
                  </a:cubicBezTo>
                  <a:cubicBezTo>
                    <a:pt x="740" y="161"/>
                    <a:pt x="740" y="161"/>
                    <a:pt x="740" y="161"/>
                  </a:cubicBezTo>
                  <a:cubicBezTo>
                    <a:pt x="740" y="160"/>
                    <a:pt x="740" y="160"/>
                    <a:pt x="739" y="159"/>
                  </a:cubicBezTo>
                  <a:cubicBezTo>
                    <a:pt x="739" y="159"/>
                    <a:pt x="739" y="159"/>
                    <a:pt x="739" y="159"/>
                  </a:cubicBezTo>
                  <a:cubicBezTo>
                    <a:pt x="739" y="159"/>
                    <a:pt x="739" y="159"/>
                    <a:pt x="739" y="159"/>
                  </a:cubicBezTo>
                  <a:cubicBezTo>
                    <a:pt x="739" y="159"/>
                    <a:pt x="740" y="159"/>
                    <a:pt x="740" y="159"/>
                  </a:cubicBezTo>
                  <a:cubicBezTo>
                    <a:pt x="740" y="158"/>
                    <a:pt x="741" y="158"/>
                    <a:pt x="741" y="157"/>
                  </a:cubicBezTo>
                  <a:cubicBezTo>
                    <a:pt x="742" y="156"/>
                    <a:pt x="741" y="155"/>
                    <a:pt x="741" y="155"/>
                  </a:cubicBezTo>
                  <a:cubicBezTo>
                    <a:pt x="741" y="155"/>
                    <a:pt x="741" y="155"/>
                    <a:pt x="741" y="154"/>
                  </a:cubicBezTo>
                  <a:cubicBezTo>
                    <a:pt x="741" y="154"/>
                    <a:pt x="741" y="153"/>
                    <a:pt x="741" y="153"/>
                  </a:cubicBezTo>
                  <a:cubicBezTo>
                    <a:pt x="740" y="151"/>
                    <a:pt x="739" y="150"/>
                    <a:pt x="737" y="151"/>
                  </a:cubicBezTo>
                  <a:cubicBezTo>
                    <a:pt x="737" y="152"/>
                    <a:pt x="737" y="152"/>
                    <a:pt x="736" y="152"/>
                  </a:cubicBezTo>
                  <a:cubicBezTo>
                    <a:pt x="736" y="152"/>
                    <a:pt x="736" y="152"/>
                    <a:pt x="736" y="152"/>
                  </a:cubicBezTo>
                  <a:cubicBezTo>
                    <a:pt x="736" y="152"/>
                    <a:pt x="736" y="152"/>
                    <a:pt x="736" y="152"/>
                  </a:cubicBezTo>
                  <a:cubicBezTo>
                    <a:pt x="736" y="151"/>
                    <a:pt x="735" y="151"/>
                    <a:pt x="734" y="151"/>
                  </a:cubicBezTo>
                  <a:cubicBezTo>
                    <a:pt x="734" y="151"/>
                    <a:pt x="734" y="151"/>
                    <a:pt x="734" y="151"/>
                  </a:cubicBezTo>
                  <a:cubicBezTo>
                    <a:pt x="734" y="151"/>
                    <a:pt x="733" y="150"/>
                    <a:pt x="733" y="150"/>
                  </a:cubicBezTo>
                  <a:cubicBezTo>
                    <a:pt x="733" y="150"/>
                    <a:pt x="733" y="150"/>
                    <a:pt x="733" y="150"/>
                  </a:cubicBezTo>
                  <a:cubicBezTo>
                    <a:pt x="733" y="149"/>
                    <a:pt x="733" y="149"/>
                    <a:pt x="733" y="149"/>
                  </a:cubicBezTo>
                  <a:cubicBezTo>
                    <a:pt x="734" y="148"/>
                    <a:pt x="734" y="148"/>
                    <a:pt x="734" y="147"/>
                  </a:cubicBezTo>
                  <a:cubicBezTo>
                    <a:pt x="734" y="147"/>
                    <a:pt x="734" y="147"/>
                    <a:pt x="734" y="147"/>
                  </a:cubicBezTo>
                  <a:cubicBezTo>
                    <a:pt x="735" y="147"/>
                    <a:pt x="735" y="147"/>
                    <a:pt x="735" y="147"/>
                  </a:cubicBezTo>
                  <a:cubicBezTo>
                    <a:pt x="735" y="147"/>
                    <a:pt x="737" y="147"/>
                    <a:pt x="738" y="146"/>
                  </a:cubicBezTo>
                  <a:cubicBezTo>
                    <a:pt x="738" y="145"/>
                    <a:pt x="738" y="145"/>
                    <a:pt x="738" y="144"/>
                  </a:cubicBezTo>
                  <a:cubicBezTo>
                    <a:pt x="737" y="143"/>
                    <a:pt x="737" y="143"/>
                    <a:pt x="736" y="143"/>
                  </a:cubicBezTo>
                  <a:cubicBezTo>
                    <a:pt x="735" y="143"/>
                    <a:pt x="735" y="143"/>
                    <a:pt x="734" y="143"/>
                  </a:cubicBezTo>
                  <a:cubicBezTo>
                    <a:pt x="734" y="143"/>
                    <a:pt x="734" y="143"/>
                    <a:pt x="734" y="143"/>
                  </a:cubicBezTo>
                  <a:cubicBezTo>
                    <a:pt x="734" y="143"/>
                    <a:pt x="733" y="143"/>
                    <a:pt x="733" y="143"/>
                  </a:cubicBezTo>
                  <a:cubicBezTo>
                    <a:pt x="733" y="143"/>
                    <a:pt x="733" y="142"/>
                    <a:pt x="732" y="142"/>
                  </a:cubicBezTo>
                  <a:cubicBezTo>
                    <a:pt x="732" y="142"/>
                    <a:pt x="732" y="142"/>
                    <a:pt x="732" y="142"/>
                  </a:cubicBezTo>
                  <a:cubicBezTo>
                    <a:pt x="734" y="142"/>
                    <a:pt x="735" y="142"/>
                    <a:pt x="735" y="142"/>
                  </a:cubicBezTo>
                  <a:cubicBezTo>
                    <a:pt x="735" y="142"/>
                    <a:pt x="737" y="141"/>
                    <a:pt x="737" y="140"/>
                  </a:cubicBezTo>
                  <a:cubicBezTo>
                    <a:pt x="738" y="139"/>
                    <a:pt x="738" y="139"/>
                    <a:pt x="738" y="139"/>
                  </a:cubicBezTo>
                  <a:cubicBezTo>
                    <a:pt x="738" y="139"/>
                    <a:pt x="738" y="139"/>
                    <a:pt x="738" y="138"/>
                  </a:cubicBezTo>
                  <a:cubicBezTo>
                    <a:pt x="738" y="139"/>
                    <a:pt x="739" y="139"/>
                    <a:pt x="739" y="139"/>
                  </a:cubicBezTo>
                  <a:cubicBezTo>
                    <a:pt x="739" y="139"/>
                    <a:pt x="740" y="139"/>
                    <a:pt x="740" y="139"/>
                  </a:cubicBezTo>
                  <a:cubicBezTo>
                    <a:pt x="741" y="139"/>
                    <a:pt x="741" y="139"/>
                    <a:pt x="741" y="139"/>
                  </a:cubicBezTo>
                  <a:cubicBezTo>
                    <a:pt x="741" y="138"/>
                    <a:pt x="741" y="138"/>
                    <a:pt x="741" y="138"/>
                  </a:cubicBezTo>
                  <a:cubicBezTo>
                    <a:pt x="741" y="139"/>
                    <a:pt x="741" y="139"/>
                    <a:pt x="741" y="139"/>
                  </a:cubicBezTo>
                  <a:cubicBezTo>
                    <a:pt x="742" y="139"/>
                    <a:pt x="743" y="139"/>
                    <a:pt x="743" y="139"/>
                  </a:cubicBezTo>
                  <a:cubicBezTo>
                    <a:pt x="744" y="138"/>
                    <a:pt x="744" y="138"/>
                    <a:pt x="744" y="137"/>
                  </a:cubicBezTo>
                  <a:cubicBezTo>
                    <a:pt x="745" y="136"/>
                    <a:pt x="744" y="135"/>
                    <a:pt x="743" y="135"/>
                  </a:cubicBezTo>
                  <a:cubicBezTo>
                    <a:pt x="742" y="133"/>
                    <a:pt x="740" y="132"/>
                    <a:pt x="739" y="132"/>
                  </a:cubicBezTo>
                  <a:cubicBezTo>
                    <a:pt x="738" y="131"/>
                    <a:pt x="738" y="131"/>
                    <a:pt x="738" y="131"/>
                  </a:cubicBezTo>
                  <a:cubicBezTo>
                    <a:pt x="738" y="131"/>
                    <a:pt x="738" y="131"/>
                    <a:pt x="738" y="131"/>
                  </a:cubicBezTo>
                  <a:cubicBezTo>
                    <a:pt x="739" y="131"/>
                    <a:pt x="740" y="131"/>
                    <a:pt x="741" y="131"/>
                  </a:cubicBezTo>
                  <a:cubicBezTo>
                    <a:pt x="741" y="131"/>
                    <a:pt x="741" y="131"/>
                    <a:pt x="741" y="131"/>
                  </a:cubicBezTo>
                  <a:cubicBezTo>
                    <a:pt x="742" y="131"/>
                    <a:pt x="742" y="131"/>
                    <a:pt x="743" y="131"/>
                  </a:cubicBezTo>
                  <a:cubicBezTo>
                    <a:pt x="744" y="132"/>
                    <a:pt x="746" y="133"/>
                    <a:pt x="747" y="132"/>
                  </a:cubicBezTo>
                  <a:cubicBezTo>
                    <a:pt x="748" y="131"/>
                    <a:pt x="748" y="130"/>
                    <a:pt x="748" y="129"/>
                  </a:cubicBezTo>
                  <a:cubicBezTo>
                    <a:pt x="748" y="129"/>
                    <a:pt x="748" y="129"/>
                    <a:pt x="749" y="129"/>
                  </a:cubicBezTo>
                  <a:cubicBezTo>
                    <a:pt x="749" y="129"/>
                    <a:pt x="749" y="128"/>
                    <a:pt x="749" y="128"/>
                  </a:cubicBezTo>
                  <a:cubicBezTo>
                    <a:pt x="749" y="127"/>
                    <a:pt x="749" y="127"/>
                    <a:pt x="749" y="126"/>
                  </a:cubicBezTo>
                  <a:cubicBezTo>
                    <a:pt x="749" y="125"/>
                    <a:pt x="749" y="123"/>
                    <a:pt x="747" y="122"/>
                  </a:cubicBezTo>
                  <a:close/>
                  <a:moveTo>
                    <a:pt x="633" y="249"/>
                  </a:moveTo>
                  <a:cubicBezTo>
                    <a:pt x="633" y="249"/>
                    <a:pt x="633" y="249"/>
                    <a:pt x="633" y="249"/>
                  </a:cubicBezTo>
                  <a:cubicBezTo>
                    <a:pt x="633" y="249"/>
                    <a:pt x="633" y="249"/>
                    <a:pt x="633" y="249"/>
                  </a:cubicBezTo>
                  <a:close/>
                  <a:moveTo>
                    <a:pt x="652" y="317"/>
                  </a:moveTo>
                  <a:cubicBezTo>
                    <a:pt x="652" y="317"/>
                    <a:pt x="652" y="317"/>
                    <a:pt x="652" y="317"/>
                  </a:cubicBezTo>
                  <a:cubicBezTo>
                    <a:pt x="652" y="317"/>
                    <a:pt x="652" y="317"/>
                    <a:pt x="652" y="317"/>
                  </a:cubicBezTo>
                  <a:close/>
                  <a:moveTo>
                    <a:pt x="662" y="314"/>
                  </a:moveTo>
                  <a:cubicBezTo>
                    <a:pt x="662" y="314"/>
                    <a:pt x="662" y="314"/>
                    <a:pt x="662" y="314"/>
                  </a:cubicBezTo>
                  <a:cubicBezTo>
                    <a:pt x="663" y="314"/>
                    <a:pt x="663" y="314"/>
                    <a:pt x="664" y="314"/>
                  </a:cubicBezTo>
                  <a:cubicBezTo>
                    <a:pt x="664" y="314"/>
                    <a:pt x="664" y="314"/>
                    <a:pt x="664" y="314"/>
                  </a:cubicBezTo>
                  <a:cubicBezTo>
                    <a:pt x="663" y="314"/>
                    <a:pt x="663" y="314"/>
                    <a:pt x="663" y="314"/>
                  </a:cubicBezTo>
                  <a:cubicBezTo>
                    <a:pt x="663" y="314"/>
                    <a:pt x="663" y="314"/>
                    <a:pt x="662" y="314"/>
                  </a:cubicBezTo>
                  <a:cubicBezTo>
                    <a:pt x="662" y="314"/>
                    <a:pt x="662" y="314"/>
                    <a:pt x="662" y="314"/>
                  </a:cubicBezTo>
                  <a:cubicBezTo>
                    <a:pt x="661" y="314"/>
                    <a:pt x="661" y="314"/>
                    <a:pt x="660" y="314"/>
                  </a:cubicBezTo>
                  <a:cubicBezTo>
                    <a:pt x="660" y="314"/>
                    <a:pt x="660" y="314"/>
                    <a:pt x="660" y="314"/>
                  </a:cubicBezTo>
                  <a:cubicBezTo>
                    <a:pt x="661" y="314"/>
                    <a:pt x="661" y="314"/>
                    <a:pt x="662" y="314"/>
                  </a:cubicBezTo>
                  <a:close/>
                  <a:moveTo>
                    <a:pt x="649" y="397"/>
                  </a:moveTo>
                  <a:cubicBezTo>
                    <a:pt x="649" y="397"/>
                    <a:pt x="649" y="397"/>
                    <a:pt x="649" y="397"/>
                  </a:cubicBezTo>
                  <a:cubicBezTo>
                    <a:pt x="649" y="397"/>
                    <a:pt x="649" y="397"/>
                    <a:pt x="649" y="397"/>
                  </a:cubicBezTo>
                  <a:cubicBezTo>
                    <a:pt x="649" y="397"/>
                    <a:pt x="649" y="397"/>
                    <a:pt x="649" y="397"/>
                  </a:cubicBezTo>
                  <a:close/>
                  <a:moveTo>
                    <a:pt x="636" y="246"/>
                  </a:moveTo>
                  <a:cubicBezTo>
                    <a:pt x="635" y="245"/>
                    <a:pt x="635" y="245"/>
                    <a:pt x="635" y="245"/>
                  </a:cubicBezTo>
                  <a:cubicBezTo>
                    <a:pt x="635" y="245"/>
                    <a:pt x="635" y="245"/>
                    <a:pt x="635" y="245"/>
                  </a:cubicBezTo>
                  <a:cubicBezTo>
                    <a:pt x="636" y="245"/>
                    <a:pt x="636" y="245"/>
                    <a:pt x="636" y="245"/>
                  </a:cubicBezTo>
                  <a:cubicBezTo>
                    <a:pt x="636" y="245"/>
                    <a:pt x="636" y="245"/>
                    <a:pt x="636" y="245"/>
                  </a:cubicBezTo>
                  <a:cubicBezTo>
                    <a:pt x="636" y="246"/>
                    <a:pt x="636" y="246"/>
                    <a:pt x="636" y="246"/>
                  </a:cubicBezTo>
                  <a:close/>
                  <a:moveTo>
                    <a:pt x="636" y="246"/>
                  </a:moveTo>
                  <a:cubicBezTo>
                    <a:pt x="636" y="246"/>
                    <a:pt x="636" y="246"/>
                    <a:pt x="636" y="246"/>
                  </a:cubicBezTo>
                  <a:cubicBezTo>
                    <a:pt x="636" y="246"/>
                    <a:pt x="636" y="246"/>
                    <a:pt x="636" y="246"/>
                  </a:cubicBezTo>
                  <a:close/>
                  <a:moveTo>
                    <a:pt x="574" y="394"/>
                  </a:moveTo>
                  <a:cubicBezTo>
                    <a:pt x="574" y="395"/>
                    <a:pt x="574" y="395"/>
                    <a:pt x="574" y="396"/>
                  </a:cubicBezTo>
                  <a:cubicBezTo>
                    <a:pt x="574" y="396"/>
                    <a:pt x="574" y="396"/>
                    <a:pt x="574" y="396"/>
                  </a:cubicBezTo>
                  <a:cubicBezTo>
                    <a:pt x="574" y="396"/>
                    <a:pt x="574" y="396"/>
                    <a:pt x="574" y="396"/>
                  </a:cubicBezTo>
                  <a:cubicBezTo>
                    <a:pt x="574" y="395"/>
                    <a:pt x="574" y="395"/>
                    <a:pt x="574" y="395"/>
                  </a:cubicBezTo>
                  <a:cubicBezTo>
                    <a:pt x="573" y="395"/>
                    <a:pt x="573" y="395"/>
                    <a:pt x="573" y="395"/>
                  </a:cubicBezTo>
                  <a:cubicBezTo>
                    <a:pt x="573" y="394"/>
                    <a:pt x="574" y="394"/>
                    <a:pt x="574" y="394"/>
                  </a:cubicBezTo>
                  <a:cubicBezTo>
                    <a:pt x="574" y="394"/>
                    <a:pt x="574" y="394"/>
                    <a:pt x="574" y="394"/>
                  </a:cubicBezTo>
                  <a:close/>
                  <a:moveTo>
                    <a:pt x="581" y="1493"/>
                  </a:moveTo>
                  <a:cubicBezTo>
                    <a:pt x="581" y="1493"/>
                    <a:pt x="581" y="1493"/>
                    <a:pt x="581" y="1493"/>
                  </a:cubicBezTo>
                  <a:cubicBezTo>
                    <a:pt x="581" y="1493"/>
                    <a:pt x="581" y="1493"/>
                    <a:pt x="581" y="1493"/>
                  </a:cubicBezTo>
                  <a:cubicBezTo>
                    <a:pt x="581" y="1492"/>
                    <a:pt x="581" y="1492"/>
                    <a:pt x="581" y="1492"/>
                  </a:cubicBezTo>
                  <a:cubicBezTo>
                    <a:pt x="581" y="1492"/>
                    <a:pt x="581" y="1492"/>
                    <a:pt x="581" y="1492"/>
                  </a:cubicBezTo>
                  <a:cubicBezTo>
                    <a:pt x="581" y="1492"/>
                    <a:pt x="580" y="1492"/>
                    <a:pt x="580" y="1492"/>
                  </a:cubicBezTo>
                  <a:cubicBezTo>
                    <a:pt x="580" y="1491"/>
                    <a:pt x="580" y="1491"/>
                    <a:pt x="580" y="1491"/>
                  </a:cubicBezTo>
                  <a:cubicBezTo>
                    <a:pt x="580" y="1491"/>
                    <a:pt x="581" y="1491"/>
                    <a:pt x="581" y="1492"/>
                  </a:cubicBezTo>
                  <a:cubicBezTo>
                    <a:pt x="581" y="1492"/>
                    <a:pt x="581" y="1492"/>
                    <a:pt x="581" y="1492"/>
                  </a:cubicBezTo>
                  <a:cubicBezTo>
                    <a:pt x="581" y="1493"/>
                    <a:pt x="581" y="1493"/>
                    <a:pt x="581" y="1493"/>
                  </a:cubicBezTo>
                  <a:close/>
                  <a:moveTo>
                    <a:pt x="563" y="95"/>
                  </a:moveTo>
                  <a:cubicBezTo>
                    <a:pt x="563" y="95"/>
                    <a:pt x="563" y="95"/>
                    <a:pt x="563" y="95"/>
                  </a:cubicBezTo>
                  <a:cubicBezTo>
                    <a:pt x="563" y="95"/>
                    <a:pt x="563" y="95"/>
                    <a:pt x="563" y="95"/>
                  </a:cubicBezTo>
                  <a:cubicBezTo>
                    <a:pt x="563" y="95"/>
                    <a:pt x="563" y="95"/>
                    <a:pt x="563" y="95"/>
                  </a:cubicBezTo>
                  <a:cubicBezTo>
                    <a:pt x="563" y="95"/>
                    <a:pt x="563" y="95"/>
                    <a:pt x="563" y="95"/>
                  </a:cubicBezTo>
                  <a:close/>
                  <a:moveTo>
                    <a:pt x="557" y="47"/>
                  </a:moveTo>
                  <a:cubicBezTo>
                    <a:pt x="557" y="47"/>
                    <a:pt x="557" y="47"/>
                    <a:pt x="557" y="47"/>
                  </a:cubicBezTo>
                  <a:cubicBezTo>
                    <a:pt x="557" y="47"/>
                    <a:pt x="557" y="47"/>
                    <a:pt x="557" y="47"/>
                  </a:cubicBezTo>
                  <a:cubicBezTo>
                    <a:pt x="557" y="47"/>
                    <a:pt x="557" y="48"/>
                    <a:pt x="557" y="48"/>
                  </a:cubicBezTo>
                  <a:cubicBezTo>
                    <a:pt x="557" y="48"/>
                    <a:pt x="557" y="48"/>
                    <a:pt x="557" y="48"/>
                  </a:cubicBezTo>
                  <a:cubicBezTo>
                    <a:pt x="557" y="48"/>
                    <a:pt x="557" y="48"/>
                    <a:pt x="557" y="48"/>
                  </a:cubicBezTo>
                  <a:cubicBezTo>
                    <a:pt x="557" y="48"/>
                    <a:pt x="557" y="48"/>
                    <a:pt x="557" y="47"/>
                  </a:cubicBezTo>
                  <a:close/>
                  <a:moveTo>
                    <a:pt x="536" y="42"/>
                  </a:moveTo>
                  <a:cubicBezTo>
                    <a:pt x="536" y="42"/>
                    <a:pt x="536" y="42"/>
                    <a:pt x="537" y="42"/>
                  </a:cubicBezTo>
                  <a:cubicBezTo>
                    <a:pt x="538" y="42"/>
                    <a:pt x="539" y="41"/>
                    <a:pt x="540" y="41"/>
                  </a:cubicBezTo>
                  <a:cubicBezTo>
                    <a:pt x="540" y="41"/>
                    <a:pt x="539" y="42"/>
                    <a:pt x="539" y="42"/>
                  </a:cubicBezTo>
                  <a:cubicBezTo>
                    <a:pt x="539" y="42"/>
                    <a:pt x="538" y="42"/>
                    <a:pt x="538" y="42"/>
                  </a:cubicBezTo>
                  <a:cubicBezTo>
                    <a:pt x="537" y="42"/>
                    <a:pt x="537" y="42"/>
                    <a:pt x="537" y="42"/>
                  </a:cubicBezTo>
                  <a:cubicBezTo>
                    <a:pt x="537" y="42"/>
                    <a:pt x="536" y="42"/>
                    <a:pt x="536" y="42"/>
                  </a:cubicBezTo>
                  <a:close/>
                  <a:moveTo>
                    <a:pt x="553" y="40"/>
                  </a:moveTo>
                  <a:cubicBezTo>
                    <a:pt x="551" y="40"/>
                    <a:pt x="550" y="40"/>
                    <a:pt x="548" y="40"/>
                  </a:cubicBezTo>
                  <a:cubicBezTo>
                    <a:pt x="547" y="40"/>
                    <a:pt x="547" y="40"/>
                    <a:pt x="546" y="40"/>
                  </a:cubicBezTo>
                  <a:cubicBezTo>
                    <a:pt x="547" y="40"/>
                    <a:pt x="547" y="40"/>
                    <a:pt x="548" y="40"/>
                  </a:cubicBezTo>
                  <a:cubicBezTo>
                    <a:pt x="549" y="39"/>
                    <a:pt x="550" y="39"/>
                    <a:pt x="552" y="39"/>
                  </a:cubicBezTo>
                  <a:cubicBezTo>
                    <a:pt x="552" y="39"/>
                    <a:pt x="553" y="39"/>
                    <a:pt x="554" y="39"/>
                  </a:cubicBezTo>
                  <a:cubicBezTo>
                    <a:pt x="554" y="39"/>
                    <a:pt x="554" y="39"/>
                    <a:pt x="555" y="39"/>
                  </a:cubicBezTo>
                  <a:cubicBezTo>
                    <a:pt x="554" y="39"/>
                    <a:pt x="553" y="40"/>
                    <a:pt x="553" y="40"/>
                  </a:cubicBezTo>
                  <a:close/>
                  <a:moveTo>
                    <a:pt x="525" y="59"/>
                  </a:moveTo>
                  <a:cubicBezTo>
                    <a:pt x="525" y="59"/>
                    <a:pt x="525" y="59"/>
                    <a:pt x="525" y="59"/>
                  </a:cubicBezTo>
                  <a:cubicBezTo>
                    <a:pt x="525" y="59"/>
                    <a:pt x="525" y="59"/>
                    <a:pt x="525" y="59"/>
                  </a:cubicBezTo>
                  <a:close/>
                  <a:moveTo>
                    <a:pt x="521" y="58"/>
                  </a:moveTo>
                  <a:cubicBezTo>
                    <a:pt x="521" y="58"/>
                    <a:pt x="521" y="58"/>
                    <a:pt x="521" y="58"/>
                  </a:cubicBezTo>
                  <a:cubicBezTo>
                    <a:pt x="521" y="58"/>
                    <a:pt x="521" y="58"/>
                    <a:pt x="521" y="58"/>
                  </a:cubicBezTo>
                  <a:close/>
                  <a:moveTo>
                    <a:pt x="528" y="45"/>
                  </a:moveTo>
                  <a:cubicBezTo>
                    <a:pt x="528" y="45"/>
                    <a:pt x="528" y="45"/>
                    <a:pt x="528" y="44"/>
                  </a:cubicBezTo>
                  <a:cubicBezTo>
                    <a:pt x="529" y="44"/>
                    <a:pt x="530" y="44"/>
                    <a:pt x="530" y="44"/>
                  </a:cubicBezTo>
                  <a:cubicBezTo>
                    <a:pt x="530" y="44"/>
                    <a:pt x="530" y="44"/>
                    <a:pt x="530" y="44"/>
                  </a:cubicBezTo>
                  <a:cubicBezTo>
                    <a:pt x="529" y="44"/>
                    <a:pt x="529" y="45"/>
                    <a:pt x="528" y="46"/>
                  </a:cubicBezTo>
                  <a:cubicBezTo>
                    <a:pt x="528" y="46"/>
                    <a:pt x="528" y="47"/>
                    <a:pt x="527" y="47"/>
                  </a:cubicBezTo>
                  <a:cubicBezTo>
                    <a:pt x="527" y="47"/>
                    <a:pt x="526" y="47"/>
                    <a:pt x="526" y="47"/>
                  </a:cubicBezTo>
                  <a:cubicBezTo>
                    <a:pt x="526" y="47"/>
                    <a:pt x="526" y="47"/>
                    <a:pt x="526" y="47"/>
                  </a:cubicBezTo>
                  <a:cubicBezTo>
                    <a:pt x="526" y="47"/>
                    <a:pt x="527" y="46"/>
                    <a:pt x="528" y="45"/>
                  </a:cubicBezTo>
                  <a:close/>
                  <a:moveTo>
                    <a:pt x="650" y="69"/>
                  </a:moveTo>
                  <a:cubicBezTo>
                    <a:pt x="650" y="69"/>
                    <a:pt x="650" y="69"/>
                    <a:pt x="650" y="69"/>
                  </a:cubicBezTo>
                  <a:cubicBezTo>
                    <a:pt x="650" y="69"/>
                    <a:pt x="650" y="69"/>
                    <a:pt x="650" y="69"/>
                  </a:cubicBezTo>
                  <a:close/>
                  <a:moveTo>
                    <a:pt x="689" y="159"/>
                  </a:moveTo>
                  <a:cubicBezTo>
                    <a:pt x="689" y="160"/>
                    <a:pt x="689" y="160"/>
                    <a:pt x="689" y="160"/>
                  </a:cubicBezTo>
                  <a:cubicBezTo>
                    <a:pt x="689" y="160"/>
                    <a:pt x="689" y="160"/>
                    <a:pt x="689" y="160"/>
                  </a:cubicBezTo>
                  <a:lnTo>
                    <a:pt x="689" y="159"/>
                  </a:lnTo>
                  <a:close/>
                  <a:moveTo>
                    <a:pt x="715" y="91"/>
                  </a:moveTo>
                  <a:cubicBezTo>
                    <a:pt x="715" y="91"/>
                    <a:pt x="715" y="91"/>
                    <a:pt x="715" y="91"/>
                  </a:cubicBezTo>
                  <a:cubicBezTo>
                    <a:pt x="715" y="91"/>
                    <a:pt x="715" y="91"/>
                    <a:pt x="715" y="91"/>
                  </a:cubicBezTo>
                  <a:close/>
                  <a:moveTo>
                    <a:pt x="738" y="112"/>
                  </a:moveTo>
                  <a:cubicBezTo>
                    <a:pt x="737" y="112"/>
                    <a:pt x="737" y="112"/>
                    <a:pt x="737" y="112"/>
                  </a:cubicBezTo>
                  <a:cubicBezTo>
                    <a:pt x="737" y="113"/>
                    <a:pt x="736" y="113"/>
                    <a:pt x="736" y="113"/>
                  </a:cubicBezTo>
                  <a:cubicBezTo>
                    <a:pt x="736" y="113"/>
                    <a:pt x="736" y="113"/>
                    <a:pt x="735" y="113"/>
                  </a:cubicBezTo>
                  <a:cubicBezTo>
                    <a:pt x="735" y="113"/>
                    <a:pt x="735" y="113"/>
                    <a:pt x="734" y="113"/>
                  </a:cubicBezTo>
                  <a:cubicBezTo>
                    <a:pt x="734" y="113"/>
                    <a:pt x="734" y="113"/>
                    <a:pt x="734" y="113"/>
                  </a:cubicBezTo>
                  <a:cubicBezTo>
                    <a:pt x="734" y="113"/>
                    <a:pt x="734" y="113"/>
                    <a:pt x="734" y="113"/>
                  </a:cubicBezTo>
                  <a:cubicBezTo>
                    <a:pt x="734" y="113"/>
                    <a:pt x="734" y="113"/>
                    <a:pt x="734" y="113"/>
                  </a:cubicBezTo>
                  <a:cubicBezTo>
                    <a:pt x="734" y="113"/>
                    <a:pt x="734" y="112"/>
                    <a:pt x="734" y="112"/>
                  </a:cubicBezTo>
                  <a:cubicBezTo>
                    <a:pt x="735" y="112"/>
                    <a:pt x="736" y="112"/>
                    <a:pt x="736" y="112"/>
                  </a:cubicBezTo>
                  <a:cubicBezTo>
                    <a:pt x="737" y="111"/>
                    <a:pt x="737" y="111"/>
                    <a:pt x="737" y="111"/>
                  </a:cubicBezTo>
                  <a:cubicBezTo>
                    <a:pt x="737" y="111"/>
                    <a:pt x="737" y="111"/>
                    <a:pt x="737" y="111"/>
                  </a:cubicBezTo>
                  <a:cubicBezTo>
                    <a:pt x="737" y="111"/>
                    <a:pt x="738" y="111"/>
                    <a:pt x="738" y="112"/>
                  </a:cubicBezTo>
                  <a:cubicBezTo>
                    <a:pt x="738" y="112"/>
                    <a:pt x="738" y="112"/>
                    <a:pt x="738" y="112"/>
                  </a:cubicBezTo>
                  <a:cubicBezTo>
                    <a:pt x="738" y="112"/>
                    <a:pt x="738" y="112"/>
                    <a:pt x="738" y="112"/>
                  </a:cubicBezTo>
                  <a:close/>
                  <a:moveTo>
                    <a:pt x="734" y="117"/>
                  </a:moveTo>
                  <a:cubicBezTo>
                    <a:pt x="734" y="117"/>
                    <a:pt x="734" y="117"/>
                    <a:pt x="735" y="117"/>
                  </a:cubicBezTo>
                  <a:cubicBezTo>
                    <a:pt x="735" y="117"/>
                    <a:pt x="735" y="117"/>
                    <a:pt x="735" y="117"/>
                  </a:cubicBezTo>
                  <a:cubicBezTo>
                    <a:pt x="735" y="117"/>
                    <a:pt x="735" y="117"/>
                    <a:pt x="735" y="117"/>
                  </a:cubicBezTo>
                  <a:cubicBezTo>
                    <a:pt x="734" y="118"/>
                    <a:pt x="734" y="118"/>
                    <a:pt x="734" y="118"/>
                  </a:cubicBezTo>
                  <a:cubicBezTo>
                    <a:pt x="734" y="118"/>
                    <a:pt x="733" y="118"/>
                    <a:pt x="733" y="118"/>
                  </a:cubicBezTo>
                  <a:cubicBezTo>
                    <a:pt x="733" y="118"/>
                    <a:pt x="733" y="118"/>
                    <a:pt x="732" y="118"/>
                  </a:cubicBezTo>
                  <a:cubicBezTo>
                    <a:pt x="733" y="118"/>
                    <a:pt x="733" y="118"/>
                    <a:pt x="733" y="118"/>
                  </a:cubicBezTo>
                  <a:cubicBezTo>
                    <a:pt x="733" y="118"/>
                    <a:pt x="733" y="117"/>
                    <a:pt x="734" y="117"/>
                  </a:cubicBezTo>
                  <a:close/>
                  <a:moveTo>
                    <a:pt x="727" y="103"/>
                  </a:moveTo>
                  <a:cubicBezTo>
                    <a:pt x="727" y="103"/>
                    <a:pt x="727" y="103"/>
                    <a:pt x="727" y="103"/>
                  </a:cubicBezTo>
                  <a:cubicBezTo>
                    <a:pt x="727" y="103"/>
                    <a:pt x="727" y="103"/>
                    <a:pt x="727" y="103"/>
                  </a:cubicBezTo>
                  <a:close/>
                  <a:moveTo>
                    <a:pt x="744" y="124"/>
                  </a:moveTo>
                  <a:cubicBezTo>
                    <a:pt x="743" y="124"/>
                    <a:pt x="743" y="125"/>
                    <a:pt x="743" y="125"/>
                  </a:cubicBezTo>
                  <a:cubicBezTo>
                    <a:pt x="743" y="124"/>
                    <a:pt x="743" y="124"/>
                    <a:pt x="743" y="124"/>
                  </a:cubicBezTo>
                  <a:cubicBezTo>
                    <a:pt x="743" y="124"/>
                    <a:pt x="743" y="123"/>
                    <a:pt x="743" y="123"/>
                  </a:cubicBezTo>
                  <a:cubicBezTo>
                    <a:pt x="743" y="123"/>
                    <a:pt x="744" y="123"/>
                    <a:pt x="744" y="123"/>
                  </a:cubicBezTo>
                  <a:cubicBezTo>
                    <a:pt x="744" y="123"/>
                    <a:pt x="744" y="124"/>
                    <a:pt x="744" y="124"/>
                  </a:cubicBezTo>
                  <a:cubicBezTo>
                    <a:pt x="745" y="124"/>
                    <a:pt x="745" y="124"/>
                    <a:pt x="745" y="124"/>
                  </a:cubicBezTo>
                  <a:lnTo>
                    <a:pt x="744" y="124"/>
                  </a:lnTo>
                  <a:close/>
                  <a:moveTo>
                    <a:pt x="712" y="87"/>
                  </a:moveTo>
                  <a:cubicBezTo>
                    <a:pt x="712" y="88"/>
                    <a:pt x="711" y="88"/>
                    <a:pt x="711" y="88"/>
                  </a:cubicBezTo>
                  <a:cubicBezTo>
                    <a:pt x="711" y="88"/>
                    <a:pt x="711" y="88"/>
                    <a:pt x="711" y="88"/>
                  </a:cubicBezTo>
                  <a:cubicBezTo>
                    <a:pt x="711" y="88"/>
                    <a:pt x="711" y="88"/>
                    <a:pt x="711" y="87"/>
                  </a:cubicBezTo>
                  <a:cubicBezTo>
                    <a:pt x="711" y="87"/>
                    <a:pt x="711" y="87"/>
                    <a:pt x="711" y="87"/>
                  </a:cubicBezTo>
                  <a:cubicBezTo>
                    <a:pt x="712" y="87"/>
                    <a:pt x="712" y="87"/>
                    <a:pt x="712" y="87"/>
                  </a:cubicBezTo>
                  <a:close/>
                  <a:moveTo>
                    <a:pt x="682" y="84"/>
                  </a:moveTo>
                  <a:cubicBezTo>
                    <a:pt x="682" y="83"/>
                    <a:pt x="683" y="83"/>
                    <a:pt x="683" y="83"/>
                  </a:cubicBezTo>
                  <a:cubicBezTo>
                    <a:pt x="684" y="82"/>
                    <a:pt x="684" y="82"/>
                    <a:pt x="684" y="82"/>
                  </a:cubicBezTo>
                  <a:cubicBezTo>
                    <a:pt x="685" y="81"/>
                    <a:pt x="685" y="81"/>
                    <a:pt x="686" y="80"/>
                  </a:cubicBezTo>
                  <a:cubicBezTo>
                    <a:pt x="686" y="80"/>
                    <a:pt x="686" y="80"/>
                    <a:pt x="686" y="80"/>
                  </a:cubicBezTo>
                  <a:cubicBezTo>
                    <a:pt x="686" y="80"/>
                    <a:pt x="686" y="80"/>
                    <a:pt x="687" y="80"/>
                  </a:cubicBezTo>
                  <a:cubicBezTo>
                    <a:pt x="687" y="79"/>
                    <a:pt x="687" y="79"/>
                    <a:pt x="688" y="79"/>
                  </a:cubicBezTo>
                  <a:cubicBezTo>
                    <a:pt x="689" y="77"/>
                    <a:pt x="690" y="76"/>
                    <a:pt x="692" y="75"/>
                  </a:cubicBezTo>
                  <a:cubicBezTo>
                    <a:pt x="692" y="75"/>
                    <a:pt x="693" y="75"/>
                    <a:pt x="693" y="74"/>
                  </a:cubicBezTo>
                  <a:cubicBezTo>
                    <a:pt x="693" y="74"/>
                    <a:pt x="694" y="74"/>
                    <a:pt x="694" y="74"/>
                  </a:cubicBezTo>
                  <a:cubicBezTo>
                    <a:pt x="693" y="75"/>
                    <a:pt x="693" y="75"/>
                    <a:pt x="694" y="76"/>
                  </a:cubicBezTo>
                  <a:cubicBezTo>
                    <a:pt x="694" y="76"/>
                    <a:pt x="694" y="77"/>
                    <a:pt x="694" y="77"/>
                  </a:cubicBezTo>
                  <a:cubicBezTo>
                    <a:pt x="694" y="77"/>
                    <a:pt x="694" y="77"/>
                    <a:pt x="693" y="77"/>
                  </a:cubicBezTo>
                  <a:cubicBezTo>
                    <a:pt x="692" y="76"/>
                    <a:pt x="691" y="77"/>
                    <a:pt x="690" y="78"/>
                  </a:cubicBezTo>
                  <a:cubicBezTo>
                    <a:pt x="690" y="78"/>
                    <a:pt x="690" y="78"/>
                    <a:pt x="690" y="78"/>
                  </a:cubicBezTo>
                  <a:cubicBezTo>
                    <a:pt x="690" y="79"/>
                    <a:pt x="690" y="79"/>
                    <a:pt x="690" y="79"/>
                  </a:cubicBezTo>
                  <a:cubicBezTo>
                    <a:pt x="689" y="79"/>
                    <a:pt x="687" y="80"/>
                    <a:pt x="687" y="82"/>
                  </a:cubicBezTo>
                  <a:cubicBezTo>
                    <a:pt x="687" y="82"/>
                    <a:pt x="688" y="83"/>
                    <a:pt x="688" y="83"/>
                  </a:cubicBezTo>
                  <a:cubicBezTo>
                    <a:pt x="688" y="83"/>
                    <a:pt x="688" y="83"/>
                    <a:pt x="688" y="83"/>
                  </a:cubicBezTo>
                  <a:cubicBezTo>
                    <a:pt x="687" y="84"/>
                    <a:pt x="687" y="84"/>
                    <a:pt x="687" y="85"/>
                  </a:cubicBezTo>
                  <a:cubicBezTo>
                    <a:pt x="686" y="85"/>
                    <a:pt x="685" y="84"/>
                    <a:pt x="684" y="84"/>
                  </a:cubicBezTo>
                  <a:cubicBezTo>
                    <a:pt x="684" y="84"/>
                    <a:pt x="684" y="84"/>
                    <a:pt x="683" y="85"/>
                  </a:cubicBezTo>
                  <a:cubicBezTo>
                    <a:pt x="683" y="85"/>
                    <a:pt x="683" y="85"/>
                    <a:pt x="682" y="85"/>
                  </a:cubicBezTo>
                  <a:cubicBezTo>
                    <a:pt x="682" y="85"/>
                    <a:pt x="682" y="85"/>
                    <a:pt x="682" y="85"/>
                  </a:cubicBezTo>
                  <a:cubicBezTo>
                    <a:pt x="681" y="85"/>
                    <a:pt x="681" y="85"/>
                    <a:pt x="681" y="85"/>
                  </a:cubicBezTo>
                  <a:cubicBezTo>
                    <a:pt x="681" y="84"/>
                    <a:pt x="681" y="84"/>
                    <a:pt x="682" y="84"/>
                  </a:cubicBezTo>
                  <a:close/>
                  <a:moveTo>
                    <a:pt x="699" y="72"/>
                  </a:moveTo>
                  <a:cubicBezTo>
                    <a:pt x="699" y="73"/>
                    <a:pt x="698" y="73"/>
                    <a:pt x="698" y="74"/>
                  </a:cubicBezTo>
                  <a:cubicBezTo>
                    <a:pt x="698" y="74"/>
                    <a:pt x="698" y="74"/>
                    <a:pt x="698" y="74"/>
                  </a:cubicBezTo>
                  <a:cubicBezTo>
                    <a:pt x="697" y="74"/>
                    <a:pt x="697" y="74"/>
                    <a:pt x="697" y="73"/>
                  </a:cubicBezTo>
                  <a:cubicBezTo>
                    <a:pt x="697" y="73"/>
                    <a:pt x="696" y="73"/>
                    <a:pt x="696" y="73"/>
                  </a:cubicBezTo>
                  <a:cubicBezTo>
                    <a:pt x="697" y="73"/>
                    <a:pt x="697" y="73"/>
                    <a:pt x="698" y="73"/>
                  </a:cubicBezTo>
                  <a:cubicBezTo>
                    <a:pt x="698" y="73"/>
                    <a:pt x="698" y="73"/>
                    <a:pt x="699" y="72"/>
                  </a:cubicBezTo>
                  <a:cubicBezTo>
                    <a:pt x="699" y="72"/>
                    <a:pt x="699" y="72"/>
                    <a:pt x="699" y="72"/>
                  </a:cubicBezTo>
                  <a:close/>
                  <a:moveTo>
                    <a:pt x="657" y="94"/>
                  </a:moveTo>
                  <a:cubicBezTo>
                    <a:pt x="657" y="94"/>
                    <a:pt x="658" y="94"/>
                    <a:pt x="658" y="94"/>
                  </a:cubicBezTo>
                  <a:cubicBezTo>
                    <a:pt x="658" y="94"/>
                    <a:pt x="658" y="94"/>
                    <a:pt x="658" y="94"/>
                  </a:cubicBezTo>
                  <a:cubicBezTo>
                    <a:pt x="658" y="94"/>
                    <a:pt x="658" y="94"/>
                    <a:pt x="658" y="95"/>
                  </a:cubicBezTo>
                  <a:cubicBezTo>
                    <a:pt x="658" y="95"/>
                    <a:pt x="658" y="94"/>
                    <a:pt x="658" y="94"/>
                  </a:cubicBezTo>
                  <a:cubicBezTo>
                    <a:pt x="658" y="94"/>
                    <a:pt x="657" y="94"/>
                    <a:pt x="657" y="94"/>
                  </a:cubicBezTo>
                  <a:close/>
                  <a:moveTo>
                    <a:pt x="660" y="111"/>
                  </a:moveTo>
                  <a:cubicBezTo>
                    <a:pt x="660" y="111"/>
                    <a:pt x="660" y="111"/>
                    <a:pt x="660" y="111"/>
                  </a:cubicBezTo>
                  <a:cubicBezTo>
                    <a:pt x="660" y="111"/>
                    <a:pt x="660" y="111"/>
                    <a:pt x="660" y="111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1"/>
                  </a:cubicBezTo>
                  <a:close/>
                  <a:moveTo>
                    <a:pt x="654" y="92"/>
                  </a:moveTo>
                  <a:cubicBezTo>
                    <a:pt x="655" y="91"/>
                    <a:pt x="655" y="91"/>
                    <a:pt x="655" y="91"/>
                  </a:cubicBezTo>
                  <a:cubicBezTo>
                    <a:pt x="655" y="92"/>
                    <a:pt x="655" y="92"/>
                    <a:pt x="655" y="92"/>
                  </a:cubicBezTo>
                  <a:cubicBezTo>
                    <a:pt x="655" y="92"/>
                    <a:pt x="655" y="92"/>
                    <a:pt x="654" y="92"/>
                  </a:cubicBezTo>
                  <a:close/>
                  <a:moveTo>
                    <a:pt x="702" y="167"/>
                  </a:moveTo>
                  <a:cubicBezTo>
                    <a:pt x="702" y="167"/>
                    <a:pt x="702" y="167"/>
                    <a:pt x="702" y="167"/>
                  </a:cubicBezTo>
                  <a:cubicBezTo>
                    <a:pt x="702" y="167"/>
                    <a:pt x="702" y="167"/>
                    <a:pt x="702" y="167"/>
                  </a:cubicBezTo>
                  <a:close/>
                  <a:moveTo>
                    <a:pt x="701" y="166"/>
                  </a:moveTo>
                  <a:cubicBezTo>
                    <a:pt x="701" y="166"/>
                    <a:pt x="701" y="166"/>
                    <a:pt x="701" y="166"/>
                  </a:cubicBezTo>
                  <a:cubicBezTo>
                    <a:pt x="700" y="166"/>
                    <a:pt x="700" y="166"/>
                    <a:pt x="700" y="167"/>
                  </a:cubicBezTo>
                  <a:cubicBezTo>
                    <a:pt x="700" y="167"/>
                    <a:pt x="700" y="166"/>
                    <a:pt x="700" y="166"/>
                  </a:cubicBezTo>
                  <a:cubicBezTo>
                    <a:pt x="699" y="166"/>
                    <a:pt x="699" y="166"/>
                    <a:pt x="699" y="165"/>
                  </a:cubicBezTo>
                  <a:cubicBezTo>
                    <a:pt x="698" y="165"/>
                    <a:pt x="697" y="165"/>
                    <a:pt x="697" y="165"/>
                  </a:cubicBezTo>
                  <a:cubicBezTo>
                    <a:pt x="696" y="165"/>
                    <a:pt x="696" y="165"/>
                    <a:pt x="696" y="165"/>
                  </a:cubicBezTo>
                  <a:cubicBezTo>
                    <a:pt x="696" y="165"/>
                    <a:pt x="696" y="164"/>
                    <a:pt x="696" y="164"/>
                  </a:cubicBezTo>
                  <a:cubicBezTo>
                    <a:pt x="696" y="164"/>
                    <a:pt x="695" y="164"/>
                    <a:pt x="694" y="164"/>
                  </a:cubicBezTo>
                  <a:cubicBezTo>
                    <a:pt x="694" y="164"/>
                    <a:pt x="694" y="164"/>
                    <a:pt x="694" y="164"/>
                  </a:cubicBezTo>
                  <a:cubicBezTo>
                    <a:pt x="694" y="163"/>
                    <a:pt x="694" y="162"/>
                    <a:pt x="694" y="161"/>
                  </a:cubicBezTo>
                  <a:cubicBezTo>
                    <a:pt x="694" y="161"/>
                    <a:pt x="694" y="161"/>
                    <a:pt x="694" y="161"/>
                  </a:cubicBezTo>
                  <a:cubicBezTo>
                    <a:pt x="694" y="161"/>
                    <a:pt x="694" y="161"/>
                    <a:pt x="695" y="161"/>
                  </a:cubicBezTo>
                  <a:cubicBezTo>
                    <a:pt x="696" y="161"/>
                    <a:pt x="697" y="160"/>
                    <a:pt x="697" y="160"/>
                  </a:cubicBezTo>
                  <a:cubicBezTo>
                    <a:pt x="698" y="160"/>
                    <a:pt x="698" y="159"/>
                    <a:pt x="698" y="159"/>
                  </a:cubicBezTo>
                  <a:cubicBezTo>
                    <a:pt x="698" y="161"/>
                    <a:pt x="699" y="162"/>
                    <a:pt x="701" y="162"/>
                  </a:cubicBezTo>
                  <a:cubicBezTo>
                    <a:pt x="701" y="162"/>
                    <a:pt x="701" y="162"/>
                    <a:pt x="701" y="162"/>
                  </a:cubicBezTo>
                  <a:cubicBezTo>
                    <a:pt x="702" y="162"/>
                    <a:pt x="702" y="162"/>
                    <a:pt x="702" y="162"/>
                  </a:cubicBezTo>
                  <a:cubicBezTo>
                    <a:pt x="702" y="162"/>
                    <a:pt x="702" y="162"/>
                    <a:pt x="703" y="162"/>
                  </a:cubicBezTo>
                  <a:cubicBezTo>
                    <a:pt x="703" y="162"/>
                    <a:pt x="703" y="162"/>
                    <a:pt x="703" y="163"/>
                  </a:cubicBezTo>
                  <a:cubicBezTo>
                    <a:pt x="703" y="163"/>
                    <a:pt x="703" y="163"/>
                    <a:pt x="703" y="163"/>
                  </a:cubicBezTo>
                  <a:cubicBezTo>
                    <a:pt x="703" y="163"/>
                    <a:pt x="703" y="163"/>
                    <a:pt x="703" y="164"/>
                  </a:cubicBezTo>
                  <a:cubicBezTo>
                    <a:pt x="703" y="164"/>
                    <a:pt x="701" y="164"/>
                    <a:pt x="701" y="166"/>
                  </a:cubicBezTo>
                  <a:close/>
                  <a:moveTo>
                    <a:pt x="722" y="86"/>
                  </a:moveTo>
                  <a:cubicBezTo>
                    <a:pt x="722" y="86"/>
                    <a:pt x="722" y="86"/>
                    <a:pt x="722" y="86"/>
                  </a:cubicBezTo>
                  <a:cubicBezTo>
                    <a:pt x="722" y="86"/>
                    <a:pt x="722" y="86"/>
                    <a:pt x="723" y="86"/>
                  </a:cubicBezTo>
                  <a:cubicBezTo>
                    <a:pt x="723" y="86"/>
                    <a:pt x="723" y="86"/>
                    <a:pt x="723" y="86"/>
                  </a:cubicBezTo>
                  <a:cubicBezTo>
                    <a:pt x="722" y="86"/>
                    <a:pt x="722" y="86"/>
                    <a:pt x="722" y="86"/>
                  </a:cubicBezTo>
                  <a:cubicBezTo>
                    <a:pt x="721" y="87"/>
                    <a:pt x="720" y="88"/>
                    <a:pt x="720" y="90"/>
                  </a:cubicBezTo>
                  <a:cubicBezTo>
                    <a:pt x="720" y="90"/>
                    <a:pt x="720" y="90"/>
                    <a:pt x="720" y="91"/>
                  </a:cubicBezTo>
                  <a:cubicBezTo>
                    <a:pt x="719" y="91"/>
                    <a:pt x="719" y="91"/>
                    <a:pt x="718" y="91"/>
                  </a:cubicBezTo>
                  <a:cubicBezTo>
                    <a:pt x="718" y="90"/>
                    <a:pt x="717" y="89"/>
                    <a:pt x="716" y="90"/>
                  </a:cubicBezTo>
                  <a:cubicBezTo>
                    <a:pt x="716" y="89"/>
                    <a:pt x="716" y="89"/>
                    <a:pt x="716" y="89"/>
                  </a:cubicBezTo>
                  <a:cubicBezTo>
                    <a:pt x="716" y="88"/>
                    <a:pt x="715" y="87"/>
                    <a:pt x="714" y="87"/>
                  </a:cubicBezTo>
                  <a:cubicBezTo>
                    <a:pt x="716" y="86"/>
                    <a:pt x="718" y="85"/>
                    <a:pt x="719" y="83"/>
                  </a:cubicBezTo>
                  <a:cubicBezTo>
                    <a:pt x="719" y="84"/>
                    <a:pt x="719" y="84"/>
                    <a:pt x="719" y="85"/>
                  </a:cubicBezTo>
                  <a:cubicBezTo>
                    <a:pt x="720" y="86"/>
                    <a:pt x="721" y="86"/>
                    <a:pt x="722" y="86"/>
                  </a:cubicBezTo>
                  <a:close/>
                  <a:moveTo>
                    <a:pt x="619" y="105"/>
                  </a:moveTo>
                  <a:cubicBezTo>
                    <a:pt x="619" y="105"/>
                    <a:pt x="619" y="105"/>
                    <a:pt x="619" y="105"/>
                  </a:cubicBezTo>
                  <a:cubicBezTo>
                    <a:pt x="619" y="105"/>
                    <a:pt x="619" y="105"/>
                    <a:pt x="619" y="105"/>
                  </a:cubicBezTo>
                  <a:close/>
                  <a:moveTo>
                    <a:pt x="579" y="121"/>
                  </a:moveTo>
                  <a:cubicBezTo>
                    <a:pt x="578" y="121"/>
                    <a:pt x="578" y="122"/>
                    <a:pt x="578" y="122"/>
                  </a:cubicBezTo>
                  <a:cubicBezTo>
                    <a:pt x="579" y="122"/>
                    <a:pt x="579" y="122"/>
                    <a:pt x="579" y="122"/>
                  </a:cubicBezTo>
                  <a:cubicBezTo>
                    <a:pt x="578" y="122"/>
                    <a:pt x="578" y="122"/>
                    <a:pt x="578" y="122"/>
                  </a:cubicBezTo>
                  <a:cubicBezTo>
                    <a:pt x="578" y="122"/>
                    <a:pt x="577" y="123"/>
                    <a:pt x="577" y="123"/>
                  </a:cubicBezTo>
                  <a:cubicBezTo>
                    <a:pt x="577" y="123"/>
                    <a:pt x="576" y="123"/>
                    <a:pt x="576" y="123"/>
                  </a:cubicBezTo>
                  <a:cubicBezTo>
                    <a:pt x="576" y="123"/>
                    <a:pt x="576" y="123"/>
                    <a:pt x="575" y="123"/>
                  </a:cubicBezTo>
                  <a:cubicBezTo>
                    <a:pt x="575" y="123"/>
                    <a:pt x="575" y="123"/>
                    <a:pt x="575" y="123"/>
                  </a:cubicBezTo>
                  <a:cubicBezTo>
                    <a:pt x="576" y="123"/>
                    <a:pt x="576" y="122"/>
                    <a:pt x="577" y="122"/>
                  </a:cubicBezTo>
                  <a:cubicBezTo>
                    <a:pt x="577" y="122"/>
                    <a:pt x="578" y="122"/>
                    <a:pt x="578" y="121"/>
                  </a:cubicBezTo>
                  <a:lnTo>
                    <a:pt x="579" y="121"/>
                  </a:lnTo>
                  <a:close/>
                  <a:moveTo>
                    <a:pt x="588" y="156"/>
                  </a:moveTo>
                  <a:cubicBezTo>
                    <a:pt x="588" y="156"/>
                    <a:pt x="588" y="156"/>
                    <a:pt x="588" y="156"/>
                  </a:cubicBezTo>
                  <a:cubicBezTo>
                    <a:pt x="587" y="157"/>
                    <a:pt x="587" y="157"/>
                    <a:pt x="587" y="157"/>
                  </a:cubicBezTo>
                  <a:cubicBezTo>
                    <a:pt x="587" y="157"/>
                    <a:pt x="587" y="158"/>
                    <a:pt x="587" y="158"/>
                  </a:cubicBezTo>
                  <a:cubicBezTo>
                    <a:pt x="587" y="158"/>
                    <a:pt x="586" y="157"/>
                    <a:pt x="586" y="157"/>
                  </a:cubicBezTo>
                  <a:cubicBezTo>
                    <a:pt x="586" y="157"/>
                    <a:pt x="585" y="156"/>
                    <a:pt x="585" y="156"/>
                  </a:cubicBezTo>
                  <a:cubicBezTo>
                    <a:pt x="585" y="156"/>
                    <a:pt x="585" y="155"/>
                    <a:pt x="585" y="155"/>
                  </a:cubicBezTo>
                  <a:cubicBezTo>
                    <a:pt x="585" y="155"/>
                    <a:pt x="585" y="154"/>
                    <a:pt x="585" y="154"/>
                  </a:cubicBezTo>
                  <a:cubicBezTo>
                    <a:pt x="585" y="154"/>
                    <a:pt x="584" y="153"/>
                    <a:pt x="584" y="152"/>
                  </a:cubicBezTo>
                  <a:cubicBezTo>
                    <a:pt x="585" y="152"/>
                    <a:pt x="585" y="152"/>
                    <a:pt x="586" y="152"/>
                  </a:cubicBezTo>
                  <a:cubicBezTo>
                    <a:pt x="586" y="152"/>
                    <a:pt x="586" y="153"/>
                    <a:pt x="586" y="153"/>
                  </a:cubicBezTo>
                  <a:cubicBezTo>
                    <a:pt x="586" y="154"/>
                    <a:pt x="587" y="155"/>
                    <a:pt x="587" y="156"/>
                  </a:cubicBezTo>
                  <a:cubicBezTo>
                    <a:pt x="588" y="156"/>
                    <a:pt x="588" y="156"/>
                    <a:pt x="588" y="156"/>
                  </a:cubicBezTo>
                  <a:cubicBezTo>
                    <a:pt x="588" y="156"/>
                    <a:pt x="588" y="156"/>
                    <a:pt x="588" y="156"/>
                  </a:cubicBezTo>
                  <a:close/>
                  <a:moveTo>
                    <a:pt x="570" y="128"/>
                  </a:moveTo>
                  <a:cubicBezTo>
                    <a:pt x="570" y="128"/>
                    <a:pt x="570" y="128"/>
                    <a:pt x="569" y="128"/>
                  </a:cubicBezTo>
                  <a:cubicBezTo>
                    <a:pt x="570" y="128"/>
                    <a:pt x="570" y="127"/>
                    <a:pt x="570" y="126"/>
                  </a:cubicBezTo>
                  <a:cubicBezTo>
                    <a:pt x="570" y="126"/>
                    <a:pt x="571" y="126"/>
                    <a:pt x="571" y="125"/>
                  </a:cubicBezTo>
                  <a:cubicBezTo>
                    <a:pt x="571" y="125"/>
                    <a:pt x="571" y="125"/>
                    <a:pt x="571" y="125"/>
                  </a:cubicBezTo>
                  <a:cubicBezTo>
                    <a:pt x="571" y="125"/>
                    <a:pt x="571" y="125"/>
                    <a:pt x="572" y="125"/>
                  </a:cubicBezTo>
                  <a:cubicBezTo>
                    <a:pt x="572" y="125"/>
                    <a:pt x="573" y="125"/>
                    <a:pt x="573" y="125"/>
                  </a:cubicBezTo>
                  <a:cubicBezTo>
                    <a:pt x="573" y="125"/>
                    <a:pt x="573" y="125"/>
                    <a:pt x="574" y="125"/>
                  </a:cubicBezTo>
                  <a:cubicBezTo>
                    <a:pt x="574" y="125"/>
                    <a:pt x="573" y="125"/>
                    <a:pt x="573" y="125"/>
                  </a:cubicBezTo>
                  <a:cubicBezTo>
                    <a:pt x="573" y="126"/>
                    <a:pt x="573" y="127"/>
                    <a:pt x="572" y="127"/>
                  </a:cubicBezTo>
                  <a:cubicBezTo>
                    <a:pt x="572" y="128"/>
                    <a:pt x="572" y="128"/>
                    <a:pt x="572" y="128"/>
                  </a:cubicBezTo>
                  <a:cubicBezTo>
                    <a:pt x="572" y="128"/>
                    <a:pt x="572" y="128"/>
                    <a:pt x="572" y="128"/>
                  </a:cubicBezTo>
                  <a:cubicBezTo>
                    <a:pt x="572" y="129"/>
                    <a:pt x="571" y="129"/>
                    <a:pt x="571" y="129"/>
                  </a:cubicBezTo>
                  <a:cubicBezTo>
                    <a:pt x="571" y="129"/>
                    <a:pt x="571" y="129"/>
                    <a:pt x="570" y="128"/>
                  </a:cubicBezTo>
                  <a:close/>
                  <a:moveTo>
                    <a:pt x="523" y="107"/>
                  </a:moveTo>
                  <a:cubicBezTo>
                    <a:pt x="523" y="106"/>
                    <a:pt x="523" y="106"/>
                    <a:pt x="523" y="106"/>
                  </a:cubicBezTo>
                  <a:cubicBezTo>
                    <a:pt x="522" y="106"/>
                    <a:pt x="522" y="106"/>
                    <a:pt x="521" y="106"/>
                  </a:cubicBezTo>
                  <a:cubicBezTo>
                    <a:pt x="521" y="106"/>
                    <a:pt x="521" y="106"/>
                    <a:pt x="521" y="106"/>
                  </a:cubicBezTo>
                  <a:cubicBezTo>
                    <a:pt x="520" y="106"/>
                    <a:pt x="520" y="106"/>
                    <a:pt x="519" y="106"/>
                  </a:cubicBezTo>
                  <a:cubicBezTo>
                    <a:pt x="520" y="106"/>
                    <a:pt x="520" y="105"/>
                    <a:pt x="520" y="105"/>
                  </a:cubicBezTo>
                  <a:cubicBezTo>
                    <a:pt x="520" y="105"/>
                    <a:pt x="521" y="105"/>
                    <a:pt x="521" y="104"/>
                  </a:cubicBezTo>
                  <a:cubicBezTo>
                    <a:pt x="521" y="104"/>
                    <a:pt x="521" y="104"/>
                    <a:pt x="521" y="104"/>
                  </a:cubicBezTo>
                  <a:cubicBezTo>
                    <a:pt x="522" y="104"/>
                    <a:pt x="522" y="105"/>
                    <a:pt x="522" y="105"/>
                  </a:cubicBezTo>
                  <a:cubicBezTo>
                    <a:pt x="522" y="106"/>
                    <a:pt x="523" y="106"/>
                    <a:pt x="523" y="106"/>
                  </a:cubicBezTo>
                  <a:cubicBezTo>
                    <a:pt x="523" y="106"/>
                    <a:pt x="523" y="106"/>
                    <a:pt x="523" y="106"/>
                  </a:cubicBezTo>
                  <a:cubicBezTo>
                    <a:pt x="523" y="107"/>
                    <a:pt x="523" y="107"/>
                    <a:pt x="523" y="107"/>
                  </a:cubicBezTo>
                  <a:cubicBezTo>
                    <a:pt x="523" y="107"/>
                    <a:pt x="523" y="107"/>
                    <a:pt x="523" y="107"/>
                  </a:cubicBezTo>
                  <a:close/>
                  <a:moveTo>
                    <a:pt x="527" y="105"/>
                  </a:moveTo>
                  <a:cubicBezTo>
                    <a:pt x="527" y="105"/>
                    <a:pt x="527" y="105"/>
                    <a:pt x="526" y="105"/>
                  </a:cubicBezTo>
                  <a:cubicBezTo>
                    <a:pt x="526" y="105"/>
                    <a:pt x="526" y="105"/>
                    <a:pt x="526" y="105"/>
                  </a:cubicBezTo>
                  <a:cubicBezTo>
                    <a:pt x="527" y="105"/>
                    <a:pt x="527" y="105"/>
                    <a:pt x="527" y="105"/>
                  </a:cubicBezTo>
                  <a:close/>
                  <a:moveTo>
                    <a:pt x="527" y="105"/>
                  </a:moveTo>
                  <a:cubicBezTo>
                    <a:pt x="527" y="105"/>
                    <a:pt x="528" y="105"/>
                    <a:pt x="528" y="105"/>
                  </a:cubicBezTo>
                  <a:cubicBezTo>
                    <a:pt x="527" y="106"/>
                    <a:pt x="527" y="106"/>
                    <a:pt x="527" y="106"/>
                  </a:cubicBezTo>
                  <a:lnTo>
                    <a:pt x="527" y="105"/>
                  </a:lnTo>
                  <a:close/>
                  <a:moveTo>
                    <a:pt x="547" y="173"/>
                  </a:moveTo>
                  <a:cubicBezTo>
                    <a:pt x="547" y="173"/>
                    <a:pt x="547" y="173"/>
                    <a:pt x="547" y="173"/>
                  </a:cubicBezTo>
                  <a:cubicBezTo>
                    <a:pt x="547" y="173"/>
                    <a:pt x="547" y="173"/>
                    <a:pt x="547" y="173"/>
                  </a:cubicBezTo>
                  <a:cubicBezTo>
                    <a:pt x="547" y="173"/>
                    <a:pt x="547" y="173"/>
                    <a:pt x="547" y="173"/>
                  </a:cubicBezTo>
                  <a:cubicBezTo>
                    <a:pt x="547" y="173"/>
                    <a:pt x="547" y="173"/>
                    <a:pt x="547" y="173"/>
                  </a:cubicBezTo>
                  <a:close/>
                  <a:moveTo>
                    <a:pt x="542" y="171"/>
                  </a:moveTo>
                  <a:cubicBezTo>
                    <a:pt x="541" y="170"/>
                    <a:pt x="541" y="170"/>
                    <a:pt x="541" y="170"/>
                  </a:cubicBezTo>
                  <a:cubicBezTo>
                    <a:pt x="541" y="170"/>
                    <a:pt x="540" y="169"/>
                    <a:pt x="540" y="169"/>
                  </a:cubicBezTo>
                  <a:cubicBezTo>
                    <a:pt x="540" y="169"/>
                    <a:pt x="540" y="169"/>
                    <a:pt x="540" y="169"/>
                  </a:cubicBezTo>
                  <a:cubicBezTo>
                    <a:pt x="539" y="168"/>
                    <a:pt x="538" y="167"/>
                    <a:pt x="537" y="166"/>
                  </a:cubicBezTo>
                  <a:cubicBezTo>
                    <a:pt x="537" y="166"/>
                    <a:pt x="537" y="165"/>
                    <a:pt x="537" y="165"/>
                  </a:cubicBezTo>
                  <a:cubicBezTo>
                    <a:pt x="537" y="165"/>
                    <a:pt x="537" y="165"/>
                    <a:pt x="537" y="165"/>
                  </a:cubicBezTo>
                  <a:cubicBezTo>
                    <a:pt x="537" y="165"/>
                    <a:pt x="537" y="165"/>
                    <a:pt x="537" y="165"/>
                  </a:cubicBezTo>
                  <a:cubicBezTo>
                    <a:pt x="538" y="166"/>
                    <a:pt x="538" y="166"/>
                    <a:pt x="538" y="166"/>
                  </a:cubicBezTo>
                  <a:cubicBezTo>
                    <a:pt x="538" y="166"/>
                    <a:pt x="538" y="167"/>
                    <a:pt x="539" y="167"/>
                  </a:cubicBezTo>
                  <a:cubicBezTo>
                    <a:pt x="539" y="167"/>
                    <a:pt x="539" y="167"/>
                    <a:pt x="540" y="168"/>
                  </a:cubicBezTo>
                  <a:cubicBezTo>
                    <a:pt x="540" y="168"/>
                    <a:pt x="540" y="168"/>
                    <a:pt x="540" y="168"/>
                  </a:cubicBezTo>
                  <a:cubicBezTo>
                    <a:pt x="541" y="169"/>
                    <a:pt x="542" y="170"/>
                    <a:pt x="542" y="169"/>
                  </a:cubicBezTo>
                  <a:cubicBezTo>
                    <a:pt x="543" y="170"/>
                    <a:pt x="543" y="170"/>
                    <a:pt x="543" y="170"/>
                  </a:cubicBezTo>
                  <a:cubicBezTo>
                    <a:pt x="542" y="170"/>
                    <a:pt x="542" y="170"/>
                    <a:pt x="542" y="171"/>
                  </a:cubicBezTo>
                  <a:close/>
                  <a:moveTo>
                    <a:pt x="534" y="164"/>
                  </a:moveTo>
                  <a:cubicBezTo>
                    <a:pt x="534" y="164"/>
                    <a:pt x="534" y="164"/>
                    <a:pt x="535" y="164"/>
                  </a:cubicBezTo>
                  <a:cubicBezTo>
                    <a:pt x="535" y="164"/>
                    <a:pt x="535" y="164"/>
                    <a:pt x="536" y="164"/>
                  </a:cubicBezTo>
                  <a:cubicBezTo>
                    <a:pt x="535" y="164"/>
                    <a:pt x="534" y="164"/>
                    <a:pt x="533" y="164"/>
                  </a:cubicBezTo>
                  <a:cubicBezTo>
                    <a:pt x="533" y="164"/>
                    <a:pt x="533" y="164"/>
                    <a:pt x="533" y="164"/>
                  </a:cubicBezTo>
                  <a:cubicBezTo>
                    <a:pt x="533" y="164"/>
                    <a:pt x="533" y="164"/>
                    <a:pt x="533" y="164"/>
                  </a:cubicBezTo>
                  <a:cubicBezTo>
                    <a:pt x="533" y="164"/>
                    <a:pt x="532" y="164"/>
                    <a:pt x="532" y="163"/>
                  </a:cubicBezTo>
                  <a:cubicBezTo>
                    <a:pt x="533" y="163"/>
                    <a:pt x="533" y="164"/>
                    <a:pt x="534" y="164"/>
                  </a:cubicBezTo>
                  <a:close/>
                  <a:moveTo>
                    <a:pt x="532" y="104"/>
                  </a:moveTo>
                  <a:cubicBezTo>
                    <a:pt x="532" y="104"/>
                    <a:pt x="532" y="104"/>
                    <a:pt x="532" y="104"/>
                  </a:cubicBezTo>
                  <a:cubicBezTo>
                    <a:pt x="532" y="104"/>
                    <a:pt x="532" y="104"/>
                    <a:pt x="533" y="104"/>
                  </a:cubicBezTo>
                  <a:cubicBezTo>
                    <a:pt x="533" y="104"/>
                    <a:pt x="533" y="104"/>
                    <a:pt x="533" y="104"/>
                  </a:cubicBezTo>
                  <a:cubicBezTo>
                    <a:pt x="533" y="104"/>
                    <a:pt x="532" y="104"/>
                    <a:pt x="532" y="104"/>
                  </a:cubicBezTo>
                  <a:close/>
                  <a:moveTo>
                    <a:pt x="505" y="440"/>
                  </a:moveTo>
                  <a:cubicBezTo>
                    <a:pt x="505" y="440"/>
                    <a:pt x="505" y="440"/>
                    <a:pt x="505" y="440"/>
                  </a:cubicBezTo>
                  <a:cubicBezTo>
                    <a:pt x="505" y="440"/>
                    <a:pt x="505" y="440"/>
                    <a:pt x="505" y="440"/>
                  </a:cubicBezTo>
                  <a:cubicBezTo>
                    <a:pt x="505" y="439"/>
                    <a:pt x="505" y="439"/>
                    <a:pt x="505" y="439"/>
                  </a:cubicBezTo>
                  <a:cubicBezTo>
                    <a:pt x="505" y="439"/>
                    <a:pt x="505" y="439"/>
                    <a:pt x="505" y="439"/>
                  </a:cubicBezTo>
                  <a:cubicBezTo>
                    <a:pt x="505" y="439"/>
                    <a:pt x="505" y="439"/>
                    <a:pt x="505" y="439"/>
                  </a:cubicBezTo>
                  <a:cubicBezTo>
                    <a:pt x="505" y="439"/>
                    <a:pt x="505" y="440"/>
                    <a:pt x="505" y="440"/>
                  </a:cubicBezTo>
                  <a:close/>
                  <a:moveTo>
                    <a:pt x="187" y="324"/>
                  </a:moveTo>
                  <a:cubicBezTo>
                    <a:pt x="187" y="324"/>
                    <a:pt x="187" y="324"/>
                    <a:pt x="187" y="324"/>
                  </a:cubicBezTo>
                  <a:cubicBezTo>
                    <a:pt x="187" y="324"/>
                    <a:pt x="187" y="324"/>
                    <a:pt x="187" y="324"/>
                  </a:cubicBezTo>
                  <a:close/>
                  <a:moveTo>
                    <a:pt x="166" y="337"/>
                  </a:moveTo>
                  <a:cubicBezTo>
                    <a:pt x="166" y="337"/>
                    <a:pt x="166" y="337"/>
                    <a:pt x="166" y="337"/>
                  </a:cubicBezTo>
                  <a:cubicBezTo>
                    <a:pt x="166" y="337"/>
                    <a:pt x="166" y="337"/>
                    <a:pt x="166" y="337"/>
                  </a:cubicBezTo>
                  <a:close/>
                  <a:moveTo>
                    <a:pt x="226" y="199"/>
                  </a:moveTo>
                  <a:cubicBezTo>
                    <a:pt x="226" y="199"/>
                    <a:pt x="226" y="199"/>
                    <a:pt x="226" y="199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26" y="199"/>
                    <a:pt x="226" y="199"/>
                    <a:pt x="226" y="199"/>
                  </a:cubicBezTo>
                  <a:close/>
                  <a:moveTo>
                    <a:pt x="224" y="187"/>
                  </a:move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6" y="188"/>
                    <a:pt x="226" y="188"/>
                  </a:cubicBezTo>
                  <a:cubicBezTo>
                    <a:pt x="226" y="188"/>
                    <a:pt x="226" y="188"/>
                    <a:pt x="226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4" y="187"/>
                    <a:pt x="224" y="187"/>
                    <a:pt x="224" y="187"/>
                  </a:cubicBezTo>
                  <a:close/>
                  <a:moveTo>
                    <a:pt x="221" y="194"/>
                  </a:moveTo>
                  <a:cubicBezTo>
                    <a:pt x="220" y="194"/>
                    <a:pt x="220" y="194"/>
                    <a:pt x="220" y="194"/>
                  </a:cubicBezTo>
                  <a:cubicBezTo>
                    <a:pt x="220" y="194"/>
                    <a:pt x="220" y="194"/>
                    <a:pt x="220" y="194"/>
                  </a:cubicBezTo>
                  <a:lnTo>
                    <a:pt x="221" y="194"/>
                  </a:lnTo>
                  <a:close/>
                  <a:moveTo>
                    <a:pt x="236" y="184"/>
                  </a:moveTo>
                  <a:cubicBezTo>
                    <a:pt x="236" y="184"/>
                    <a:pt x="236" y="184"/>
                    <a:pt x="236" y="184"/>
                  </a:cubicBezTo>
                  <a:cubicBezTo>
                    <a:pt x="236" y="184"/>
                    <a:pt x="236" y="184"/>
                    <a:pt x="236" y="184"/>
                  </a:cubicBezTo>
                  <a:cubicBezTo>
                    <a:pt x="236" y="184"/>
                    <a:pt x="236" y="185"/>
                    <a:pt x="235" y="185"/>
                  </a:cubicBezTo>
                  <a:cubicBezTo>
                    <a:pt x="235" y="185"/>
                    <a:pt x="236" y="184"/>
                    <a:pt x="236" y="184"/>
                  </a:cubicBezTo>
                  <a:close/>
                  <a:moveTo>
                    <a:pt x="236" y="177"/>
                  </a:moveTo>
                  <a:cubicBezTo>
                    <a:pt x="236" y="177"/>
                    <a:pt x="236" y="177"/>
                    <a:pt x="236" y="177"/>
                  </a:cubicBezTo>
                  <a:cubicBezTo>
                    <a:pt x="236" y="178"/>
                    <a:pt x="236" y="178"/>
                    <a:pt x="236" y="179"/>
                  </a:cubicBezTo>
                  <a:cubicBezTo>
                    <a:pt x="236" y="179"/>
                    <a:pt x="237" y="180"/>
                    <a:pt x="238" y="180"/>
                  </a:cubicBezTo>
                  <a:cubicBezTo>
                    <a:pt x="238" y="180"/>
                    <a:pt x="238" y="180"/>
                    <a:pt x="238" y="180"/>
                  </a:cubicBezTo>
                  <a:cubicBezTo>
                    <a:pt x="238" y="180"/>
                    <a:pt x="238" y="180"/>
                    <a:pt x="238" y="180"/>
                  </a:cubicBezTo>
                  <a:cubicBezTo>
                    <a:pt x="237" y="180"/>
                    <a:pt x="237" y="181"/>
                    <a:pt x="236" y="181"/>
                  </a:cubicBezTo>
                  <a:cubicBezTo>
                    <a:pt x="237" y="182"/>
                    <a:pt x="237" y="182"/>
                    <a:pt x="237" y="182"/>
                  </a:cubicBezTo>
                  <a:cubicBezTo>
                    <a:pt x="236" y="181"/>
                    <a:pt x="236" y="181"/>
                    <a:pt x="236" y="181"/>
                  </a:cubicBezTo>
                  <a:cubicBezTo>
                    <a:pt x="236" y="182"/>
                    <a:pt x="236" y="182"/>
                    <a:pt x="236" y="182"/>
                  </a:cubicBezTo>
                  <a:cubicBezTo>
                    <a:pt x="236" y="182"/>
                    <a:pt x="236" y="182"/>
                    <a:pt x="236" y="182"/>
                  </a:cubicBezTo>
                  <a:cubicBezTo>
                    <a:pt x="236" y="181"/>
                    <a:pt x="236" y="181"/>
                    <a:pt x="236" y="181"/>
                  </a:cubicBezTo>
                  <a:cubicBezTo>
                    <a:pt x="236" y="180"/>
                    <a:pt x="236" y="179"/>
                    <a:pt x="236" y="179"/>
                  </a:cubicBezTo>
                  <a:cubicBezTo>
                    <a:pt x="236" y="178"/>
                    <a:pt x="235" y="178"/>
                    <a:pt x="235" y="178"/>
                  </a:cubicBezTo>
                  <a:cubicBezTo>
                    <a:pt x="235" y="178"/>
                    <a:pt x="235" y="178"/>
                    <a:pt x="235" y="178"/>
                  </a:cubicBezTo>
                  <a:cubicBezTo>
                    <a:pt x="235" y="178"/>
                    <a:pt x="236" y="178"/>
                    <a:pt x="236" y="177"/>
                  </a:cubicBezTo>
                  <a:close/>
                  <a:moveTo>
                    <a:pt x="233" y="187"/>
                  </a:moveTo>
                  <a:cubicBezTo>
                    <a:pt x="233" y="188"/>
                    <a:pt x="233" y="188"/>
                    <a:pt x="233" y="188"/>
                  </a:cubicBezTo>
                  <a:cubicBezTo>
                    <a:pt x="233" y="188"/>
                    <a:pt x="233" y="188"/>
                    <a:pt x="233" y="188"/>
                  </a:cubicBezTo>
                  <a:cubicBezTo>
                    <a:pt x="232" y="187"/>
                    <a:pt x="232" y="187"/>
                    <a:pt x="232" y="187"/>
                  </a:cubicBezTo>
                  <a:lnTo>
                    <a:pt x="233" y="187"/>
                  </a:lnTo>
                  <a:close/>
                  <a:moveTo>
                    <a:pt x="232" y="187"/>
                  </a:moveTo>
                  <a:cubicBezTo>
                    <a:pt x="232" y="187"/>
                    <a:pt x="232" y="188"/>
                    <a:pt x="232" y="188"/>
                  </a:cubicBezTo>
                  <a:cubicBezTo>
                    <a:pt x="232" y="188"/>
                    <a:pt x="232" y="187"/>
                    <a:pt x="232" y="187"/>
                  </a:cubicBezTo>
                  <a:close/>
                  <a:moveTo>
                    <a:pt x="231" y="190"/>
                  </a:moveTo>
                  <a:cubicBezTo>
                    <a:pt x="231" y="190"/>
                    <a:pt x="231" y="190"/>
                    <a:pt x="231" y="190"/>
                  </a:cubicBezTo>
                  <a:cubicBezTo>
                    <a:pt x="231" y="190"/>
                    <a:pt x="231" y="190"/>
                    <a:pt x="231" y="190"/>
                  </a:cubicBezTo>
                  <a:cubicBezTo>
                    <a:pt x="231" y="191"/>
                    <a:pt x="230" y="191"/>
                    <a:pt x="230" y="192"/>
                  </a:cubicBezTo>
                  <a:cubicBezTo>
                    <a:pt x="230" y="192"/>
                    <a:pt x="230" y="192"/>
                    <a:pt x="230" y="192"/>
                  </a:cubicBezTo>
                  <a:cubicBezTo>
                    <a:pt x="230" y="191"/>
                    <a:pt x="230" y="191"/>
                    <a:pt x="230" y="190"/>
                  </a:cubicBezTo>
                  <a:cubicBezTo>
                    <a:pt x="230" y="190"/>
                    <a:pt x="230" y="190"/>
                    <a:pt x="231" y="190"/>
                  </a:cubicBezTo>
                  <a:cubicBezTo>
                    <a:pt x="231" y="190"/>
                    <a:pt x="231" y="190"/>
                    <a:pt x="231" y="189"/>
                  </a:cubicBezTo>
                  <a:cubicBezTo>
                    <a:pt x="231" y="190"/>
                    <a:pt x="231" y="190"/>
                    <a:pt x="231" y="190"/>
                  </a:cubicBezTo>
                  <a:close/>
                  <a:moveTo>
                    <a:pt x="226" y="192"/>
                  </a:moveTo>
                  <a:cubicBezTo>
                    <a:pt x="226" y="192"/>
                    <a:pt x="226" y="192"/>
                    <a:pt x="226" y="192"/>
                  </a:cubicBezTo>
                  <a:cubicBezTo>
                    <a:pt x="226" y="191"/>
                    <a:pt x="226" y="191"/>
                    <a:pt x="226" y="191"/>
                  </a:cubicBezTo>
                  <a:lnTo>
                    <a:pt x="226" y="192"/>
                  </a:lnTo>
                  <a:close/>
                  <a:moveTo>
                    <a:pt x="227" y="192"/>
                  </a:move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lose/>
                  <a:moveTo>
                    <a:pt x="226" y="193"/>
                  </a:moveTo>
                  <a:cubicBezTo>
                    <a:pt x="226" y="193"/>
                    <a:pt x="227" y="193"/>
                    <a:pt x="227" y="192"/>
                  </a:cubicBezTo>
                  <a:cubicBezTo>
                    <a:pt x="227" y="192"/>
                    <a:pt x="227" y="193"/>
                    <a:pt x="227" y="193"/>
                  </a:cubicBezTo>
                  <a:cubicBezTo>
                    <a:pt x="228" y="193"/>
                    <a:pt x="228" y="193"/>
                    <a:pt x="228" y="193"/>
                  </a:cubicBezTo>
                  <a:cubicBezTo>
                    <a:pt x="228" y="193"/>
                    <a:pt x="228" y="193"/>
                    <a:pt x="228" y="193"/>
                  </a:cubicBezTo>
                  <a:cubicBezTo>
                    <a:pt x="228" y="193"/>
                    <a:pt x="228" y="193"/>
                    <a:pt x="228" y="194"/>
                  </a:cubicBezTo>
                  <a:cubicBezTo>
                    <a:pt x="228" y="194"/>
                    <a:pt x="228" y="195"/>
                    <a:pt x="228" y="196"/>
                  </a:cubicBezTo>
                  <a:cubicBezTo>
                    <a:pt x="228" y="197"/>
                    <a:pt x="228" y="197"/>
                    <a:pt x="228" y="197"/>
                  </a:cubicBezTo>
                  <a:cubicBezTo>
                    <a:pt x="228" y="197"/>
                    <a:pt x="228" y="197"/>
                    <a:pt x="228" y="197"/>
                  </a:cubicBezTo>
                  <a:cubicBezTo>
                    <a:pt x="228" y="196"/>
                    <a:pt x="228" y="195"/>
                    <a:pt x="227" y="194"/>
                  </a:cubicBezTo>
                  <a:cubicBezTo>
                    <a:pt x="227" y="194"/>
                    <a:pt x="226" y="194"/>
                    <a:pt x="226" y="193"/>
                  </a:cubicBezTo>
                  <a:close/>
                  <a:moveTo>
                    <a:pt x="480" y="447"/>
                  </a:moveTo>
                  <a:cubicBezTo>
                    <a:pt x="480" y="447"/>
                    <a:pt x="480" y="447"/>
                    <a:pt x="480" y="447"/>
                  </a:cubicBezTo>
                  <a:cubicBezTo>
                    <a:pt x="480" y="447"/>
                    <a:pt x="480" y="447"/>
                    <a:pt x="480" y="447"/>
                  </a:cubicBezTo>
                  <a:close/>
                  <a:moveTo>
                    <a:pt x="415" y="383"/>
                  </a:moveTo>
                  <a:cubicBezTo>
                    <a:pt x="415" y="383"/>
                    <a:pt x="415" y="383"/>
                    <a:pt x="415" y="383"/>
                  </a:cubicBezTo>
                  <a:cubicBezTo>
                    <a:pt x="415" y="383"/>
                    <a:pt x="415" y="383"/>
                    <a:pt x="415" y="383"/>
                  </a:cubicBezTo>
                  <a:close/>
                  <a:moveTo>
                    <a:pt x="425" y="373"/>
                  </a:moveTo>
                  <a:cubicBezTo>
                    <a:pt x="425" y="373"/>
                    <a:pt x="425" y="373"/>
                    <a:pt x="425" y="373"/>
                  </a:cubicBezTo>
                  <a:cubicBezTo>
                    <a:pt x="425" y="373"/>
                    <a:pt x="425" y="373"/>
                    <a:pt x="425" y="373"/>
                  </a:cubicBezTo>
                  <a:close/>
                  <a:moveTo>
                    <a:pt x="456" y="399"/>
                  </a:moveTo>
                  <a:cubicBezTo>
                    <a:pt x="456" y="399"/>
                    <a:pt x="456" y="399"/>
                    <a:pt x="456" y="399"/>
                  </a:cubicBezTo>
                  <a:cubicBezTo>
                    <a:pt x="456" y="399"/>
                    <a:pt x="456" y="399"/>
                    <a:pt x="456" y="399"/>
                  </a:cubicBezTo>
                  <a:cubicBezTo>
                    <a:pt x="456" y="399"/>
                    <a:pt x="456" y="399"/>
                    <a:pt x="456" y="399"/>
                  </a:cubicBezTo>
                  <a:close/>
                  <a:moveTo>
                    <a:pt x="457" y="397"/>
                  </a:moveTo>
                  <a:cubicBezTo>
                    <a:pt x="457" y="397"/>
                    <a:pt x="457" y="397"/>
                    <a:pt x="457" y="397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7" y="396"/>
                    <a:pt x="457" y="396"/>
                    <a:pt x="457" y="395"/>
                  </a:cubicBezTo>
                  <a:lnTo>
                    <a:pt x="457" y="397"/>
                  </a:lnTo>
                  <a:close/>
                  <a:moveTo>
                    <a:pt x="456" y="387"/>
                  </a:moveTo>
                  <a:cubicBezTo>
                    <a:pt x="456" y="387"/>
                    <a:pt x="456" y="387"/>
                    <a:pt x="456" y="387"/>
                  </a:cubicBezTo>
                  <a:cubicBezTo>
                    <a:pt x="456" y="388"/>
                    <a:pt x="456" y="389"/>
                    <a:pt x="455" y="390"/>
                  </a:cubicBezTo>
                  <a:cubicBezTo>
                    <a:pt x="455" y="390"/>
                    <a:pt x="455" y="391"/>
                    <a:pt x="455" y="392"/>
                  </a:cubicBezTo>
                  <a:cubicBezTo>
                    <a:pt x="456" y="392"/>
                    <a:pt x="456" y="393"/>
                    <a:pt x="456" y="393"/>
                  </a:cubicBezTo>
                  <a:cubicBezTo>
                    <a:pt x="456" y="393"/>
                    <a:pt x="456" y="393"/>
                    <a:pt x="456" y="393"/>
                  </a:cubicBezTo>
                  <a:cubicBezTo>
                    <a:pt x="456" y="394"/>
                    <a:pt x="456" y="394"/>
                    <a:pt x="456" y="395"/>
                  </a:cubicBezTo>
                  <a:cubicBezTo>
                    <a:pt x="455" y="396"/>
                    <a:pt x="455" y="396"/>
                    <a:pt x="455" y="396"/>
                  </a:cubicBezTo>
                  <a:cubicBezTo>
                    <a:pt x="454" y="397"/>
                    <a:pt x="454" y="397"/>
                    <a:pt x="454" y="398"/>
                  </a:cubicBezTo>
                  <a:cubicBezTo>
                    <a:pt x="454" y="398"/>
                    <a:pt x="455" y="399"/>
                    <a:pt x="455" y="399"/>
                  </a:cubicBezTo>
                  <a:cubicBezTo>
                    <a:pt x="454" y="399"/>
                    <a:pt x="453" y="399"/>
                    <a:pt x="453" y="401"/>
                  </a:cubicBezTo>
                  <a:cubicBezTo>
                    <a:pt x="453" y="401"/>
                    <a:pt x="453" y="401"/>
                    <a:pt x="453" y="402"/>
                  </a:cubicBezTo>
                  <a:cubicBezTo>
                    <a:pt x="453" y="402"/>
                    <a:pt x="453" y="402"/>
                    <a:pt x="453" y="402"/>
                  </a:cubicBezTo>
                  <a:cubicBezTo>
                    <a:pt x="453" y="402"/>
                    <a:pt x="453" y="402"/>
                    <a:pt x="452" y="402"/>
                  </a:cubicBezTo>
                  <a:cubicBezTo>
                    <a:pt x="452" y="402"/>
                    <a:pt x="452" y="401"/>
                    <a:pt x="452" y="401"/>
                  </a:cubicBezTo>
                  <a:cubicBezTo>
                    <a:pt x="452" y="401"/>
                    <a:pt x="452" y="401"/>
                    <a:pt x="452" y="401"/>
                  </a:cubicBezTo>
                  <a:cubicBezTo>
                    <a:pt x="452" y="400"/>
                    <a:pt x="451" y="399"/>
                    <a:pt x="451" y="399"/>
                  </a:cubicBezTo>
                  <a:cubicBezTo>
                    <a:pt x="451" y="399"/>
                    <a:pt x="450" y="399"/>
                    <a:pt x="450" y="399"/>
                  </a:cubicBezTo>
                  <a:cubicBezTo>
                    <a:pt x="450" y="399"/>
                    <a:pt x="450" y="399"/>
                    <a:pt x="450" y="399"/>
                  </a:cubicBezTo>
                  <a:cubicBezTo>
                    <a:pt x="451" y="398"/>
                    <a:pt x="451" y="397"/>
                    <a:pt x="451" y="397"/>
                  </a:cubicBezTo>
                  <a:cubicBezTo>
                    <a:pt x="451" y="396"/>
                    <a:pt x="450" y="395"/>
                    <a:pt x="450" y="395"/>
                  </a:cubicBezTo>
                  <a:cubicBezTo>
                    <a:pt x="450" y="395"/>
                    <a:pt x="450" y="395"/>
                    <a:pt x="450" y="395"/>
                  </a:cubicBezTo>
                  <a:cubicBezTo>
                    <a:pt x="450" y="394"/>
                    <a:pt x="450" y="394"/>
                    <a:pt x="450" y="393"/>
                  </a:cubicBezTo>
                  <a:cubicBezTo>
                    <a:pt x="449" y="392"/>
                    <a:pt x="449" y="392"/>
                    <a:pt x="448" y="391"/>
                  </a:cubicBezTo>
                  <a:cubicBezTo>
                    <a:pt x="447" y="390"/>
                    <a:pt x="446" y="390"/>
                    <a:pt x="445" y="391"/>
                  </a:cubicBezTo>
                  <a:cubicBezTo>
                    <a:pt x="444" y="391"/>
                    <a:pt x="444" y="391"/>
                    <a:pt x="444" y="392"/>
                  </a:cubicBezTo>
                  <a:cubicBezTo>
                    <a:pt x="443" y="393"/>
                    <a:pt x="443" y="393"/>
                    <a:pt x="444" y="394"/>
                  </a:cubicBezTo>
                  <a:cubicBezTo>
                    <a:pt x="444" y="394"/>
                    <a:pt x="444" y="394"/>
                    <a:pt x="444" y="395"/>
                  </a:cubicBezTo>
                  <a:cubicBezTo>
                    <a:pt x="444" y="395"/>
                    <a:pt x="444" y="395"/>
                    <a:pt x="444" y="395"/>
                  </a:cubicBezTo>
                  <a:cubicBezTo>
                    <a:pt x="444" y="396"/>
                    <a:pt x="444" y="397"/>
                    <a:pt x="445" y="397"/>
                  </a:cubicBezTo>
                  <a:cubicBezTo>
                    <a:pt x="445" y="398"/>
                    <a:pt x="445" y="398"/>
                    <a:pt x="445" y="398"/>
                  </a:cubicBezTo>
                  <a:cubicBezTo>
                    <a:pt x="445" y="398"/>
                    <a:pt x="445" y="398"/>
                    <a:pt x="445" y="398"/>
                  </a:cubicBezTo>
                  <a:cubicBezTo>
                    <a:pt x="445" y="398"/>
                    <a:pt x="445" y="399"/>
                    <a:pt x="444" y="400"/>
                  </a:cubicBezTo>
                  <a:cubicBezTo>
                    <a:pt x="444" y="400"/>
                    <a:pt x="444" y="401"/>
                    <a:pt x="444" y="401"/>
                  </a:cubicBezTo>
                  <a:cubicBezTo>
                    <a:pt x="443" y="400"/>
                    <a:pt x="443" y="400"/>
                    <a:pt x="442" y="401"/>
                  </a:cubicBezTo>
                  <a:cubicBezTo>
                    <a:pt x="441" y="401"/>
                    <a:pt x="440" y="402"/>
                    <a:pt x="439" y="402"/>
                  </a:cubicBezTo>
                  <a:cubicBezTo>
                    <a:pt x="439" y="403"/>
                    <a:pt x="439" y="403"/>
                    <a:pt x="438" y="404"/>
                  </a:cubicBezTo>
                  <a:cubicBezTo>
                    <a:pt x="438" y="404"/>
                    <a:pt x="438" y="405"/>
                    <a:pt x="438" y="405"/>
                  </a:cubicBezTo>
                  <a:cubicBezTo>
                    <a:pt x="438" y="405"/>
                    <a:pt x="437" y="406"/>
                    <a:pt x="437" y="406"/>
                  </a:cubicBezTo>
                  <a:cubicBezTo>
                    <a:pt x="436" y="407"/>
                    <a:pt x="435" y="407"/>
                    <a:pt x="435" y="408"/>
                  </a:cubicBezTo>
                  <a:cubicBezTo>
                    <a:pt x="435" y="409"/>
                    <a:pt x="435" y="410"/>
                    <a:pt x="435" y="410"/>
                  </a:cubicBezTo>
                  <a:cubicBezTo>
                    <a:pt x="435" y="410"/>
                    <a:pt x="435" y="411"/>
                    <a:pt x="434" y="411"/>
                  </a:cubicBezTo>
                  <a:cubicBezTo>
                    <a:pt x="434" y="412"/>
                    <a:pt x="433" y="413"/>
                    <a:pt x="432" y="413"/>
                  </a:cubicBezTo>
                  <a:cubicBezTo>
                    <a:pt x="432" y="414"/>
                    <a:pt x="432" y="414"/>
                    <a:pt x="432" y="414"/>
                  </a:cubicBezTo>
                  <a:cubicBezTo>
                    <a:pt x="431" y="414"/>
                    <a:pt x="431" y="414"/>
                    <a:pt x="430" y="414"/>
                  </a:cubicBezTo>
                  <a:cubicBezTo>
                    <a:pt x="430" y="414"/>
                    <a:pt x="430" y="414"/>
                    <a:pt x="430" y="414"/>
                  </a:cubicBezTo>
                  <a:cubicBezTo>
                    <a:pt x="430" y="414"/>
                    <a:pt x="431" y="413"/>
                    <a:pt x="431" y="413"/>
                  </a:cubicBezTo>
                  <a:cubicBezTo>
                    <a:pt x="431" y="413"/>
                    <a:pt x="431" y="412"/>
                    <a:pt x="431" y="411"/>
                  </a:cubicBezTo>
                  <a:cubicBezTo>
                    <a:pt x="431" y="411"/>
                    <a:pt x="431" y="411"/>
                    <a:pt x="431" y="411"/>
                  </a:cubicBezTo>
                  <a:cubicBezTo>
                    <a:pt x="431" y="410"/>
                    <a:pt x="431" y="410"/>
                    <a:pt x="431" y="410"/>
                  </a:cubicBezTo>
                  <a:cubicBezTo>
                    <a:pt x="432" y="409"/>
                    <a:pt x="432" y="407"/>
                    <a:pt x="431" y="405"/>
                  </a:cubicBezTo>
                  <a:cubicBezTo>
                    <a:pt x="431" y="405"/>
                    <a:pt x="430" y="405"/>
                    <a:pt x="429" y="405"/>
                  </a:cubicBezTo>
                  <a:cubicBezTo>
                    <a:pt x="428" y="405"/>
                    <a:pt x="427" y="405"/>
                    <a:pt x="427" y="405"/>
                  </a:cubicBezTo>
                  <a:cubicBezTo>
                    <a:pt x="426" y="406"/>
                    <a:pt x="426" y="406"/>
                    <a:pt x="426" y="406"/>
                  </a:cubicBezTo>
                  <a:cubicBezTo>
                    <a:pt x="425" y="406"/>
                    <a:pt x="425" y="406"/>
                    <a:pt x="425" y="406"/>
                  </a:cubicBezTo>
                  <a:cubicBezTo>
                    <a:pt x="425" y="406"/>
                    <a:pt x="425" y="406"/>
                    <a:pt x="425" y="406"/>
                  </a:cubicBezTo>
                  <a:cubicBezTo>
                    <a:pt x="425" y="406"/>
                    <a:pt x="426" y="405"/>
                    <a:pt x="426" y="405"/>
                  </a:cubicBezTo>
                  <a:cubicBezTo>
                    <a:pt x="427" y="404"/>
                    <a:pt x="428" y="404"/>
                    <a:pt x="428" y="403"/>
                  </a:cubicBezTo>
                  <a:cubicBezTo>
                    <a:pt x="429" y="403"/>
                    <a:pt x="429" y="403"/>
                    <a:pt x="429" y="403"/>
                  </a:cubicBezTo>
                  <a:cubicBezTo>
                    <a:pt x="429" y="403"/>
                    <a:pt x="430" y="403"/>
                    <a:pt x="430" y="403"/>
                  </a:cubicBezTo>
                  <a:cubicBezTo>
                    <a:pt x="431" y="402"/>
                    <a:pt x="431" y="401"/>
                    <a:pt x="431" y="401"/>
                  </a:cubicBezTo>
                  <a:cubicBezTo>
                    <a:pt x="432" y="400"/>
                    <a:pt x="432" y="400"/>
                    <a:pt x="432" y="399"/>
                  </a:cubicBezTo>
                  <a:cubicBezTo>
                    <a:pt x="432" y="399"/>
                    <a:pt x="432" y="399"/>
                    <a:pt x="432" y="399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33" y="397"/>
                    <a:pt x="433" y="396"/>
                    <a:pt x="434" y="396"/>
                  </a:cubicBezTo>
                  <a:cubicBezTo>
                    <a:pt x="434" y="396"/>
                    <a:pt x="434" y="396"/>
                    <a:pt x="435" y="395"/>
                  </a:cubicBezTo>
                  <a:cubicBezTo>
                    <a:pt x="436" y="395"/>
                    <a:pt x="436" y="394"/>
                    <a:pt x="436" y="393"/>
                  </a:cubicBezTo>
                  <a:cubicBezTo>
                    <a:pt x="436" y="392"/>
                    <a:pt x="436" y="391"/>
                    <a:pt x="436" y="390"/>
                  </a:cubicBezTo>
                  <a:cubicBezTo>
                    <a:pt x="436" y="390"/>
                    <a:pt x="436" y="388"/>
                    <a:pt x="435" y="388"/>
                  </a:cubicBezTo>
                  <a:cubicBezTo>
                    <a:pt x="435" y="388"/>
                    <a:pt x="434" y="388"/>
                    <a:pt x="434" y="388"/>
                  </a:cubicBezTo>
                  <a:cubicBezTo>
                    <a:pt x="434" y="387"/>
                    <a:pt x="434" y="387"/>
                    <a:pt x="434" y="387"/>
                  </a:cubicBezTo>
                  <a:cubicBezTo>
                    <a:pt x="434" y="387"/>
                    <a:pt x="434" y="387"/>
                    <a:pt x="434" y="387"/>
                  </a:cubicBezTo>
                  <a:cubicBezTo>
                    <a:pt x="434" y="387"/>
                    <a:pt x="433" y="387"/>
                    <a:pt x="433" y="387"/>
                  </a:cubicBezTo>
                  <a:cubicBezTo>
                    <a:pt x="433" y="387"/>
                    <a:pt x="433" y="386"/>
                    <a:pt x="433" y="385"/>
                  </a:cubicBezTo>
                  <a:cubicBezTo>
                    <a:pt x="432" y="385"/>
                    <a:pt x="432" y="385"/>
                    <a:pt x="432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2" y="384"/>
                    <a:pt x="432" y="384"/>
                    <a:pt x="433" y="383"/>
                  </a:cubicBezTo>
                  <a:cubicBezTo>
                    <a:pt x="433" y="383"/>
                    <a:pt x="433" y="383"/>
                    <a:pt x="433" y="383"/>
                  </a:cubicBezTo>
                  <a:cubicBezTo>
                    <a:pt x="434" y="383"/>
                    <a:pt x="434" y="383"/>
                    <a:pt x="434" y="384"/>
                  </a:cubicBezTo>
                  <a:cubicBezTo>
                    <a:pt x="436" y="385"/>
                    <a:pt x="437" y="384"/>
                    <a:pt x="438" y="382"/>
                  </a:cubicBezTo>
                  <a:cubicBezTo>
                    <a:pt x="438" y="382"/>
                    <a:pt x="438" y="381"/>
                    <a:pt x="438" y="380"/>
                  </a:cubicBezTo>
                  <a:cubicBezTo>
                    <a:pt x="437" y="380"/>
                    <a:pt x="437" y="380"/>
                    <a:pt x="437" y="380"/>
                  </a:cubicBezTo>
                  <a:cubicBezTo>
                    <a:pt x="437" y="379"/>
                    <a:pt x="437" y="379"/>
                    <a:pt x="437" y="378"/>
                  </a:cubicBezTo>
                  <a:cubicBezTo>
                    <a:pt x="437" y="378"/>
                    <a:pt x="437" y="378"/>
                    <a:pt x="437" y="378"/>
                  </a:cubicBezTo>
                  <a:cubicBezTo>
                    <a:pt x="438" y="378"/>
                    <a:pt x="438" y="379"/>
                    <a:pt x="438" y="379"/>
                  </a:cubicBezTo>
                  <a:cubicBezTo>
                    <a:pt x="439" y="380"/>
                    <a:pt x="439" y="380"/>
                    <a:pt x="439" y="380"/>
                  </a:cubicBezTo>
                  <a:cubicBezTo>
                    <a:pt x="439" y="380"/>
                    <a:pt x="439" y="380"/>
                    <a:pt x="440" y="381"/>
                  </a:cubicBezTo>
                  <a:cubicBezTo>
                    <a:pt x="440" y="381"/>
                    <a:pt x="440" y="381"/>
                    <a:pt x="440" y="381"/>
                  </a:cubicBezTo>
                  <a:cubicBezTo>
                    <a:pt x="441" y="382"/>
                    <a:pt x="441" y="383"/>
                    <a:pt x="442" y="383"/>
                  </a:cubicBezTo>
                  <a:cubicBezTo>
                    <a:pt x="443" y="383"/>
                    <a:pt x="444" y="383"/>
                    <a:pt x="445" y="383"/>
                  </a:cubicBezTo>
                  <a:cubicBezTo>
                    <a:pt x="445" y="383"/>
                    <a:pt x="445" y="383"/>
                    <a:pt x="446" y="383"/>
                  </a:cubicBezTo>
                  <a:cubicBezTo>
                    <a:pt x="446" y="383"/>
                    <a:pt x="446" y="383"/>
                    <a:pt x="446" y="383"/>
                  </a:cubicBezTo>
                  <a:cubicBezTo>
                    <a:pt x="446" y="383"/>
                    <a:pt x="446" y="383"/>
                    <a:pt x="447" y="384"/>
                  </a:cubicBezTo>
                  <a:cubicBezTo>
                    <a:pt x="447" y="384"/>
                    <a:pt x="447" y="384"/>
                    <a:pt x="448" y="384"/>
                  </a:cubicBezTo>
                  <a:cubicBezTo>
                    <a:pt x="449" y="384"/>
                    <a:pt x="450" y="384"/>
                    <a:pt x="451" y="384"/>
                  </a:cubicBezTo>
                  <a:cubicBezTo>
                    <a:pt x="451" y="384"/>
                    <a:pt x="451" y="384"/>
                    <a:pt x="451" y="385"/>
                  </a:cubicBezTo>
                  <a:cubicBezTo>
                    <a:pt x="451" y="385"/>
                    <a:pt x="451" y="385"/>
                    <a:pt x="451" y="385"/>
                  </a:cubicBezTo>
                  <a:cubicBezTo>
                    <a:pt x="452" y="386"/>
                    <a:pt x="453" y="386"/>
                    <a:pt x="455" y="386"/>
                  </a:cubicBezTo>
                  <a:cubicBezTo>
                    <a:pt x="455" y="386"/>
                    <a:pt x="456" y="386"/>
                    <a:pt x="456" y="386"/>
                  </a:cubicBezTo>
                  <a:cubicBezTo>
                    <a:pt x="456" y="386"/>
                    <a:pt x="456" y="386"/>
                    <a:pt x="456" y="386"/>
                  </a:cubicBezTo>
                  <a:cubicBezTo>
                    <a:pt x="456" y="386"/>
                    <a:pt x="456" y="386"/>
                    <a:pt x="456" y="387"/>
                  </a:cubicBezTo>
                  <a:close/>
                  <a:moveTo>
                    <a:pt x="442" y="359"/>
                  </a:moveTo>
                  <a:cubicBezTo>
                    <a:pt x="442" y="360"/>
                    <a:pt x="442" y="360"/>
                    <a:pt x="442" y="361"/>
                  </a:cubicBezTo>
                  <a:cubicBezTo>
                    <a:pt x="442" y="361"/>
                    <a:pt x="442" y="361"/>
                    <a:pt x="441" y="361"/>
                  </a:cubicBezTo>
                  <a:cubicBezTo>
                    <a:pt x="441" y="362"/>
                    <a:pt x="441" y="362"/>
                    <a:pt x="440" y="362"/>
                  </a:cubicBezTo>
                  <a:cubicBezTo>
                    <a:pt x="439" y="363"/>
                    <a:pt x="439" y="364"/>
                    <a:pt x="439" y="365"/>
                  </a:cubicBezTo>
                  <a:cubicBezTo>
                    <a:pt x="439" y="365"/>
                    <a:pt x="439" y="366"/>
                    <a:pt x="439" y="366"/>
                  </a:cubicBezTo>
                  <a:cubicBezTo>
                    <a:pt x="439" y="366"/>
                    <a:pt x="439" y="366"/>
                    <a:pt x="439" y="367"/>
                  </a:cubicBezTo>
                  <a:cubicBezTo>
                    <a:pt x="438" y="367"/>
                    <a:pt x="438" y="368"/>
                    <a:pt x="438" y="369"/>
                  </a:cubicBezTo>
                  <a:cubicBezTo>
                    <a:pt x="438" y="370"/>
                    <a:pt x="438" y="371"/>
                    <a:pt x="438" y="372"/>
                  </a:cubicBezTo>
                  <a:cubicBezTo>
                    <a:pt x="438" y="373"/>
                    <a:pt x="438" y="373"/>
                    <a:pt x="438" y="374"/>
                  </a:cubicBezTo>
                  <a:cubicBezTo>
                    <a:pt x="438" y="374"/>
                    <a:pt x="438" y="374"/>
                    <a:pt x="438" y="375"/>
                  </a:cubicBezTo>
                  <a:cubicBezTo>
                    <a:pt x="437" y="375"/>
                    <a:pt x="437" y="376"/>
                    <a:pt x="437" y="377"/>
                  </a:cubicBezTo>
                  <a:cubicBezTo>
                    <a:pt x="437" y="376"/>
                    <a:pt x="437" y="375"/>
                    <a:pt x="436" y="375"/>
                  </a:cubicBezTo>
                  <a:cubicBezTo>
                    <a:pt x="436" y="375"/>
                    <a:pt x="436" y="375"/>
                    <a:pt x="436" y="375"/>
                  </a:cubicBezTo>
                  <a:cubicBezTo>
                    <a:pt x="436" y="374"/>
                    <a:pt x="436" y="374"/>
                    <a:pt x="436" y="374"/>
                  </a:cubicBezTo>
                  <a:cubicBezTo>
                    <a:pt x="436" y="374"/>
                    <a:pt x="436" y="373"/>
                    <a:pt x="436" y="372"/>
                  </a:cubicBezTo>
                  <a:cubicBezTo>
                    <a:pt x="436" y="372"/>
                    <a:pt x="435" y="371"/>
                    <a:pt x="434" y="371"/>
                  </a:cubicBezTo>
                  <a:cubicBezTo>
                    <a:pt x="434" y="371"/>
                    <a:pt x="433" y="371"/>
                    <a:pt x="433" y="371"/>
                  </a:cubicBezTo>
                  <a:cubicBezTo>
                    <a:pt x="431" y="371"/>
                    <a:pt x="431" y="371"/>
                    <a:pt x="431" y="371"/>
                  </a:cubicBezTo>
                  <a:cubicBezTo>
                    <a:pt x="431" y="371"/>
                    <a:pt x="430" y="371"/>
                    <a:pt x="430" y="371"/>
                  </a:cubicBezTo>
                  <a:cubicBezTo>
                    <a:pt x="430" y="371"/>
                    <a:pt x="430" y="371"/>
                    <a:pt x="430" y="371"/>
                  </a:cubicBezTo>
                  <a:cubicBezTo>
                    <a:pt x="429" y="371"/>
                    <a:pt x="429" y="371"/>
                    <a:pt x="429" y="371"/>
                  </a:cubicBezTo>
                  <a:cubicBezTo>
                    <a:pt x="428" y="371"/>
                    <a:pt x="428" y="371"/>
                    <a:pt x="428" y="371"/>
                  </a:cubicBezTo>
                  <a:cubicBezTo>
                    <a:pt x="427" y="371"/>
                    <a:pt x="427" y="371"/>
                    <a:pt x="427" y="371"/>
                  </a:cubicBezTo>
                  <a:cubicBezTo>
                    <a:pt x="427" y="371"/>
                    <a:pt x="426" y="371"/>
                    <a:pt x="426" y="371"/>
                  </a:cubicBezTo>
                  <a:cubicBezTo>
                    <a:pt x="425" y="372"/>
                    <a:pt x="425" y="372"/>
                    <a:pt x="425" y="372"/>
                  </a:cubicBezTo>
                  <a:cubicBezTo>
                    <a:pt x="425" y="372"/>
                    <a:pt x="425" y="372"/>
                    <a:pt x="425" y="372"/>
                  </a:cubicBezTo>
                  <a:cubicBezTo>
                    <a:pt x="424" y="372"/>
                    <a:pt x="424" y="372"/>
                    <a:pt x="424" y="372"/>
                  </a:cubicBezTo>
                  <a:cubicBezTo>
                    <a:pt x="424" y="372"/>
                    <a:pt x="424" y="372"/>
                    <a:pt x="423" y="372"/>
                  </a:cubicBezTo>
                  <a:cubicBezTo>
                    <a:pt x="423" y="372"/>
                    <a:pt x="422" y="372"/>
                    <a:pt x="422" y="372"/>
                  </a:cubicBezTo>
                  <a:cubicBezTo>
                    <a:pt x="421" y="371"/>
                    <a:pt x="420" y="371"/>
                    <a:pt x="420" y="371"/>
                  </a:cubicBezTo>
                  <a:cubicBezTo>
                    <a:pt x="420" y="370"/>
                    <a:pt x="420" y="370"/>
                    <a:pt x="420" y="369"/>
                  </a:cubicBezTo>
                  <a:cubicBezTo>
                    <a:pt x="420" y="369"/>
                    <a:pt x="419" y="368"/>
                    <a:pt x="419" y="368"/>
                  </a:cubicBezTo>
                  <a:cubicBezTo>
                    <a:pt x="419" y="367"/>
                    <a:pt x="419" y="367"/>
                    <a:pt x="419" y="367"/>
                  </a:cubicBezTo>
                  <a:cubicBezTo>
                    <a:pt x="418" y="367"/>
                    <a:pt x="418" y="366"/>
                    <a:pt x="416" y="366"/>
                  </a:cubicBezTo>
                  <a:cubicBezTo>
                    <a:pt x="416" y="367"/>
                    <a:pt x="416" y="367"/>
                    <a:pt x="416" y="367"/>
                  </a:cubicBezTo>
                  <a:cubicBezTo>
                    <a:pt x="416" y="367"/>
                    <a:pt x="416" y="367"/>
                    <a:pt x="416" y="367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5"/>
                    <a:pt x="416" y="365"/>
                    <a:pt x="416" y="365"/>
                  </a:cubicBezTo>
                  <a:cubicBezTo>
                    <a:pt x="417" y="365"/>
                    <a:pt x="417" y="365"/>
                    <a:pt x="418" y="365"/>
                  </a:cubicBezTo>
                  <a:cubicBezTo>
                    <a:pt x="419" y="365"/>
                    <a:pt x="420" y="364"/>
                    <a:pt x="421" y="364"/>
                  </a:cubicBezTo>
                  <a:cubicBezTo>
                    <a:pt x="421" y="363"/>
                    <a:pt x="422" y="362"/>
                    <a:pt x="422" y="361"/>
                  </a:cubicBezTo>
                  <a:cubicBezTo>
                    <a:pt x="422" y="360"/>
                    <a:pt x="422" y="359"/>
                    <a:pt x="420" y="359"/>
                  </a:cubicBezTo>
                  <a:cubicBezTo>
                    <a:pt x="420" y="359"/>
                    <a:pt x="420" y="359"/>
                    <a:pt x="419" y="359"/>
                  </a:cubicBezTo>
                  <a:cubicBezTo>
                    <a:pt x="418" y="359"/>
                    <a:pt x="416" y="360"/>
                    <a:pt x="415" y="361"/>
                  </a:cubicBezTo>
                  <a:cubicBezTo>
                    <a:pt x="414" y="361"/>
                    <a:pt x="413" y="361"/>
                    <a:pt x="412" y="362"/>
                  </a:cubicBezTo>
                  <a:cubicBezTo>
                    <a:pt x="411" y="362"/>
                    <a:pt x="410" y="363"/>
                    <a:pt x="410" y="363"/>
                  </a:cubicBezTo>
                  <a:cubicBezTo>
                    <a:pt x="409" y="363"/>
                    <a:pt x="408" y="364"/>
                    <a:pt x="408" y="364"/>
                  </a:cubicBezTo>
                  <a:cubicBezTo>
                    <a:pt x="407" y="364"/>
                    <a:pt x="407" y="364"/>
                    <a:pt x="406" y="364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5" y="364"/>
                    <a:pt x="405" y="364"/>
                    <a:pt x="404" y="364"/>
                  </a:cubicBezTo>
                  <a:cubicBezTo>
                    <a:pt x="403" y="364"/>
                    <a:pt x="401" y="365"/>
                    <a:pt x="400" y="366"/>
                  </a:cubicBezTo>
                  <a:cubicBezTo>
                    <a:pt x="399" y="367"/>
                    <a:pt x="398" y="367"/>
                    <a:pt x="397" y="367"/>
                  </a:cubicBezTo>
                  <a:cubicBezTo>
                    <a:pt x="396" y="368"/>
                    <a:pt x="396" y="368"/>
                    <a:pt x="396" y="368"/>
                  </a:cubicBezTo>
                  <a:cubicBezTo>
                    <a:pt x="396" y="367"/>
                    <a:pt x="396" y="367"/>
                    <a:pt x="396" y="367"/>
                  </a:cubicBezTo>
                  <a:cubicBezTo>
                    <a:pt x="397" y="367"/>
                    <a:pt x="397" y="365"/>
                    <a:pt x="396" y="364"/>
                  </a:cubicBezTo>
                  <a:cubicBezTo>
                    <a:pt x="396" y="364"/>
                    <a:pt x="395" y="363"/>
                    <a:pt x="394" y="363"/>
                  </a:cubicBezTo>
                  <a:cubicBezTo>
                    <a:pt x="394" y="363"/>
                    <a:pt x="394" y="363"/>
                    <a:pt x="394" y="363"/>
                  </a:cubicBezTo>
                  <a:cubicBezTo>
                    <a:pt x="395" y="362"/>
                    <a:pt x="396" y="362"/>
                    <a:pt x="398" y="362"/>
                  </a:cubicBezTo>
                  <a:cubicBezTo>
                    <a:pt x="399" y="361"/>
                    <a:pt x="400" y="361"/>
                    <a:pt x="402" y="360"/>
                  </a:cubicBezTo>
                  <a:cubicBezTo>
                    <a:pt x="402" y="359"/>
                    <a:pt x="403" y="359"/>
                    <a:pt x="404" y="359"/>
                  </a:cubicBezTo>
                  <a:cubicBezTo>
                    <a:pt x="404" y="359"/>
                    <a:pt x="405" y="359"/>
                    <a:pt x="405" y="358"/>
                  </a:cubicBezTo>
                  <a:cubicBezTo>
                    <a:pt x="405" y="358"/>
                    <a:pt x="406" y="358"/>
                    <a:pt x="406" y="358"/>
                  </a:cubicBezTo>
                  <a:cubicBezTo>
                    <a:pt x="406" y="358"/>
                    <a:pt x="406" y="358"/>
                    <a:pt x="406" y="358"/>
                  </a:cubicBezTo>
                  <a:cubicBezTo>
                    <a:pt x="407" y="357"/>
                    <a:pt x="407" y="357"/>
                    <a:pt x="407" y="357"/>
                  </a:cubicBezTo>
                  <a:cubicBezTo>
                    <a:pt x="407" y="357"/>
                    <a:pt x="408" y="357"/>
                    <a:pt x="408" y="357"/>
                  </a:cubicBezTo>
                  <a:cubicBezTo>
                    <a:pt x="408" y="357"/>
                    <a:pt x="409" y="357"/>
                    <a:pt x="409" y="357"/>
                  </a:cubicBezTo>
                  <a:cubicBezTo>
                    <a:pt x="409" y="357"/>
                    <a:pt x="409" y="357"/>
                    <a:pt x="409" y="357"/>
                  </a:cubicBezTo>
                  <a:cubicBezTo>
                    <a:pt x="410" y="357"/>
                    <a:pt x="410" y="357"/>
                    <a:pt x="410" y="357"/>
                  </a:cubicBezTo>
                  <a:cubicBezTo>
                    <a:pt x="410" y="357"/>
                    <a:pt x="411" y="357"/>
                    <a:pt x="411" y="357"/>
                  </a:cubicBezTo>
                  <a:cubicBezTo>
                    <a:pt x="412" y="356"/>
                    <a:pt x="412" y="356"/>
                    <a:pt x="412" y="356"/>
                  </a:cubicBezTo>
                  <a:cubicBezTo>
                    <a:pt x="412" y="356"/>
                    <a:pt x="413" y="356"/>
                    <a:pt x="413" y="356"/>
                  </a:cubicBezTo>
                  <a:cubicBezTo>
                    <a:pt x="414" y="356"/>
                    <a:pt x="414" y="355"/>
                    <a:pt x="415" y="355"/>
                  </a:cubicBezTo>
                  <a:cubicBezTo>
                    <a:pt x="415" y="355"/>
                    <a:pt x="415" y="355"/>
                    <a:pt x="415" y="355"/>
                  </a:cubicBezTo>
                  <a:cubicBezTo>
                    <a:pt x="415" y="355"/>
                    <a:pt x="415" y="355"/>
                    <a:pt x="415" y="355"/>
                  </a:cubicBezTo>
                  <a:cubicBezTo>
                    <a:pt x="415" y="355"/>
                    <a:pt x="415" y="355"/>
                    <a:pt x="415" y="355"/>
                  </a:cubicBezTo>
                  <a:cubicBezTo>
                    <a:pt x="417" y="352"/>
                    <a:pt x="417" y="352"/>
                    <a:pt x="417" y="352"/>
                  </a:cubicBezTo>
                  <a:cubicBezTo>
                    <a:pt x="417" y="352"/>
                    <a:pt x="417" y="352"/>
                    <a:pt x="418" y="352"/>
                  </a:cubicBezTo>
                  <a:cubicBezTo>
                    <a:pt x="418" y="352"/>
                    <a:pt x="418" y="351"/>
                    <a:pt x="419" y="351"/>
                  </a:cubicBezTo>
                  <a:cubicBezTo>
                    <a:pt x="419" y="351"/>
                    <a:pt x="419" y="351"/>
                    <a:pt x="419" y="351"/>
                  </a:cubicBezTo>
                  <a:cubicBezTo>
                    <a:pt x="419" y="351"/>
                    <a:pt x="419" y="351"/>
                    <a:pt x="419" y="351"/>
                  </a:cubicBezTo>
                  <a:cubicBezTo>
                    <a:pt x="419" y="352"/>
                    <a:pt x="420" y="352"/>
                    <a:pt x="421" y="352"/>
                  </a:cubicBezTo>
                  <a:cubicBezTo>
                    <a:pt x="421" y="352"/>
                    <a:pt x="421" y="352"/>
                    <a:pt x="422" y="352"/>
                  </a:cubicBezTo>
                  <a:cubicBezTo>
                    <a:pt x="422" y="352"/>
                    <a:pt x="422" y="351"/>
                    <a:pt x="423" y="351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4" y="350"/>
                    <a:pt x="424" y="350"/>
                    <a:pt x="424" y="350"/>
                  </a:cubicBezTo>
                  <a:cubicBezTo>
                    <a:pt x="424" y="350"/>
                    <a:pt x="424" y="350"/>
                    <a:pt x="424" y="350"/>
                  </a:cubicBezTo>
                  <a:cubicBezTo>
                    <a:pt x="424" y="350"/>
                    <a:pt x="424" y="350"/>
                    <a:pt x="424" y="350"/>
                  </a:cubicBezTo>
                  <a:cubicBezTo>
                    <a:pt x="425" y="351"/>
                    <a:pt x="425" y="351"/>
                    <a:pt x="425" y="351"/>
                  </a:cubicBezTo>
                  <a:cubicBezTo>
                    <a:pt x="425" y="351"/>
                    <a:pt x="425" y="351"/>
                    <a:pt x="425" y="351"/>
                  </a:cubicBezTo>
                  <a:cubicBezTo>
                    <a:pt x="426" y="351"/>
                    <a:pt x="426" y="350"/>
                    <a:pt x="427" y="350"/>
                  </a:cubicBezTo>
                  <a:cubicBezTo>
                    <a:pt x="428" y="349"/>
                    <a:pt x="429" y="349"/>
                    <a:pt x="429" y="348"/>
                  </a:cubicBezTo>
                  <a:cubicBezTo>
                    <a:pt x="429" y="348"/>
                    <a:pt x="429" y="347"/>
                    <a:pt x="429" y="347"/>
                  </a:cubicBezTo>
                  <a:cubicBezTo>
                    <a:pt x="429" y="347"/>
                    <a:pt x="429" y="347"/>
                    <a:pt x="429" y="346"/>
                  </a:cubicBezTo>
                  <a:cubicBezTo>
                    <a:pt x="429" y="346"/>
                    <a:pt x="430" y="346"/>
                    <a:pt x="430" y="346"/>
                  </a:cubicBezTo>
                  <a:cubicBezTo>
                    <a:pt x="431" y="347"/>
                    <a:pt x="432" y="347"/>
                    <a:pt x="433" y="348"/>
                  </a:cubicBezTo>
                  <a:cubicBezTo>
                    <a:pt x="433" y="349"/>
                    <a:pt x="433" y="349"/>
                    <a:pt x="433" y="349"/>
                  </a:cubicBezTo>
                  <a:cubicBezTo>
                    <a:pt x="434" y="349"/>
                    <a:pt x="435" y="350"/>
                    <a:pt x="436" y="350"/>
                  </a:cubicBezTo>
                  <a:cubicBezTo>
                    <a:pt x="437" y="351"/>
                    <a:pt x="437" y="351"/>
                    <a:pt x="437" y="351"/>
                  </a:cubicBezTo>
                  <a:cubicBezTo>
                    <a:pt x="437" y="351"/>
                    <a:pt x="437" y="351"/>
                    <a:pt x="437" y="351"/>
                  </a:cubicBezTo>
                  <a:cubicBezTo>
                    <a:pt x="437" y="351"/>
                    <a:pt x="437" y="352"/>
                    <a:pt x="437" y="352"/>
                  </a:cubicBezTo>
                  <a:cubicBezTo>
                    <a:pt x="437" y="353"/>
                    <a:pt x="437" y="353"/>
                    <a:pt x="437" y="353"/>
                  </a:cubicBezTo>
                  <a:cubicBezTo>
                    <a:pt x="437" y="353"/>
                    <a:pt x="437" y="353"/>
                    <a:pt x="437" y="354"/>
                  </a:cubicBezTo>
                  <a:cubicBezTo>
                    <a:pt x="437" y="354"/>
                    <a:pt x="437" y="354"/>
                    <a:pt x="437" y="355"/>
                  </a:cubicBezTo>
                  <a:cubicBezTo>
                    <a:pt x="436" y="355"/>
                    <a:pt x="436" y="356"/>
                    <a:pt x="436" y="358"/>
                  </a:cubicBezTo>
                  <a:cubicBezTo>
                    <a:pt x="437" y="359"/>
                    <a:pt x="438" y="360"/>
                    <a:pt x="439" y="360"/>
                  </a:cubicBezTo>
                  <a:cubicBezTo>
                    <a:pt x="440" y="360"/>
                    <a:pt x="440" y="360"/>
                    <a:pt x="441" y="359"/>
                  </a:cubicBezTo>
                  <a:cubicBezTo>
                    <a:pt x="441" y="359"/>
                    <a:pt x="442" y="359"/>
                    <a:pt x="442" y="359"/>
                  </a:cubicBezTo>
                  <a:cubicBezTo>
                    <a:pt x="442" y="359"/>
                    <a:pt x="442" y="359"/>
                    <a:pt x="442" y="359"/>
                  </a:cubicBezTo>
                  <a:close/>
                  <a:moveTo>
                    <a:pt x="384" y="426"/>
                  </a:moveTo>
                  <a:cubicBezTo>
                    <a:pt x="384" y="425"/>
                    <a:pt x="385" y="423"/>
                    <a:pt x="386" y="421"/>
                  </a:cubicBezTo>
                  <a:cubicBezTo>
                    <a:pt x="387" y="420"/>
                    <a:pt x="387" y="420"/>
                    <a:pt x="387" y="419"/>
                  </a:cubicBezTo>
                  <a:cubicBezTo>
                    <a:pt x="388" y="418"/>
                    <a:pt x="388" y="417"/>
                    <a:pt x="389" y="417"/>
                  </a:cubicBezTo>
                  <a:cubicBezTo>
                    <a:pt x="389" y="415"/>
                    <a:pt x="390" y="413"/>
                    <a:pt x="391" y="412"/>
                  </a:cubicBezTo>
                  <a:cubicBezTo>
                    <a:pt x="391" y="411"/>
                    <a:pt x="392" y="411"/>
                    <a:pt x="392" y="410"/>
                  </a:cubicBezTo>
                  <a:cubicBezTo>
                    <a:pt x="393" y="409"/>
                    <a:pt x="393" y="408"/>
                    <a:pt x="394" y="407"/>
                  </a:cubicBezTo>
                  <a:cubicBezTo>
                    <a:pt x="395" y="407"/>
                    <a:pt x="395" y="407"/>
                    <a:pt x="395" y="407"/>
                  </a:cubicBezTo>
                  <a:cubicBezTo>
                    <a:pt x="395" y="406"/>
                    <a:pt x="396" y="405"/>
                    <a:pt x="396" y="405"/>
                  </a:cubicBezTo>
                  <a:cubicBezTo>
                    <a:pt x="397" y="405"/>
                    <a:pt x="397" y="405"/>
                    <a:pt x="397" y="404"/>
                  </a:cubicBezTo>
                  <a:cubicBezTo>
                    <a:pt x="398" y="403"/>
                    <a:pt x="398" y="403"/>
                    <a:pt x="398" y="403"/>
                  </a:cubicBezTo>
                  <a:cubicBezTo>
                    <a:pt x="399" y="403"/>
                    <a:pt x="399" y="402"/>
                    <a:pt x="399" y="402"/>
                  </a:cubicBezTo>
                  <a:cubicBezTo>
                    <a:pt x="400" y="402"/>
                    <a:pt x="400" y="401"/>
                    <a:pt x="400" y="401"/>
                  </a:cubicBezTo>
                  <a:cubicBezTo>
                    <a:pt x="400" y="400"/>
                    <a:pt x="400" y="400"/>
                    <a:pt x="401" y="400"/>
                  </a:cubicBezTo>
                  <a:cubicBezTo>
                    <a:pt x="401" y="399"/>
                    <a:pt x="401" y="399"/>
                    <a:pt x="401" y="399"/>
                  </a:cubicBezTo>
                  <a:cubicBezTo>
                    <a:pt x="401" y="399"/>
                    <a:pt x="401" y="398"/>
                    <a:pt x="401" y="398"/>
                  </a:cubicBezTo>
                  <a:cubicBezTo>
                    <a:pt x="401" y="398"/>
                    <a:pt x="401" y="398"/>
                    <a:pt x="401" y="398"/>
                  </a:cubicBezTo>
                  <a:cubicBezTo>
                    <a:pt x="402" y="398"/>
                    <a:pt x="402" y="397"/>
                    <a:pt x="402" y="397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4" y="397"/>
                    <a:pt x="405" y="396"/>
                    <a:pt x="405" y="395"/>
                  </a:cubicBezTo>
                  <a:cubicBezTo>
                    <a:pt x="406" y="394"/>
                    <a:pt x="405" y="393"/>
                    <a:pt x="405" y="393"/>
                  </a:cubicBezTo>
                  <a:cubicBezTo>
                    <a:pt x="405" y="392"/>
                    <a:pt x="404" y="392"/>
                    <a:pt x="404" y="392"/>
                  </a:cubicBezTo>
                  <a:cubicBezTo>
                    <a:pt x="404" y="391"/>
                    <a:pt x="404" y="391"/>
                    <a:pt x="404" y="391"/>
                  </a:cubicBezTo>
                  <a:cubicBezTo>
                    <a:pt x="405" y="391"/>
                    <a:pt x="405" y="390"/>
                    <a:pt x="405" y="390"/>
                  </a:cubicBezTo>
                  <a:cubicBezTo>
                    <a:pt x="405" y="390"/>
                    <a:pt x="406" y="390"/>
                    <a:pt x="406" y="390"/>
                  </a:cubicBezTo>
                  <a:cubicBezTo>
                    <a:pt x="406" y="389"/>
                    <a:pt x="406" y="389"/>
                    <a:pt x="406" y="389"/>
                  </a:cubicBezTo>
                  <a:cubicBezTo>
                    <a:pt x="407" y="389"/>
                    <a:pt x="407" y="389"/>
                    <a:pt x="408" y="388"/>
                  </a:cubicBezTo>
                  <a:cubicBezTo>
                    <a:pt x="409" y="387"/>
                    <a:pt x="409" y="387"/>
                    <a:pt x="409" y="387"/>
                  </a:cubicBezTo>
                  <a:cubicBezTo>
                    <a:pt x="409" y="387"/>
                    <a:pt x="410" y="387"/>
                    <a:pt x="410" y="386"/>
                  </a:cubicBezTo>
                  <a:cubicBezTo>
                    <a:pt x="411" y="386"/>
                    <a:pt x="411" y="385"/>
                    <a:pt x="412" y="385"/>
                  </a:cubicBezTo>
                  <a:cubicBezTo>
                    <a:pt x="412" y="384"/>
                    <a:pt x="412" y="384"/>
                    <a:pt x="412" y="384"/>
                  </a:cubicBezTo>
                  <a:cubicBezTo>
                    <a:pt x="413" y="384"/>
                    <a:pt x="413" y="384"/>
                    <a:pt x="414" y="384"/>
                  </a:cubicBezTo>
                  <a:cubicBezTo>
                    <a:pt x="414" y="384"/>
                    <a:pt x="414" y="384"/>
                    <a:pt x="414" y="384"/>
                  </a:cubicBezTo>
                  <a:cubicBezTo>
                    <a:pt x="414" y="385"/>
                    <a:pt x="415" y="385"/>
                    <a:pt x="415" y="385"/>
                  </a:cubicBezTo>
                  <a:cubicBezTo>
                    <a:pt x="416" y="385"/>
                    <a:pt x="416" y="385"/>
                    <a:pt x="416" y="385"/>
                  </a:cubicBezTo>
                  <a:cubicBezTo>
                    <a:pt x="417" y="385"/>
                    <a:pt x="418" y="385"/>
                    <a:pt x="418" y="384"/>
                  </a:cubicBezTo>
                  <a:cubicBezTo>
                    <a:pt x="419" y="384"/>
                    <a:pt x="420" y="383"/>
                    <a:pt x="420" y="383"/>
                  </a:cubicBezTo>
                  <a:cubicBezTo>
                    <a:pt x="420" y="382"/>
                    <a:pt x="420" y="382"/>
                    <a:pt x="420" y="38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3" y="382"/>
                    <a:pt x="423" y="382"/>
                    <a:pt x="423" y="382"/>
                  </a:cubicBezTo>
                  <a:cubicBezTo>
                    <a:pt x="423" y="382"/>
                    <a:pt x="424" y="381"/>
                    <a:pt x="424" y="381"/>
                  </a:cubicBezTo>
                  <a:cubicBezTo>
                    <a:pt x="426" y="381"/>
                    <a:pt x="426" y="381"/>
                    <a:pt x="426" y="381"/>
                  </a:cubicBezTo>
                  <a:cubicBezTo>
                    <a:pt x="428" y="381"/>
                    <a:pt x="428" y="381"/>
                    <a:pt x="428" y="381"/>
                  </a:cubicBezTo>
                  <a:cubicBezTo>
                    <a:pt x="428" y="381"/>
                    <a:pt x="429" y="382"/>
                    <a:pt x="429" y="382"/>
                  </a:cubicBezTo>
                  <a:cubicBezTo>
                    <a:pt x="429" y="382"/>
                    <a:pt x="429" y="383"/>
                    <a:pt x="429" y="383"/>
                  </a:cubicBezTo>
                  <a:cubicBezTo>
                    <a:pt x="428" y="383"/>
                    <a:pt x="427" y="383"/>
                    <a:pt x="426" y="384"/>
                  </a:cubicBezTo>
                  <a:cubicBezTo>
                    <a:pt x="426" y="384"/>
                    <a:pt x="426" y="384"/>
                    <a:pt x="425" y="385"/>
                  </a:cubicBezTo>
                  <a:cubicBezTo>
                    <a:pt x="425" y="385"/>
                    <a:pt x="424" y="385"/>
                    <a:pt x="424" y="385"/>
                  </a:cubicBezTo>
                  <a:cubicBezTo>
                    <a:pt x="423" y="386"/>
                    <a:pt x="423" y="387"/>
                    <a:pt x="424" y="387"/>
                  </a:cubicBezTo>
                  <a:cubicBezTo>
                    <a:pt x="423" y="387"/>
                    <a:pt x="423" y="387"/>
                    <a:pt x="423" y="387"/>
                  </a:cubicBezTo>
                  <a:cubicBezTo>
                    <a:pt x="423" y="387"/>
                    <a:pt x="423" y="387"/>
                    <a:pt x="422" y="387"/>
                  </a:cubicBezTo>
                  <a:cubicBezTo>
                    <a:pt x="421" y="387"/>
                    <a:pt x="420" y="389"/>
                    <a:pt x="420" y="389"/>
                  </a:cubicBezTo>
                  <a:cubicBezTo>
                    <a:pt x="419" y="390"/>
                    <a:pt x="419" y="391"/>
                    <a:pt x="419" y="391"/>
                  </a:cubicBezTo>
                  <a:cubicBezTo>
                    <a:pt x="419" y="391"/>
                    <a:pt x="419" y="392"/>
                    <a:pt x="419" y="392"/>
                  </a:cubicBezTo>
                  <a:cubicBezTo>
                    <a:pt x="419" y="392"/>
                    <a:pt x="419" y="392"/>
                    <a:pt x="418" y="392"/>
                  </a:cubicBezTo>
                  <a:cubicBezTo>
                    <a:pt x="418" y="391"/>
                    <a:pt x="418" y="391"/>
                    <a:pt x="418" y="391"/>
                  </a:cubicBezTo>
                  <a:cubicBezTo>
                    <a:pt x="417" y="390"/>
                    <a:pt x="416" y="390"/>
                    <a:pt x="416" y="390"/>
                  </a:cubicBezTo>
                  <a:cubicBezTo>
                    <a:pt x="414" y="391"/>
                    <a:pt x="413" y="392"/>
                    <a:pt x="412" y="394"/>
                  </a:cubicBezTo>
                  <a:cubicBezTo>
                    <a:pt x="410" y="395"/>
                    <a:pt x="409" y="396"/>
                    <a:pt x="408" y="398"/>
                  </a:cubicBezTo>
                  <a:cubicBezTo>
                    <a:pt x="407" y="399"/>
                    <a:pt x="407" y="400"/>
                    <a:pt x="406" y="401"/>
                  </a:cubicBezTo>
                  <a:cubicBezTo>
                    <a:pt x="405" y="402"/>
                    <a:pt x="405" y="402"/>
                    <a:pt x="404" y="403"/>
                  </a:cubicBezTo>
                  <a:cubicBezTo>
                    <a:pt x="403" y="404"/>
                    <a:pt x="401" y="405"/>
                    <a:pt x="400" y="407"/>
                  </a:cubicBezTo>
                  <a:cubicBezTo>
                    <a:pt x="400" y="409"/>
                    <a:pt x="399" y="410"/>
                    <a:pt x="399" y="411"/>
                  </a:cubicBezTo>
                  <a:cubicBezTo>
                    <a:pt x="399" y="413"/>
                    <a:pt x="398" y="414"/>
                    <a:pt x="398" y="415"/>
                  </a:cubicBezTo>
                  <a:cubicBezTo>
                    <a:pt x="397" y="417"/>
                    <a:pt x="396" y="418"/>
                    <a:pt x="394" y="419"/>
                  </a:cubicBezTo>
                  <a:cubicBezTo>
                    <a:pt x="394" y="420"/>
                    <a:pt x="393" y="421"/>
                    <a:pt x="392" y="422"/>
                  </a:cubicBezTo>
                  <a:cubicBezTo>
                    <a:pt x="392" y="422"/>
                    <a:pt x="391" y="423"/>
                    <a:pt x="390" y="424"/>
                  </a:cubicBezTo>
                  <a:cubicBezTo>
                    <a:pt x="389" y="425"/>
                    <a:pt x="388" y="427"/>
                    <a:pt x="387" y="428"/>
                  </a:cubicBezTo>
                  <a:cubicBezTo>
                    <a:pt x="386" y="428"/>
                    <a:pt x="385" y="428"/>
                    <a:pt x="384" y="428"/>
                  </a:cubicBezTo>
                  <a:cubicBezTo>
                    <a:pt x="384" y="428"/>
                    <a:pt x="384" y="427"/>
                    <a:pt x="384" y="426"/>
                  </a:cubicBezTo>
                  <a:close/>
                  <a:moveTo>
                    <a:pt x="414" y="60"/>
                  </a:moveTo>
                  <a:cubicBezTo>
                    <a:pt x="414" y="60"/>
                    <a:pt x="414" y="60"/>
                    <a:pt x="414" y="60"/>
                  </a:cubicBezTo>
                  <a:cubicBezTo>
                    <a:pt x="414" y="60"/>
                    <a:pt x="414" y="60"/>
                    <a:pt x="414" y="60"/>
                  </a:cubicBezTo>
                  <a:close/>
                  <a:moveTo>
                    <a:pt x="541" y="379"/>
                  </a:move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lose/>
                  <a:moveTo>
                    <a:pt x="419" y="60"/>
                  </a:moveTo>
                  <a:cubicBezTo>
                    <a:pt x="419" y="60"/>
                    <a:pt x="419" y="60"/>
                    <a:pt x="419" y="60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19" y="60"/>
                    <a:pt x="419" y="60"/>
                    <a:pt x="419" y="60"/>
                  </a:cubicBezTo>
                  <a:close/>
                  <a:moveTo>
                    <a:pt x="418" y="61"/>
                  </a:moveTo>
                  <a:cubicBezTo>
                    <a:pt x="418" y="61"/>
                    <a:pt x="418" y="61"/>
                    <a:pt x="418" y="61"/>
                  </a:cubicBezTo>
                  <a:cubicBezTo>
                    <a:pt x="418" y="60"/>
                    <a:pt x="418" y="60"/>
                    <a:pt x="418" y="60"/>
                  </a:cubicBezTo>
                  <a:cubicBezTo>
                    <a:pt x="418" y="61"/>
                    <a:pt x="418" y="61"/>
                    <a:pt x="418" y="61"/>
                  </a:cubicBezTo>
                  <a:close/>
                  <a:moveTo>
                    <a:pt x="201" y="293"/>
                  </a:moveTo>
                  <a:cubicBezTo>
                    <a:pt x="201" y="293"/>
                    <a:pt x="201" y="293"/>
                    <a:pt x="201" y="293"/>
                  </a:cubicBezTo>
                  <a:cubicBezTo>
                    <a:pt x="201" y="293"/>
                    <a:pt x="201" y="293"/>
                    <a:pt x="201" y="293"/>
                  </a:cubicBezTo>
                  <a:cubicBezTo>
                    <a:pt x="201" y="293"/>
                    <a:pt x="201" y="293"/>
                    <a:pt x="202" y="293"/>
                  </a:cubicBezTo>
                  <a:cubicBezTo>
                    <a:pt x="202" y="293"/>
                    <a:pt x="201" y="293"/>
                    <a:pt x="201" y="293"/>
                  </a:cubicBezTo>
                  <a:close/>
                  <a:moveTo>
                    <a:pt x="211" y="242"/>
                  </a:moveTo>
                  <a:cubicBezTo>
                    <a:pt x="211" y="242"/>
                    <a:pt x="210" y="242"/>
                    <a:pt x="210" y="242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10" y="242"/>
                    <a:pt x="211" y="242"/>
                    <a:pt x="211" y="241"/>
                  </a:cubicBezTo>
                  <a:cubicBezTo>
                    <a:pt x="211" y="241"/>
                    <a:pt x="211" y="241"/>
                    <a:pt x="211" y="241"/>
                  </a:cubicBezTo>
                  <a:cubicBezTo>
                    <a:pt x="211" y="242"/>
                    <a:pt x="211" y="242"/>
                    <a:pt x="211" y="242"/>
                  </a:cubicBezTo>
                  <a:close/>
                  <a:moveTo>
                    <a:pt x="443" y="472"/>
                  </a:moveTo>
                  <a:cubicBezTo>
                    <a:pt x="443" y="471"/>
                    <a:pt x="443" y="471"/>
                    <a:pt x="443" y="470"/>
                  </a:cubicBezTo>
                  <a:cubicBezTo>
                    <a:pt x="444" y="470"/>
                    <a:pt x="444" y="470"/>
                    <a:pt x="444" y="469"/>
                  </a:cubicBezTo>
                  <a:cubicBezTo>
                    <a:pt x="444" y="469"/>
                    <a:pt x="444" y="470"/>
                    <a:pt x="444" y="470"/>
                  </a:cubicBezTo>
                  <a:cubicBezTo>
                    <a:pt x="444" y="470"/>
                    <a:pt x="443" y="471"/>
                    <a:pt x="443" y="471"/>
                  </a:cubicBezTo>
                  <a:cubicBezTo>
                    <a:pt x="443" y="472"/>
                    <a:pt x="443" y="472"/>
                    <a:pt x="443" y="473"/>
                  </a:cubicBezTo>
                  <a:cubicBezTo>
                    <a:pt x="443" y="473"/>
                    <a:pt x="443" y="473"/>
                    <a:pt x="443" y="473"/>
                  </a:cubicBezTo>
                  <a:cubicBezTo>
                    <a:pt x="443" y="473"/>
                    <a:pt x="443" y="473"/>
                    <a:pt x="443" y="473"/>
                  </a:cubicBezTo>
                  <a:cubicBezTo>
                    <a:pt x="443" y="472"/>
                    <a:pt x="443" y="472"/>
                    <a:pt x="443" y="472"/>
                  </a:cubicBezTo>
                  <a:close/>
                  <a:moveTo>
                    <a:pt x="546" y="375"/>
                  </a:moveTo>
                  <a:cubicBezTo>
                    <a:pt x="546" y="375"/>
                    <a:pt x="546" y="375"/>
                    <a:pt x="545" y="376"/>
                  </a:cubicBezTo>
                  <a:cubicBezTo>
                    <a:pt x="545" y="376"/>
                    <a:pt x="546" y="375"/>
                    <a:pt x="546" y="375"/>
                  </a:cubicBezTo>
                  <a:cubicBezTo>
                    <a:pt x="546" y="375"/>
                    <a:pt x="546" y="375"/>
                    <a:pt x="546" y="375"/>
                  </a:cubicBezTo>
                  <a:cubicBezTo>
                    <a:pt x="546" y="375"/>
                    <a:pt x="546" y="375"/>
                    <a:pt x="546" y="375"/>
                  </a:cubicBezTo>
                  <a:close/>
                  <a:moveTo>
                    <a:pt x="118" y="135"/>
                  </a:moveTo>
                  <a:cubicBezTo>
                    <a:pt x="118" y="135"/>
                    <a:pt x="118" y="135"/>
                    <a:pt x="118" y="135"/>
                  </a:cubicBezTo>
                  <a:cubicBezTo>
                    <a:pt x="118" y="135"/>
                    <a:pt x="118" y="135"/>
                    <a:pt x="118" y="135"/>
                  </a:cubicBezTo>
                  <a:close/>
                  <a:moveTo>
                    <a:pt x="231" y="173"/>
                  </a:moveTo>
                  <a:cubicBezTo>
                    <a:pt x="231" y="173"/>
                    <a:pt x="231" y="172"/>
                    <a:pt x="231" y="172"/>
                  </a:cubicBezTo>
                  <a:cubicBezTo>
                    <a:pt x="231" y="172"/>
                    <a:pt x="231" y="172"/>
                    <a:pt x="232" y="172"/>
                  </a:cubicBezTo>
                  <a:cubicBezTo>
                    <a:pt x="231" y="173"/>
                    <a:pt x="231" y="173"/>
                    <a:pt x="230" y="174"/>
                  </a:cubicBezTo>
                  <a:cubicBezTo>
                    <a:pt x="230" y="174"/>
                    <a:pt x="230" y="174"/>
                    <a:pt x="230" y="174"/>
                  </a:cubicBezTo>
                  <a:cubicBezTo>
                    <a:pt x="230" y="174"/>
                    <a:pt x="230" y="173"/>
                    <a:pt x="231" y="173"/>
                  </a:cubicBezTo>
                  <a:close/>
                  <a:moveTo>
                    <a:pt x="231" y="181"/>
                  </a:moveTo>
                  <a:cubicBezTo>
                    <a:pt x="231" y="181"/>
                    <a:pt x="231" y="181"/>
                    <a:pt x="231" y="181"/>
                  </a:cubicBezTo>
                  <a:cubicBezTo>
                    <a:pt x="231" y="181"/>
                    <a:pt x="231" y="181"/>
                    <a:pt x="231" y="181"/>
                  </a:cubicBezTo>
                  <a:close/>
                  <a:moveTo>
                    <a:pt x="211" y="202"/>
                  </a:moveTo>
                  <a:cubicBezTo>
                    <a:pt x="212" y="203"/>
                    <a:pt x="212" y="203"/>
                    <a:pt x="212" y="203"/>
                  </a:cubicBezTo>
                  <a:cubicBezTo>
                    <a:pt x="211" y="202"/>
                    <a:pt x="211" y="202"/>
                    <a:pt x="211" y="202"/>
                  </a:cubicBezTo>
                  <a:cubicBezTo>
                    <a:pt x="211" y="202"/>
                    <a:pt x="211" y="202"/>
                    <a:pt x="211" y="202"/>
                  </a:cubicBezTo>
                  <a:close/>
                  <a:moveTo>
                    <a:pt x="218" y="209"/>
                  </a:moveTo>
                  <a:cubicBezTo>
                    <a:pt x="218" y="209"/>
                    <a:pt x="218" y="208"/>
                    <a:pt x="218" y="208"/>
                  </a:cubicBezTo>
                  <a:cubicBezTo>
                    <a:pt x="218" y="208"/>
                    <a:pt x="218" y="207"/>
                    <a:pt x="218" y="207"/>
                  </a:cubicBezTo>
                  <a:cubicBezTo>
                    <a:pt x="218" y="207"/>
                    <a:pt x="218" y="207"/>
                    <a:pt x="218" y="207"/>
                  </a:cubicBezTo>
                  <a:cubicBezTo>
                    <a:pt x="218" y="207"/>
                    <a:pt x="218" y="206"/>
                    <a:pt x="218" y="206"/>
                  </a:cubicBezTo>
                  <a:cubicBezTo>
                    <a:pt x="219" y="205"/>
                    <a:pt x="218" y="204"/>
                    <a:pt x="217" y="203"/>
                  </a:cubicBezTo>
                  <a:cubicBezTo>
                    <a:pt x="218" y="203"/>
                    <a:pt x="218" y="203"/>
                    <a:pt x="218" y="203"/>
                  </a:cubicBezTo>
                  <a:cubicBezTo>
                    <a:pt x="218" y="204"/>
                    <a:pt x="219" y="204"/>
                    <a:pt x="220" y="204"/>
                  </a:cubicBezTo>
                  <a:cubicBezTo>
                    <a:pt x="221" y="204"/>
                    <a:pt x="222" y="204"/>
                    <a:pt x="222" y="203"/>
                  </a:cubicBezTo>
                  <a:cubicBezTo>
                    <a:pt x="223" y="203"/>
                    <a:pt x="223" y="202"/>
                    <a:pt x="223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5" y="202"/>
                    <a:pt x="225" y="201"/>
                    <a:pt x="225" y="201"/>
                  </a:cubicBezTo>
                  <a:cubicBezTo>
                    <a:pt x="225" y="201"/>
                    <a:pt x="226" y="201"/>
                    <a:pt x="226" y="201"/>
                  </a:cubicBezTo>
                  <a:cubicBezTo>
                    <a:pt x="226" y="201"/>
                    <a:pt x="227" y="200"/>
                    <a:pt x="227" y="200"/>
                  </a:cubicBezTo>
                  <a:cubicBezTo>
                    <a:pt x="227" y="200"/>
                    <a:pt x="227" y="201"/>
                    <a:pt x="228" y="201"/>
                  </a:cubicBezTo>
                  <a:cubicBezTo>
                    <a:pt x="228" y="201"/>
                    <a:pt x="228" y="201"/>
                    <a:pt x="228" y="201"/>
                  </a:cubicBezTo>
                  <a:cubicBezTo>
                    <a:pt x="227" y="201"/>
                    <a:pt x="226" y="202"/>
                    <a:pt x="226" y="203"/>
                  </a:cubicBezTo>
                  <a:cubicBezTo>
                    <a:pt x="226" y="203"/>
                    <a:pt x="226" y="203"/>
                    <a:pt x="226" y="203"/>
                  </a:cubicBezTo>
                  <a:cubicBezTo>
                    <a:pt x="226" y="203"/>
                    <a:pt x="225" y="203"/>
                    <a:pt x="225" y="203"/>
                  </a:cubicBezTo>
                  <a:cubicBezTo>
                    <a:pt x="224" y="203"/>
                    <a:pt x="224" y="203"/>
                    <a:pt x="224" y="203"/>
                  </a:cubicBezTo>
                  <a:cubicBezTo>
                    <a:pt x="224" y="203"/>
                    <a:pt x="223" y="204"/>
                    <a:pt x="223" y="204"/>
                  </a:cubicBezTo>
                  <a:cubicBezTo>
                    <a:pt x="223" y="204"/>
                    <a:pt x="223" y="204"/>
                    <a:pt x="223" y="205"/>
                  </a:cubicBezTo>
                  <a:cubicBezTo>
                    <a:pt x="223" y="205"/>
                    <a:pt x="222" y="206"/>
                    <a:pt x="222" y="207"/>
                  </a:cubicBezTo>
                  <a:cubicBezTo>
                    <a:pt x="222" y="207"/>
                    <a:pt x="222" y="208"/>
                    <a:pt x="222" y="208"/>
                  </a:cubicBezTo>
                  <a:cubicBezTo>
                    <a:pt x="222" y="208"/>
                    <a:pt x="222" y="209"/>
                    <a:pt x="222" y="209"/>
                  </a:cubicBezTo>
                  <a:cubicBezTo>
                    <a:pt x="222" y="209"/>
                    <a:pt x="222" y="209"/>
                    <a:pt x="221" y="209"/>
                  </a:cubicBezTo>
                  <a:cubicBezTo>
                    <a:pt x="221" y="209"/>
                    <a:pt x="221" y="209"/>
                    <a:pt x="220" y="210"/>
                  </a:cubicBezTo>
                  <a:cubicBezTo>
                    <a:pt x="220" y="210"/>
                    <a:pt x="220" y="210"/>
                    <a:pt x="219" y="210"/>
                  </a:cubicBezTo>
                  <a:cubicBezTo>
                    <a:pt x="219" y="210"/>
                    <a:pt x="219" y="210"/>
                    <a:pt x="219" y="210"/>
                  </a:cubicBezTo>
                  <a:cubicBezTo>
                    <a:pt x="219" y="210"/>
                    <a:pt x="219" y="211"/>
                    <a:pt x="218" y="211"/>
                  </a:cubicBezTo>
                  <a:cubicBezTo>
                    <a:pt x="218" y="211"/>
                    <a:pt x="217" y="211"/>
                    <a:pt x="217" y="211"/>
                  </a:cubicBezTo>
                  <a:cubicBezTo>
                    <a:pt x="217" y="210"/>
                    <a:pt x="218" y="210"/>
                    <a:pt x="218" y="209"/>
                  </a:cubicBezTo>
                  <a:close/>
                  <a:moveTo>
                    <a:pt x="104" y="489"/>
                  </a:moveTo>
                  <a:cubicBezTo>
                    <a:pt x="104" y="489"/>
                    <a:pt x="104" y="489"/>
                    <a:pt x="104" y="489"/>
                  </a:cubicBezTo>
                  <a:cubicBezTo>
                    <a:pt x="104" y="489"/>
                    <a:pt x="104" y="489"/>
                    <a:pt x="104" y="489"/>
                  </a:cubicBezTo>
                  <a:close/>
                  <a:moveTo>
                    <a:pt x="579" y="1474"/>
                  </a:moveTo>
                  <a:cubicBezTo>
                    <a:pt x="579" y="1474"/>
                    <a:pt x="579" y="1474"/>
                    <a:pt x="579" y="1474"/>
                  </a:cubicBezTo>
                  <a:cubicBezTo>
                    <a:pt x="579" y="1474"/>
                    <a:pt x="579" y="1474"/>
                    <a:pt x="579" y="1474"/>
                  </a:cubicBezTo>
                  <a:close/>
                  <a:moveTo>
                    <a:pt x="565" y="1489"/>
                  </a:moveTo>
                  <a:cubicBezTo>
                    <a:pt x="565" y="1489"/>
                    <a:pt x="565" y="1489"/>
                    <a:pt x="564" y="1488"/>
                  </a:cubicBezTo>
                  <a:cubicBezTo>
                    <a:pt x="565" y="1489"/>
                    <a:pt x="565" y="1489"/>
                    <a:pt x="565" y="1489"/>
                  </a:cubicBezTo>
                  <a:cubicBezTo>
                    <a:pt x="565" y="1489"/>
                    <a:pt x="566" y="1489"/>
                    <a:pt x="567" y="1488"/>
                  </a:cubicBezTo>
                  <a:cubicBezTo>
                    <a:pt x="567" y="1488"/>
                    <a:pt x="567" y="1488"/>
                    <a:pt x="567" y="1488"/>
                  </a:cubicBezTo>
                  <a:cubicBezTo>
                    <a:pt x="568" y="1488"/>
                    <a:pt x="568" y="1488"/>
                    <a:pt x="568" y="1489"/>
                  </a:cubicBezTo>
                  <a:cubicBezTo>
                    <a:pt x="568" y="1489"/>
                    <a:pt x="568" y="1489"/>
                    <a:pt x="568" y="1489"/>
                  </a:cubicBezTo>
                  <a:cubicBezTo>
                    <a:pt x="568" y="1489"/>
                    <a:pt x="567" y="1489"/>
                    <a:pt x="567" y="1489"/>
                  </a:cubicBezTo>
                  <a:cubicBezTo>
                    <a:pt x="566" y="1489"/>
                    <a:pt x="566" y="1489"/>
                    <a:pt x="566" y="1489"/>
                  </a:cubicBezTo>
                  <a:cubicBezTo>
                    <a:pt x="566" y="1489"/>
                    <a:pt x="566" y="1489"/>
                    <a:pt x="565" y="1489"/>
                  </a:cubicBezTo>
                  <a:cubicBezTo>
                    <a:pt x="565" y="1489"/>
                    <a:pt x="565" y="1489"/>
                    <a:pt x="565" y="1489"/>
                  </a:cubicBezTo>
                  <a:close/>
                  <a:moveTo>
                    <a:pt x="559" y="1483"/>
                  </a:moveTo>
                  <a:cubicBezTo>
                    <a:pt x="559" y="1484"/>
                    <a:pt x="559" y="1484"/>
                    <a:pt x="559" y="1484"/>
                  </a:cubicBezTo>
                  <a:cubicBezTo>
                    <a:pt x="559" y="1484"/>
                    <a:pt x="559" y="1484"/>
                    <a:pt x="559" y="1484"/>
                  </a:cubicBezTo>
                  <a:cubicBezTo>
                    <a:pt x="558" y="1484"/>
                    <a:pt x="558" y="1484"/>
                    <a:pt x="558" y="1484"/>
                  </a:cubicBezTo>
                  <a:cubicBezTo>
                    <a:pt x="559" y="1484"/>
                    <a:pt x="559" y="1483"/>
                    <a:pt x="559" y="1483"/>
                  </a:cubicBezTo>
                  <a:cubicBezTo>
                    <a:pt x="558" y="1482"/>
                    <a:pt x="558" y="1481"/>
                    <a:pt x="557" y="1479"/>
                  </a:cubicBezTo>
                  <a:cubicBezTo>
                    <a:pt x="557" y="1479"/>
                    <a:pt x="557" y="1479"/>
                    <a:pt x="557" y="1478"/>
                  </a:cubicBezTo>
                  <a:cubicBezTo>
                    <a:pt x="558" y="1479"/>
                    <a:pt x="559" y="1481"/>
                    <a:pt x="559" y="1482"/>
                  </a:cubicBezTo>
                  <a:cubicBezTo>
                    <a:pt x="559" y="1482"/>
                    <a:pt x="559" y="1483"/>
                    <a:pt x="559" y="1483"/>
                  </a:cubicBezTo>
                  <a:cubicBezTo>
                    <a:pt x="559" y="1483"/>
                    <a:pt x="559" y="1483"/>
                    <a:pt x="559" y="1483"/>
                  </a:cubicBezTo>
                  <a:close/>
                  <a:moveTo>
                    <a:pt x="522" y="1439"/>
                  </a:moveTo>
                  <a:cubicBezTo>
                    <a:pt x="521" y="1439"/>
                    <a:pt x="521" y="1439"/>
                    <a:pt x="521" y="1439"/>
                  </a:cubicBezTo>
                  <a:cubicBezTo>
                    <a:pt x="521" y="1439"/>
                    <a:pt x="521" y="1439"/>
                    <a:pt x="522" y="1438"/>
                  </a:cubicBezTo>
                  <a:cubicBezTo>
                    <a:pt x="522" y="1438"/>
                    <a:pt x="523" y="1438"/>
                    <a:pt x="523" y="1438"/>
                  </a:cubicBezTo>
                  <a:cubicBezTo>
                    <a:pt x="523" y="1438"/>
                    <a:pt x="523" y="1438"/>
                    <a:pt x="524" y="1438"/>
                  </a:cubicBezTo>
                  <a:cubicBezTo>
                    <a:pt x="524" y="1438"/>
                    <a:pt x="524" y="1438"/>
                    <a:pt x="525" y="1438"/>
                  </a:cubicBezTo>
                  <a:cubicBezTo>
                    <a:pt x="525" y="1438"/>
                    <a:pt x="525" y="1438"/>
                    <a:pt x="525" y="1438"/>
                  </a:cubicBezTo>
                  <a:cubicBezTo>
                    <a:pt x="525" y="1439"/>
                    <a:pt x="525" y="1439"/>
                    <a:pt x="525" y="1439"/>
                  </a:cubicBezTo>
                  <a:cubicBezTo>
                    <a:pt x="525" y="1439"/>
                    <a:pt x="525" y="1439"/>
                    <a:pt x="525" y="1439"/>
                  </a:cubicBezTo>
                  <a:cubicBezTo>
                    <a:pt x="524" y="1439"/>
                    <a:pt x="523" y="1439"/>
                    <a:pt x="523" y="1439"/>
                  </a:cubicBezTo>
                  <a:cubicBezTo>
                    <a:pt x="523" y="1439"/>
                    <a:pt x="522" y="1439"/>
                    <a:pt x="522" y="1439"/>
                  </a:cubicBezTo>
                  <a:close/>
                  <a:moveTo>
                    <a:pt x="355" y="1059"/>
                  </a:moveTo>
                  <a:cubicBezTo>
                    <a:pt x="355" y="1059"/>
                    <a:pt x="355" y="1059"/>
                    <a:pt x="355" y="1059"/>
                  </a:cubicBezTo>
                  <a:cubicBezTo>
                    <a:pt x="355" y="1059"/>
                    <a:pt x="355" y="1059"/>
                    <a:pt x="355" y="1059"/>
                  </a:cubicBezTo>
                  <a:cubicBezTo>
                    <a:pt x="355" y="1059"/>
                    <a:pt x="355" y="1059"/>
                    <a:pt x="355" y="1059"/>
                  </a:cubicBezTo>
                  <a:cubicBezTo>
                    <a:pt x="355" y="1059"/>
                    <a:pt x="355" y="1059"/>
                    <a:pt x="355" y="1059"/>
                  </a:cubicBezTo>
                  <a:close/>
                  <a:moveTo>
                    <a:pt x="386" y="804"/>
                  </a:moveTo>
                  <a:cubicBezTo>
                    <a:pt x="386" y="804"/>
                    <a:pt x="386" y="804"/>
                    <a:pt x="386" y="804"/>
                  </a:cubicBezTo>
                  <a:cubicBezTo>
                    <a:pt x="386" y="805"/>
                    <a:pt x="386" y="805"/>
                    <a:pt x="386" y="805"/>
                  </a:cubicBezTo>
                  <a:lnTo>
                    <a:pt x="386" y="804"/>
                  </a:lnTo>
                  <a:close/>
                  <a:moveTo>
                    <a:pt x="607" y="1509"/>
                  </a:moveTo>
                  <a:cubicBezTo>
                    <a:pt x="607" y="1509"/>
                    <a:pt x="607" y="1509"/>
                    <a:pt x="607" y="1509"/>
                  </a:cubicBezTo>
                  <a:cubicBezTo>
                    <a:pt x="607" y="1509"/>
                    <a:pt x="607" y="1509"/>
                    <a:pt x="607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7" y="1509"/>
                  </a:cubicBezTo>
                  <a:close/>
                  <a:moveTo>
                    <a:pt x="535" y="920"/>
                  </a:moveTo>
                  <a:cubicBezTo>
                    <a:pt x="535" y="920"/>
                    <a:pt x="535" y="920"/>
                    <a:pt x="535" y="920"/>
                  </a:cubicBezTo>
                  <a:cubicBezTo>
                    <a:pt x="535" y="919"/>
                    <a:pt x="535" y="919"/>
                    <a:pt x="535" y="919"/>
                  </a:cubicBezTo>
                  <a:cubicBezTo>
                    <a:pt x="535" y="919"/>
                    <a:pt x="535" y="919"/>
                    <a:pt x="535" y="919"/>
                  </a:cubicBezTo>
                  <a:lnTo>
                    <a:pt x="535" y="920"/>
                  </a:lnTo>
                  <a:close/>
                  <a:moveTo>
                    <a:pt x="530" y="922"/>
                  </a:moveTo>
                  <a:cubicBezTo>
                    <a:pt x="530" y="922"/>
                    <a:pt x="530" y="922"/>
                    <a:pt x="530" y="922"/>
                  </a:cubicBezTo>
                  <a:cubicBezTo>
                    <a:pt x="530" y="922"/>
                    <a:pt x="530" y="922"/>
                    <a:pt x="530" y="922"/>
                  </a:cubicBezTo>
                  <a:cubicBezTo>
                    <a:pt x="530" y="922"/>
                    <a:pt x="530" y="922"/>
                    <a:pt x="530" y="922"/>
                  </a:cubicBezTo>
                  <a:cubicBezTo>
                    <a:pt x="530" y="922"/>
                    <a:pt x="530" y="922"/>
                    <a:pt x="530" y="922"/>
                  </a:cubicBezTo>
                  <a:close/>
                  <a:moveTo>
                    <a:pt x="519" y="925"/>
                  </a:moveTo>
                  <a:cubicBezTo>
                    <a:pt x="519" y="925"/>
                    <a:pt x="519" y="925"/>
                    <a:pt x="519" y="925"/>
                  </a:cubicBezTo>
                  <a:cubicBezTo>
                    <a:pt x="519" y="925"/>
                    <a:pt x="519" y="925"/>
                    <a:pt x="519" y="925"/>
                  </a:cubicBezTo>
                  <a:cubicBezTo>
                    <a:pt x="519" y="925"/>
                    <a:pt x="520" y="925"/>
                    <a:pt x="520" y="925"/>
                  </a:cubicBezTo>
                  <a:cubicBezTo>
                    <a:pt x="520" y="926"/>
                    <a:pt x="519" y="927"/>
                    <a:pt x="520" y="928"/>
                  </a:cubicBezTo>
                  <a:cubicBezTo>
                    <a:pt x="520" y="928"/>
                    <a:pt x="520" y="928"/>
                    <a:pt x="520" y="928"/>
                  </a:cubicBezTo>
                  <a:cubicBezTo>
                    <a:pt x="520" y="928"/>
                    <a:pt x="520" y="928"/>
                    <a:pt x="519" y="928"/>
                  </a:cubicBezTo>
                  <a:cubicBezTo>
                    <a:pt x="519" y="928"/>
                    <a:pt x="519" y="928"/>
                    <a:pt x="519" y="928"/>
                  </a:cubicBezTo>
                  <a:cubicBezTo>
                    <a:pt x="519" y="927"/>
                    <a:pt x="519" y="927"/>
                    <a:pt x="519" y="927"/>
                  </a:cubicBezTo>
                  <a:cubicBezTo>
                    <a:pt x="519" y="926"/>
                    <a:pt x="519" y="925"/>
                    <a:pt x="518" y="925"/>
                  </a:cubicBezTo>
                  <a:cubicBezTo>
                    <a:pt x="518" y="925"/>
                    <a:pt x="518" y="925"/>
                    <a:pt x="518" y="925"/>
                  </a:cubicBezTo>
                  <a:cubicBezTo>
                    <a:pt x="518" y="925"/>
                    <a:pt x="518" y="925"/>
                    <a:pt x="519" y="925"/>
                  </a:cubicBezTo>
                  <a:close/>
                  <a:moveTo>
                    <a:pt x="566" y="921"/>
                  </a:moveTo>
                  <a:cubicBezTo>
                    <a:pt x="566" y="922"/>
                    <a:pt x="566" y="922"/>
                    <a:pt x="566" y="922"/>
                  </a:cubicBezTo>
                  <a:cubicBezTo>
                    <a:pt x="566" y="922"/>
                    <a:pt x="565" y="922"/>
                    <a:pt x="565" y="922"/>
                  </a:cubicBezTo>
                  <a:cubicBezTo>
                    <a:pt x="565" y="922"/>
                    <a:pt x="565" y="922"/>
                    <a:pt x="565" y="922"/>
                  </a:cubicBezTo>
                  <a:cubicBezTo>
                    <a:pt x="565" y="922"/>
                    <a:pt x="565" y="922"/>
                    <a:pt x="565" y="922"/>
                  </a:cubicBezTo>
                  <a:cubicBezTo>
                    <a:pt x="565" y="922"/>
                    <a:pt x="565" y="922"/>
                    <a:pt x="566" y="922"/>
                  </a:cubicBezTo>
                  <a:cubicBezTo>
                    <a:pt x="566" y="921"/>
                    <a:pt x="566" y="921"/>
                    <a:pt x="566" y="921"/>
                  </a:cubicBezTo>
                  <a:cubicBezTo>
                    <a:pt x="566" y="921"/>
                    <a:pt x="566" y="921"/>
                    <a:pt x="566" y="921"/>
                  </a:cubicBezTo>
                  <a:close/>
                  <a:moveTo>
                    <a:pt x="584" y="1483"/>
                  </a:moveTo>
                  <a:cubicBezTo>
                    <a:pt x="584" y="1483"/>
                    <a:pt x="584" y="1483"/>
                    <a:pt x="585" y="1483"/>
                  </a:cubicBezTo>
                  <a:cubicBezTo>
                    <a:pt x="584" y="1483"/>
                    <a:pt x="584" y="1483"/>
                    <a:pt x="584" y="1483"/>
                  </a:cubicBezTo>
                  <a:cubicBezTo>
                    <a:pt x="584" y="1483"/>
                    <a:pt x="584" y="1483"/>
                    <a:pt x="584" y="1483"/>
                  </a:cubicBezTo>
                  <a:close/>
                  <a:moveTo>
                    <a:pt x="579" y="1488"/>
                  </a:moveTo>
                  <a:cubicBezTo>
                    <a:pt x="579" y="1488"/>
                    <a:pt x="579" y="1488"/>
                    <a:pt x="579" y="1488"/>
                  </a:cubicBezTo>
                  <a:cubicBezTo>
                    <a:pt x="579" y="1488"/>
                    <a:pt x="579" y="1488"/>
                    <a:pt x="579" y="1488"/>
                  </a:cubicBezTo>
                  <a:close/>
                  <a:moveTo>
                    <a:pt x="581" y="1486"/>
                  </a:moveTo>
                  <a:cubicBezTo>
                    <a:pt x="581" y="1486"/>
                    <a:pt x="581" y="1486"/>
                    <a:pt x="581" y="1486"/>
                  </a:cubicBezTo>
                  <a:cubicBezTo>
                    <a:pt x="582" y="1486"/>
                    <a:pt x="583" y="1486"/>
                    <a:pt x="583" y="1485"/>
                  </a:cubicBezTo>
                  <a:cubicBezTo>
                    <a:pt x="583" y="1486"/>
                    <a:pt x="583" y="1486"/>
                    <a:pt x="583" y="1486"/>
                  </a:cubicBezTo>
                  <a:cubicBezTo>
                    <a:pt x="583" y="1486"/>
                    <a:pt x="583" y="1486"/>
                    <a:pt x="583" y="1487"/>
                  </a:cubicBezTo>
                  <a:cubicBezTo>
                    <a:pt x="583" y="1487"/>
                    <a:pt x="582" y="1486"/>
                    <a:pt x="581" y="1486"/>
                  </a:cubicBezTo>
                  <a:cubicBezTo>
                    <a:pt x="581" y="1486"/>
                    <a:pt x="581" y="1486"/>
                    <a:pt x="581" y="1486"/>
                  </a:cubicBezTo>
                  <a:cubicBezTo>
                    <a:pt x="581" y="1486"/>
                    <a:pt x="581" y="1486"/>
                    <a:pt x="581" y="1486"/>
                  </a:cubicBezTo>
                  <a:close/>
                  <a:moveTo>
                    <a:pt x="531" y="1456"/>
                  </a:move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3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7"/>
                    <a:pt x="532" y="1457"/>
                    <a:pt x="532" y="1457"/>
                  </a:cubicBezTo>
                  <a:cubicBezTo>
                    <a:pt x="532" y="1458"/>
                    <a:pt x="532" y="1458"/>
                    <a:pt x="532" y="1459"/>
                  </a:cubicBezTo>
                  <a:cubicBezTo>
                    <a:pt x="532" y="1458"/>
                    <a:pt x="532" y="1458"/>
                    <a:pt x="531" y="1458"/>
                  </a:cubicBezTo>
                  <a:cubicBezTo>
                    <a:pt x="531" y="1458"/>
                    <a:pt x="531" y="1457"/>
                    <a:pt x="531" y="1456"/>
                  </a:cubicBezTo>
                  <a:cubicBezTo>
                    <a:pt x="530" y="1456"/>
                    <a:pt x="530" y="1456"/>
                    <a:pt x="530" y="1456"/>
                  </a:cubicBezTo>
                  <a:cubicBezTo>
                    <a:pt x="530" y="1456"/>
                    <a:pt x="531" y="1456"/>
                    <a:pt x="531" y="1456"/>
                  </a:cubicBezTo>
                  <a:close/>
                  <a:moveTo>
                    <a:pt x="575" y="1494"/>
                  </a:moveTo>
                  <a:cubicBezTo>
                    <a:pt x="575" y="1493"/>
                    <a:pt x="575" y="1493"/>
                    <a:pt x="575" y="1492"/>
                  </a:cubicBezTo>
                  <a:cubicBezTo>
                    <a:pt x="575" y="1492"/>
                    <a:pt x="575" y="1493"/>
                    <a:pt x="575" y="1493"/>
                  </a:cubicBezTo>
                  <a:cubicBezTo>
                    <a:pt x="575" y="1493"/>
                    <a:pt x="575" y="1493"/>
                    <a:pt x="575" y="1493"/>
                  </a:cubicBezTo>
                  <a:cubicBezTo>
                    <a:pt x="575" y="1493"/>
                    <a:pt x="575" y="1493"/>
                    <a:pt x="575" y="1493"/>
                  </a:cubicBezTo>
                  <a:cubicBezTo>
                    <a:pt x="575" y="1494"/>
                    <a:pt x="575" y="1494"/>
                    <a:pt x="575" y="1495"/>
                  </a:cubicBezTo>
                  <a:cubicBezTo>
                    <a:pt x="575" y="1495"/>
                    <a:pt x="574" y="1495"/>
                    <a:pt x="574" y="1495"/>
                  </a:cubicBezTo>
                  <a:cubicBezTo>
                    <a:pt x="574" y="1494"/>
                    <a:pt x="575" y="1494"/>
                    <a:pt x="575" y="1494"/>
                  </a:cubicBezTo>
                  <a:close/>
                  <a:moveTo>
                    <a:pt x="390" y="797"/>
                  </a:moveTo>
                  <a:cubicBezTo>
                    <a:pt x="389" y="797"/>
                    <a:pt x="389" y="797"/>
                    <a:pt x="389" y="797"/>
                  </a:cubicBezTo>
                  <a:cubicBezTo>
                    <a:pt x="389" y="797"/>
                    <a:pt x="388" y="798"/>
                    <a:pt x="388" y="798"/>
                  </a:cubicBezTo>
                  <a:cubicBezTo>
                    <a:pt x="388" y="799"/>
                    <a:pt x="388" y="799"/>
                    <a:pt x="388" y="799"/>
                  </a:cubicBezTo>
                  <a:cubicBezTo>
                    <a:pt x="388" y="800"/>
                    <a:pt x="388" y="800"/>
                    <a:pt x="388" y="800"/>
                  </a:cubicBezTo>
                  <a:cubicBezTo>
                    <a:pt x="388" y="800"/>
                    <a:pt x="388" y="801"/>
                    <a:pt x="388" y="801"/>
                  </a:cubicBezTo>
                  <a:cubicBezTo>
                    <a:pt x="388" y="801"/>
                    <a:pt x="388" y="802"/>
                    <a:pt x="388" y="802"/>
                  </a:cubicBezTo>
                  <a:cubicBezTo>
                    <a:pt x="388" y="802"/>
                    <a:pt x="388" y="802"/>
                    <a:pt x="387" y="803"/>
                  </a:cubicBezTo>
                  <a:cubicBezTo>
                    <a:pt x="387" y="803"/>
                    <a:pt x="387" y="803"/>
                    <a:pt x="387" y="803"/>
                  </a:cubicBezTo>
                  <a:cubicBezTo>
                    <a:pt x="387" y="803"/>
                    <a:pt x="387" y="803"/>
                    <a:pt x="387" y="803"/>
                  </a:cubicBezTo>
                  <a:cubicBezTo>
                    <a:pt x="387" y="803"/>
                    <a:pt x="386" y="803"/>
                    <a:pt x="386" y="803"/>
                  </a:cubicBezTo>
                  <a:cubicBezTo>
                    <a:pt x="386" y="803"/>
                    <a:pt x="386" y="803"/>
                    <a:pt x="386" y="802"/>
                  </a:cubicBezTo>
                  <a:cubicBezTo>
                    <a:pt x="386" y="801"/>
                    <a:pt x="386" y="800"/>
                    <a:pt x="386" y="800"/>
                  </a:cubicBezTo>
                  <a:cubicBezTo>
                    <a:pt x="386" y="799"/>
                    <a:pt x="385" y="798"/>
                    <a:pt x="385" y="797"/>
                  </a:cubicBezTo>
                  <a:cubicBezTo>
                    <a:pt x="384" y="798"/>
                    <a:pt x="384" y="798"/>
                    <a:pt x="384" y="798"/>
                  </a:cubicBezTo>
                  <a:cubicBezTo>
                    <a:pt x="384" y="797"/>
                    <a:pt x="384" y="797"/>
                    <a:pt x="384" y="797"/>
                  </a:cubicBezTo>
                  <a:cubicBezTo>
                    <a:pt x="384" y="797"/>
                    <a:pt x="384" y="796"/>
                    <a:pt x="384" y="796"/>
                  </a:cubicBezTo>
                  <a:cubicBezTo>
                    <a:pt x="384" y="796"/>
                    <a:pt x="384" y="796"/>
                    <a:pt x="384" y="796"/>
                  </a:cubicBezTo>
                  <a:cubicBezTo>
                    <a:pt x="384" y="796"/>
                    <a:pt x="384" y="795"/>
                    <a:pt x="385" y="795"/>
                  </a:cubicBezTo>
                  <a:cubicBezTo>
                    <a:pt x="385" y="795"/>
                    <a:pt x="386" y="794"/>
                    <a:pt x="386" y="794"/>
                  </a:cubicBezTo>
                  <a:cubicBezTo>
                    <a:pt x="387" y="793"/>
                    <a:pt x="387" y="792"/>
                    <a:pt x="388" y="791"/>
                  </a:cubicBezTo>
                  <a:cubicBezTo>
                    <a:pt x="388" y="791"/>
                    <a:pt x="388" y="791"/>
                    <a:pt x="388" y="792"/>
                  </a:cubicBezTo>
                  <a:cubicBezTo>
                    <a:pt x="388" y="792"/>
                    <a:pt x="388" y="792"/>
                    <a:pt x="388" y="792"/>
                  </a:cubicBezTo>
                  <a:cubicBezTo>
                    <a:pt x="388" y="792"/>
                    <a:pt x="388" y="793"/>
                    <a:pt x="388" y="793"/>
                  </a:cubicBezTo>
                  <a:cubicBezTo>
                    <a:pt x="388" y="794"/>
                    <a:pt x="388" y="794"/>
                    <a:pt x="388" y="795"/>
                  </a:cubicBezTo>
                  <a:cubicBezTo>
                    <a:pt x="388" y="795"/>
                    <a:pt x="388" y="795"/>
                    <a:pt x="388" y="796"/>
                  </a:cubicBezTo>
                  <a:cubicBezTo>
                    <a:pt x="389" y="796"/>
                    <a:pt x="389" y="796"/>
                    <a:pt x="389" y="797"/>
                  </a:cubicBezTo>
                  <a:lnTo>
                    <a:pt x="390" y="797"/>
                  </a:lnTo>
                  <a:close/>
                  <a:moveTo>
                    <a:pt x="572" y="1495"/>
                  </a:moveTo>
                  <a:cubicBezTo>
                    <a:pt x="572" y="1496"/>
                    <a:pt x="571" y="1496"/>
                    <a:pt x="572" y="1497"/>
                  </a:cubicBezTo>
                  <a:cubicBezTo>
                    <a:pt x="571" y="1496"/>
                    <a:pt x="571" y="1496"/>
                    <a:pt x="571" y="1495"/>
                  </a:cubicBezTo>
                  <a:cubicBezTo>
                    <a:pt x="571" y="1495"/>
                    <a:pt x="571" y="1495"/>
                    <a:pt x="572" y="1495"/>
                  </a:cubicBezTo>
                  <a:close/>
                  <a:moveTo>
                    <a:pt x="554" y="1404"/>
                  </a:moveTo>
                  <a:cubicBezTo>
                    <a:pt x="554" y="1403"/>
                    <a:pt x="554" y="1403"/>
                    <a:pt x="554" y="1403"/>
                  </a:cubicBezTo>
                  <a:cubicBezTo>
                    <a:pt x="554" y="1403"/>
                    <a:pt x="554" y="1403"/>
                    <a:pt x="554" y="1403"/>
                  </a:cubicBezTo>
                  <a:cubicBezTo>
                    <a:pt x="554" y="1404"/>
                    <a:pt x="554" y="1404"/>
                    <a:pt x="554" y="1404"/>
                  </a:cubicBezTo>
                  <a:cubicBezTo>
                    <a:pt x="554" y="1404"/>
                    <a:pt x="554" y="1404"/>
                    <a:pt x="554" y="1404"/>
                  </a:cubicBezTo>
                  <a:close/>
                  <a:moveTo>
                    <a:pt x="563" y="1277"/>
                  </a:moveTo>
                  <a:cubicBezTo>
                    <a:pt x="562" y="1277"/>
                    <a:pt x="562" y="1277"/>
                    <a:pt x="561" y="1277"/>
                  </a:cubicBezTo>
                  <a:cubicBezTo>
                    <a:pt x="561" y="1277"/>
                    <a:pt x="561" y="1276"/>
                    <a:pt x="560" y="1276"/>
                  </a:cubicBezTo>
                  <a:cubicBezTo>
                    <a:pt x="559" y="1277"/>
                    <a:pt x="559" y="1277"/>
                    <a:pt x="559" y="1277"/>
                  </a:cubicBezTo>
                  <a:cubicBezTo>
                    <a:pt x="560" y="1275"/>
                    <a:pt x="560" y="1275"/>
                    <a:pt x="560" y="1275"/>
                  </a:cubicBezTo>
                  <a:cubicBezTo>
                    <a:pt x="560" y="1275"/>
                    <a:pt x="559" y="1275"/>
                    <a:pt x="559" y="1275"/>
                  </a:cubicBezTo>
                  <a:cubicBezTo>
                    <a:pt x="559" y="1274"/>
                    <a:pt x="559" y="1274"/>
                    <a:pt x="559" y="1274"/>
                  </a:cubicBezTo>
                  <a:cubicBezTo>
                    <a:pt x="559" y="1273"/>
                    <a:pt x="559" y="1273"/>
                    <a:pt x="559" y="1273"/>
                  </a:cubicBezTo>
                  <a:cubicBezTo>
                    <a:pt x="559" y="1273"/>
                    <a:pt x="559" y="1273"/>
                    <a:pt x="559" y="1273"/>
                  </a:cubicBezTo>
                  <a:cubicBezTo>
                    <a:pt x="559" y="1273"/>
                    <a:pt x="559" y="1274"/>
                    <a:pt x="559" y="1274"/>
                  </a:cubicBezTo>
                  <a:cubicBezTo>
                    <a:pt x="560" y="1275"/>
                    <a:pt x="561" y="1276"/>
                    <a:pt x="562" y="1277"/>
                  </a:cubicBezTo>
                  <a:cubicBezTo>
                    <a:pt x="562" y="1277"/>
                    <a:pt x="563" y="1277"/>
                    <a:pt x="563" y="1277"/>
                  </a:cubicBezTo>
                  <a:cubicBezTo>
                    <a:pt x="563" y="1277"/>
                    <a:pt x="563" y="1277"/>
                    <a:pt x="563" y="1277"/>
                  </a:cubicBezTo>
                  <a:cubicBezTo>
                    <a:pt x="563" y="1277"/>
                    <a:pt x="563" y="1277"/>
                    <a:pt x="563" y="1277"/>
                  </a:cubicBezTo>
                  <a:close/>
                  <a:moveTo>
                    <a:pt x="364" y="575"/>
                  </a:moveTo>
                  <a:cubicBezTo>
                    <a:pt x="364" y="575"/>
                    <a:pt x="364" y="575"/>
                    <a:pt x="364" y="575"/>
                  </a:cubicBezTo>
                  <a:cubicBezTo>
                    <a:pt x="364" y="575"/>
                    <a:pt x="364" y="575"/>
                    <a:pt x="364" y="575"/>
                  </a:cubicBezTo>
                  <a:close/>
                  <a:moveTo>
                    <a:pt x="582" y="402"/>
                  </a:moveTo>
                  <a:cubicBezTo>
                    <a:pt x="581" y="402"/>
                    <a:pt x="581" y="402"/>
                    <a:pt x="581" y="402"/>
                  </a:cubicBezTo>
                  <a:cubicBezTo>
                    <a:pt x="581" y="401"/>
                    <a:pt x="580" y="401"/>
                    <a:pt x="579" y="401"/>
                  </a:cubicBezTo>
                  <a:cubicBezTo>
                    <a:pt x="579" y="401"/>
                    <a:pt x="579" y="401"/>
                    <a:pt x="578" y="401"/>
                  </a:cubicBezTo>
                  <a:cubicBezTo>
                    <a:pt x="578" y="401"/>
                    <a:pt x="578" y="400"/>
                    <a:pt x="578" y="400"/>
                  </a:cubicBezTo>
                  <a:cubicBezTo>
                    <a:pt x="577" y="400"/>
                    <a:pt x="577" y="399"/>
                    <a:pt x="576" y="399"/>
                  </a:cubicBezTo>
                  <a:cubicBezTo>
                    <a:pt x="576" y="399"/>
                    <a:pt x="576" y="399"/>
                    <a:pt x="576" y="399"/>
                  </a:cubicBezTo>
                  <a:cubicBezTo>
                    <a:pt x="577" y="399"/>
                    <a:pt x="578" y="399"/>
                    <a:pt x="578" y="399"/>
                  </a:cubicBezTo>
                  <a:cubicBezTo>
                    <a:pt x="578" y="399"/>
                    <a:pt x="579" y="399"/>
                    <a:pt x="579" y="399"/>
                  </a:cubicBezTo>
                  <a:cubicBezTo>
                    <a:pt x="580" y="399"/>
                    <a:pt x="580" y="399"/>
                    <a:pt x="580" y="399"/>
                  </a:cubicBezTo>
                  <a:cubicBezTo>
                    <a:pt x="580" y="399"/>
                    <a:pt x="580" y="399"/>
                    <a:pt x="580" y="399"/>
                  </a:cubicBezTo>
                  <a:cubicBezTo>
                    <a:pt x="580" y="400"/>
                    <a:pt x="580" y="400"/>
                    <a:pt x="580" y="400"/>
                  </a:cubicBezTo>
                  <a:cubicBezTo>
                    <a:pt x="580" y="401"/>
                    <a:pt x="581" y="402"/>
                    <a:pt x="583" y="402"/>
                  </a:cubicBezTo>
                  <a:cubicBezTo>
                    <a:pt x="582" y="402"/>
                    <a:pt x="582" y="402"/>
                    <a:pt x="582" y="402"/>
                  </a:cubicBezTo>
                  <a:close/>
                  <a:moveTo>
                    <a:pt x="570" y="406"/>
                  </a:moveTo>
                  <a:cubicBezTo>
                    <a:pt x="570" y="406"/>
                    <a:pt x="570" y="406"/>
                    <a:pt x="570" y="406"/>
                  </a:cubicBezTo>
                  <a:cubicBezTo>
                    <a:pt x="570" y="406"/>
                    <a:pt x="570" y="406"/>
                    <a:pt x="570" y="406"/>
                  </a:cubicBezTo>
                  <a:close/>
                  <a:moveTo>
                    <a:pt x="572" y="395"/>
                  </a:moveTo>
                  <a:cubicBezTo>
                    <a:pt x="572" y="395"/>
                    <a:pt x="572" y="395"/>
                    <a:pt x="572" y="395"/>
                  </a:cubicBezTo>
                  <a:cubicBezTo>
                    <a:pt x="572" y="395"/>
                    <a:pt x="572" y="395"/>
                    <a:pt x="572" y="395"/>
                  </a:cubicBezTo>
                  <a:close/>
                  <a:moveTo>
                    <a:pt x="568" y="407"/>
                  </a:moveTo>
                  <a:cubicBezTo>
                    <a:pt x="568" y="407"/>
                    <a:pt x="568" y="407"/>
                    <a:pt x="568" y="408"/>
                  </a:cubicBezTo>
                  <a:cubicBezTo>
                    <a:pt x="568" y="408"/>
                    <a:pt x="567" y="408"/>
                    <a:pt x="567" y="408"/>
                  </a:cubicBezTo>
                  <a:cubicBezTo>
                    <a:pt x="567" y="408"/>
                    <a:pt x="567" y="408"/>
                    <a:pt x="567" y="407"/>
                  </a:cubicBezTo>
                  <a:cubicBezTo>
                    <a:pt x="567" y="407"/>
                    <a:pt x="567" y="407"/>
                    <a:pt x="568" y="407"/>
                  </a:cubicBezTo>
                  <a:cubicBezTo>
                    <a:pt x="568" y="407"/>
                    <a:pt x="568" y="407"/>
                    <a:pt x="568" y="407"/>
                  </a:cubicBezTo>
                  <a:cubicBezTo>
                    <a:pt x="568" y="406"/>
                    <a:pt x="568" y="406"/>
                    <a:pt x="568" y="406"/>
                  </a:cubicBezTo>
                  <a:cubicBezTo>
                    <a:pt x="568" y="406"/>
                    <a:pt x="568" y="406"/>
                    <a:pt x="568" y="406"/>
                  </a:cubicBezTo>
                  <a:lnTo>
                    <a:pt x="568" y="407"/>
                  </a:lnTo>
                  <a:close/>
                  <a:moveTo>
                    <a:pt x="574" y="377"/>
                  </a:moveTo>
                  <a:cubicBezTo>
                    <a:pt x="574" y="376"/>
                    <a:pt x="574" y="376"/>
                    <a:pt x="574" y="376"/>
                  </a:cubicBezTo>
                  <a:cubicBezTo>
                    <a:pt x="574" y="376"/>
                    <a:pt x="574" y="376"/>
                    <a:pt x="574" y="376"/>
                  </a:cubicBezTo>
                  <a:cubicBezTo>
                    <a:pt x="575" y="376"/>
                    <a:pt x="575" y="376"/>
                    <a:pt x="575" y="376"/>
                  </a:cubicBezTo>
                  <a:cubicBezTo>
                    <a:pt x="575" y="377"/>
                    <a:pt x="575" y="377"/>
                    <a:pt x="575" y="377"/>
                  </a:cubicBezTo>
                  <a:cubicBezTo>
                    <a:pt x="575" y="377"/>
                    <a:pt x="575" y="377"/>
                    <a:pt x="575" y="377"/>
                  </a:cubicBezTo>
                  <a:cubicBezTo>
                    <a:pt x="575" y="378"/>
                    <a:pt x="574" y="378"/>
                    <a:pt x="574" y="378"/>
                  </a:cubicBezTo>
                  <a:cubicBezTo>
                    <a:pt x="574" y="378"/>
                    <a:pt x="574" y="378"/>
                    <a:pt x="574" y="378"/>
                  </a:cubicBezTo>
                  <a:cubicBezTo>
                    <a:pt x="574" y="377"/>
                    <a:pt x="574" y="377"/>
                    <a:pt x="574" y="377"/>
                  </a:cubicBezTo>
                  <a:cubicBezTo>
                    <a:pt x="574" y="377"/>
                    <a:pt x="574" y="377"/>
                    <a:pt x="574" y="377"/>
                  </a:cubicBezTo>
                  <a:close/>
                  <a:moveTo>
                    <a:pt x="665" y="114"/>
                  </a:moveTo>
                  <a:cubicBezTo>
                    <a:pt x="665" y="114"/>
                    <a:pt x="664" y="114"/>
                    <a:pt x="664" y="114"/>
                  </a:cubicBezTo>
                  <a:cubicBezTo>
                    <a:pt x="664" y="114"/>
                    <a:pt x="664" y="114"/>
                    <a:pt x="664" y="114"/>
                  </a:cubicBezTo>
                  <a:cubicBezTo>
                    <a:pt x="664" y="114"/>
                    <a:pt x="664" y="114"/>
                    <a:pt x="664" y="114"/>
                  </a:cubicBezTo>
                  <a:cubicBezTo>
                    <a:pt x="665" y="113"/>
                    <a:pt x="665" y="114"/>
                    <a:pt x="665" y="114"/>
                  </a:cubicBezTo>
                  <a:cubicBezTo>
                    <a:pt x="666" y="114"/>
                    <a:pt x="666" y="114"/>
                    <a:pt x="666" y="114"/>
                  </a:cubicBezTo>
                  <a:cubicBezTo>
                    <a:pt x="666" y="114"/>
                    <a:pt x="665" y="114"/>
                    <a:pt x="665" y="114"/>
                  </a:cubicBezTo>
                  <a:close/>
                  <a:moveTo>
                    <a:pt x="697" y="128"/>
                  </a:moveTo>
                  <a:cubicBezTo>
                    <a:pt x="697" y="128"/>
                    <a:pt x="697" y="128"/>
                    <a:pt x="697" y="128"/>
                  </a:cubicBezTo>
                  <a:cubicBezTo>
                    <a:pt x="697" y="128"/>
                    <a:pt x="697" y="128"/>
                    <a:pt x="697" y="128"/>
                  </a:cubicBezTo>
                  <a:close/>
                  <a:moveTo>
                    <a:pt x="659" y="196"/>
                  </a:moveTo>
                  <a:cubicBezTo>
                    <a:pt x="659" y="196"/>
                    <a:pt x="659" y="196"/>
                    <a:pt x="659" y="196"/>
                  </a:cubicBezTo>
                  <a:cubicBezTo>
                    <a:pt x="659" y="196"/>
                    <a:pt x="659" y="196"/>
                    <a:pt x="659" y="196"/>
                  </a:cubicBezTo>
                  <a:cubicBezTo>
                    <a:pt x="659" y="196"/>
                    <a:pt x="659" y="196"/>
                    <a:pt x="659" y="196"/>
                  </a:cubicBezTo>
                  <a:close/>
                  <a:moveTo>
                    <a:pt x="702" y="167"/>
                  </a:moveTo>
                  <a:cubicBezTo>
                    <a:pt x="702" y="166"/>
                    <a:pt x="702" y="166"/>
                    <a:pt x="702" y="166"/>
                  </a:cubicBezTo>
                  <a:cubicBezTo>
                    <a:pt x="702" y="166"/>
                    <a:pt x="702" y="166"/>
                    <a:pt x="702" y="166"/>
                  </a:cubicBezTo>
                  <a:cubicBezTo>
                    <a:pt x="702" y="167"/>
                    <a:pt x="702" y="167"/>
                    <a:pt x="702" y="167"/>
                  </a:cubicBezTo>
                  <a:close/>
                  <a:moveTo>
                    <a:pt x="720" y="78"/>
                  </a:moveTo>
                  <a:cubicBezTo>
                    <a:pt x="720" y="79"/>
                    <a:pt x="720" y="79"/>
                    <a:pt x="720" y="79"/>
                  </a:cubicBezTo>
                  <a:cubicBezTo>
                    <a:pt x="720" y="79"/>
                    <a:pt x="720" y="80"/>
                    <a:pt x="720" y="80"/>
                  </a:cubicBezTo>
                  <a:cubicBezTo>
                    <a:pt x="720" y="80"/>
                    <a:pt x="720" y="80"/>
                    <a:pt x="720" y="80"/>
                  </a:cubicBezTo>
                  <a:cubicBezTo>
                    <a:pt x="720" y="79"/>
                    <a:pt x="720" y="79"/>
                    <a:pt x="720" y="78"/>
                  </a:cubicBezTo>
                  <a:cubicBezTo>
                    <a:pt x="720" y="78"/>
                    <a:pt x="720" y="78"/>
                    <a:pt x="720" y="77"/>
                  </a:cubicBezTo>
                  <a:cubicBezTo>
                    <a:pt x="720" y="77"/>
                    <a:pt x="720" y="78"/>
                    <a:pt x="720" y="78"/>
                  </a:cubicBezTo>
                  <a:close/>
                  <a:moveTo>
                    <a:pt x="625" y="116"/>
                  </a:moveTo>
                  <a:cubicBezTo>
                    <a:pt x="625" y="116"/>
                    <a:pt x="625" y="116"/>
                    <a:pt x="625" y="116"/>
                  </a:cubicBezTo>
                  <a:cubicBezTo>
                    <a:pt x="625" y="116"/>
                    <a:pt x="625" y="116"/>
                    <a:pt x="625" y="116"/>
                  </a:cubicBezTo>
                  <a:close/>
                  <a:moveTo>
                    <a:pt x="642" y="78"/>
                  </a:moveTo>
                  <a:cubicBezTo>
                    <a:pt x="642" y="77"/>
                    <a:pt x="642" y="77"/>
                    <a:pt x="642" y="77"/>
                  </a:cubicBezTo>
                  <a:cubicBezTo>
                    <a:pt x="642" y="77"/>
                    <a:pt x="642" y="77"/>
                    <a:pt x="642" y="77"/>
                  </a:cubicBezTo>
                  <a:cubicBezTo>
                    <a:pt x="642" y="78"/>
                    <a:pt x="642" y="78"/>
                    <a:pt x="642" y="78"/>
                  </a:cubicBezTo>
                  <a:cubicBezTo>
                    <a:pt x="642" y="78"/>
                    <a:pt x="642" y="78"/>
                    <a:pt x="642" y="78"/>
                  </a:cubicBezTo>
                  <a:close/>
                  <a:moveTo>
                    <a:pt x="669" y="56"/>
                  </a:moveTo>
                  <a:cubicBezTo>
                    <a:pt x="669" y="56"/>
                    <a:pt x="669" y="56"/>
                    <a:pt x="669" y="56"/>
                  </a:cubicBezTo>
                  <a:cubicBezTo>
                    <a:pt x="669" y="56"/>
                    <a:pt x="669" y="56"/>
                    <a:pt x="669" y="56"/>
                  </a:cubicBezTo>
                  <a:close/>
                  <a:moveTo>
                    <a:pt x="612" y="90"/>
                  </a:moveTo>
                  <a:cubicBezTo>
                    <a:pt x="612" y="90"/>
                    <a:pt x="612" y="90"/>
                    <a:pt x="612" y="90"/>
                  </a:cubicBezTo>
                  <a:cubicBezTo>
                    <a:pt x="612" y="90"/>
                    <a:pt x="612" y="90"/>
                    <a:pt x="612" y="90"/>
                  </a:cubicBezTo>
                  <a:close/>
                  <a:moveTo>
                    <a:pt x="592" y="110"/>
                  </a:moveTo>
                  <a:cubicBezTo>
                    <a:pt x="592" y="111"/>
                    <a:pt x="592" y="111"/>
                    <a:pt x="592" y="111"/>
                  </a:cubicBezTo>
                  <a:cubicBezTo>
                    <a:pt x="592" y="109"/>
                    <a:pt x="592" y="109"/>
                    <a:pt x="592" y="109"/>
                  </a:cubicBezTo>
                  <a:cubicBezTo>
                    <a:pt x="592" y="109"/>
                    <a:pt x="592" y="110"/>
                    <a:pt x="592" y="110"/>
                  </a:cubicBezTo>
                  <a:close/>
                  <a:moveTo>
                    <a:pt x="566" y="121"/>
                  </a:moveTo>
                  <a:cubicBezTo>
                    <a:pt x="566" y="121"/>
                    <a:pt x="566" y="121"/>
                    <a:pt x="566" y="121"/>
                  </a:cubicBezTo>
                  <a:cubicBezTo>
                    <a:pt x="567" y="121"/>
                    <a:pt x="567" y="121"/>
                    <a:pt x="567" y="121"/>
                  </a:cubicBezTo>
                  <a:cubicBezTo>
                    <a:pt x="567" y="121"/>
                    <a:pt x="567" y="121"/>
                    <a:pt x="567" y="121"/>
                  </a:cubicBezTo>
                  <a:cubicBezTo>
                    <a:pt x="567" y="122"/>
                    <a:pt x="567" y="122"/>
                    <a:pt x="567" y="122"/>
                  </a:cubicBezTo>
                  <a:cubicBezTo>
                    <a:pt x="567" y="123"/>
                    <a:pt x="566" y="123"/>
                    <a:pt x="566" y="124"/>
                  </a:cubicBezTo>
                  <a:cubicBezTo>
                    <a:pt x="566" y="124"/>
                    <a:pt x="565" y="124"/>
                    <a:pt x="565" y="124"/>
                  </a:cubicBezTo>
                  <a:cubicBezTo>
                    <a:pt x="565" y="124"/>
                    <a:pt x="565" y="124"/>
                    <a:pt x="565" y="124"/>
                  </a:cubicBezTo>
                  <a:cubicBezTo>
                    <a:pt x="565" y="124"/>
                    <a:pt x="565" y="124"/>
                    <a:pt x="565" y="123"/>
                  </a:cubicBezTo>
                  <a:cubicBezTo>
                    <a:pt x="565" y="123"/>
                    <a:pt x="565" y="123"/>
                    <a:pt x="565" y="123"/>
                  </a:cubicBezTo>
                  <a:cubicBezTo>
                    <a:pt x="565" y="122"/>
                    <a:pt x="566" y="122"/>
                    <a:pt x="566" y="121"/>
                  </a:cubicBezTo>
                  <a:close/>
                  <a:moveTo>
                    <a:pt x="604" y="54"/>
                  </a:moveTo>
                  <a:cubicBezTo>
                    <a:pt x="604" y="54"/>
                    <a:pt x="604" y="54"/>
                    <a:pt x="604" y="54"/>
                  </a:cubicBezTo>
                  <a:cubicBezTo>
                    <a:pt x="604" y="54"/>
                    <a:pt x="604" y="54"/>
                    <a:pt x="604" y="54"/>
                  </a:cubicBezTo>
                  <a:close/>
                  <a:moveTo>
                    <a:pt x="569" y="53"/>
                  </a:moveTo>
                  <a:cubicBezTo>
                    <a:pt x="569" y="53"/>
                    <a:pt x="569" y="53"/>
                    <a:pt x="569" y="53"/>
                  </a:cubicBezTo>
                  <a:cubicBezTo>
                    <a:pt x="569" y="53"/>
                    <a:pt x="569" y="53"/>
                    <a:pt x="569" y="53"/>
                  </a:cubicBezTo>
                  <a:close/>
                  <a:moveTo>
                    <a:pt x="507" y="114"/>
                  </a:moveTo>
                  <a:cubicBezTo>
                    <a:pt x="507" y="114"/>
                    <a:pt x="507" y="114"/>
                    <a:pt x="507" y="114"/>
                  </a:cubicBezTo>
                  <a:cubicBezTo>
                    <a:pt x="507" y="114"/>
                    <a:pt x="507" y="114"/>
                    <a:pt x="507" y="114"/>
                  </a:cubicBezTo>
                  <a:close/>
                  <a:moveTo>
                    <a:pt x="330" y="3"/>
                  </a:moveTo>
                  <a:cubicBezTo>
                    <a:pt x="330" y="3"/>
                    <a:pt x="330" y="3"/>
                    <a:pt x="330" y="3"/>
                  </a:cubicBezTo>
                  <a:cubicBezTo>
                    <a:pt x="330" y="3"/>
                    <a:pt x="330" y="3"/>
                    <a:pt x="330" y="3"/>
                  </a:cubicBezTo>
                  <a:close/>
                  <a:moveTo>
                    <a:pt x="264" y="11"/>
                  </a:moveTo>
                  <a:cubicBezTo>
                    <a:pt x="264" y="11"/>
                    <a:pt x="264" y="11"/>
                    <a:pt x="264" y="11"/>
                  </a:cubicBezTo>
                  <a:cubicBezTo>
                    <a:pt x="264" y="11"/>
                    <a:pt x="264" y="11"/>
                    <a:pt x="264" y="11"/>
                  </a:cubicBezTo>
                  <a:close/>
                  <a:moveTo>
                    <a:pt x="100" y="133"/>
                  </a:moveTo>
                  <a:cubicBezTo>
                    <a:pt x="100" y="132"/>
                    <a:pt x="100" y="132"/>
                    <a:pt x="100" y="132"/>
                  </a:cubicBezTo>
                  <a:cubicBezTo>
                    <a:pt x="101" y="132"/>
                    <a:pt x="101" y="132"/>
                    <a:pt x="101" y="132"/>
                  </a:cubicBezTo>
                  <a:cubicBezTo>
                    <a:pt x="101" y="132"/>
                    <a:pt x="101" y="132"/>
                    <a:pt x="101" y="132"/>
                  </a:cubicBezTo>
                  <a:lnTo>
                    <a:pt x="100" y="133"/>
                  </a:lnTo>
                  <a:close/>
                  <a:moveTo>
                    <a:pt x="91" y="148"/>
                  </a:moveTo>
                  <a:cubicBezTo>
                    <a:pt x="91" y="148"/>
                    <a:pt x="91" y="148"/>
                    <a:pt x="91" y="148"/>
                  </a:cubicBezTo>
                  <a:cubicBezTo>
                    <a:pt x="91" y="148"/>
                    <a:pt x="91" y="148"/>
                    <a:pt x="91" y="148"/>
                  </a:cubicBezTo>
                  <a:close/>
                  <a:moveTo>
                    <a:pt x="58" y="163"/>
                  </a:moveTo>
                  <a:cubicBezTo>
                    <a:pt x="58" y="163"/>
                    <a:pt x="58" y="163"/>
                    <a:pt x="58" y="163"/>
                  </a:cubicBezTo>
                  <a:cubicBezTo>
                    <a:pt x="58" y="163"/>
                    <a:pt x="58" y="163"/>
                    <a:pt x="58" y="163"/>
                  </a:cubicBezTo>
                  <a:close/>
                  <a:moveTo>
                    <a:pt x="195" y="303"/>
                  </a:moveTo>
                  <a:cubicBezTo>
                    <a:pt x="195" y="303"/>
                    <a:pt x="195" y="303"/>
                    <a:pt x="195" y="303"/>
                  </a:cubicBezTo>
                  <a:cubicBezTo>
                    <a:pt x="195" y="303"/>
                    <a:pt x="195" y="303"/>
                    <a:pt x="195" y="303"/>
                  </a:cubicBezTo>
                  <a:close/>
                  <a:moveTo>
                    <a:pt x="190" y="322"/>
                  </a:moveTo>
                  <a:cubicBezTo>
                    <a:pt x="190" y="322"/>
                    <a:pt x="190" y="322"/>
                    <a:pt x="190" y="322"/>
                  </a:cubicBezTo>
                  <a:cubicBezTo>
                    <a:pt x="190" y="322"/>
                    <a:pt x="190" y="322"/>
                    <a:pt x="190" y="322"/>
                  </a:cubicBezTo>
                  <a:cubicBezTo>
                    <a:pt x="190" y="322"/>
                    <a:pt x="190" y="322"/>
                    <a:pt x="190" y="322"/>
                  </a:cubicBezTo>
                  <a:close/>
                  <a:moveTo>
                    <a:pt x="105" y="494"/>
                  </a:moveTo>
                  <a:cubicBezTo>
                    <a:pt x="105" y="494"/>
                    <a:pt x="105" y="494"/>
                    <a:pt x="105" y="494"/>
                  </a:cubicBezTo>
                  <a:cubicBezTo>
                    <a:pt x="105" y="494"/>
                    <a:pt x="105" y="494"/>
                    <a:pt x="105" y="494"/>
                  </a:cubicBezTo>
                  <a:close/>
                  <a:moveTo>
                    <a:pt x="102" y="568"/>
                  </a:moveTo>
                  <a:cubicBezTo>
                    <a:pt x="102" y="568"/>
                    <a:pt x="102" y="568"/>
                    <a:pt x="102" y="568"/>
                  </a:cubicBezTo>
                  <a:cubicBezTo>
                    <a:pt x="102" y="568"/>
                    <a:pt x="102" y="568"/>
                    <a:pt x="102" y="568"/>
                  </a:cubicBezTo>
                  <a:cubicBezTo>
                    <a:pt x="102" y="568"/>
                    <a:pt x="102" y="568"/>
                    <a:pt x="102" y="568"/>
                  </a:cubicBezTo>
                  <a:close/>
                  <a:moveTo>
                    <a:pt x="99" y="577"/>
                  </a:moveTo>
                  <a:cubicBezTo>
                    <a:pt x="99" y="577"/>
                    <a:pt x="99" y="577"/>
                    <a:pt x="99" y="577"/>
                  </a:cubicBezTo>
                  <a:cubicBezTo>
                    <a:pt x="99" y="577"/>
                    <a:pt x="99" y="577"/>
                    <a:pt x="99" y="577"/>
                  </a:cubicBezTo>
                  <a:close/>
                  <a:moveTo>
                    <a:pt x="100" y="578"/>
                  </a:moveTo>
                  <a:cubicBezTo>
                    <a:pt x="100" y="578"/>
                    <a:pt x="100" y="578"/>
                    <a:pt x="100" y="578"/>
                  </a:cubicBezTo>
                  <a:cubicBezTo>
                    <a:pt x="100" y="578"/>
                    <a:pt x="100" y="578"/>
                    <a:pt x="100" y="578"/>
                  </a:cubicBezTo>
                  <a:close/>
                  <a:moveTo>
                    <a:pt x="113" y="614"/>
                  </a:moveTo>
                  <a:cubicBezTo>
                    <a:pt x="113" y="614"/>
                    <a:pt x="113" y="614"/>
                    <a:pt x="113" y="614"/>
                  </a:cubicBezTo>
                  <a:cubicBezTo>
                    <a:pt x="113" y="614"/>
                    <a:pt x="113" y="614"/>
                    <a:pt x="113" y="614"/>
                  </a:cubicBezTo>
                  <a:close/>
                  <a:moveTo>
                    <a:pt x="134" y="605"/>
                  </a:moveTo>
                  <a:cubicBezTo>
                    <a:pt x="134" y="605"/>
                    <a:pt x="134" y="604"/>
                    <a:pt x="134" y="604"/>
                  </a:cubicBezTo>
                  <a:cubicBezTo>
                    <a:pt x="134" y="604"/>
                    <a:pt x="134" y="604"/>
                    <a:pt x="134" y="604"/>
                  </a:cubicBezTo>
                  <a:lnTo>
                    <a:pt x="134" y="605"/>
                  </a:lnTo>
                  <a:close/>
                  <a:moveTo>
                    <a:pt x="151" y="691"/>
                  </a:moveTo>
                  <a:cubicBezTo>
                    <a:pt x="151" y="691"/>
                    <a:pt x="151" y="691"/>
                    <a:pt x="151" y="691"/>
                  </a:cubicBezTo>
                  <a:cubicBezTo>
                    <a:pt x="151" y="691"/>
                    <a:pt x="151" y="691"/>
                    <a:pt x="151" y="691"/>
                  </a:cubicBezTo>
                  <a:close/>
                  <a:moveTo>
                    <a:pt x="159" y="695"/>
                  </a:moveTo>
                  <a:cubicBezTo>
                    <a:pt x="159" y="695"/>
                    <a:pt x="159" y="695"/>
                    <a:pt x="159" y="695"/>
                  </a:cubicBezTo>
                  <a:cubicBezTo>
                    <a:pt x="159" y="695"/>
                    <a:pt x="159" y="695"/>
                    <a:pt x="159" y="695"/>
                  </a:cubicBezTo>
                  <a:close/>
                  <a:moveTo>
                    <a:pt x="188" y="719"/>
                  </a:moveTo>
                  <a:cubicBezTo>
                    <a:pt x="188" y="719"/>
                    <a:pt x="188" y="719"/>
                    <a:pt x="188" y="719"/>
                  </a:cubicBezTo>
                  <a:cubicBezTo>
                    <a:pt x="189" y="719"/>
                    <a:pt x="189" y="719"/>
                    <a:pt x="189" y="719"/>
                  </a:cubicBezTo>
                  <a:lnTo>
                    <a:pt x="188" y="719"/>
                  </a:lnTo>
                  <a:close/>
                  <a:moveTo>
                    <a:pt x="571" y="1499"/>
                  </a:moveTo>
                  <a:cubicBezTo>
                    <a:pt x="571" y="1498"/>
                    <a:pt x="572" y="1498"/>
                    <a:pt x="572" y="1497"/>
                  </a:cubicBezTo>
                  <a:cubicBezTo>
                    <a:pt x="572" y="1497"/>
                    <a:pt x="572" y="1497"/>
                    <a:pt x="572" y="1497"/>
                  </a:cubicBezTo>
                  <a:cubicBezTo>
                    <a:pt x="572" y="1498"/>
                    <a:pt x="572" y="1499"/>
                    <a:pt x="573" y="1499"/>
                  </a:cubicBezTo>
                  <a:cubicBezTo>
                    <a:pt x="572" y="1499"/>
                    <a:pt x="572" y="1499"/>
                    <a:pt x="571" y="1499"/>
                  </a:cubicBezTo>
                  <a:close/>
                  <a:moveTo>
                    <a:pt x="564" y="1326"/>
                  </a:moveTo>
                  <a:cubicBezTo>
                    <a:pt x="564" y="1326"/>
                    <a:pt x="564" y="1326"/>
                    <a:pt x="564" y="1326"/>
                  </a:cubicBezTo>
                  <a:cubicBezTo>
                    <a:pt x="564" y="1326"/>
                    <a:pt x="564" y="1326"/>
                    <a:pt x="564" y="1326"/>
                  </a:cubicBezTo>
                  <a:close/>
                  <a:moveTo>
                    <a:pt x="659" y="1048"/>
                  </a:moveTo>
                  <a:cubicBezTo>
                    <a:pt x="659" y="1048"/>
                    <a:pt x="659" y="1048"/>
                    <a:pt x="659" y="1048"/>
                  </a:cubicBezTo>
                  <a:cubicBezTo>
                    <a:pt x="659" y="1048"/>
                    <a:pt x="659" y="1048"/>
                    <a:pt x="659" y="1048"/>
                  </a:cubicBezTo>
                  <a:close/>
                  <a:moveTo>
                    <a:pt x="473" y="795"/>
                  </a:move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lose/>
                  <a:moveTo>
                    <a:pt x="468" y="789"/>
                  </a:moveTo>
                  <a:cubicBezTo>
                    <a:pt x="468" y="789"/>
                    <a:pt x="468" y="789"/>
                    <a:pt x="468" y="789"/>
                  </a:cubicBezTo>
                  <a:cubicBezTo>
                    <a:pt x="468" y="789"/>
                    <a:pt x="468" y="790"/>
                    <a:pt x="468" y="790"/>
                  </a:cubicBezTo>
                  <a:cubicBezTo>
                    <a:pt x="468" y="790"/>
                    <a:pt x="468" y="790"/>
                    <a:pt x="468" y="790"/>
                  </a:cubicBezTo>
                  <a:cubicBezTo>
                    <a:pt x="468" y="790"/>
                    <a:pt x="468" y="791"/>
                    <a:pt x="468" y="791"/>
                  </a:cubicBezTo>
                  <a:cubicBezTo>
                    <a:pt x="468" y="791"/>
                    <a:pt x="468" y="791"/>
                    <a:pt x="468" y="791"/>
                  </a:cubicBezTo>
                  <a:cubicBezTo>
                    <a:pt x="465" y="793"/>
                    <a:pt x="464" y="794"/>
                    <a:pt x="465" y="795"/>
                  </a:cubicBezTo>
                  <a:cubicBezTo>
                    <a:pt x="465" y="795"/>
                    <a:pt x="465" y="795"/>
                    <a:pt x="465" y="795"/>
                  </a:cubicBezTo>
                  <a:cubicBezTo>
                    <a:pt x="464" y="795"/>
                    <a:pt x="464" y="795"/>
                    <a:pt x="463" y="795"/>
                  </a:cubicBezTo>
                  <a:cubicBezTo>
                    <a:pt x="463" y="795"/>
                    <a:pt x="463" y="795"/>
                    <a:pt x="462" y="795"/>
                  </a:cubicBezTo>
                  <a:cubicBezTo>
                    <a:pt x="462" y="794"/>
                    <a:pt x="462" y="793"/>
                    <a:pt x="461" y="793"/>
                  </a:cubicBezTo>
                  <a:cubicBezTo>
                    <a:pt x="461" y="793"/>
                    <a:pt x="460" y="792"/>
                    <a:pt x="460" y="792"/>
                  </a:cubicBezTo>
                  <a:cubicBezTo>
                    <a:pt x="460" y="792"/>
                    <a:pt x="459" y="792"/>
                    <a:pt x="459" y="792"/>
                  </a:cubicBezTo>
                  <a:cubicBezTo>
                    <a:pt x="459" y="791"/>
                    <a:pt x="459" y="791"/>
                    <a:pt x="459" y="791"/>
                  </a:cubicBezTo>
                  <a:cubicBezTo>
                    <a:pt x="459" y="791"/>
                    <a:pt x="459" y="791"/>
                    <a:pt x="459" y="791"/>
                  </a:cubicBezTo>
                  <a:cubicBezTo>
                    <a:pt x="459" y="791"/>
                    <a:pt x="459" y="791"/>
                    <a:pt x="459" y="791"/>
                  </a:cubicBezTo>
                  <a:cubicBezTo>
                    <a:pt x="460" y="791"/>
                    <a:pt x="460" y="791"/>
                    <a:pt x="460" y="791"/>
                  </a:cubicBezTo>
                  <a:cubicBezTo>
                    <a:pt x="461" y="791"/>
                    <a:pt x="461" y="791"/>
                    <a:pt x="461" y="791"/>
                  </a:cubicBezTo>
                  <a:cubicBezTo>
                    <a:pt x="461" y="791"/>
                    <a:pt x="461" y="791"/>
                    <a:pt x="462" y="791"/>
                  </a:cubicBezTo>
                  <a:cubicBezTo>
                    <a:pt x="462" y="791"/>
                    <a:pt x="463" y="791"/>
                    <a:pt x="463" y="791"/>
                  </a:cubicBezTo>
                  <a:cubicBezTo>
                    <a:pt x="464" y="791"/>
                    <a:pt x="464" y="791"/>
                    <a:pt x="464" y="791"/>
                  </a:cubicBezTo>
                  <a:cubicBezTo>
                    <a:pt x="464" y="791"/>
                    <a:pt x="464" y="791"/>
                    <a:pt x="465" y="791"/>
                  </a:cubicBezTo>
                  <a:cubicBezTo>
                    <a:pt x="465" y="791"/>
                    <a:pt x="466" y="792"/>
                    <a:pt x="467" y="791"/>
                  </a:cubicBezTo>
                  <a:cubicBezTo>
                    <a:pt x="467" y="791"/>
                    <a:pt x="468" y="790"/>
                    <a:pt x="468" y="789"/>
                  </a:cubicBezTo>
                  <a:close/>
                  <a:moveTo>
                    <a:pt x="341" y="810"/>
                  </a:moveTo>
                  <a:cubicBezTo>
                    <a:pt x="340" y="811"/>
                    <a:pt x="340" y="811"/>
                    <a:pt x="340" y="811"/>
                  </a:cubicBezTo>
                  <a:cubicBezTo>
                    <a:pt x="340" y="811"/>
                    <a:pt x="340" y="811"/>
                    <a:pt x="340" y="811"/>
                  </a:cubicBezTo>
                  <a:cubicBezTo>
                    <a:pt x="341" y="810"/>
                    <a:pt x="341" y="810"/>
                    <a:pt x="341" y="810"/>
                  </a:cubicBezTo>
                  <a:cubicBezTo>
                    <a:pt x="341" y="810"/>
                    <a:pt x="341" y="810"/>
                    <a:pt x="341" y="810"/>
                  </a:cubicBezTo>
                  <a:close/>
                  <a:moveTo>
                    <a:pt x="307" y="805"/>
                  </a:moveTo>
                  <a:cubicBezTo>
                    <a:pt x="307" y="805"/>
                    <a:pt x="307" y="805"/>
                    <a:pt x="307" y="805"/>
                  </a:cubicBezTo>
                  <a:cubicBezTo>
                    <a:pt x="307" y="805"/>
                    <a:pt x="307" y="805"/>
                    <a:pt x="307" y="805"/>
                  </a:cubicBezTo>
                  <a:close/>
                  <a:moveTo>
                    <a:pt x="299" y="744"/>
                  </a:moveTo>
                  <a:cubicBezTo>
                    <a:pt x="298" y="743"/>
                    <a:pt x="298" y="743"/>
                    <a:pt x="298" y="743"/>
                  </a:cubicBezTo>
                  <a:cubicBezTo>
                    <a:pt x="298" y="743"/>
                    <a:pt x="298" y="743"/>
                    <a:pt x="298" y="743"/>
                  </a:cubicBezTo>
                  <a:cubicBezTo>
                    <a:pt x="299" y="743"/>
                    <a:pt x="299" y="743"/>
                    <a:pt x="299" y="743"/>
                  </a:cubicBezTo>
                  <a:lnTo>
                    <a:pt x="299" y="744"/>
                  </a:lnTo>
                  <a:close/>
                  <a:moveTo>
                    <a:pt x="361" y="605"/>
                  </a:moveTo>
                  <a:cubicBezTo>
                    <a:pt x="361" y="605"/>
                    <a:pt x="361" y="605"/>
                    <a:pt x="361" y="605"/>
                  </a:cubicBezTo>
                  <a:cubicBezTo>
                    <a:pt x="361" y="605"/>
                    <a:pt x="361" y="605"/>
                    <a:pt x="361" y="605"/>
                  </a:cubicBezTo>
                  <a:close/>
                  <a:moveTo>
                    <a:pt x="440" y="483"/>
                  </a:moveTo>
                  <a:cubicBezTo>
                    <a:pt x="440" y="482"/>
                    <a:pt x="440" y="482"/>
                    <a:pt x="440" y="481"/>
                  </a:cubicBezTo>
                  <a:cubicBezTo>
                    <a:pt x="441" y="480"/>
                    <a:pt x="441" y="479"/>
                    <a:pt x="441" y="478"/>
                  </a:cubicBezTo>
                  <a:cubicBezTo>
                    <a:pt x="441" y="478"/>
                    <a:pt x="441" y="478"/>
                    <a:pt x="440" y="478"/>
                  </a:cubicBezTo>
                  <a:cubicBezTo>
                    <a:pt x="441" y="478"/>
                    <a:pt x="441" y="478"/>
                    <a:pt x="441" y="478"/>
                  </a:cubicBezTo>
                  <a:cubicBezTo>
                    <a:pt x="441" y="478"/>
                    <a:pt x="442" y="477"/>
                    <a:pt x="442" y="476"/>
                  </a:cubicBezTo>
                  <a:cubicBezTo>
                    <a:pt x="442" y="476"/>
                    <a:pt x="442" y="476"/>
                    <a:pt x="442" y="476"/>
                  </a:cubicBezTo>
                  <a:cubicBezTo>
                    <a:pt x="442" y="477"/>
                    <a:pt x="442" y="477"/>
                    <a:pt x="443" y="477"/>
                  </a:cubicBezTo>
                  <a:cubicBezTo>
                    <a:pt x="443" y="478"/>
                    <a:pt x="443" y="478"/>
                    <a:pt x="443" y="478"/>
                  </a:cubicBezTo>
                  <a:cubicBezTo>
                    <a:pt x="443" y="478"/>
                    <a:pt x="443" y="478"/>
                    <a:pt x="443" y="479"/>
                  </a:cubicBezTo>
                  <a:cubicBezTo>
                    <a:pt x="443" y="479"/>
                    <a:pt x="443" y="479"/>
                    <a:pt x="443" y="479"/>
                  </a:cubicBezTo>
                  <a:cubicBezTo>
                    <a:pt x="443" y="480"/>
                    <a:pt x="443" y="480"/>
                    <a:pt x="443" y="481"/>
                  </a:cubicBezTo>
                  <a:cubicBezTo>
                    <a:pt x="443" y="481"/>
                    <a:pt x="443" y="481"/>
                    <a:pt x="442" y="481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1" y="482"/>
                    <a:pt x="441" y="483"/>
                    <a:pt x="440" y="484"/>
                  </a:cubicBezTo>
                  <a:lnTo>
                    <a:pt x="440" y="483"/>
                  </a:lnTo>
                  <a:close/>
                  <a:moveTo>
                    <a:pt x="455" y="467"/>
                  </a:moveTo>
                  <a:cubicBezTo>
                    <a:pt x="456" y="467"/>
                    <a:pt x="456" y="467"/>
                    <a:pt x="456" y="467"/>
                  </a:cubicBezTo>
                  <a:cubicBezTo>
                    <a:pt x="456" y="467"/>
                    <a:pt x="456" y="467"/>
                    <a:pt x="455" y="467"/>
                  </a:cubicBezTo>
                  <a:cubicBezTo>
                    <a:pt x="455" y="467"/>
                    <a:pt x="455" y="467"/>
                    <a:pt x="455" y="467"/>
                  </a:cubicBezTo>
                  <a:close/>
                  <a:moveTo>
                    <a:pt x="501" y="444"/>
                  </a:moveTo>
                  <a:cubicBezTo>
                    <a:pt x="501" y="444"/>
                    <a:pt x="501" y="444"/>
                    <a:pt x="501" y="444"/>
                  </a:cubicBezTo>
                  <a:cubicBezTo>
                    <a:pt x="501" y="444"/>
                    <a:pt x="501" y="444"/>
                    <a:pt x="501" y="444"/>
                  </a:cubicBezTo>
                  <a:close/>
                  <a:moveTo>
                    <a:pt x="508" y="430"/>
                  </a:moveTo>
                  <a:cubicBezTo>
                    <a:pt x="508" y="430"/>
                    <a:pt x="508" y="430"/>
                    <a:pt x="508" y="430"/>
                  </a:cubicBezTo>
                  <a:cubicBezTo>
                    <a:pt x="508" y="430"/>
                    <a:pt x="508" y="430"/>
                    <a:pt x="508" y="430"/>
                  </a:cubicBezTo>
                  <a:close/>
                  <a:moveTo>
                    <a:pt x="580" y="414"/>
                  </a:moveTo>
                  <a:cubicBezTo>
                    <a:pt x="580" y="414"/>
                    <a:pt x="580" y="414"/>
                    <a:pt x="580" y="414"/>
                  </a:cubicBezTo>
                  <a:cubicBezTo>
                    <a:pt x="580" y="414"/>
                    <a:pt x="580" y="414"/>
                    <a:pt x="580" y="414"/>
                  </a:cubicBezTo>
                  <a:close/>
                  <a:moveTo>
                    <a:pt x="583" y="375"/>
                  </a:moveTo>
                  <a:cubicBezTo>
                    <a:pt x="584" y="375"/>
                    <a:pt x="584" y="375"/>
                    <a:pt x="584" y="375"/>
                  </a:cubicBezTo>
                  <a:cubicBezTo>
                    <a:pt x="584" y="375"/>
                    <a:pt x="584" y="375"/>
                    <a:pt x="584" y="375"/>
                  </a:cubicBezTo>
                  <a:lnTo>
                    <a:pt x="583" y="375"/>
                  </a:lnTo>
                  <a:close/>
                  <a:moveTo>
                    <a:pt x="589" y="370"/>
                  </a:moveTo>
                  <a:cubicBezTo>
                    <a:pt x="588" y="370"/>
                    <a:pt x="588" y="370"/>
                    <a:pt x="588" y="370"/>
                  </a:cubicBezTo>
                  <a:cubicBezTo>
                    <a:pt x="589" y="370"/>
                    <a:pt x="589" y="370"/>
                    <a:pt x="589" y="370"/>
                  </a:cubicBezTo>
                  <a:close/>
                  <a:moveTo>
                    <a:pt x="589" y="369"/>
                  </a:moveTo>
                  <a:cubicBezTo>
                    <a:pt x="588" y="369"/>
                    <a:pt x="588" y="369"/>
                    <a:pt x="588" y="369"/>
                  </a:cubicBezTo>
                  <a:cubicBezTo>
                    <a:pt x="588" y="369"/>
                    <a:pt x="588" y="369"/>
                    <a:pt x="588" y="369"/>
                  </a:cubicBezTo>
                  <a:cubicBezTo>
                    <a:pt x="589" y="369"/>
                    <a:pt x="589" y="369"/>
                    <a:pt x="589" y="369"/>
                  </a:cubicBezTo>
                  <a:close/>
                  <a:moveTo>
                    <a:pt x="589" y="353"/>
                  </a:moveTo>
                  <a:cubicBezTo>
                    <a:pt x="588" y="352"/>
                    <a:pt x="588" y="352"/>
                    <a:pt x="588" y="352"/>
                  </a:cubicBezTo>
                  <a:cubicBezTo>
                    <a:pt x="588" y="352"/>
                    <a:pt x="588" y="352"/>
                    <a:pt x="588" y="352"/>
                  </a:cubicBezTo>
                  <a:cubicBezTo>
                    <a:pt x="589" y="353"/>
                    <a:pt x="589" y="353"/>
                    <a:pt x="589" y="353"/>
                  </a:cubicBezTo>
                  <a:cubicBezTo>
                    <a:pt x="589" y="353"/>
                    <a:pt x="589" y="353"/>
                    <a:pt x="589" y="353"/>
                  </a:cubicBezTo>
                  <a:close/>
                  <a:moveTo>
                    <a:pt x="671" y="309"/>
                  </a:moveTo>
                  <a:cubicBezTo>
                    <a:pt x="671" y="309"/>
                    <a:pt x="671" y="309"/>
                    <a:pt x="671" y="309"/>
                  </a:cubicBezTo>
                  <a:cubicBezTo>
                    <a:pt x="672" y="308"/>
                    <a:pt x="672" y="308"/>
                    <a:pt x="672" y="308"/>
                  </a:cubicBezTo>
                  <a:cubicBezTo>
                    <a:pt x="672" y="308"/>
                    <a:pt x="672" y="308"/>
                    <a:pt x="672" y="308"/>
                  </a:cubicBezTo>
                  <a:lnTo>
                    <a:pt x="671" y="309"/>
                  </a:lnTo>
                  <a:close/>
                  <a:moveTo>
                    <a:pt x="672" y="245"/>
                  </a:move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lose/>
                  <a:moveTo>
                    <a:pt x="661" y="246"/>
                  </a:moveTo>
                  <a:cubicBezTo>
                    <a:pt x="661" y="246"/>
                    <a:pt x="661" y="246"/>
                    <a:pt x="661" y="246"/>
                  </a:cubicBezTo>
                  <a:cubicBezTo>
                    <a:pt x="661" y="246"/>
                    <a:pt x="661" y="246"/>
                    <a:pt x="661" y="246"/>
                  </a:cubicBezTo>
                  <a:close/>
                  <a:moveTo>
                    <a:pt x="646" y="257"/>
                  </a:moveTo>
                  <a:cubicBezTo>
                    <a:pt x="646" y="257"/>
                    <a:pt x="646" y="257"/>
                    <a:pt x="646" y="257"/>
                  </a:cubicBezTo>
                  <a:cubicBezTo>
                    <a:pt x="646" y="257"/>
                    <a:pt x="646" y="257"/>
                    <a:pt x="646" y="257"/>
                  </a:cubicBezTo>
                  <a:close/>
                  <a:moveTo>
                    <a:pt x="593" y="233"/>
                  </a:moveTo>
                  <a:cubicBezTo>
                    <a:pt x="593" y="233"/>
                    <a:pt x="593" y="233"/>
                    <a:pt x="593" y="233"/>
                  </a:cubicBezTo>
                  <a:cubicBezTo>
                    <a:pt x="593" y="233"/>
                    <a:pt x="593" y="233"/>
                    <a:pt x="593" y="233"/>
                  </a:cubicBezTo>
                  <a:cubicBezTo>
                    <a:pt x="593" y="233"/>
                    <a:pt x="593" y="233"/>
                    <a:pt x="593" y="233"/>
                  </a:cubicBezTo>
                  <a:close/>
                  <a:moveTo>
                    <a:pt x="522" y="191"/>
                  </a:move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lose/>
                  <a:moveTo>
                    <a:pt x="522" y="191"/>
                  </a:move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lose/>
                  <a:moveTo>
                    <a:pt x="579" y="169"/>
                  </a:moveTo>
                  <a:cubicBezTo>
                    <a:pt x="579" y="169"/>
                    <a:pt x="579" y="169"/>
                    <a:pt x="579" y="169"/>
                  </a:cubicBezTo>
                  <a:cubicBezTo>
                    <a:pt x="579" y="169"/>
                    <a:pt x="579" y="169"/>
                    <a:pt x="579" y="169"/>
                  </a:cubicBezTo>
                  <a:close/>
                  <a:moveTo>
                    <a:pt x="654" y="172"/>
                  </a:moveTo>
                  <a:cubicBezTo>
                    <a:pt x="654" y="172"/>
                    <a:pt x="654" y="172"/>
                    <a:pt x="654" y="172"/>
                  </a:cubicBezTo>
                  <a:cubicBezTo>
                    <a:pt x="654" y="172"/>
                    <a:pt x="654" y="172"/>
                    <a:pt x="654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3" name="Freeform 122"/>
            <p:cNvSpPr>
              <a:spLocks noEditPoints="1"/>
            </p:cNvSpPr>
            <p:nvPr/>
          </p:nvSpPr>
          <p:spPr bwMode="auto">
            <a:xfrm>
              <a:off x="2666" y="439"/>
              <a:ext cx="161" cy="111"/>
            </a:xfrm>
            <a:custGeom>
              <a:avLst/>
              <a:gdLst>
                <a:gd name="T0" fmla="*/ 64 w 68"/>
                <a:gd name="T1" fmla="*/ 32 h 47"/>
                <a:gd name="T2" fmla="*/ 59 w 68"/>
                <a:gd name="T3" fmla="*/ 28 h 47"/>
                <a:gd name="T4" fmla="*/ 55 w 68"/>
                <a:gd name="T5" fmla="*/ 29 h 47"/>
                <a:gd name="T6" fmla="*/ 53 w 68"/>
                <a:gd name="T7" fmla="*/ 27 h 47"/>
                <a:gd name="T8" fmla="*/ 49 w 68"/>
                <a:gd name="T9" fmla="*/ 28 h 47"/>
                <a:gd name="T10" fmla="*/ 47 w 68"/>
                <a:gd name="T11" fmla="*/ 29 h 47"/>
                <a:gd name="T12" fmla="*/ 42 w 68"/>
                <a:gd name="T13" fmla="*/ 28 h 47"/>
                <a:gd name="T14" fmla="*/ 39 w 68"/>
                <a:gd name="T15" fmla="*/ 29 h 47"/>
                <a:gd name="T16" fmla="*/ 37 w 68"/>
                <a:gd name="T17" fmla="*/ 29 h 47"/>
                <a:gd name="T18" fmla="*/ 34 w 68"/>
                <a:gd name="T19" fmla="*/ 25 h 47"/>
                <a:gd name="T20" fmla="*/ 32 w 68"/>
                <a:gd name="T21" fmla="*/ 27 h 47"/>
                <a:gd name="T22" fmla="*/ 27 w 68"/>
                <a:gd name="T23" fmla="*/ 24 h 47"/>
                <a:gd name="T24" fmla="*/ 27 w 68"/>
                <a:gd name="T25" fmla="*/ 21 h 47"/>
                <a:gd name="T26" fmla="*/ 31 w 68"/>
                <a:gd name="T27" fmla="*/ 17 h 47"/>
                <a:gd name="T28" fmla="*/ 25 w 68"/>
                <a:gd name="T29" fmla="*/ 10 h 47"/>
                <a:gd name="T30" fmla="*/ 22 w 68"/>
                <a:gd name="T31" fmla="*/ 8 h 47"/>
                <a:gd name="T32" fmla="*/ 20 w 68"/>
                <a:gd name="T33" fmla="*/ 5 h 47"/>
                <a:gd name="T34" fmla="*/ 18 w 68"/>
                <a:gd name="T35" fmla="*/ 2 h 47"/>
                <a:gd name="T36" fmla="*/ 12 w 68"/>
                <a:gd name="T37" fmla="*/ 0 h 47"/>
                <a:gd name="T38" fmla="*/ 9 w 68"/>
                <a:gd name="T39" fmla="*/ 4 h 47"/>
                <a:gd name="T40" fmla="*/ 8 w 68"/>
                <a:gd name="T41" fmla="*/ 9 h 47"/>
                <a:gd name="T42" fmla="*/ 7 w 68"/>
                <a:gd name="T43" fmla="*/ 11 h 47"/>
                <a:gd name="T44" fmla="*/ 10 w 68"/>
                <a:gd name="T45" fmla="*/ 13 h 47"/>
                <a:gd name="T46" fmla="*/ 14 w 68"/>
                <a:gd name="T47" fmla="*/ 14 h 47"/>
                <a:gd name="T48" fmla="*/ 14 w 68"/>
                <a:gd name="T49" fmla="*/ 17 h 47"/>
                <a:gd name="T50" fmla="*/ 13 w 68"/>
                <a:gd name="T51" fmla="*/ 19 h 47"/>
                <a:gd name="T52" fmla="*/ 11 w 68"/>
                <a:gd name="T53" fmla="*/ 20 h 47"/>
                <a:gd name="T54" fmla="*/ 5 w 68"/>
                <a:gd name="T55" fmla="*/ 23 h 47"/>
                <a:gd name="T56" fmla="*/ 3 w 68"/>
                <a:gd name="T57" fmla="*/ 27 h 47"/>
                <a:gd name="T58" fmla="*/ 0 w 68"/>
                <a:gd name="T59" fmla="*/ 34 h 47"/>
                <a:gd name="T60" fmla="*/ 4 w 68"/>
                <a:gd name="T61" fmla="*/ 36 h 47"/>
                <a:gd name="T62" fmla="*/ 13 w 68"/>
                <a:gd name="T63" fmla="*/ 36 h 47"/>
                <a:gd name="T64" fmla="*/ 14 w 68"/>
                <a:gd name="T65" fmla="*/ 36 h 47"/>
                <a:gd name="T66" fmla="*/ 16 w 68"/>
                <a:gd name="T67" fmla="*/ 40 h 47"/>
                <a:gd name="T68" fmla="*/ 20 w 68"/>
                <a:gd name="T69" fmla="*/ 42 h 47"/>
                <a:gd name="T70" fmla="*/ 23 w 68"/>
                <a:gd name="T71" fmla="*/ 42 h 47"/>
                <a:gd name="T72" fmla="*/ 28 w 68"/>
                <a:gd name="T73" fmla="*/ 42 h 47"/>
                <a:gd name="T74" fmla="*/ 31 w 68"/>
                <a:gd name="T75" fmla="*/ 44 h 47"/>
                <a:gd name="T76" fmla="*/ 34 w 68"/>
                <a:gd name="T77" fmla="*/ 44 h 47"/>
                <a:gd name="T78" fmla="*/ 37 w 68"/>
                <a:gd name="T79" fmla="*/ 43 h 47"/>
                <a:gd name="T80" fmla="*/ 38 w 68"/>
                <a:gd name="T81" fmla="*/ 43 h 47"/>
                <a:gd name="T82" fmla="*/ 39 w 68"/>
                <a:gd name="T83" fmla="*/ 46 h 47"/>
                <a:gd name="T84" fmla="*/ 46 w 68"/>
                <a:gd name="T85" fmla="*/ 46 h 47"/>
                <a:gd name="T86" fmla="*/ 53 w 68"/>
                <a:gd name="T87" fmla="*/ 47 h 47"/>
                <a:gd name="T88" fmla="*/ 58 w 68"/>
                <a:gd name="T89" fmla="*/ 44 h 47"/>
                <a:gd name="T90" fmla="*/ 60 w 68"/>
                <a:gd name="T91" fmla="*/ 40 h 47"/>
                <a:gd name="T92" fmla="*/ 63 w 68"/>
                <a:gd name="T93" fmla="*/ 38 h 47"/>
                <a:gd name="T94" fmla="*/ 67 w 68"/>
                <a:gd name="T95" fmla="*/ 33 h 47"/>
                <a:gd name="T96" fmla="*/ 24 w 68"/>
                <a:gd name="T97" fmla="*/ 25 h 47"/>
                <a:gd name="T98" fmla="*/ 46 w 68"/>
                <a:gd name="T99" fmla="*/ 30 h 47"/>
                <a:gd name="T100" fmla="*/ 46 w 68"/>
                <a:gd name="T10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8" h="47">
                  <a:moveTo>
                    <a:pt x="64" y="32"/>
                  </a:move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1"/>
                  </a:cubicBezTo>
                  <a:cubicBezTo>
                    <a:pt x="64" y="31"/>
                    <a:pt x="64" y="31"/>
                    <a:pt x="64" y="30"/>
                  </a:cubicBezTo>
                  <a:cubicBezTo>
                    <a:pt x="63" y="29"/>
                    <a:pt x="61" y="28"/>
                    <a:pt x="59" y="28"/>
                  </a:cubicBezTo>
                  <a:cubicBezTo>
                    <a:pt x="58" y="28"/>
                    <a:pt x="57" y="28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8"/>
                    <a:pt x="54" y="28"/>
                    <a:pt x="53" y="27"/>
                  </a:cubicBezTo>
                  <a:cubicBezTo>
                    <a:pt x="53" y="27"/>
                    <a:pt x="52" y="27"/>
                    <a:pt x="50" y="28"/>
                  </a:cubicBezTo>
                  <a:cubicBezTo>
                    <a:pt x="50" y="28"/>
                    <a:pt x="50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8"/>
                    <a:pt x="45" y="27"/>
                    <a:pt x="43" y="28"/>
                  </a:cubicBezTo>
                  <a:cubicBezTo>
                    <a:pt x="43" y="28"/>
                    <a:pt x="43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9"/>
                  </a:cubicBezTo>
                  <a:cubicBezTo>
                    <a:pt x="38" y="29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7" y="30"/>
                    <a:pt x="37" y="29"/>
                    <a:pt x="37" y="29"/>
                  </a:cubicBezTo>
                  <a:cubicBezTo>
                    <a:pt x="37" y="29"/>
                    <a:pt x="38" y="28"/>
                    <a:pt x="37" y="27"/>
                  </a:cubicBezTo>
                  <a:cubicBezTo>
                    <a:pt x="37" y="25"/>
                    <a:pt x="36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3" y="25"/>
                    <a:pt x="32" y="26"/>
                    <a:pt x="32" y="26"/>
                  </a:cubicBezTo>
                  <a:cubicBezTo>
                    <a:pt x="32" y="26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1" y="26"/>
                    <a:pt x="31" y="26"/>
                    <a:pt x="30" y="26"/>
                  </a:cubicBezTo>
                  <a:cubicBezTo>
                    <a:pt x="30" y="24"/>
                    <a:pt x="29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2"/>
                    <a:pt x="27" y="21"/>
                  </a:cubicBezTo>
                  <a:cubicBezTo>
                    <a:pt x="28" y="22"/>
                    <a:pt x="30" y="21"/>
                    <a:pt x="31" y="20"/>
                  </a:cubicBezTo>
                  <a:cubicBezTo>
                    <a:pt x="31" y="19"/>
                    <a:pt x="31" y="18"/>
                    <a:pt x="30" y="18"/>
                  </a:cubicBezTo>
                  <a:cubicBezTo>
                    <a:pt x="31" y="18"/>
                    <a:pt x="31" y="17"/>
                    <a:pt x="31" y="17"/>
                  </a:cubicBezTo>
                  <a:cubicBezTo>
                    <a:pt x="32" y="16"/>
                    <a:pt x="31" y="15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9" y="11"/>
                    <a:pt x="28" y="10"/>
                    <a:pt x="25" y="10"/>
                  </a:cubicBezTo>
                  <a:cubicBezTo>
                    <a:pt x="25" y="10"/>
                    <a:pt x="24" y="9"/>
                    <a:pt x="24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8"/>
                    <a:pt x="22" y="8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2" y="5"/>
                    <a:pt x="21" y="4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5" y="1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3"/>
                    <a:pt x="9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8" y="3"/>
                    <a:pt x="8" y="3"/>
                  </a:cubicBezTo>
                  <a:cubicBezTo>
                    <a:pt x="7" y="3"/>
                    <a:pt x="6" y="4"/>
                    <a:pt x="6" y="5"/>
                  </a:cubicBezTo>
                  <a:cubicBezTo>
                    <a:pt x="6" y="6"/>
                    <a:pt x="6" y="8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10" y="12"/>
                    <a:pt x="10" y="12"/>
                    <a:pt x="10" y="13"/>
                  </a:cubicBezTo>
                  <a:cubicBezTo>
                    <a:pt x="10" y="13"/>
                    <a:pt x="11" y="13"/>
                    <a:pt x="11" y="14"/>
                  </a:cubicBezTo>
                  <a:cubicBezTo>
                    <a:pt x="12" y="14"/>
                    <a:pt x="12" y="15"/>
                    <a:pt x="14" y="15"/>
                  </a:cubicBezTo>
                  <a:cubicBezTo>
                    <a:pt x="14" y="15"/>
                    <a:pt x="14" y="14"/>
                    <a:pt x="14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6"/>
                  </a:cubicBezTo>
                  <a:cubicBezTo>
                    <a:pt x="14" y="16"/>
                    <a:pt x="14" y="17"/>
                    <a:pt x="14" y="17"/>
                  </a:cubicBezTo>
                  <a:cubicBezTo>
                    <a:pt x="14" y="18"/>
                    <a:pt x="14" y="18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2" y="19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6" y="23"/>
                    <a:pt x="5" y="23"/>
                  </a:cubicBezTo>
                  <a:cubicBezTo>
                    <a:pt x="4" y="23"/>
                    <a:pt x="4" y="24"/>
                    <a:pt x="3" y="25"/>
                  </a:cubicBezTo>
                  <a:cubicBezTo>
                    <a:pt x="3" y="26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8"/>
                    <a:pt x="3" y="28"/>
                  </a:cubicBezTo>
                  <a:cubicBezTo>
                    <a:pt x="2" y="28"/>
                    <a:pt x="0" y="28"/>
                    <a:pt x="0" y="30"/>
                  </a:cubicBezTo>
                  <a:cubicBezTo>
                    <a:pt x="0" y="32"/>
                    <a:pt x="0" y="34"/>
                    <a:pt x="0" y="34"/>
                  </a:cubicBezTo>
                  <a:cubicBezTo>
                    <a:pt x="1" y="35"/>
                    <a:pt x="1" y="35"/>
                    <a:pt x="2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6"/>
                    <a:pt x="4" y="36"/>
                  </a:cubicBezTo>
                  <a:cubicBezTo>
                    <a:pt x="4" y="37"/>
                    <a:pt x="6" y="37"/>
                    <a:pt x="6" y="37"/>
                  </a:cubicBezTo>
                  <a:cubicBezTo>
                    <a:pt x="8" y="37"/>
                    <a:pt x="10" y="38"/>
                    <a:pt x="11" y="37"/>
                  </a:cubicBezTo>
                  <a:cubicBezTo>
                    <a:pt x="12" y="37"/>
                    <a:pt x="12" y="36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7"/>
                    <a:pt x="13" y="37"/>
                    <a:pt x="13" y="38"/>
                  </a:cubicBezTo>
                  <a:cubicBezTo>
                    <a:pt x="13" y="38"/>
                    <a:pt x="13" y="39"/>
                    <a:pt x="13" y="39"/>
                  </a:cubicBezTo>
                  <a:cubicBezTo>
                    <a:pt x="14" y="40"/>
                    <a:pt x="15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7" y="41"/>
                    <a:pt x="17" y="41"/>
                  </a:cubicBezTo>
                  <a:cubicBezTo>
                    <a:pt x="18" y="41"/>
                    <a:pt x="19" y="42"/>
                    <a:pt x="20" y="42"/>
                  </a:cubicBezTo>
                  <a:cubicBezTo>
                    <a:pt x="20" y="42"/>
                    <a:pt x="20" y="42"/>
                    <a:pt x="20" y="41"/>
                  </a:cubicBezTo>
                  <a:cubicBezTo>
                    <a:pt x="20" y="42"/>
                    <a:pt x="21" y="42"/>
                    <a:pt x="21" y="43"/>
                  </a:cubicBezTo>
                  <a:cubicBezTo>
                    <a:pt x="22" y="43"/>
                    <a:pt x="23" y="43"/>
                    <a:pt x="23" y="42"/>
                  </a:cubicBezTo>
                  <a:cubicBezTo>
                    <a:pt x="24" y="43"/>
                    <a:pt x="24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6" y="43"/>
                    <a:pt x="27" y="43"/>
                    <a:pt x="28" y="42"/>
                  </a:cubicBezTo>
                  <a:cubicBezTo>
                    <a:pt x="28" y="42"/>
                    <a:pt x="28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3"/>
                    <a:pt x="29" y="43"/>
                    <a:pt x="31" y="44"/>
                  </a:cubicBezTo>
                  <a:cubicBezTo>
                    <a:pt x="31" y="44"/>
                    <a:pt x="31" y="44"/>
                    <a:pt x="32" y="44"/>
                  </a:cubicBezTo>
                  <a:cubicBezTo>
                    <a:pt x="32" y="44"/>
                    <a:pt x="33" y="44"/>
                    <a:pt x="33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5" y="44"/>
                    <a:pt x="36" y="44"/>
                    <a:pt x="37" y="4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8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8" y="43"/>
                    <a:pt x="38" y="43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5"/>
                    <a:pt x="38" y="45"/>
                    <a:pt x="39" y="46"/>
                  </a:cubicBezTo>
                  <a:cubicBezTo>
                    <a:pt x="39" y="47"/>
                    <a:pt x="40" y="47"/>
                    <a:pt x="42" y="47"/>
                  </a:cubicBezTo>
                  <a:cubicBezTo>
                    <a:pt x="43" y="47"/>
                    <a:pt x="44" y="47"/>
                    <a:pt x="45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7" y="46"/>
                    <a:pt x="48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0" y="47"/>
                    <a:pt x="52" y="47"/>
                    <a:pt x="53" y="47"/>
                  </a:cubicBezTo>
                  <a:cubicBezTo>
                    <a:pt x="54" y="46"/>
                    <a:pt x="54" y="46"/>
                    <a:pt x="55" y="45"/>
                  </a:cubicBezTo>
                  <a:cubicBezTo>
                    <a:pt x="55" y="45"/>
                    <a:pt x="55" y="45"/>
                    <a:pt x="56" y="45"/>
                  </a:cubicBezTo>
                  <a:cubicBezTo>
                    <a:pt x="56" y="44"/>
                    <a:pt x="57" y="44"/>
                    <a:pt x="58" y="44"/>
                  </a:cubicBezTo>
                  <a:cubicBezTo>
                    <a:pt x="58" y="44"/>
                    <a:pt x="60" y="44"/>
                    <a:pt x="60" y="43"/>
                  </a:cubicBezTo>
                  <a:cubicBezTo>
                    <a:pt x="60" y="42"/>
                    <a:pt x="60" y="41"/>
                    <a:pt x="60" y="41"/>
                  </a:cubicBezTo>
                  <a:cubicBezTo>
                    <a:pt x="60" y="41"/>
                    <a:pt x="60" y="40"/>
                    <a:pt x="60" y="40"/>
                  </a:cubicBezTo>
                  <a:cubicBezTo>
                    <a:pt x="60" y="40"/>
                    <a:pt x="60" y="40"/>
                    <a:pt x="61" y="40"/>
                  </a:cubicBezTo>
                  <a:cubicBezTo>
                    <a:pt x="61" y="40"/>
                    <a:pt x="62" y="39"/>
                    <a:pt x="62" y="39"/>
                  </a:cubicBezTo>
                  <a:cubicBezTo>
                    <a:pt x="63" y="39"/>
                    <a:pt x="63" y="39"/>
                    <a:pt x="63" y="38"/>
                  </a:cubicBezTo>
                  <a:cubicBezTo>
                    <a:pt x="63" y="38"/>
                    <a:pt x="63" y="38"/>
                    <a:pt x="64" y="38"/>
                  </a:cubicBezTo>
                  <a:cubicBezTo>
                    <a:pt x="64" y="38"/>
                    <a:pt x="66" y="38"/>
                    <a:pt x="66" y="37"/>
                  </a:cubicBezTo>
                  <a:cubicBezTo>
                    <a:pt x="68" y="36"/>
                    <a:pt x="67" y="34"/>
                    <a:pt x="67" y="33"/>
                  </a:cubicBezTo>
                  <a:cubicBezTo>
                    <a:pt x="66" y="32"/>
                    <a:pt x="65" y="32"/>
                    <a:pt x="64" y="32"/>
                  </a:cubicBezTo>
                  <a:close/>
                  <a:moveTo>
                    <a:pt x="24" y="25"/>
                  </a:moveTo>
                  <a:cubicBezTo>
                    <a:pt x="24" y="25"/>
                    <a:pt x="24" y="25"/>
                    <a:pt x="24" y="25"/>
                  </a:cubicBezTo>
                  <a:cubicBezTo>
                    <a:pt x="24" y="24"/>
                    <a:pt x="24" y="24"/>
                    <a:pt x="24" y="24"/>
                  </a:cubicBezTo>
                  <a:lnTo>
                    <a:pt x="24" y="25"/>
                  </a:lnTo>
                  <a:close/>
                  <a:moveTo>
                    <a:pt x="46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4" name="Freeform 123"/>
            <p:cNvSpPr>
              <a:spLocks noEditPoints="1"/>
            </p:cNvSpPr>
            <p:nvPr/>
          </p:nvSpPr>
          <p:spPr bwMode="auto">
            <a:xfrm>
              <a:off x="2581" y="439"/>
              <a:ext cx="85" cy="57"/>
            </a:xfrm>
            <a:custGeom>
              <a:avLst/>
              <a:gdLst>
                <a:gd name="T0" fmla="*/ 19 w 36"/>
                <a:gd name="T1" fmla="*/ 7 h 24"/>
                <a:gd name="T2" fmla="*/ 19 w 36"/>
                <a:gd name="T3" fmla="*/ 7 h 24"/>
                <a:gd name="T4" fmla="*/ 19 w 36"/>
                <a:gd name="T5" fmla="*/ 3 h 24"/>
                <a:gd name="T6" fmla="*/ 18 w 36"/>
                <a:gd name="T7" fmla="*/ 1 h 24"/>
                <a:gd name="T8" fmla="*/ 14 w 36"/>
                <a:gd name="T9" fmla="*/ 3 h 24"/>
                <a:gd name="T10" fmla="*/ 14 w 36"/>
                <a:gd name="T11" fmla="*/ 4 h 24"/>
                <a:gd name="T12" fmla="*/ 10 w 36"/>
                <a:gd name="T13" fmla="*/ 8 h 24"/>
                <a:gd name="T14" fmla="*/ 8 w 36"/>
                <a:gd name="T15" fmla="*/ 8 h 24"/>
                <a:gd name="T16" fmla="*/ 4 w 36"/>
                <a:gd name="T17" fmla="*/ 9 h 24"/>
                <a:gd name="T18" fmla="*/ 4 w 36"/>
                <a:gd name="T19" fmla="*/ 10 h 24"/>
                <a:gd name="T20" fmla="*/ 3 w 36"/>
                <a:gd name="T21" fmla="*/ 9 h 24"/>
                <a:gd name="T22" fmla="*/ 0 w 36"/>
                <a:gd name="T23" fmla="*/ 10 h 24"/>
                <a:gd name="T24" fmla="*/ 3 w 36"/>
                <a:gd name="T25" fmla="*/ 14 h 24"/>
                <a:gd name="T26" fmla="*/ 6 w 36"/>
                <a:gd name="T27" fmla="*/ 14 h 24"/>
                <a:gd name="T28" fmla="*/ 9 w 36"/>
                <a:gd name="T29" fmla="*/ 14 h 24"/>
                <a:gd name="T30" fmla="*/ 8 w 36"/>
                <a:gd name="T31" fmla="*/ 15 h 24"/>
                <a:gd name="T32" fmla="*/ 3 w 36"/>
                <a:gd name="T33" fmla="*/ 15 h 24"/>
                <a:gd name="T34" fmla="*/ 3 w 36"/>
                <a:gd name="T35" fmla="*/ 15 h 24"/>
                <a:gd name="T36" fmla="*/ 3 w 36"/>
                <a:gd name="T37" fmla="*/ 18 h 24"/>
                <a:gd name="T38" fmla="*/ 3 w 36"/>
                <a:gd name="T39" fmla="*/ 18 h 24"/>
                <a:gd name="T40" fmla="*/ 1 w 36"/>
                <a:gd name="T41" fmla="*/ 20 h 24"/>
                <a:gd name="T42" fmla="*/ 5 w 36"/>
                <a:gd name="T43" fmla="*/ 22 h 24"/>
                <a:gd name="T44" fmla="*/ 8 w 36"/>
                <a:gd name="T45" fmla="*/ 22 h 24"/>
                <a:gd name="T46" fmla="*/ 9 w 36"/>
                <a:gd name="T47" fmla="*/ 23 h 24"/>
                <a:gd name="T48" fmla="*/ 12 w 36"/>
                <a:gd name="T49" fmla="*/ 23 h 24"/>
                <a:gd name="T50" fmla="*/ 14 w 36"/>
                <a:gd name="T51" fmla="*/ 23 h 24"/>
                <a:gd name="T52" fmla="*/ 17 w 36"/>
                <a:gd name="T53" fmla="*/ 19 h 24"/>
                <a:gd name="T54" fmla="*/ 20 w 36"/>
                <a:gd name="T55" fmla="*/ 18 h 24"/>
                <a:gd name="T56" fmla="*/ 22 w 36"/>
                <a:gd name="T57" fmla="*/ 20 h 24"/>
                <a:gd name="T58" fmla="*/ 25 w 36"/>
                <a:gd name="T59" fmla="*/ 18 h 24"/>
                <a:gd name="T60" fmla="*/ 28 w 36"/>
                <a:gd name="T61" fmla="*/ 17 h 24"/>
                <a:gd name="T62" fmla="*/ 28 w 36"/>
                <a:gd name="T63" fmla="*/ 15 h 24"/>
                <a:gd name="T64" fmla="*/ 31 w 36"/>
                <a:gd name="T65" fmla="*/ 11 h 24"/>
                <a:gd name="T66" fmla="*/ 33 w 36"/>
                <a:gd name="T67" fmla="*/ 10 h 24"/>
                <a:gd name="T68" fmla="*/ 35 w 36"/>
                <a:gd name="T69" fmla="*/ 4 h 24"/>
                <a:gd name="T70" fmla="*/ 31 w 36"/>
                <a:gd name="T71" fmla="*/ 4 h 24"/>
                <a:gd name="T72" fmla="*/ 31 w 36"/>
                <a:gd name="T73" fmla="*/ 4 h 24"/>
                <a:gd name="T74" fmla="*/ 30 w 36"/>
                <a:gd name="T75" fmla="*/ 2 h 24"/>
                <a:gd name="T76" fmla="*/ 27 w 36"/>
                <a:gd name="T77" fmla="*/ 0 h 24"/>
                <a:gd name="T78" fmla="*/ 25 w 36"/>
                <a:gd name="T79" fmla="*/ 1 h 24"/>
                <a:gd name="T80" fmla="*/ 22 w 36"/>
                <a:gd name="T81" fmla="*/ 2 h 24"/>
                <a:gd name="T82" fmla="*/ 20 w 36"/>
                <a:gd name="T83" fmla="*/ 4 h 24"/>
                <a:gd name="T84" fmla="*/ 19 w 36"/>
                <a:gd name="T85" fmla="*/ 7 h 24"/>
                <a:gd name="T86" fmla="*/ 4 w 36"/>
                <a:gd name="T87" fmla="*/ 10 h 24"/>
                <a:gd name="T88" fmla="*/ 11 w 36"/>
                <a:gd name="T89" fmla="*/ 23 h 24"/>
                <a:gd name="T90" fmla="*/ 11 w 36"/>
                <a:gd name="T9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" h="24">
                  <a:moveTo>
                    <a:pt x="19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9" y="2"/>
                    <a:pt x="19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5" y="1"/>
                    <a:pt x="14" y="2"/>
                    <a:pt x="14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1" y="6"/>
                  </a:cubicBezTo>
                  <a:cubicBezTo>
                    <a:pt x="11" y="7"/>
                    <a:pt x="11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7" y="8"/>
                    <a:pt x="7" y="9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3" y="9"/>
                    <a:pt x="3" y="9"/>
                    <a:pt x="2" y="9"/>
                  </a:cubicBezTo>
                  <a:cubicBezTo>
                    <a:pt x="2" y="9"/>
                    <a:pt x="1" y="9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1" y="13"/>
                    <a:pt x="2" y="14"/>
                    <a:pt x="3" y="14"/>
                  </a:cubicBezTo>
                  <a:cubicBezTo>
                    <a:pt x="3" y="14"/>
                    <a:pt x="4" y="14"/>
                    <a:pt x="4" y="14"/>
                  </a:cubicBezTo>
                  <a:cubicBezTo>
                    <a:pt x="5" y="14"/>
                    <a:pt x="5" y="13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9" y="14"/>
                    <a:pt x="8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6" y="14"/>
                    <a:pt x="5" y="14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1" y="22"/>
                    <a:pt x="4" y="22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6" y="22"/>
                    <a:pt x="6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2"/>
                    <a:pt x="9" y="22"/>
                    <a:pt x="9" y="23"/>
                  </a:cubicBezTo>
                  <a:cubicBezTo>
                    <a:pt x="9" y="23"/>
                    <a:pt x="10" y="24"/>
                    <a:pt x="11" y="24"/>
                  </a:cubicBezTo>
                  <a:cubicBezTo>
                    <a:pt x="11" y="24"/>
                    <a:pt x="12" y="24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3"/>
                    <a:pt x="13" y="23"/>
                    <a:pt x="14" y="23"/>
                  </a:cubicBezTo>
                  <a:cubicBezTo>
                    <a:pt x="14" y="23"/>
                    <a:pt x="14" y="23"/>
                    <a:pt x="15" y="23"/>
                  </a:cubicBezTo>
                  <a:cubicBezTo>
                    <a:pt x="17" y="23"/>
                    <a:pt x="17" y="21"/>
                    <a:pt x="17" y="19"/>
                  </a:cubicBezTo>
                  <a:cubicBezTo>
                    <a:pt x="17" y="19"/>
                    <a:pt x="17" y="19"/>
                    <a:pt x="18" y="19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9"/>
                    <a:pt x="21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4" y="19"/>
                    <a:pt x="24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6" y="18"/>
                    <a:pt x="26" y="18"/>
                  </a:cubicBezTo>
                  <a:cubicBezTo>
                    <a:pt x="27" y="18"/>
                    <a:pt x="27" y="18"/>
                    <a:pt x="28" y="17"/>
                  </a:cubicBezTo>
                  <a:cubicBezTo>
                    <a:pt x="28" y="16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14"/>
                    <a:pt x="30" y="13"/>
                    <a:pt x="31" y="11"/>
                  </a:cubicBezTo>
                  <a:cubicBezTo>
                    <a:pt x="31" y="11"/>
                    <a:pt x="32" y="11"/>
                    <a:pt x="32" y="10"/>
                  </a:cubicBezTo>
                  <a:cubicBezTo>
                    <a:pt x="32" y="10"/>
                    <a:pt x="32" y="10"/>
                    <a:pt x="33" y="10"/>
                  </a:cubicBezTo>
                  <a:cubicBezTo>
                    <a:pt x="33" y="10"/>
                    <a:pt x="34" y="10"/>
                    <a:pt x="35" y="9"/>
                  </a:cubicBezTo>
                  <a:cubicBezTo>
                    <a:pt x="36" y="7"/>
                    <a:pt x="35" y="4"/>
                    <a:pt x="35" y="4"/>
                  </a:cubicBezTo>
                  <a:cubicBezTo>
                    <a:pt x="35" y="2"/>
                    <a:pt x="33" y="2"/>
                    <a:pt x="32" y="3"/>
                  </a:cubicBezTo>
                  <a:cubicBezTo>
                    <a:pt x="31" y="3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0" y="3"/>
                    <a:pt x="30" y="3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8" y="0"/>
                    <a:pt x="27" y="0"/>
                  </a:cubicBezTo>
                  <a:cubicBezTo>
                    <a:pt x="26" y="0"/>
                    <a:pt x="26" y="0"/>
                    <a:pt x="25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1"/>
                    <a:pt x="22" y="2"/>
                    <a:pt x="22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20" y="5"/>
                    <a:pt x="19" y="6"/>
                    <a:pt x="19" y="6"/>
                  </a:cubicBezTo>
                  <a:cubicBezTo>
                    <a:pt x="19" y="6"/>
                    <a:pt x="19" y="7"/>
                    <a:pt x="19" y="7"/>
                  </a:cubicBezTo>
                  <a:close/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11" y="23"/>
                  </a:move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5" name="Freeform 124"/>
            <p:cNvSpPr>
              <a:spLocks/>
            </p:cNvSpPr>
            <p:nvPr/>
          </p:nvSpPr>
          <p:spPr bwMode="auto">
            <a:xfrm>
              <a:off x="2624" y="716"/>
              <a:ext cx="49" cy="38"/>
            </a:xfrm>
            <a:custGeom>
              <a:avLst/>
              <a:gdLst>
                <a:gd name="T0" fmla="*/ 5 w 21"/>
                <a:gd name="T1" fmla="*/ 15 h 16"/>
                <a:gd name="T2" fmla="*/ 6 w 21"/>
                <a:gd name="T3" fmla="*/ 15 h 16"/>
                <a:gd name="T4" fmla="*/ 7 w 21"/>
                <a:gd name="T5" fmla="*/ 16 h 16"/>
                <a:gd name="T6" fmla="*/ 9 w 21"/>
                <a:gd name="T7" fmla="*/ 16 h 16"/>
                <a:gd name="T8" fmla="*/ 9 w 21"/>
                <a:gd name="T9" fmla="*/ 16 h 16"/>
                <a:gd name="T10" fmla="*/ 11 w 21"/>
                <a:gd name="T11" fmla="*/ 15 h 16"/>
                <a:gd name="T12" fmla="*/ 12 w 21"/>
                <a:gd name="T13" fmla="*/ 15 h 16"/>
                <a:gd name="T14" fmla="*/ 15 w 21"/>
                <a:gd name="T15" fmla="*/ 12 h 16"/>
                <a:gd name="T16" fmla="*/ 16 w 21"/>
                <a:gd name="T17" fmla="*/ 11 h 16"/>
                <a:gd name="T18" fmla="*/ 17 w 21"/>
                <a:gd name="T19" fmla="*/ 9 h 16"/>
                <a:gd name="T20" fmla="*/ 20 w 21"/>
                <a:gd name="T21" fmla="*/ 3 h 16"/>
                <a:gd name="T22" fmla="*/ 15 w 21"/>
                <a:gd name="T23" fmla="*/ 0 h 16"/>
                <a:gd name="T24" fmla="*/ 15 w 21"/>
                <a:gd name="T25" fmla="*/ 0 h 16"/>
                <a:gd name="T26" fmla="*/ 14 w 21"/>
                <a:gd name="T27" fmla="*/ 0 h 16"/>
                <a:gd name="T28" fmla="*/ 11 w 21"/>
                <a:gd name="T29" fmla="*/ 1 h 16"/>
                <a:gd name="T30" fmla="*/ 9 w 21"/>
                <a:gd name="T31" fmla="*/ 2 h 16"/>
                <a:gd name="T32" fmla="*/ 9 w 21"/>
                <a:gd name="T33" fmla="*/ 3 h 16"/>
                <a:gd name="T34" fmla="*/ 7 w 21"/>
                <a:gd name="T35" fmla="*/ 4 h 16"/>
                <a:gd name="T36" fmla="*/ 4 w 21"/>
                <a:gd name="T37" fmla="*/ 8 h 16"/>
                <a:gd name="T38" fmla="*/ 3 w 21"/>
                <a:gd name="T39" fmla="*/ 9 h 16"/>
                <a:gd name="T40" fmla="*/ 2 w 21"/>
                <a:gd name="T41" fmla="*/ 13 h 16"/>
                <a:gd name="T42" fmla="*/ 5 w 21"/>
                <a:gd name="T4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16">
                  <a:moveTo>
                    <a:pt x="5" y="15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5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0" y="16"/>
                    <a:pt x="11" y="16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4"/>
                    <a:pt x="14" y="13"/>
                    <a:pt x="15" y="12"/>
                  </a:cubicBezTo>
                  <a:cubicBezTo>
                    <a:pt x="15" y="12"/>
                    <a:pt x="15" y="11"/>
                    <a:pt x="16" y="11"/>
                  </a:cubicBezTo>
                  <a:cubicBezTo>
                    <a:pt x="16" y="10"/>
                    <a:pt x="16" y="9"/>
                    <a:pt x="17" y="9"/>
                  </a:cubicBezTo>
                  <a:cubicBezTo>
                    <a:pt x="20" y="7"/>
                    <a:pt x="21" y="6"/>
                    <a:pt x="20" y="3"/>
                  </a:cubicBezTo>
                  <a:cubicBezTo>
                    <a:pt x="19" y="1"/>
                    <a:pt x="1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13" y="0"/>
                    <a:pt x="12" y="0"/>
                    <a:pt x="11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8" y="3"/>
                    <a:pt x="8" y="4"/>
                    <a:pt x="7" y="4"/>
                  </a:cubicBezTo>
                  <a:cubicBezTo>
                    <a:pt x="5" y="5"/>
                    <a:pt x="4" y="6"/>
                    <a:pt x="4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0" y="11"/>
                    <a:pt x="2" y="13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6" name="Freeform 125"/>
            <p:cNvSpPr>
              <a:spLocks/>
            </p:cNvSpPr>
            <p:nvPr/>
          </p:nvSpPr>
          <p:spPr bwMode="auto">
            <a:xfrm>
              <a:off x="2621" y="482"/>
              <a:ext cx="50" cy="35"/>
            </a:xfrm>
            <a:custGeom>
              <a:avLst/>
              <a:gdLst>
                <a:gd name="T0" fmla="*/ 17 w 21"/>
                <a:gd name="T1" fmla="*/ 0 h 15"/>
                <a:gd name="T2" fmla="*/ 13 w 21"/>
                <a:gd name="T3" fmla="*/ 1 h 15"/>
                <a:gd name="T4" fmla="*/ 12 w 21"/>
                <a:gd name="T5" fmla="*/ 1 h 15"/>
                <a:gd name="T6" fmla="*/ 7 w 21"/>
                <a:gd name="T7" fmla="*/ 2 h 15"/>
                <a:gd name="T8" fmla="*/ 6 w 21"/>
                <a:gd name="T9" fmla="*/ 3 h 15"/>
                <a:gd name="T10" fmla="*/ 6 w 21"/>
                <a:gd name="T11" fmla="*/ 3 h 15"/>
                <a:gd name="T12" fmla="*/ 4 w 21"/>
                <a:gd name="T13" fmla="*/ 3 h 15"/>
                <a:gd name="T14" fmla="*/ 3 w 21"/>
                <a:gd name="T15" fmla="*/ 4 h 15"/>
                <a:gd name="T16" fmla="*/ 0 w 21"/>
                <a:gd name="T17" fmla="*/ 7 h 15"/>
                <a:gd name="T18" fmla="*/ 2 w 21"/>
                <a:gd name="T19" fmla="*/ 8 h 15"/>
                <a:gd name="T20" fmla="*/ 2 w 21"/>
                <a:gd name="T21" fmla="*/ 10 h 15"/>
                <a:gd name="T22" fmla="*/ 4 w 21"/>
                <a:gd name="T23" fmla="*/ 12 h 15"/>
                <a:gd name="T24" fmla="*/ 7 w 21"/>
                <a:gd name="T25" fmla="*/ 13 h 15"/>
                <a:gd name="T26" fmla="*/ 10 w 21"/>
                <a:gd name="T27" fmla="*/ 15 h 15"/>
                <a:gd name="T28" fmla="*/ 15 w 21"/>
                <a:gd name="T29" fmla="*/ 11 h 15"/>
                <a:gd name="T30" fmla="*/ 15 w 21"/>
                <a:gd name="T31" fmla="*/ 10 h 15"/>
                <a:gd name="T32" fmla="*/ 17 w 21"/>
                <a:gd name="T33" fmla="*/ 9 h 15"/>
                <a:gd name="T34" fmla="*/ 21 w 21"/>
                <a:gd name="T35" fmla="*/ 3 h 15"/>
                <a:gd name="T36" fmla="*/ 17 w 21"/>
                <a:gd name="T3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5">
                  <a:moveTo>
                    <a:pt x="17" y="0"/>
                  </a:moveTo>
                  <a:cubicBezTo>
                    <a:pt x="16" y="0"/>
                    <a:pt x="15" y="0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7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4"/>
                  </a:cubicBezTo>
                  <a:cubicBezTo>
                    <a:pt x="3" y="4"/>
                    <a:pt x="0" y="5"/>
                    <a:pt x="0" y="7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2" y="11"/>
                    <a:pt x="4" y="11"/>
                    <a:pt x="4" y="12"/>
                  </a:cubicBezTo>
                  <a:cubicBezTo>
                    <a:pt x="5" y="12"/>
                    <a:pt x="6" y="13"/>
                    <a:pt x="7" y="13"/>
                  </a:cubicBezTo>
                  <a:cubicBezTo>
                    <a:pt x="8" y="14"/>
                    <a:pt x="9" y="15"/>
                    <a:pt x="10" y="15"/>
                  </a:cubicBezTo>
                  <a:cubicBezTo>
                    <a:pt x="12" y="15"/>
                    <a:pt x="13" y="13"/>
                    <a:pt x="15" y="11"/>
                  </a:cubicBezTo>
                  <a:cubicBezTo>
                    <a:pt x="15" y="11"/>
                    <a:pt x="15" y="10"/>
                    <a:pt x="15" y="10"/>
                  </a:cubicBezTo>
                  <a:cubicBezTo>
                    <a:pt x="16" y="10"/>
                    <a:pt x="16" y="9"/>
                    <a:pt x="17" y="9"/>
                  </a:cubicBezTo>
                  <a:cubicBezTo>
                    <a:pt x="19" y="7"/>
                    <a:pt x="21" y="6"/>
                    <a:pt x="21" y="3"/>
                  </a:cubicBezTo>
                  <a:cubicBezTo>
                    <a:pt x="21" y="1"/>
                    <a:pt x="19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auto">
            <a:xfrm>
              <a:off x="2664" y="356"/>
              <a:ext cx="59" cy="64"/>
            </a:xfrm>
            <a:custGeom>
              <a:avLst/>
              <a:gdLst>
                <a:gd name="T0" fmla="*/ 3 w 25"/>
                <a:gd name="T1" fmla="*/ 16 h 27"/>
                <a:gd name="T2" fmla="*/ 3 w 25"/>
                <a:gd name="T3" fmla="*/ 16 h 27"/>
                <a:gd name="T4" fmla="*/ 5 w 25"/>
                <a:gd name="T5" fmla="*/ 16 h 27"/>
                <a:gd name="T6" fmla="*/ 6 w 25"/>
                <a:gd name="T7" fmla="*/ 15 h 27"/>
                <a:gd name="T8" fmla="*/ 6 w 25"/>
                <a:gd name="T9" fmla="*/ 16 h 27"/>
                <a:gd name="T10" fmla="*/ 7 w 25"/>
                <a:gd name="T11" fmla="*/ 18 h 27"/>
                <a:gd name="T12" fmla="*/ 9 w 25"/>
                <a:gd name="T13" fmla="*/ 18 h 27"/>
                <a:gd name="T14" fmla="*/ 9 w 25"/>
                <a:gd name="T15" fmla="*/ 18 h 27"/>
                <a:gd name="T16" fmla="*/ 10 w 25"/>
                <a:gd name="T17" fmla="*/ 18 h 27"/>
                <a:gd name="T18" fmla="*/ 10 w 25"/>
                <a:gd name="T19" fmla="*/ 19 h 27"/>
                <a:gd name="T20" fmla="*/ 11 w 25"/>
                <a:gd name="T21" fmla="*/ 19 h 27"/>
                <a:gd name="T22" fmla="*/ 11 w 25"/>
                <a:gd name="T23" fmla="*/ 20 h 27"/>
                <a:gd name="T24" fmla="*/ 11 w 25"/>
                <a:gd name="T25" fmla="*/ 20 h 27"/>
                <a:gd name="T26" fmla="*/ 9 w 25"/>
                <a:gd name="T27" fmla="*/ 24 h 27"/>
                <a:gd name="T28" fmla="*/ 10 w 25"/>
                <a:gd name="T29" fmla="*/ 26 h 27"/>
                <a:gd name="T30" fmla="*/ 12 w 25"/>
                <a:gd name="T31" fmla="*/ 27 h 27"/>
                <a:gd name="T32" fmla="*/ 13 w 25"/>
                <a:gd name="T33" fmla="*/ 27 h 27"/>
                <a:gd name="T34" fmla="*/ 14 w 25"/>
                <a:gd name="T35" fmla="*/ 27 h 27"/>
                <a:gd name="T36" fmla="*/ 15 w 25"/>
                <a:gd name="T37" fmla="*/ 27 h 27"/>
                <a:gd name="T38" fmla="*/ 17 w 25"/>
                <a:gd name="T39" fmla="*/ 25 h 27"/>
                <a:gd name="T40" fmla="*/ 18 w 25"/>
                <a:gd name="T41" fmla="*/ 25 h 27"/>
                <a:gd name="T42" fmla="*/ 18 w 25"/>
                <a:gd name="T43" fmla="*/ 24 h 27"/>
                <a:gd name="T44" fmla="*/ 19 w 25"/>
                <a:gd name="T45" fmla="*/ 23 h 27"/>
                <a:gd name="T46" fmla="*/ 20 w 25"/>
                <a:gd name="T47" fmla="*/ 21 h 27"/>
                <a:gd name="T48" fmla="*/ 20 w 25"/>
                <a:gd name="T49" fmla="*/ 20 h 27"/>
                <a:gd name="T50" fmla="*/ 21 w 25"/>
                <a:gd name="T51" fmla="*/ 20 h 27"/>
                <a:gd name="T52" fmla="*/ 25 w 25"/>
                <a:gd name="T53" fmla="*/ 16 h 27"/>
                <a:gd name="T54" fmla="*/ 25 w 25"/>
                <a:gd name="T55" fmla="*/ 15 h 27"/>
                <a:gd name="T56" fmla="*/ 25 w 25"/>
                <a:gd name="T57" fmla="*/ 15 h 27"/>
                <a:gd name="T58" fmla="*/ 25 w 25"/>
                <a:gd name="T59" fmla="*/ 14 h 27"/>
                <a:gd name="T60" fmla="*/ 25 w 25"/>
                <a:gd name="T61" fmla="*/ 12 h 27"/>
                <a:gd name="T62" fmla="*/ 22 w 25"/>
                <a:gd name="T63" fmla="*/ 10 h 27"/>
                <a:gd name="T64" fmla="*/ 22 w 25"/>
                <a:gd name="T65" fmla="*/ 10 h 27"/>
                <a:gd name="T66" fmla="*/ 22 w 25"/>
                <a:gd name="T67" fmla="*/ 10 h 27"/>
                <a:gd name="T68" fmla="*/ 22 w 25"/>
                <a:gd name="T69" fmla="*/ 8 h 27"/>
                <a:gd name="T70" fmla="*/ 20 w 25"/>
                <a:gd name="T71" fmla="*/ 6 h 27"/>
                <a:gd name="T72" fmla="*/ 19 w 25"/>
                <a:gd name="T73" fmla="*/ 7 h 27"/>
                <a:gd name="T74" fmla="*/ 19 w 25"/>
                <a:gd name="T75" fmla="*/ 7 h 27"/>
                <a:gd name="T76" fmla="*/ 18 w 25"/>
                <a:gd name="T77" fmla="*/ 4 h 27"/>
                <a:gd name="T78" fmla="*/ 18 w 25"/>
                <a:gd name="T79" fmla="*/ 3 h 27"/>
                <a:gd name="T80" fmla="*/ 14 w 25"/>
                <a:gd name="T81" fmla="*/ 0 h 27"/>
                <a:gd name="T82" fmla="*/ 12 w 25"/>
                <a:gd name="T83" fmla="*/ 1 h 27"/>
                <a:gd name="T84" fmla="*/ 12 w 25"/>
                <a:gd name="T85" fmla="*/ 1 h 27"/>
                <a:gd name="T86" fmla="*/ 11 w 25"/>
                <a:gd name="T87" fmla="*/ 2 h 27"/>
                <a:gd name="T88" fmla="*/ 8 w 25"/>
                <a:gd name="T89" fmla="*/ 4 h 27"/>
                <a:gd name="T90" fmla="*/ 9 w 25"/>
                <a:gd name="T91" fmla="*/ 5 h 27"/>
                <a:gd name="T92" fmla="*/ 8 w 25"/>
                <a:gd name="T93" fmla="*/ 6 h 27"/>
                <a:gd name="T94" fmla="*/ 8 w 25"/>
                <a:gd name="T95" fmla="*/ 6 h 27"/>
                <a:gd name="T96" fmla="*/ 7 w 25"/>
                <a:gd name="T97" fmla="*/ 8 h 27"/>
                <a:gd name="T98" fmla="*/ 8 w 25"/>
                <a:gd name="T99" fmla="*/ 9 h 27"/>
                <a:gd name="T100" fmla="*/ 8 w 25"/>
                <a:gd name="T101" fmla="*/ 9 h 27"/>
                <a:gd name="T102" fmla="*/ 8 w 25"/>
                <a:gd name="T103" fmla="*/ 9 h 27"/>
                <a:gd name="T104" fmla="*/ 7 w 25"/>
                <a:gd name="T105" fmla="*/ 10 h 27"/>
                <a:gd name="T106" fmla="*/ 7 w 25"/>
                <a:gd name="T107" fmla="*/ 11 h 27"/>
                <a:gd name="T108" fmla="*/ 7 w 25"/>
                <a:gd name="T109" fmla="*/ 11 h 27"/>
                <a:gd name="T110" fmla="*/ 4 w 25"/>
                <a:gd name="T111" fmla="*/ 10 h 27"/>
                <a:gd name="T112" fmla="*/ 2 w 25"/>
                <a:gd name="T113" fmla="*/ 11 h 27"/>
                <a:gd name="T114" fmla="*/ 0 w 25"/>
                <a:gd name="T115" fmla="*/ 14 h 27"/>
                <a:gd name="T116" fmla="*/ 3 w 25"/>
                <a:gd name="T117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" h="27">
                  <a:moveTo>
                    <a:pt x="3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6"/>
                    <a:pt x="5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7"/>
                    <a:pt x="7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9"/>
                    <a:pt x="10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3"/>
                    <a:pt x="9" y="24"/>
                  </a:cubicBezTo>
                  <a:cubicBezTo>
                    <a:pt x="9" y="25"/>
                    <a:pt x="10" y="26"/>
                    <a:pt x="10" y="26"/>
                  </a:cubicBezTo>
                  <a:cubicBezTo>
                    <a:pt x="11" y="26"/>
                    <a:pt x="12" y="26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6" y="26"/>
                    <a:pt x="17" y="26"/>
                    <a:pt x="17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3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21"/>
                    <a:pt x="20" y="20"/>
                    <a:pt x="2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3" y="19"/>
                    <a:pt x="25" y="19"/>
                    <a:pt x="25" y="16"/>
                  </a:cubicBezTo>
                  <a:cubicBezTo>
                    <a:pt x="25" y="16"/>
                    <a:pt x="25" y="16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4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4" y="11"/>
                    <a:pt x="23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3" y="9"/>
                    <a:pt x="22" y="8"/>
                  </a:cubicBezTo>
                  <a:cubicBezTo>
                    <a:pt x="22" y="7"/>
                    <a:pt x="21" y="6"/>
                    <a:pt x="20" y="6"/>
                  </a:cubicBezTo>
                  <a:cubicBezTo>
                    <a:pt x="20" y="6"/>
                    <a:pt x="19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6"/>
                    <a:pt x="18" y="5"/>
                    <a:pt x="18" y="4"/>
                  </a:cubicBezTo>
                  <a:cubicBezTo>
                    <a:pt x="18" y="4"/>
                    <a:pt x="18" y="3"/>
                    <a:pt x="18" y="3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14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9" y="3"/>
                    <a:pt x="8" y="4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6" y="7"/>
                    <a:pt x="7" y="8"/>
                  </a:cubicBezTo>
                  <a:cubicBezTo>
                    <a:pt x="7" y="8"/>
                    <a:pt x="7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7" y="10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5" y="10"/>
                    <a:pt x="4" y="10"/>
                  </a:cubicBezTo>
                  <a:cubicBezTo>
                    <a:pt x="3" y="10"/>
                    <a:pt x="2" y="10"/>
                    <a:pt x="2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5"/>
                    <a:pt x="1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8" name="Freeform 127"/>
            <p:cNvSpPr>
              <a:spLocks noEditPoints="1"/>
            </p:cNvSpPr>
            <p:nvPr/>
          </p:nvSpPr>
          <p:spPr bwMode="auto">
            <a:xfrm>
              <a:off x="3449" y="1580"/>
              <a:ext cx="26" cy="26"/>
            </a:xfrm>
            <a:custGeom>
              <a:avLst/>
              <a:gdLst>
                <a:gd name="T0" fmla="*/ 3 w 11"/>
                <a:gd name="T1" fmla="*/ 7 h 11"/>
                <a:gd name="T2" fmla="*/ 3 w 11"/>
                <a:gd name="T3" fmla="*/ 7 h 11"/>
                <a:gd name="T4" fmla="*/ 3 w 11"/>
                <a:gd name="T5" fmla="*/ 8 h 11"/>
                <a:gd name="T6" fmla="*/ 3 w 11"/>
                <a:gd name="T7" fmla="*/ 9 h 11"/>
                <a:gd name="T8" fmla="*/ 4 w 11"/>
                <a:gd name="T9" fmla="*/ 10 h 11"/>
                <a:gd name="T10" fmla="*/ 4 w 11"/>
                <a:gd name="T11" fmla="*/ 10 h 11"/>
                <a:gd name="T12" fmla="*/ 5 w 11"/>
                <a:gd name="T13" fmla="*/ 11 h 11"/>
                <a:gd name="T14" fmla="*/ 6 w 11"/>
                <a:gd name="T15" fmla="*/ 10 h 11"/>
                <a:gd name="T16" fmla="*/ 7 w 11"/>
                <a:gd name="T17" fmla="*/ 9 h 11"/>
                <a:gd name="T18" fmla="*/ 9 w 11"/>
                <a:gd name="T19" fmla="*/ 7 h 11"/>
                <a:gd name="T20" fmla="*/ 9 w 11"/>
                <a:gd name="T21" fmla="*/ 6 h 11"/>
                <a:gd name="T22" fmla="*/ 8 w 11"/>
                <a:gd name="T23" fmla="*/ 6 h 11"/>
                <a:gd name="T24" fmla="*/ 8 w 11"/>
                <a:gd name="T25" fmla="*/ 6 h 11"/>
                <a:gd name="T26" fmla="*/ 9 w 11"/>
                <a:gd name="T27" fmla="*/ 6 h 11"/>
                <a:gd name="T28" fmla="*/ 10 w 11"/>
                <a:gd name="T29" fmla="*/ 5 h 11"/>
                <a:gd name="T30" fmla="*/ 10 w 11"/>
                <a:gd name="T31" fmla="*/ 5 h 11"/>
                <a:gd name="T32" fmla="*/ 10 w 11"/>
                <a:gd name="T33" fmla="*/ 3 h 11"/>
                <a:gd name="T34" fmla="*/ 9 w 11"/>
                <a:gd name="T35" fmla="*/ 2 h 11"/>
                <a:gd name="T36" fmla="*/ 8 w 11"/>
                <a:gd name="T37" fmla="*/ 2 h 11"/>
                <a:gd name="T38" fmla="*/ 8 w 11"/>
                <a:gd name="T39" fmla="*/ 1 h 11"/>
                <a:gd name="T40" fmla="*/ 6 w 11"/>
                <a:gd name="T41" fmla="*/ 0 h 11"/>
                <a:gd name="T42" fmla="*/ 5 w 11"/>
                <a:gd name="T43" fmla="*/ 0 h 11"/>
                <a:gd name="T44" fmla="*/ 4 w 11"/>
                <a:gd name="T45" fmla="*/ 1 h 11"/>
                <a:gd name="T46" fmla="*/ 3 w 11"/>
                <a:gd name="T47" fmla="*/ 1 h 11"/>
                <a:gd name="T48" fmla="*/ 1 w 11"/>
                <a:gd name="T49" fmla="*/ 2 h 11"/>
                <a:gd name="T50" fmla="*/ 1 w 11"/>
                <a:gd name="T51" fmla="*/ 6 h 11"/>
                <a:gd name="T52" fmla="*/ 3 w 11"/>
                <a:gd name="T53" fmla="*/ 7 h 11"/>
                <a:gd name="T54" fmla="*/ 8 w 11"/>
                <a:gd name="T55" fmla="*/ 6 h 11"/>
                <a:gd name="T56" fmla="*/ 8 w 11"/>
                <a:gd name="T57" fmla="*/ 6 h 11"/>
                <a:gd name="T58" fmla="*/ 8 w 11"/>
                <a:gd name="T5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" h="11"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4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9"/>
                    <a:pt x="7" y="9"/>
                  </a:cubicBezTo>
                  <a:cubicBezTo>
                    <a:pt x="8" y="9"/>
                    <a:pt x="8" y="8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4"/>
                    <a:pt x="10" y="3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8" y="1"/>
                    <a:pt x="8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0" y="4"/>
                    <a:pt x="0" y="6"/>
                    <a:pt x="1" y="6"/>
                  </a:cubicBezTo>
                  <a:cubicBezTo>
                    <a:pt x="1" y="7"/>
                    <a:pt x="2" y="7"/>
                    <a:pt x="3" y="7"/>
                  </a:cubicBezTo>
                  <a:close/>
                  <a:moveTo>
                    <a:pt x="8" y="6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9" name="Freeform 128"/>
            <p:cNvSpPr>
              <a:spLocks/>
            </p:cNvSpPr>
            <p:nvPr/>
          </p:nvSpPr>
          <p:spPr bwMode="auto">
            <a:xfrm>
              <a:off x="3775" y="1128"/>
              <a:ext cx="22" cy="33"/>
            </a:xfrm>
            <a:custGeom>
              <a:avLst/>
              <a:gdLst>
                <a:gd name="T0" fmla="*/ 2 w 9"/>
                <a:gd name="T1" fmla="*/ 14 h 14"/>
                <a:gd name="T2" fmla="*/ 3 w 9"/>
                <a:gd name="T3" fmla="*/ 13 h 14"/>
                <a:gd name="T4" fmla="*/ 4 w 9"/>
                <a:gd name="T5" fmla="*/ 11 h 14"/>
                <a:gd name="T6" fmla="*/ 6 w 9"/>
                <a:gd name="T7" fmla="*/ 11 h 14"/>
                <a:gd name="T8" fmla="*/ 6 w 9"/>
                <a:gd name="T9" fmla="*/ 10 h 14"/>
                <a:gd name="T10" fmla="*/ 7 w 9"/>
                <a:gd name="T11" fmla="*/ 9 h 14"/>
                <a:gd name="T12" fmla="*/ 7 w 9"/>
                <a:gd name="T13" fmla="*/ 9 h 14"/>
                <a:gd name="T14" fmla="*/ 7 w 9"/>
                <a:gd name="T15" fmla="*/ 9 h 14"/>
                <a:gd name="T16" fmla="*/ 7 w 9"/>
                <a:gd name="T17" fmla="*/ 9 h 14"/>
                <a:gd name="T18" fmla="*/ 8 w 9"/>
                <a:gd name="T19" fmla="*/ 6 h 14"/>
                <a:gd name="T20" fmla="*/ 8 w 9"/>
                <a:gd name="T21" fmla="*/ 5 h 14"/>
                <a:gd name="T22" fmla="*/ 8 w 9"/>
                <a:gd name="T23" fmla="*/ 4 h 14"/>
                <a:gd name="T24" fmla="*/ 9 w 9"/>
                <a:gd name="T25" fmla="*/ 3 h 14"/>
                <a:gd name="T26" fmla="*/ 9 w 9"/>
                <a:gd name="T27" fmla="*/ 2 h 14"/>
                <a:gd name="T28" fmla="*/ 7 w 9"/>
                <a:gd name="T29" fmla="*/ 1 h 14"/>
                <a:gd name="T30" fmla="*/ 4 w 9"/>
                <a:gd name="T31" fmla="*/ 2 h 14"/>
                <a:gd name="T32" fmla="*/ 4 w 9"/>
                <a:gd name="T33" fmla="*/ 2 h 14"/>
                <a:gd name="T34" fmla="*/ 3 w 9"/>
                <a:gd name="T35" fmla="*/ 3 h 14"/>
                <a:gd name="T36" fmla="*/ 1 w 9"/>
                <a:gd name="T37" fmla="*/ 5 h 14"/>
                <a:gd name="T38" fmla="*/ 0 w 9"/>
                <a:gd name="T39" fmla="*/ 8 h 14"/>
                <a:gd name="T40" fmla="*/ 0 w 9"/>
                <a:gd name="T41" fmla="*/ 8 h 14"/>
                <a:gd name="T42" fmla="*/ 0 w 9"/>
                <a:gd name="T43" fmla="*/ 9 h 14"/>
                <a:gd name="T44" fmla="*/ 0 w 9"/>
                <a:gd name="T45" fmla="*/ 12 h 14"/>
                <a:gd name="T46" fmla="*/ 2 w 9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14">
                  <a:moveTo>
                    <a:pt x="2" y="14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2"/>
                    <a:pt x="4" y="11"/>
                  </a:cubicBezTo>
                  <a:cubicBezTo>
                    <a:pt x="5" y="11"/>
                    <a:pt x="5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9" y="8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0"/>
                    <a:pt x="5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3"/>
                    <a:pt x="2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graphicFrame>
        <p:nvGraphicFramePr>
          <p:cNvPr id="130" name="Chart 129"/>
          <p:cNvGraphicFramePr/>
          <p:nvPr>
            <p:extLst>
              <p:ext uri="{D42A27DB-BD31-4B8C-83A1-F6EECF244321}">
                <p14:modId xmlns:p14="http://schemas.microsoft.com/office/powerpoint/2010/main" val="1830537823"/>
              </p:ext>
            </p:extLst>
          </p:nvPr>
        </p:nvGraphicFramePr>
        <p:xfrm>
          <a:off x="659123" y="1551161"/>
          <a:ext cx="5605737" cy="3173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31" name="Chart 130"/>
          <p:cNvGraphicFramePr/>
          <p:nvPr>
            <p:extLst>
              <p:ext uri="{D42A27DB-BD31-4B8C-83A1-F6EECF244321}">
                <p14:modId xmlns:p14="http://schemas.microsoft.com/office/powerpoint/2010/main" val="4071026971"/>
              </p:ext>
            </p:extLst>
          </p:nvPr>
        </p:nvGraphicFramePr>
        <p:xfrm>
          <a:off x="5996306" y="1525024"/>
          <a:ext cx="5522914" cy="3126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2" name="Group 131"/>
          <p:cNvGrpSpPr/>
          <p:nvPr/>
        </p:nvGrpSpPr>
        <p:grpSpPr>
          <a:xfrm>
            <a:off x="0" y="5413970"/>
            <a:ext cx="12192000" cy="454030"/>
            <a:chOff x="0" y="4682444"/>
            <a:chExt cx="12192000" cy="454030"/>
          </a:xfrm>
        </p:grpSpPr>
        <p:sp>
          <p:nvSpPr>
            <p:cNvPr id="133" name="Rectangle 132"/>
            <p:cNvSpPr/>
            <p:nvPr/>
          </p:nvSpPr>
          <p:spPr>
            <a:xfrm>
              <a:off x="0" y="4682444"/>
              <a:ext cx="12192000" cy="454030"/>
            </a:xfrm>
            <a:prstGeom prst="rect">
              <a:avLst/>
            </a:prstGeom>
            <a:solidFill>
              <a:schemeClr val="accent5">
                <a:lumMod val="75000"/>
                <a:alpha val="79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317553" y="4713786"/>
              <a:ext cx="11522604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lvl="0" indent="-342900">
                <a:spcAft>
                  <a:spcPts val="0"/>
                </a:spcAft>
                <a:buFont typeface="Wingdings" panose="05000000000000000000" pitchFamily="2" charset="2"/>
                <a:buChar char="v"/>
                <a:tabLst>
                  <a:tab pos="457200" algn="l"/>
                </a:tabLst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The study includes consumers from </a:t>
              </a:r>
              <a:r>
                <a:rPr lang="en-US" dirty="0" smtClean="0">
                  <a:solidFill>
                    <a:schemeClr val="bg1"/>
                  </a:solidFill>
                  <a:latin typeface="+mj-lt"/>
                </a:rPr>
                <a:t>10 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different </a:t>
              </a:r>
              <a:r>
                <a:rPr lang="en-US" dirty="0" smtClean="0">
                  <a:solidFill>
                    <a:schemeClr val="bg1"/>
                  </a:solidFill>
                  <a:latin typeface="+mj-lt"/>
                </a:rPr>
                <a:t>countries, 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with a total sample size of </a:t>
              </a:r>
              <a:r>
                <a:rPr lang="en-US" dirty="0" smtClean="0">
                  <a:solidFill>
                    <a:schemeClr val="bg1"/>
                  </a:solidFill>
                  <a:latin typeface="+mj-lt"/>
                </a:rPr>
                <a:t>2,906. </a:t>
              </a: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0" y="5996862"/>
            <a:ext cx="12192000" cy="454030"/>
            <a:chOff x="0" y="5830110"/>
            <a:chExt cx="12192000" cy="454030"/>
          </a:xfrm>
        </p:grpSpPr>
        <p:sp>
          <p:nvSpPr>
            <p:cNvPr id="136" name="Rectangle 135"/>
            <p:cNvSpPr/>
            <p:nvPr/>
          </p:nvSpPr>
          <p:spPr>
            <a:xfrm>
              <a:off x="0" y="5830110"/>
              <a:ext cx="12192000" cy="454030"/>
            </a:xfrm>
            <a:prstGeom prst="rect">
              <a:avLst/>
            </a:prstGeom>
            <a:solidFill>
              <a:schemeClr val="accent1">
                <a:lumMod val="75000"/>
                <a:alpha val="79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317553" y="5864417"/>
              <a:ext cx="1037987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lvl="0" indent="-342900">
                <a:spcAft>
                  <a:spcPts val="0"/>
                </a:spcAft>
                <a:buFont typeface="Wingdings" panose="05000000000000000000" pitchFamily="2" charset="2"/>
                <a:buChar char="v"/>
                <a:tabLst>
                  <a:tab pos="457200" algn="l"/>
                </a:tabLst>
              </a:pPr>
              <a:r>
                <a:rPr lang="en-US" dirty="0">
                  <a:solidFill>
                    <a:schemeClr val="bg1"/>
                  </a:solidFill>
                </a:rPr>
                <a:t>The sample includes men and women, aged 18 years and ov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70831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>
            <a:grpSpLocks noChangeAspect="1"/>
          </p:cNvGrpSpPr>
          <p:nvPr/>
        </p:nvGrpSpPr>
        <p:grpSpPr bwMode="auto">
          <a:xfrm>
            <a:off x="2027552" y="900667"/>
            <a:ext cx="8847143" cy="5838878"/>
            <a:chOff x="970" y="316"/>
            <a:chExt cx="5573" cy="3678"/>
          </a:xfrm>
          <a:solidFill>
            <a:schemeClr val="bg1">
              <a:lumMod val="85000"/>
            </a:schemeClr>
          </a:solidFill>
        </p:grpSpPr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5904" y="1180"/>
              <a:ext cx="17" cy="28"/>
            </a:xfrm>
            <a:custGeom>
              <a:avLst/>
              <a:gdLst>
                <a:gd name="T0" fmla="*/ 0 w 7"/>
                <a:gd name="T1" fmla="*/ 7 h 12"/>
                <a:gd name="T2" fmla="*/ 0 w 7"/>
                <a:gd name="T3" fmla="*/ 9 h 12"/>
                <a:gd name="T4" fmla="*/ 1 w 7"/>
                <a:gd name="T5" fmla="*/ 10 h 12"/>
                <a:gd name="T6" fmla="*/ 1 w 7"/>
                <a:gd name="T7" fmla="*/ 10 h 12"/>
                <a:gd name="T8" fmla="*/ 2 w 7"/>
                <a:gd name="T9" fmla="*/ 11 h 12"/>
                <a:gd name="T10" fmla="*/ 3 w 7"/>
                <a:gd name="T11" fmla="*/ 12 h 12"/>
                <a:gd name="T12" fmla="*/ 5 w 7"/>
                <a:gd name="T13" fmla="*/ 12 h 12"/>
                <a:gd name="T14" fmla="*/ 6 w 7"/>
                <a:gd name="T15" fmla="*/ 8 h 12"/>
                <a:gd name="T16" fmla="*/ 6 w 7"/>
                <a:gd name="T17" fmla="*/ 8 h 12"/>
                <a:gd name="T18" fmla="*/ 6 w 7"/>
                <a:gd name="T19" fmla="*/ 7 h 12"/>
                <a:gd name="T20" fmla="*/ 6 w 7"/>
                <a:gd name="T21" fmla="*/ 6 h 12"/>
                <a:gd name="T22" fmla="*/ 7 w 7"/>
                <a:gd name="T23" fmla="*/ 5 h 12"/>
                <a:gd name="T24" fmla="*/ 7 w 7"/>
                <a:gd name="T25" fmla="*/ 4 h 12"/>
                <a:gd name="T26" fmla="*/ 6 w 7"/>
                <a:gd name="T27" fmla="*/ 3 h 12"/>
                <a:gd name="T28" fmla="*/ 6 w 7"/>
                <a:gd name="T29" fmla="*/ 2 h 12"/>
                <a:gd name="T30" fmla="*/ 5 w 7"/>
                <a:gd name="T31" fmla="*/ 1 h 12"/>
                <a:gd name="T32" fmla="*/ 3 w 7"/>
                <a:gd name="T33" fmla="*/ 0 h 12"/>
                <a:gd name="T34" fmla="*/ 2 w 7"/>
                <a:gd name="T35" fmla="*/ 1 h 12"/>
                <a:gd name="T36" fmla="*/ 1 w 7"/>
                <a:gd name="T37" fmla="*/ 3 h 12"/>
                <a:gd name="T38" fmla="*/ 2 w 7"/>
                <a:gd name="T39" fmla="*/ 4 h 12"/>
                <a:gd name="T40" fmla="*/ 2 w 7"/>
                <a:gd name="T41" fmla="*/ 5 h 12"/>
                <a:gd name="T42" fmla="*/ 0 w 7"/>
                <a:gd name="T43" fmla="*/ 7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" h="12">
                  <a:moveTo>
                    <a:pt x="0" y="7"/>
                  </a:moveTo>
                  <a:cubicBezTo>
                    <a:pt x="0" y="8"/>
                    <a:pt x="0" y="9"/>
                    <a:pt x="0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2" y="11"/>
                    <a:pt x="2" y="11"/>
                  </a:cubicBezTo>
                  <a:cubicBezTo>
                    <a:pt x="2" y="12"/>
                    <a:pt x="3" y="12"/>
                    <a:pt x="3" y="12"/>
                  </a:cubicBezTo>
                  <a:cubicBezTo>
                    <a:pt x="4" y="12"/>
                    <a:pt x="4" y="12"/>
                    <a:pt x="5" y="12"/>
                  </a:cubicBezTo>
                  <a:cubicBezTo>
                    <a:pt x="6" y="11"/>
                    <a:pt x="6" y="9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7"/>
                  </a:cubicBezTo>
                  <a:cubicBezTo>
                    <a:pt x="6" y="7"/>
                    <a:pt x="6" y="7"/>
                    <a:pt x="6" y="6"/>
                  </a:cubicBezTo>
                  <a:cubicBezTo>
                    <a:pt x="6" y="6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3"/>
                    <a:pt x="6" y="2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2" y="3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1" y="5"/>
                    <a:pt x="0" y="6"/>
                    <a:pt x="0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5965" y="1033"/>
              <a:ext cx="34" cy="21"/>
            </a:xfrm>
            <a:custGeom>
              <a:avLst/>
              <a:gdLst>
                <a:gd name="T0" fmla="*/ 3 w 14"/>
                <a:gd name="T1" fmla="*/ 5 h 9"/>
                <a:gd name="T2" fmla="*/ 4 w 14"/>
                <a:gd name="T3" fmla="*/ 5 h 9"/>
                <a:gd name="T4" fmla="*/ 4 w 14"/>
                <a:gd name="T5" fmla="*/ 5 h 9"/>
                <a:gd name="T6" fmla="*/ 5 w 14"/>
                <a:gd name="T7" fmla="*/ 6 h 9"/>
                <a:gd name="T8" fmla="*/ 7 w 14"/>
                <a:gd name="T9" fmla="*/ 6 h 9"/>
                <a:gd name="T10" fmla="*/ 7 w 14"/>
                <a:gd name="T11" fmla="*/ 6 h 9"/>
                <a:gd name="T12" fmla="*/ 9 w 14"/>
                <a:gd name="T13" fmla="*/ 7 h 9"/>
                <a:gd name="T14" fmla="*/ 10 w 14"/>
                <a:gd name="T15" fmla="*/ 7 h 9"/>
                <a:gd name="T16" fmla="*/ 11 w 14"/>
                <a:gd name="T17" fmla="*/ 8 h 9"/>
                <a:gd name="T18" fmla="*/ 12 w 14"/>
                <a:gd name="T19" fmla="*/ 9 h 9"/>
                <a:gd name="T20" fmla="*/ 13 w 14"/>
                <a:gd name="T21" fmla="*/ 9 h 9"/>
                <a:gd name="T22" fmla="*/ 14 w 14"/>
                <a:gd name="T23" fmla="*/ 9 h 9"/>
                <a:gd name="T24" fmla="*/ 14 w 14"/>
                <a:gd name="T25" fmla="*/ 8 h 9"/>
                <a:gd name="T26" fmla="*/ 11 w 14"/>
                <a:gd name="T27" fmla="*/ 4 h 9"/>
                <a:gd name="T28" fmla="*/ 10 w 14"/>
                <a:gd name="T29" fmla="*/ 4 h 9"/>
                <a:gd name="T30" fmla="*/ 9 w 14"/>
                <a:gd name="T31" fmla="*/ 3 h 9"/>
                <a:gd name="T32" fmla="*/ 8 w 14"/>
                <a:gd name="T33" fmla="*/ 1 h 9"/>
                <a:gd name="T34" fmla="*/ 5 w 14"/>
                <a:gd name="T35" fmla="*/ 0 h 9"/>
                <a:gd name="T36" fmla="*/ 4 w 14"/>
                <a:gd name="T37" fmla="*/ 0 h 9"/>
                <a:gd name="T38" fmla="*/ 1 w 14"/>
                <a:gd name="T39" fmla="*/ 2 h 9"/>
                <a:gd name="T40" fmla="*/ 2 w 14"/>
                <a:gd name="T41" fmla="*/ 4 h 9"/>
                <a:gd name="T42" fmla="*/ 3 w 14"/>
                <a:gd name="T43" fmla="*/ 5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" h="9">
                  <a:moveTo>
                    <a:pt x="3" y="5"/>
                  </a:moveTo>
                  <a:cubicBezTo>
                    <a:pt x="3" y="5"/>
                    <a:pt x="4" y="5"/>
                    <a:pt x="4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6" y="6"/>
                    <a:pt x="6" y="6"/>
                    <a:pt x="7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9" y="7"/>
                    <a:pt x="9" y="7"/>
                  </a:cubicBezTo>
                  <a:cubicBezTo>
                    <a:pt x="9" y="7"/>
                    <a:pt x="9" y="7"/>
                    <a:pt x="10" y="7"/>
                  </a:cubicBezTo>
                  <a:cubicBezTo>
                    <a:pt x="10" y="8"/>
                    <a:pt x="10" y="8"/>
                    <a:pt x="11" y="8"/>
                  </a:cubicBezTo>
                  <a:cubicBezTo>
                    <a:pt x="11" y="9"/>
                    <a:pt x="11" y="9"/>
                    <a:pt x="12" y="9"/>
                  </a:cubicBezTo>
                  <a:cubicBezTo>
                    <a:pt x="13" y="9"/>
                    <a:pt x="13" y="9"/>
                    <a:pt x="13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6"/>
                    <a:pt x="12" y="5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3"/>
                    <a:pt x="10" y="3"/>
                    <a:pt x="9" y="3"/>
                  </a:cubicBezTo>
                  <a:cubicBezTo>
                    <a:pt x="9" y="2"/>
                    <a:pt x="9" y="2"/>
                    <a:pt x="8" y="1"/>
                  </a:cubicBezTo>
                  <a:cubicBezTo>
                    <a:pt x="7" y="0"/>
                    <a:pt x="6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0"/>
                    <a:pt x="1" y="2"/>
                  </a:cubicBezTo>
                  <a:cubicBezTo>
                    <a:pt x="0" y="2"/>
                    <a:pt x="0" y="3"/>
                    <a:pt x="2" y="4"/>
                  </a:cubicBezTo>
                  <a:cubicBezTo>
                    <a:pt x="2" y="4"/>
                    <a:pt x="2" y="4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" name="Freeform 9"/>
            <p:cNvSpPr>
              <a:spLocks/>
            </p:cNvSpPr>
            <p:nvPr/>
          </p:nvSpPr>
          <p:spPr bwMode="auto">
            <a:xfrm>
              <a:off x="6001" y="1040"/>
              <a:ext cx="24" cy="17"/>
            </a:xfrm>
            <a:custGeom>
              <a:avLst/>
              <a:gdLst>
                <a:gd name="T0" fmla="*/ 2 w 10"/>
                <a:gd name="T1" fmla="*/ 5 h 7"/>
                <a:gd name="T2" fmla="*/ 3 w 10"/>
                <a:gd name="T3" fmla="*/ 5 h 7"/>
                <a:gd name="T4" fmla="*/ 5 w 10"/>
                <a:gd name="T5" fmla="*/ 6 h 7"/>
                <a:gd name="T6" fmla="*/ 8 w 10"/>
                <a:gd name="T7" fmla="*/ 7 h 7"/>
                <a:gd name="T8" fmla="*/ 9 w 10"/>
                <a:gd name="T9" fmla="*/ 6 h 7"/>
                <a:gd name="T10" fmla="*/ 10 w 10"/>
                <a:gd name="T11" fmla="*/ 5 h 7"/>
                <a:gd name="T12" fmla="*/ 6 w 10"/>
                <a:gd name="T13" fmla="*/ 2 h 7"/>
                <a:gd name="T14" fmla="*/ 5 w 10"/>
                <a:gd name="T15" fmla="*/ 1 h 7"/>
                <a:gd name="T16" fmla="*/ 5 w 10"/>
                <a:gd name="T17" fmla="*/ 1 h 7"/>
                <a:gd name="T18" fmla="*/ 1 w 10"/>
                <a:gd name="T19" fmla="*/ 0 h 7"/>
                <a:gd name="T20" fmla="*/ 1 w 10"/>
                <a:gd name="T21" fmla="*/ 1 h 7"/>
                <a:gd name="T22" fmla="*/ 0 w 10"/>
                <a:gd name="T23" fmla="*/ 4 h 7"/>
                <a:gd name="T24" fmla="*/ 2 w 10"/>
                <a:gd name="T25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" h="7">
                  <a:moveTo>
                    <a:pt x="2" y="5"/>
                  </a:moveTo>
                  <a:cubicBezTo>
                    <a:pt x="3" y="5"/>
                    <a:pt x="3" y="5"/>
                    <a:pt x="3" y="5"/>
                  </a:cubicBezTo>
                  <a:cubicBezTo>
                    <a:pt x="4" y="6"/>
                    <a:pt x="5" y="6"/>
                    <a:pt x="5" y="6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8" y="7"/>
                    <a:pt x="9" y="7"/>
                    <a:pt x="9" y="6"/>
                  </a:cubicBezTo>
                  <a:cubicBezTo>
                    <a:pt x="10" y="6"/>
                    <a:pt x="10" y="6"/>
                    <a:pt x="10" y="5"/>
                  </a:cubicBezTo>
                  <a:cubicBezTo>
                    <a:pt x="9" y="3"/>
                    <a:pt x="7" y="2"/>
                    <a:pt x="6" y="2"/>
                  </a:cubicBezTo>
                  <a:cubicBezTo>
                    <a:pt x="6" y="2"/>
                    <a:pt x="6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4" y="1"/>
                    <a:pt x="2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4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5710" y="565"/>
              <a:ext cx="52" cy="37"/>
            </a:xfrm>
            <a:custGeom>
              <a:avLst/>
              <a:gdLst>
                <a:gd name="T0" fmla="*/ 4 w 22"/>
                <a:gd name="T1" fmla="*/ 12 h 16"/>
                <a:gd name="T2" fmla="*/ 4 w 22"/>
                <a:gd name="T3" fmla="*/ 13 h 16"/>
                <a:gd name="T4" fmla="*/ 5 w 22"/>
                <a:gd name="T5" fmla="*/ 14 h 16"/>
                <a:gd name="T6" fmla="*/ 6 w 22"/>
                <a:gd name="T7" fmla="*/ 16 h 16"/>
                <a:gd name="T8" fmla="*/ 7 w 22"/>
                <a:gd name="T9" fmla="*/ 15 h 16"/>
                <a:gd name="T10" fmla="*/ 7 w 22"/>
                <a:gd name="T11" fmla="*/ 15 h 16"/>
                <a:gd name="T12" fmla="*/ 8 w 22"/>
                <a:gd name="T13" fmla="*/ 14 h 16"/>
                <a:gd name="T14" fmla="*/ 9 w 22"/>
                <a:gd name="T15" fmla="*/ 13 h 16"/>
                <a:gd name="T16" fmla="*/ 10 w 22"/>
                <a:gd name="T17" fmla="*/ 13 h 16"/>
                <a:gd name="T18" fmla="*/ 12 w 22"/>
                <a:gd name="T19" fmla="*/ 12 h 16"/>
                <a:gd name="T20" fmla="*/ 13 w 22"/>
                <a:gd name="T21" fmla="*/ 11 h 16"/>
                <a:gd name="T22" fmla="*/ 15 w 22"/>
                <a:gd name="T23" fmla="*/ 12 h 16"/>
                <a:gd name="T24" fmla="*/ 16 w 22"/>
                <a:gd name="T25" fmla="*/ 11 h 16"/>
                <a:gd name="T26" fmla="*/ 16 w 22"/>
                <a:gd name="T27" fmla="*/ 10 h 16"/>
                <a:gd name="T28" fmla="*/ 18 w 22"/>
                <a:gd name="T29" fmla="*/ 9 h 16"/>
                <a:gd name="T30" fmla="*/ 19 w 22"/>
                <a:gd name="T31" fmla="*/ 8 h 16"/>
                <a:gd name="T32" fmla="*/ 19 w 22"/>
                <a:gd name="T33" fmla="*/ 8 h 16"/>
                <a:gd name="T34" fmla="*/ 20 w 22"/>
                <a:gd name="T35" fmla="*/ 8 h 16"/>
                <a:gd name="T36" fmla="*/ 21 w 22"/>
                <a:gd name="T37" fmla="*/ 7 h 16"/>
                <a:gd name="T38" fmla="*/ 22 w 22"/>
                <a:gd name="T39" fmla="*/ 5 h 16"/>
                <a:gd name="T40" fmla="*/ 21 w 22"/>
                <a:gd name="T41" fmla="*/ 3 h 16"/>
                <a:gd name="T42" fmla="*/ 18 w 22"/>
                <a:gd name="T43" fmla="*/ 1 h 16"/>
                <a:gd name="T44" fmla="*/ 16 w 22"/>
                <a:gd name="T45" fmla="*/ 1 h 16"/>
                <a:gd name="T46" fmla="*/ 15 w 22"/>
                <a:gd name="T47" fmla="*/ 1 h 16"/>
                <a:gd name="T48" fmla="*/ 15 w 22"/>
                <a:gd name="T49" fmla="*/ 1 h 16"/>
                <a:gd name="T50" fmla="*/ 14 w 22"/>
                <a:gd name="T51" fmla="*/ 0 h 16"/>
                <a:gd name="T52" fmla="*/ 12 w 22"/>
                <a:gd name="T53" fmla="*/ 0 h 16"/>
                <a:gd name="T54" fmla="*/ 12 w 22"/>
                <a:gd name="T55" fmla="*/ 0 h 16"/>
                <a:gd name="T56" fmla="*/ 12 w 22"/>
                <a:gd name="T57" fmla="*/ 1 h 16"/>
                <a:gd name="T58" fmla="*/ 11 w 22"/>
                <a:gd name="T59" fmla="*/ 0 h 16"/>
                <a:gd name="T60" fmla="*/ 10 w 22"/>
                <a:gd name="T61" fmla="*/ 0 h 16"/>
                <a:gd name="T62" fmla="*/ 8 w 22"/>
                <a:gd name="T63" fmla="*/ 0 h 16"/>
                <a:gd name="T64" fmla="*/ 8 w 22"/>
                <a:gd name="T65" fmla="*/ 0 h 16"/>
                <a:gd name="T66" fmla="*/ 7 w 22"/>
                <a:gd name="T67" fmla="*/ 1 h 16"/>
                <a:gd name="T68" fmla="*/ 6 w 22"/>
                <a:gd name="T69" fmla="*/ 1 h 16"/>
                <a:gd name="T70" fmla="*/ 6 w 22"/>
                <a:gd name="T71" fmla="*/ 1 h 16"/>
                <a:gd name="T72" fmla="*/ 2 w 22"/>
                <a:gd name="T73" fmla="*/ 4 h 16"/>
                <a:gd name="T74" fmla="*/ 1 w 22"/>
                <a:gd name="T75" fmla="*/ 6 h 16"/>
                <a:gd name="T76" fmla="*/ 1 w 22"/>
                <a:gd name="T77" fmla="*/ 10 h 16"/>
                <a:gd name="T78" fmla="*/ 4 w 22"/>
                <a:gd name="T79" fmla="*/ 1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2" h="16">
                  <a:moveTo>
                    <a:pt x="4" y="12"/>
                  </a:moveTo>
                  <a:cubicBezTo>
                    <a:pt x="4" y="12"/>
                    <a:pt x="4" y="13"/>
                    <a:pt x="4" y="13"/>
                  </a:cubicBezTo>
                  <a:cubicBezTo>
                    <a:pt x="4" y="13"/>
                    <a:pt x="4" y="14"/>
                    <a:pt x="5" y="14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9" y="13"/>
                    <a:pt x="9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1" y="13"/>
                    <a:pt x="12" y="13"/>
                    <a:pt x="12" y="12"/>
                  </a:cubicBezTo>
                  <a:cubicBezTo>
                    <a:pt x="12" y="12"/>
                    <a:pt x="13" y="12"/>
                    <a:pt x="13" y="11"/>
                  </a:cubicBezTo>
                  <a:cubicBezTo>
                    <a:pt x="13" y="12"/>
                    <a:pt x="14" y="12"/>
                    <a:pt x="15" y="12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10"/>
                    <a:pt x="17" y="9"/>
                    <a:pt x="18" y="9"/>
                  </a:cubicBezTo>
                  <a:cubicBezTo>
                    <a:pt x="19" y="9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0" y="8"/>
                    <a:pt x="20" y="7"/>
                    <a:pt x="21" y="7"/>
                  </a:cubicBezTo>
                  <a:cubicBezTo>
                    <a:pt x="22" y="6"/>
                    <a:pt x="22" y="6"/>
                    <a:pt x="22" y="5"/>
                  </a:cubicBezTo>
                  <a:cubicBezTo>
                    <a:pt x="22" y="4"/>
                    <a:pt x="22" y="3"/>
                    <a:pt x="21" y="3"/>
                  </a:cubicBezTo>
                  <a:cubicBezTo>
                    <a:pt x="20" y="2"/>
                    <a:pt x="19" y="2"/>
                    <a:pt x="18" y="1"/>
                  </a:cubicBezTo>
                  <a:cubicBezTo>
                    <a:pt x="17" y="1"/>
                    <a:pt x="17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5" y="1"/>
                    <a:pt x="15" y="1"/>
                    <a:pt x="15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2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0"/>
                    <a:pt x="10" y="0"/>
                    <a:pt x="10" y="0"/>
                  </a:cubicBezTo>
                  <a:cubicBezTo>
                    <a:pt x="9" y="0"/>
                    <a:pt x="9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1"/>
                    <a:pt x="3" y="1"/>
                    <a:pt x="2" y="4"/>
                  </a:cubicBezTo>
                  <a:cubicBezTo>
                    <a:pt x="2" y="5"/>
                    <a:pt x="2" y="5"/>
                    <a:pt x="1" y="6"/>
                  </a:cubicBezTo>
                  <a:cubicBezTo>
                    <a:pt x="1" y="7"/>
                    <a:pt x="0" y="8"/>
                    <a:pt x="1" y="10"/>
                  </a:cubicBezTo>
                  <a:cubicBezTo>
                    <a:pt x="2" y="11"/>
                    <a:pt x="3" y="12"/>
                    <a:pt x="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" name="Freeform 11"/>
            <p:cNvSpPr>
              <a:spLocks/>
            </p:cNvSpPr>
            <p:nvPr/>
          </p:nvSpPr>
          <p:spPr bwMode="auto">
            <a:xfrm>
              <a:off x="5194" y="588"/>
              <a:ext cx="22" cy="17"/>
            </a:xfrm>
            <a:custGeom>
              <a:avLst/>
              <a:gdLst>
                <a:gd name="T0" fmla="*/ 6 w 9"/>
                <a:gd name="T1" fmla="*/ 1 h 7"/>
                <a:gd name="T2" fmla="*/ 5 w 9"/>
                <a:gd name="T3" fmla="*/ 1 h 7"/>
                <a:gd name="T4" fmla="*/ 2 w 9"/>
                <a:gd name="T5" fmla="*/ 0 h 7"/>
                <a:gd name="T6" fmla="*/ 0 w 9"/>
                <a:gd name="T7" fmla="*/ 1 h 7"/>
                <a:gd name="T8" fmla="*/ 2 w 9"/>
                <a:gd name="T9" fmla="*/ 4 h 7"/>
                <a:gd name="T10" fmla="*/ 2 w 9"/>
                <a:gd name="T11" fmla="*/ 5 h 7"/>
                <a:gd name="T12" fmla="*/ 4 w 9"/>
                <a:gd name="T13" fmla="*/ 6 h 7"/>
                <a:gd name="T14" fmla="*/ 5 w 9"/>
                <a:gd name="T15" fmla="*/ 7 h 7"/>
                <a:gd name="T16" fmla="*/ 8 w 9"/>
                <a:gd name="T17" fmla="*/ 5 h 7"/>
                <a:gd name="T18" fmla="*/ 6 w 9"/>
                <a:gd name="T1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" h="7">
                  <a:moveTo>
                    <a:pt x="6" y="1"/>
                  </a:move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4" y="0"/>
                    <a:pt x="2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1" y="3"/>
                    <a:pt x="2" y="4"/>
                  </a:cubicBezTo>
                  <a:cubicBezTo>
                    <a:pt x="2" y="4"/>
                    <a:pt x="2" y="4"/>
                    <a:pt x="2" y="5"/>
                  </a:cubicBezTo>
                  <a:cubicBezTo>
                    <a:pt x="2" y="5"/>
                    <a:pt x="2" y="6"/>
                    <a:pt x="4" y="6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8" y="6"/>
                    <a:pt x="8" y="5"/>
                  </a:cubicBezTo>
                  <a:cubicBezTo>
                    <a:pt x="9" y="3"/>
                    <a:pt x="7" y="2"/>
                    <a:pt x="6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5213" y="595"/>
              <a:ext cx="50" cy="26"/>
            </a:xfrm>
            <a:custGeom>
              <a:avLst/>
              <a:gdLst>
                <a:gd name="T0" fmla="*/ 0 w 21"/>
                <a:gd name="T1" fmla="*/ 11 h 11"/>
                <a:gd name="T2" fmla="*/ 1 w 21"/>
                <a:gd name="T3" fmla="*/ 11 h 11"/>
                <a:gd name="T4" fmla="*/ 3 w 21"/>
                <a:gd name="T5" fmla="*/ 10 h 11"/>
                <a:gd name="T6" fmla="*/ 4 w 21"/>
                <a:gd name="T7" fmla="*/ 9 h 11"/>
                <a:gd name="T8" fmla="*/ 8 w 21"/>
                <a:gd name="T9" fmla="*/ 9 h 11"/>
                <a:gd name="T10" fmla="*/ 12 w 21"/>
                <a:gd name="T11" fmla="*/ 10 h 11"/>
                <a:gd name="T12" fmla="*/ 16 w 21"/>
                <a:gd name="T13" fmla="*/ 10 h 11"/>
                <a:gd name="T14" fmla="*/ 17 w 21"/>
                <a:gd name="T15" fmla="*/ 10 h 11"/>
                <a:gd name="T16" fmla="*/ 19 w 21"/>
                <a:gd name="T17" fmla="*/ 10 h 11"/>
                <a:gd name="T18" fmla="*/ 19 w 21"/>
                <a:gd name="T19" fmla="*/ 10 h 11"/>
                <a:gd name="T20" fmla="*/ 21 w 21"/>
                <a:gd name="T21" fmla="*/ 9 h 11"/>
                <a:gd name="T22" fmla="*/ 20 w 21"/>
                <a:gd name="T23" fmla="*/ 6 h 11"/>
                <a:gd name="T24" fmla="*/ 19 w 21"/>
                <a:gd name="T25" fmla="*/ 5 h 11"/>
                <a:gd name="T26" fmla="*/ 17 w 21"/>
                <a:gd name="T27" fmla="*/ 4 h 11"/>
                <a:gd name="T28" fmla="*/ 15 w 21"/>
                <a:gd name="T29" fmla="*/ 2 h 11"/>
                <a:gd name="T30" fmla="*/ 14 w 21"/>
                <a:gd name="T31" fmla="*/ 2 h 11"/>
                <a:gd name="T32" fmla="*/ 13 w 21"/>
                <a:gd name="T33" fmla="*/ 2 h 11"/>
                <a:gd name="T34" fmla="*/ 10 w 21"/>
                <a:gd name="T35" fmla="*/ 1 h 11"/>
                <a:gd name="T36" fmla="*/ 3 w 21"/>
                <a:gd name="T37" fmla="*/ 1 h 11"/>
                <a:gd name="T38" fmla="*/ 0 w 21"/>
                <a:gd name="T39" fmla="*/ 5 h 11"/>
                <a:gd name="T40" fmla="*/ 1 w 21"/>
                <a:gd name="T41" fmla="*/ 6 h 11"/>
                <a:gd name="T42" fmla="*/ 1 w 21"/>
                <a:gd name="T43" fmla="*/ 7 h 11"/>
                <a:gd name="T44" fmla="*/ 1 w 21"/>
                <a:gd name="T45" fmla="*/ 7 h 11"/>
                <a:gd name="T46" fmla="*/ 0 w 21"/>
                <a:gd name="T47" fmla="*/ 9 h 11"/>
                <a:gd name="T48" fmla="*/ 0 w 21"/>
                <a:gd name="T49" fmla="*/ 11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11">
                  <a:moveTo>
                    <a:pt x="0" y="11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2" y="11"/>
                    <a:pt x="3" y="10"/>
                    <a:pt x="3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7" y="9"/>
                    <a:pt x="8" y="9"/>
                  </a:cubicBezTo>
                  <a:cubicBezTo>
                    <a:pt x="9" y="10"/>
                    <a:pt x="11" y="10"/>
                    <a:pt x="12" y="10"/>
                  </a:cubicBezTo>
                  <a:cubicBezTo>
                    <a:pt x="13" y="9"/>
                    <a:pt x="15" y="10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9" y="10"/>
                  </a:cubicBezTo>
                  <a:cubicBezTo>
                    <a:pt x="19" y="10"/>
                    <a:pt x="19" y="10"/>
                    <a:pt x="19" y="10"/>
                  </a:cubicBezTo>
                  <a:cubicBezTo>
                    <a:pt x="20" y="10"/>
                    <a:pt x="21" y="10"/>
                    <a:pt x="21" y="9"/>
                  </a:cubicBezTo>
                  <a:cubicBezTo>
                    <a:pt x="21" y="8"/>
                    <a:pt x="21" y="7"/>
                    <a:pt x="20" y="6"/>
                  </a:cubicBezTo>
                  <a:cubicBezTo>
                    <a:pt x="20" y="6"/>
                    <a:pt x="19" y="6"/>
                    <a:pt x="19" y="5"/>
                  </a:cubicBezTo>
                  <a:cubicBezTo>
                    <a:pt x="18" y="5"/>
                    <a:pt x="18" y="5"/>
                    <a:pt x="17" y="4"/>
                  </a:cubicBezTo>
                  <a:cubicBezTo>
                    <a:pt x="17" y="3"/>
                    <a:pt x="16" y="3"/>
                    <a:pt x="15" y="2"/>
                  </a:cubicBezTo>
                  <a:cubicBezTo>
                    <a:pt x="15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2"/>
                    <a:pt x="11" y="2"/>
                    <a:pt x="10" y="1"/>
                  </a:cubicBezTo>
                  <a:cubicBezTo>
                    <a:pt x="8" y="1"/>
                    <a:pt x="6" y="0"/>
                    <a:pt x="3" y="1"/>
                  </a:cubicBezTo>
                  <a:cubicBezTo>
                    <a:pt x="1" y="1"/>
                    <a:pt x="0" y="3"/>
                    <a:pt x="0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0" y="8"/>
                    <a:pt x="0" y="8"/>
                    <a:pt x="0" y="9"/>
                  </a:cubicBezTo>
                  <a:lnTo>
                    <a:pt x="0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4" name="Freeform 13"/>
            <p:cNvSpPr>
              <a:spLocks noEditPoints="1"/>
            </p:cNvSpPr>
            <p:nvPr/>
          </p:nvSpPr>
          <p:spPr bwMode="auto">
            <a:xfrm>
              <a:off x="4577" y="456"/>
              <a:ext cx="114" cy="82"/>
            </a:xfrm>
            <a:custGeom>
              <a:avLst/>
              <a:gdLst>
                <a:gd name="T0" fmla="*/ 1 w 48"/>
                <a:gd name="T1" fmla="*/ 18 h 35"/>
                <a:gd name="T2" fmla="*/ 2 w 48"/>
                <a:gd name="T3" fmla="*/ 22 h 35"/>
                <a:gd name="T4" fmla="*/ 5 w 48"/>
                <a:gd name="T5" fmla="*/ 24 h 35"/>
                <a:gd name="T6" fmla="*/ 6 w 48"/>
                <a:gd name="T7" fmla="*/ 23 h 35"/>
                <a:gd name="T8" fmla="*/ 8 w 48"/>
                <a:gd name="T9" fmla="*/ 25 h 35"/>
                <a:gd name="T10" fmla="*/ 10 w 48"/>
                <a:gd name="T11" fmla="*/ 25 h 35"/>
                <a:gd name="T12" fmla="*/ 11 w 48"/>
                <a:gd name="T13" fmla="*/ 25 h 35"/>
                <a:gd name="T14" fmla="*/ 13 w 48"/>
                <a:gd name="T15" fmla="*/ 25 h 35"/>
                <a:gd name="T16" fmla="*/ 17 w 48"/>
                <a:gd name="T17" fmla="*/ 27 h 35"/>
                <a:gd name="T18" fmla="*/ 18 w 48"/>
                <a:gd name="T19" fmla="*/ 27 h 35"/>
                <a:gd name="T20" fmla="*/ 23 w 48"/>
                <a:gd name="T21" fmla="*/ 31 h 35"/>
                <a:gd name="T22" fmla="*/ 26 w 48"/>
                <a:gd name="T23" fmla="*/ 32 h 35"/>
                <a:gd name="T24" fmla="*/ 28 w 48"/>
                <a:gd name="T25" fmla="*/ 32 h 35"/>
                <a:gd name="T26" fmla="*/ 30 w 48"/>
                <a:gd name="T27" fmla="*/ 33 h 35"/>
                <a:gd name="T28" fmla="*/ 33 w 48"/>
                <a:gd name="T29" fmla="*/ 33 h 35"/>
                <a:gd name="T30" fmla="*/ 33 w 48"/>
                <a:gd name="T31" fmla="*/ 33 h 35"/>
                <a:gd name="T32" fmla="*/ 42 w 48"/>
                <a:gd name="T33" fmla="*/ 35 h 35"/>
                <a:gd name="T34" fmla="*/ 43 w 48"/>
                <a:gd name="T35" fmla="*/ 34 h 35"/>
                <a:gd name="T36" fmla="*/ 46 w 48"/>
                <a:gd name="T37" fmla="*/ 27 h 35"/>
                <a:gd name="T38" fmla="*/ 43 w 48"/>
                <a:gd name="T39" fmla="*/ 26 h 35"/>
                <a:gd name="T40" fmla="*/ 42 w 48"/>
                <a:gd name="T41" fmla="*/ 23 h 35"/>
                <a:gd name="T42" fmla="*/ 41 w 48"/>
                <a:gd name="T43" fmla="*/ 21 h 35"/>
                <a:gd name="T44" fmla="*/ 40 w 48"/>
                <a:gd name="T45" fmla="*/ 17 h 35"/>
                <a:gd name="T46" fmla="*/ 37 w 48"/>
                <a:gd name="T47" fmla="*/ 15 h 35"/>
                <a:gd name="T48" fmla="*/ 36 w 48"/>
                <a:gd name="T49" fmla="*/ 15 h 35"/>
                <a:gd name="T50" fmla="*/ 34 w 48"/>
                <a:gd name="T51" fmla="*/ 14 h 35"/>
                <a:gd name="T52" fmla="*/ 31 w 48"/>
                <a:gd name="T53" fmla="*/ 16 h 35"/>
                <a:gd name="T54" fmla="*/ 30 w 48"/>
                <a:gd name="T55" fmla="*/ 15 h 35"/>
                <a:gd name="T56" fmla="*/ 28 w 48"/>
                <a:gd name="T57" fmla="*/ 14 h 35"/>
                <a:gd name="T58" fmla="*/ 28 w 48"/>
                <a:gd name="T59" fmla="*/ 14 h 35"/>
                <a:gd name="T60" fmla="*/ 26 w 48"/>
                <a:gd name="T61" fmla="*/ 10 h 35"/>
                <a:gd name="T62" fmla="*/ 26 w 48"/>
                <a:gd name="T63" fmla="*/ 8 h 35"/>
                <a:gd name="T64" fmla="*/ 23 w 48"/>
                <a:gd name="T65" fmla="*/ 6 h 35"/>
                <a:gd name="T66" fmla="*/ 22 w 48"/>
                <a:gd name="T67" fmla="*/ 4 h 35"/>
                <a:gd name="T68" fmla="*/ 17 w 48"/>
                <a:gd name="T69" fmla="*/ 2 h 35"/>
                <a:gd name="T70" fmla="*/ 12 w 48"/>
                <a:gd name="T71" fmla="*/ 1 h 35"/>
                <a:gd name="T72" fmla="*/ 9 w 48"/>
                <a:gd name="T73" fmla="*/ 6 h 35"/>
                <a:gd name="T74" fmla="*/ 4 w 48"/>
                <a:gd name="T75" fmla="*/ 8 h 35"/>
                <a:gd name="T76" fmla="*/ 1 w 48"/>
                <a:gd name="T77" fmla="*/ 12 h 35"/>
                <a:gd name="T78" fmla="*/ 2 w 48"/>
                <a:gd name="T79" fmla="*/ 14 h 35"/>
                <a:gd name="T80" fmla="*/ 0 w 48"/>
                <a:gd name="T81" fmla="*/ 15 h 35"/>
                <a:gd name="T82" fmla="*/ 1 w 48"/>
                <a:gd name="T83" fmla="*/ 18 h 35"/>
                <a:gd name="T84" fmla="*/ 14 w 48"/>
                <a:gd name="T85" fmla="*/ 21 h 35"/>
                <a:gd name="T86" fmla="*/ 15 w 48"/>
                <a:gd name="T87" fmla="*/ 21 h 35"/>
                <a:gd name="T88" fmla="*/ 14 w 48"/>
                <a:gd name="T89" fmla="*/ 21 h 35"/>
                <a:gd name="T90" fmla="*/ 5 w 48"/>
                <a:gd name="T91" fmla="*/ 17 h 35"/>
                <a:gd name="T92" fmla="*/ 5 w 48"/>
                <a:gd name="T93" fmla="*/ 17 h 35"/>
                <a:gd name="T94" fmla="*/ 24 w 48"/>
                <a:gd name="T95" fmla="*/ 15 h 35"/>
                <a:gd name="T96" fmla="*/ 24 w 48"/>
                <a:gd name="T97" fmla="*/ 15 h 35"/>
                <a:gd name="T98" fmla="*/ 25 w 48"/>
                <a:gd name="T99" fmla="*/ 1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8" h="35">
                  <a:moveTo>
                    <a:pt x="1" y="18"/>
                  </a:moveTo>
                  <a:cubicBezTo>
                    <a:pt x="1" y="18"/>
                    <a:pt x="1" y="18"/>
                    <a:pt x="1" y="18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0"/>
                    <a:pt x="1" y="21"/>
                    <a:pt x="2" y="22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3" y="24"/>
                    <a:pt x="5" y="24"/>
                  </a:cubicBezTo>
                  <a:cubicBezTo>
                    <a:pt x="6" y="24"/>
                    <a:pt x="6" y="23"/>
                    <a:pt x="6" y="23"/>
                  </a:cubicBezTo>
                  <a:cubicBezTo>
                    <a:pt x="6" y="23"/>
                    <a:pt x="6" y="23"/>
                    <a:pt x="6" y="23"/>
                  </a:cubicBezTo>
                  <a:cubicBezTo>
                    <a:pt x="6" y="24"/>
                    <a:pt x="6" y="24"/>
                    <a:pt x="7" y="25"/>
                  </a:cubicBezTo>
                  <a:cubicBezTo>
                    <a:pt x="7" y="25"/>
                    <a:pt x="8" y="25"/>
                    <a:pt x="8" y="25"/>
                  </a:cubicBezTo>
                  <a:cubicBezTo>
                    <a:pt x="9" y="25"/>
                    <a:pt x="9" y="25"/>
                    <a:pt x="9" y="25"/>
                  </a:cubicBezTo>
                  <a:cubicBezTo>
                    <a:pt x="9" y="25"/>
                    <a:pt x="9" y="25"/>
                    <a:pt x="10" y="25"/>
                  </a:cubicBezTo>
                  <a:cubicBezTo>
                    <a:pt x="10" y="25"/>
                    <a:pt x="10" y="25"/>
                    <a:pt x="10" y="25"/>
                  </a:cubicBezTo>
                  <a:cubicBezTo>
                    <a:pt x="11" y="25"/>
                    <a:pt x="11" y="25"/>
                    <a:pt x="11" y="25"/>
                  </a:cubicBezTo>
                  <a:cubicBezTo>
                    <a:pt x="11" y="25"/>
                    <a:pt x="12" y="25"/>
                    <a:pt x="13" y="24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3" y="26"/>
                    <a:pt x="13" y="27"/>
                    <a:pt x="14" y="28"/>
                  </a:cubicBezTo>
                  <a:cubicBezTo>
                    <a:pt x="16" y="28"/>
                    <a:pt x="17" y="27"/>
                    <a:pt x="17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20" y="30"/>
                    <a:pt x="22" y="30"/>
                    <a:pt x="23" y="31"/>
                  </a:cubicBezTo>
                  <a:cubicBezTo>
                    <a:pt x="23" y="31"/>
                    <a:pt x="24" y="31"/>
                    <a:pt x="24" y="31"/>
                  </a:cubicBezTo>
                  <a:cubicBezTo>
                    <a:pt x="24" y="32"/>
                    <a:pt x="25" y="32"/>
                    <a:pt x="26" y="32"/>
                  </a:cubicBezTo>
                  <a:cubicBezTo>
                    <a:pt x="27" y="32"/>
                    <a:pt x="27" y="32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9" y="32"/>
                    <a:pt x="29" y="32"/>
                    <a:pt x="29" y="32"/>
                  </a:cubicBezTo>
                  <a:cubicBezTo>
                    <a:pt x="29" y="32"/>
                    <a:pt x="29" y="33"/>
                    <a:pt x="30" y="33"/>
                  </a:cubicBezTo>
                  <a:cubicBezTo>
                    <a:pt x="31" y="33"/>
                    <a:pt x="32" y="33"/>
                    <a:pt x="32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34" y="35"/>
                    <a:pt x="36" y="35"/>
                    <a:pt x="37" y="35"/>
                  </a:cubicBezTo>
                  <a:cubicBezTo>
                    <a:pt x="39" y="35"/>
                    <a:pt x="40" y="35"/>
                    <a:pt x="42" y="35"/>
                  </a:cubicBezTo>
                  <a:cubicBezTo>
                    <a:pt x="42" y="34"/>
                    <a:pt x="42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5" y="34"/>
                    <a:pt x="46" y="34"/>
                    <a:pt x="47" y="32"/>
                  </a:cubicBezTo>
                  <a:cubicBezTo>
                    <a:pt x="48" y="30"/>
                    <a:pt x="47" y="28"/>
                    <a:pt x="46" y="27"/>
                  </a:cubicBezTo>
                  <a:cubicBezTo>
                    <a:pt x="45" y="27"/>
                    <a:pt x="44" y="26"/>
                    <a:pt x="44" y="26"/>
                  </a:cubicBezTo>
                  <a:cubicBezTo>
                    <a:pt x="44" y="26"/>
                    <a:pt x="44" y="26"/>
                    <a:pt x="43" y="26"/>
                  </a:cubicBezTo>
                  <a:cubicBezTo>
                    <a:pt x="43" y="26"/>
                    <a:pt x="43" y="25"/>
                    <a:pt x="43" y="25"/>
                  </a:cubicBezTo>
                  <a:cubicBezTo>
                    <a:pt x="43" y="24"/>
                    <a:pt x="43" y="24"/>
                    <a:pt x="42" y="23"/>
                  </a:cubicBezTo>
                  <a:cubicBezTo>
                    <a:pt x="42" y="23"/>
                    <a:pt x="42" y="23"/>
                    <a:pt x="42" y="22"/>
                  </a:cubicBezTo>
                  <a:cubicBezTo>
                    <a:pt x="42" y="22"/>
                    <a:pt x="41" y="22"/>
                    <a:pt x="41" y="21"/>
                  </a:cubicBezTo>
                  <a:cubicBezTo>
                    <a:pt x="42" y="21"/>
                    <a:pt x="42" y="20"/>
                    <a:pt x="42" y="19"/>
                  </a:cubicBezTo>
                  <a:cubicBezTo>
                    <a:pt x="42" y="18"/>
                    <a:pt x="40" y="17"/>
                    <a:pt x="40" y="17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38" y="15"/>
                    <a:pt x="37" y="15"/>
                    <a:pt x="37" y="15"/>
                  </a:cubicBezTo>
                  <a:cubicBezTo>
                    <a:pt x="37" y="15"/>
                    <a:pt x="36" y="15"/>
                    <a:pt x="36" y="15"/>
                  </a:cubicBezTo>
                  <a:cubicBezTo>
                    <a:pt x="36" y="15"/>
                    <a:pt x="36" y="15"/>
                    <a:pt x="36" y="15"/>
                  </a:cubicBezTo>
                  <a:cubicBezTo>
                    <a:pt x="36" y="15"/>
                    <a:pt x="35" y="15"/>
                    <a:pt x="35" y="15"/>
                  </a:cubicBezTo>
                  <a:cubicBezTo>
                    <a:pt x="35" y="14"/>
                    <a:pt x="34" y="14"/>
                    <a:pt x="3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3" y="14"/>
                    <a:pt x="32" y="15"/>
                    <a:pt x="31" y="16"/>
                  </a:cubicBezTo>
                  <a:cubicBezTo>
                    <a:pt x="31" y="16"/>
                    <a:pt x="31" y="17"/>
                    <a:pt x="31" y="17"/>
                  </a:cubicBezTo>
                  <a:cubicBezTo>
                    <a:pt x="31" y="16"/>
                    <a:pt x="30" y="16"/>
                    <a:pt x="30" y="15"/>
                  </a:cubicBezTo>
                  <a:cubicBezTo>
                    <a:pt x="30" y="15"/>
                    <a:pt x="29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8" y="12"/>
                    <a:pt x="27" y="11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7" y="9"/>
                    <a:pt x="27" y="8"/>
                    <a:pt x="26" y="8"/>
                  </a:cubicBezTo>
                  <a:cubicBezTo>
                    <a:pt x="26" y="7"/>
                    <a:pt x="26" y="6"/>
                    <a:pt x="25" y="6"/>
                  </a:cubicBezTo>
                  <a:cubicBezTo>
                    <a:pt x="24" y="6"/>
                    <a:pt x="24" y="6"/>
                    <a:pt x="23" y="6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23" y="5"/>
                    <a:pt x="23" y="5"/>
                    <a:pt x="22" y="4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20" y="3"/>
                    <a:pt x="19" y="2"/>
                    <a:pt x="17" y="2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5" y="0"/>
                    <a:pt x="13" y="0"/>
                    <a:pt x="12" y="1"/>
                  </a:cubicBezTo>
                  <a:cubicBezTo>
                    <a:pt x="11" y="1"/>
                    <a:pt x="9" y="3"/>
                    <a:pt x="9" y="4"/>
                  </a:cubicBezTo>
                  <a:cubicBezTo>
                    <a:pt x="8" y="5"/>
                    <a:pt x="9" y="6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7" y="6"/>
                    <a:pt x="5" y="6"/>
                    <a:pt x="4" y="8"/>
                  </a:cubicBezTo>
                  <a:cubicBezTo>
                    <a:pt x="4" y="8"/>
                    <a:pt x="3" y="8"/>
                    <a:pt x="3" y="8"/>
                  </a:cubicBezTo>
                  <a:cubicBezTo>
                    <a:pt x="2" y="9"/>
                    <a:pt x="1" y="11"/>
                    <a:pt x="1" y="12"/>
                  </a:cubicBezTo>
                  <a:cubicBezTo>
                    <a:pt x="1" y="13"/>
                    <a:pt x="2" y="13"/>
                    <a:pt x="2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1" y="15"/>
                    <a:pt x="1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7"/>
                    <a:pt x="0" y="18"/>
                    <a:pt x="1" y="18"/>
                  </a:cubicBezTo>
                  <a:close/>
                  <a:moveTo>
                    <a:pt x="14" y="21"/>
                  </a:moveTo>
                  <a:cubicBezTo>
                    <a:pt x="14" y="21"/>
                    <a:pt x="14" y="21"/>
                    <a:pt x="14" y="21"/>
                  </a:cubicBezTo>
                  <a:cubicBezTo>
                    <a:pt x="14" y="21"/>
                    <a:pt x="14" y="21"/>
                    <a:pt x="14" y="21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1"/>
                    <a:pt x="15" y="22"/>
                    <a:pt x="14" y="22"/>
                  </a:cubicBezTo>
                  <a:cubicBezTo>
                    <a:pt x="14" y="22"/>
                    <a:pt x="14" y="21"/>
                    <a:pt x="14" y="21"/>
                  </a:cubicBezTo>
                  <a:close/>
                  <a:moveTo>
                    <a:pt x="5" y="17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5" y="17"/>
                    <a:pt x="5" y="17"/>
                  </a:cubicBezTo>
                  <a:close/>
                  <a:moveTo>
                    <a:pt x="25" y="15"/>
                  </a:moveTo>
                  <a:cubicBezTo>
                    <a:pt x="25" y="15"/>
                    <a:pt x="25" y="15"/>
                    <a:pt x="24" y="15"/>
                  </a:cubicBezTo>
                  <a:cubicBezTo>
                    <a:pt x="24" y="15"/>
                    <a:pt x="24" y="15"/>
                    <a:pt x="23" y="16"/>
                  </a:cubicBezTo>
                  <a:cubicBezTo>
                    <a:pt x="23" y="15"/>
                    <a:pt x="24" y="15"/>
                    <a:pt x="24" y="15"/>
                  </a:cubicBezTo>
                  <a:cubicBezTo>
                    <a:pt x="24" y="15"/>
                    <a:pt x="24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4691" y="508"/>
              <a:ext cx="59" cy="49"/>
            </a:xfrm>
            <a:custGeom>
              <a:avLst/>
              <a:gdLst>
                <a:gd name="T0" fmla="*/ 1 w 25"/>
                <a:gd name="T1" fmla="*/ 13 h 21"/>
                <a:gd name="T2" fmla="*/ 2 w 25"/>
                <a:gd name="T3" fmla="*/ 20 h 21"/>
                <a:gd name="T4" fmla="*/ 4 w 25"/>
                <a:gd name="T5" fmla="*/ 21 h 21"/>
                <a:gd name="T6" fmla="*/ 6 w 25"/>
                <a:gd name="T7" fmla="*/ 20 h 21"/>
                <a:gd name="T8" fmla="*/ 7 w 25"/>
                <a:gd name="T9" fmla="*/ 19 h 21"/>
                <a:gd name="T10" fmla="*/ 8 w 25"/>
                <a:gd name="T11" fmla="*/ 19 h 21"/>
                <a:gd name="T12" fmla="*/ 9 w 25"/>
                <a:gd name="T13" fmla="*/ 19 h 21"/>
                <a:gd name="T14" fmla="*/ 10 w 25"/>
                <a:gd name="T15" fmla="*/ 18 h 21"/>
                <a:gd name="T16" fmla="*/ 10 w 25"/>
                <a:gd name="T17" fmla="*/ 18 h 21"/>
                <a:gd name="T18" fmla="*/ 12 w 25"/>
                <a:gd name="T19" fmla="*/ 18 h 21"/>
                <a:gd name="T20" fmla="*/ 13 w 25"/>
                <a:gd name="T21" fmla="*/ 17 h 21"/>
                <a:gd name="T22" fmla="*/ 14 w 25"/>
                <a:gd name="T23" fmla="*/ 17 h 21"/>
                <a:gd name="T24" fmla="*/ 15 w 25"/>
                <a:gd name="T25" fmla="*/ 18 h 21"/>
                <a:gd name="T26" fmla="*/ 17 w 25"/>
                <a:gd name="T27" fmla="*/ 17 h 21"/>
                <a:gd name="T28" fmla="*/ 17 w 25"/>
                <a:gd name="T29" fmla="*/ 15 h 21"/>
                <a:gd name="T30" fmla="*/ 20 w 25"/>
                <a:gd name="T31" fmla="*/ 15 h 21"/>
                <a:gd name="T32" fmla="*/ 20 w 25"/>
                <a:gd name="T33" fmla="*/ 15 h 21"/>
                <a:gd name="T34" fmla="*/ 20 w 25"/>
                <a:gd name="T35" fmla="*/ 15 h 21"/>
                <a:gd name="T36" fmla="*/ 22 w 25"/>
                <a:gd name="T37" fmla="*/ 16 h 21"/>
                <a:gd name="T38" fmla="*/ 23 w 25"/>
                <a:gd name="T39" fmla="*/ 16 h 21"/>
                <a:gd name="T40" fmla="*/ 24 w 25"/>
                <a:gd name="T41" fmla="*/ 14 h 21"/>
                <a:gd name="T42" fmla="*/ 24 w 25"/>
                <a:gd name="T43" fmla="*/ 13 h 21"/>
                <a:gd name="T44" fmla="*/ 23 w 25"/>
                <a:gd name="T45" fmla="*/ 7 h 21"/>
                <a:gd name="T46" fmla="*/ 22 w 25"/>
                <a:gd name="T47" fmla="*/ 7 h 21"/>
                <a:gd name="T48" fmla="*/ 22 w 25"/>
                <a:gd name="T49" fmla="*/ 6 h 21"/>
                <a:gd name="T50" fmla="*/ 21 w 25"/>
                <a:gd name="T51" fmla="*/ 6 h 21"/>
                <a:gd name="T52" fmla="*/ 19 w 25"/>
                <a:gd name="T53" fmla="*/ 4 h 21"/>
                <a:gd name="T54" fmla="*/ 19 w 25"/>
                <a:gd name="T55" fmla="*/ 5 h 21"/>
                <a:gd name="T56" fmla="*/ 18 w 25"/>
                <a:gd name="T57" fmla="*/ 5 h 21"/>
                <a:gd name="T58" fmla="*/ 18 w 25"/>
                <a:gd name="T59" fmla="*/ 5 h 21"/>
                <a:gd name="T60" fmla="*/ 18 w 25"/>
                <a:gd name="T61" fmla="*/ 5 h 21"/>
                <a:gd name="T62" fmla="*/ 16 w 25"/>
                <a:gd name="T63" fmla="*/ 4 h 21"/>
                <a:gd name="T64" fmla="*/ 15 w 25"/>
                <a:gd name="T65" fmla="*/ 4 h 21"/>
                <a:gd name="T66" fmla="*/ 15 w 25"/>
                <a:gd name="T67" fmla="*/ 3 h 21"/>
                <a:gd name="T68" fmla="*/ 13 w 25"/>
                <a:gd name="T69" fmla="*/ 1 h 21"/>
                <a:gd name="T70" fmla="*/ 13 w 25"/>
                <a:gd name="T71" fmla="*/ 1 h 21"/>
                <a:gd name="T72" fmla="*/ 10 w 25"/>
                <a:gd name="T73" fmla="*/ 3 h 21"/>
                <a:gd name="T74" fmla="*/ 10 w 25"/>
                <a:gd name="T75" fmla="*/ 3 h 21"/>
                <a:gd name="T76" fmla="*/ 9 w 25"/>
                <a:gd name="T77" fmla="*/ 4 h 21"/>
                <a:gd name="T78" fmla="*/ 9 w 25"/>
                <a:gd name="T79" fmla="*/ 4 h 21"/>
                <a:gd name="T80" fmla="*/ 9 w 25"/>
                <a:gd name="T81" fmla="*/ 3 h 21"/>
                <a:gd name="T82" fmla="*/ 5 w 25"/>
                <a:gd name="T83" fmla="*/ 1 h 21"/>
                <a:gd name="T84" fmla="*/ 4 w 25"/>
                <a:gd name="T85" fmla="*/ 2 h 21"/>
                <a:gd name="T86" fmla="*/ 3 w 25"/>
                <a:gd name="T87" fmla="*/ 1 h 21"/>
                <a:gd name="T88" fmla="*/ 1 w 25"/>
                <a:gd name="T89" fmla="*/ 3 h 21"/>
                <a:gd name="T90" fmla="*/ 1 w 25"/>
                <a:gd name="T91" fmla="*/ 6 h 21"/>
                <a:gd name="T92" fmla="*/ 1 w 25"/>
                <a:gd name="T93" fmla="*/ 7 h 21"/>
                <a:gd name="T94" fmla="*/ 1 w 25"/>
                <a:gd name="T95" fmla="*/ 9 h 21"/>
                <a:gd name="T96" fmla="*/ 1 w 25"/>
                <a:gd name="T97" fmla="*/ 10 h 21"/>
                <a:gd name="T98" fmla="*/ 1 w 25"/>
                <a:gd name="T99" fmla="*/ 12 h 21"/>
                <a:gd name="T100" fmla="*/ 1 w 25"/>
                <a:gd name="T101" fmla="*/ 13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" h="21">
                  <a:moveTo>
                    <a:pt x="1" y="13"/>
                  </a:moveTo>
                  <a:cubicBezTo>
                    <a:pt x="0" y="15"/>
                    <a:pt x="0" y="18"/>
                    <a:pt x="2" y="20"/>
                  </a:cubicBezTo>
                  <a:cubicBezTo>
                    <a:pt x="2" y="21"/>
                    <a:pt x="3" y="21"/>
                    <a:pt x="4" y="21"/>
                  </a:cubicBezTo>
                  <a:cubicBezTo>
                    <a:pt x="5" y="21"/>
                    <a:pt x="6" y="21"/>
                    <a:pt x="6" y="20"/>
                  </a:cubicBezTo>
                  <a:cubicBezTo>
                    <a:pt x="7" y="20"/>
                    <a:pt x="7" y="20"/>
                    <a:pt x="7" y="19"/>
                  </a:cubicBezTo>
                  <a:cubicBezTo>
                    <a:pt x="7" y="19"/>
                    <a:pt x="7" y="19"/>
                    <a:pt x="8" y="19"/>
                  </a:cubicBezTo>
                  <a:cubicBezTo>
                    <a:pt x="8" y="19"/>
                    <a:pt x="8" y="19"/>
                    <a:pt x="9" y="19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8"/>
                    <a:pt x="10" y="18"/>
                  </a:cubicBezTo>
                  <a:cubicBezTo>
                    <a:pt x="11" y="18"/>
                    <a:pt x="11" y="18"/>
                    <a:pt x="12" y="18"/>
                  </a:cubicBezTo>
                  <a:cubicBezTo>
                    <a:pt x="12" y="18"/>
                    <a:pt x="12" y="17"/>
                    <a:pt x="13" y="17"/>
                  </a:cubicBezTo>
                  <a:cubicBezTo>
                    <a:pt x="13" y="17"/>
                    <a:pt x="14" y="17"/>
                    <a:pt x="14" y="17"/>
                  </a:cubicBezTo>
                  <a:cubicBezTo>
                    <a:pt x="14" y="17"/>
                    <a:pt x="14" y="18"/>
                    <a:pt x="15" y="18"/>
                  </a:cubicBezTo>
                  <a:cubicBezTo>
                    <a:pt x="16" y="18"/>
                    <a:pt x="16" y="17"/>
                    <a:pt x="17" y="17"/>
                  </a:cubicBezTo>
                  <a:cubicBezTo>
                    <a:pt x="17" y="16"/>
                    <a:pt x="17" y="16"/>
                    <a:pt x="17" y="15"/>
                  </a:cubicBezTo>
                  <a:cubicBezTo>
                    <a:pt x="18" y="15"/>
                    <a:pt x="19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1" y="15"/>
                    <a:pt x="21" y="16"/>
                    <a:pt x="22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4" y="16"/>
                    <a:pt x="24" y="15"/>
                    <a:pt x="24" y="14"/>
                  </a:cubicBezTo>
                  <a:cubicBezTo>
                    <a:pt x="24" y="13"/>
                    <a:pt x="24" y="13"/>
                    <a:pt x="24" y="13"/>
                  </a:cubicBezTo>
                  <a:cubicBezTo>
                    <a:pt x="25" y="10"/>
                    <a:pt x="24" y="8"/>
                    <a:pt x="23" y="7"/>
                  </a:cubicBezTo>
                  <a:cubicBezTo>
                    <a:pt x="23" y="7"/>
                    <a:pt x="22" y="7"/>
                    <a:pt x="22" y="7"/>
                  </a:cubicBezTo>
                  <a:cubicBezTo>
                    <a:pt x="22" y="7"/>
                    <a:pt x="22" y="7"/>
                    <a:pt x="22" y="6"/>
                  </a:cubicBezTo>
                  <a:cubicBezTo>
                    <a:pt x="22" y="6"/>
                    <a:pt x="22" y="6"/>
                    <a:pt x="21" y="6"/>
                  </a:cubicBezTo>
                  <a:cubicBezTo>
                    <a:pt x="21" y="6"/>
                    <a:pt x="21" y="4"/>
                    <a:pt x="19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7" y="5"/>
                    <a:pt x="16" y="4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5" y="4"/>
                    <a:pt x="15" y="3"/>
                    <a:pt x="15" y="3"/>
                  </a:cubicBezTo>
                  <a:cubicBezTo>
                    <a:pt x="15" y="2"/>
                    <a:pt x="14" y="2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1"/>
                    <a:pt x="11" y="2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9" y="3"/>
                    <a:pt x="9" y="3"/>
                  </a:cubicBezTo>
                  <a:cubicBezTo>
                    <a:pt x="9" y="1"/>
                    <a:pt x="7" y="0"/>
                    <a:pt x="5" y="1"/>
                  </a:cubicBezTo>
                  <a:cubicBezTo>
                    <a:pt x="5" y="1"/>
                    <a:pt x="5" y="1"/>
                    <a:pt x="4" y="2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2" y="1"/>
                    <a:pt x="1" y="1"/>
                    <a:pt x="1" y="3"/>
                  </a:cubicBezTo>
                  <a:cubicBezTo>
                    <a:pt x="0" y="3"/>
                    <a:pt x="1" y="5"/>
                    <a:pt x="1" y="6"/>
                  </a:cubicBezTo>
                  <a:cubicBezTo>
                    <a:pt x="1" y="6"/>
                    <a:pt x="1" y="7"/>
                    <a:pt x="1" y="7"/>
                  </a:cubicBezTo>
                  <a:cubicBezTo>
                    <a:pt x="0" y="8"/>
                    <a:pt x="1" y="9"/>
                    <a:pt x="1" y="9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1" y="11"/>
                    <a:pt x="1" y="12"/>
                  </a:cubicBezTo>
                  <a:cubicBezTo>
                    <a:pt x="1" y="12"/>
                    <a:pt x="1" y="13"/>
                    <a:pt x="1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auto">
            <a:xfrm>
              <a:off x="3002" y="553"/>
              <a:ext cx="3039" cy="2802"/>
            </a:xfrm>
            <a:custGeom>
              <a:avLst/>
              <a:gdLst>
                <a:gd name="T0" fmla="*/ 987 w 1285"/>
                <a:gd name="T1" fmla="*/ 821 h 1184"/>
                <a:gd name="T2" fmla="*/ 989 w 1285"/>
                <a:gd name="T3" fmla="*/ 744 h 1184"/>
                <a:gd name="T4" fmla="*/ 1018 w 1285"/>
                <a:gd name="T5" fmla="*/ 624 h 1184"/>
                <a:gd name="T6" fmla="*/ 1067 w 1285"/>
                <a:gd name="T7" fmla="*/ 598 h 1184"/>
                <a:gd name="T8" fmla="*/ 1057 w 1285"/>
                <a:gd name="T9" fmla="*/ 465 h 1184"/>
                <a:gd name="T10" fmla="*/ 1065 w 1285"/>
                <a:gd name="T11" fmla="*/ 418 h 1184"/>
                <a:gd name="T12" fmla="*/ 1105 w 1285"/>
                <a:gd name="T13" fmla="*/ 404 h 1184"/>
                <a:gd name="T14" fmla="*/ 1168 w 1285"/>
                <a:gd name="T15" fmla="*/ 335 h 1184"/>
                <a:gd name="T16" fmla="*/ 1103 w 1285"/>
                <a:gd name="T17" fmla="*/ 243 h 1184"/>
                <a:gd name="T18" fmla="*/ 1143 w 1285"/>
                <a:gd name="T19" fmla="*/ 180 h 1184"/>
                <a:gd name="T20" fmla="*/ 1183 w 1285"/>
                <a:gd name="T21" fmla="*/ 174 h 1184"/>
                <a:gd name="T22" fmla="*/ 1200 w 1285"/>
                <a:gd name="T23" fmla="*/ 158 h 1184"/>
                <a:gd name="T24" fmla="*/ 1265 w 1285"/>
                <a:gd name="T25" fmla="*/ 78 h 1184"/>
                <a:gd name="T26" fmla="*/ 1125 w 1285"/>
                <a:gd name="T27" fmla="*/ 45 h 1184"/>
                <a:gd name="T28" fmla="*/ 947 w 1285"/>
                <a:gd name="T29" fmla="*/ 48 h 1184"/>
                <a:gd name="T30" fmla="*/ 794 w 1285"/>
                <a:gd name="T31" fmla="*/ 40 h 1184"/>
                <a:gd name="T32" fmla="*/ 678 w 1285"/>
                <a:gd name="T33" fmla="*/ 42 h 1184"/>
                <a:gd name="T34" fmla="*/ 642 w 1285"/>
                <a:gd name="T35" fmla="*/ 137 h 1184"/>
                <a:gd name="T36" fmla="*/ 571 w 1285"/>
                <a:gd name="T37" fmla="*/ 118 h 1184"/>
                <a:gd name="T38" fmla="*/ 461 w 1285"/>
                <a:gd name="T39" fmla="*/ 169 h 1184"/>
                <a:gd name="T40" fmla="*/ 416 w 1285"/>
                <a:gd name="T41" fmla="*/ 110 h 1184"/>
                <a:gd name="T42" fmla="*/ 343 w 1285"/>
                <a:gd name="T43" fmla="*/ 120 h 1184"/>
                <a:gd name="T44" fmla="*/ 283 w 1285"/>
                <a:gd name="T45" fmla="*/ 183 h 1184"/>
                <a:gd name="T46" fmla="*/ 286 w 1285"/>
                <a:gd name="T47" fmla="*/ 264 h 1184"/>
                <a:gd name="T48" fmla="*/ 207 w 1285"/>
                <a:gd name="T49" fmla="*/ 324 h 1184"/>
                <a:gd name="T50" fmla="*/ 114 w 1285"/>
                <a:gd name="T51" fmla="*/ 403 h 1184"/>
                <a:gd name="T52" fmla="*/ 72 w 1285"/>
                <a:gd name="T53" fmla="*/ 543 h 1184"/>
                <a:gd name="T54" fmla="*/ 10 w 1285"/>
                <a:gd name="T55" fmla="*/ 666 h 1184"/>
                <a:gd name="T56" fmla="*/ 41 w 1285"/>
                <a:gd name="T57" fmla="*/ 768 h 1184"/>
                <a:gd name="T58" fmla="*/ 162 w 1285"/>
                <a:gd name="T59" fmla="*/ 776 h 1184"/>
                <a:gd name="T60" fmla="*/ 213 w 1285"/>
                <a:gd name="T61" fmla="*/ 841 h 1184"/>
                <a:gd name="T62" fmla="*/ 242 w 1285"/>
                <a:gd name="T63" fmla="*/ 972 h 1184"/>
                <a:gd name="T64" fmla="*/ 297 w 1285"/>
                <a:gd name="T65" fmla="*/ 1149 h 1184"/>
                <a:gd name="T66" fmla="*/ 412 w 1285"/>
                <a:gd name="T67" fmla="*/ 1100 h 1184"/>
                <a:gd name="T68" fmla="*/ 462 w 1285"/>
                <a:gd name="T69" fmla="*/ 905 h 1184"/>
                <a:gd name="T70" fmla="*/ 531 w 1285"/>
                <a:gd name="T71" fmla="*/ 725 h 1184"/>
                <a:gd name="T72" fmla="*/ 607 w 1285"/>
                <a:gd name="T73" fmla="*/ 638 h 1184"/>
                <a:gd name="T74" fmla="*/ 531 w 1285"/>
                <a:gd name="T75" fmla="*/ 555 h 1184"/>
                <a:gd name="T76" fmla="*/ 651 w 1285"/>
                <a:gd name="T77" fmla="*/ 587 h 1184"/>
                <a:gd name="T78" fmla="*/ 742 w 1285"/>
                <a:gd name="T79" fmla="*/ 702 h 1184"/>
                <a:gd name="T80" fmla="*/ 836 w 1285"/>
                <a:gd name="T81" fmla="*/ 631 h 1184"/>
                <a:gd name="T82" fmla="*/ 311 w 1285"/>
                <a:gd name="T83" fmla="*/ 533 h 1184"/>
                <a:gd name="T84" fmla="*/ 344 w 1285"/>
                <a:gd name="T85" fmla="*/ 188 h 1184"/>
                <a:gd name="T86" fmla="*/ 394 w 1285"/>
                <a:gd name="T87" fmla="*/ 219 h 1184"/>
                <a:gd name="T88" fmla="*/ 282 w 1285"/>
                <a:gd name="T89" fmla="*/ 282 h 1184"/>
                <a:gd name="T90" fmla="*/ 901 w 1285"/>
                <a:gd name="T91" fmla="*/ 270 h 1184"/>
                <a:gd name="T92" fmla="*/ 378 w 1285"/>
                <a:gd name="T93" fmla="*/ 415 h 1184"/>
                <a:gd name="T94" fmla="*/ 559 w 1285"/>
                <a:gd name="T95" fmla="*/ 422 h 1184"/>
                <a:gd name="T96" fmla="*/ 379 w 1285"/>
                <a:gd name="T97" fmla="*/ 433 h 1184"/>
                <a:gd name="T98" fmla="*/ 407 w 1285"/>
                <a:gd name="T99" fmla="*/ 837 h 1184"/>
                <a:gd name="T100" fmla="*/ 430 w 1285"/>
                <a:gd name="T101" fmla="*/ 599 h 1184"/>
                <a:gd name="T102" fmla="*/ 533 w 1285"/>
                <a:gd name="T103" fmla="*/ 445 h 1184"/>
                <a:gd name="T104" fmla="*/ 551 w 1285"/>
                <a:gd name="T105" fmla="*/ 471 h 1184"/>
                <a:gd name="T106" fmla="*/ 1084 w 1285"/>
                <a:gd name="T107" fmla="*/ 249 h 1184"/>
                <a:gd name="T108" fmla="*/ 182 w 1285"/>
                <a:gd name="T109" fmla="*/ 426 h 1184"/>
                <a:gd name="T110" fmla="*/ 273 w 1285"/>
                <a:gd name="T111" fmla="*/ 455 h 1184"/>
                <a:gd name="T112" fmla="*/ 279 w 1285"/>
                <a:gd name="T113" fmla="*/ 384 h 1184"/>
                <a:gd name="T114" fmla="*/ 348 w 1285"/>
                <a:gd name="T115" fmla="*/ 460 h 1184"/>
                <a:gd name="T116" fmla="*/ 377 w 1285"/>
                <a:gd name="T117" fmla="*/ 474 h 1184"/>
                <a:gd name="T118" fmla="*/ 379 w 1285"/>
                <a:gd name="T119" fmla="*/ 529 h 1184"/>
                <a:gd name="T120" fmla="*/ 254 w 1285"/>
                <a:gd name="T121" fmla="*/ 507 h 1184"/>
                <a:gd name="T122" fmla="*/ 181 w 1285"/>
                <a:gd name="T123" fmla="*/ 469 h 1184"/>
                <a:gd name="T124" fmla="*/ 649 w 1285"/>
                <a:gd name="T125" fmla="*/ 80 h 1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85" h="1184">
                  <a:moveTo>
                    <a:pt x="915" y="672"/>
                  </a:moveTo>
                  <a:cubicBezTo>
                    <a:pt x="916" y="672"/>
                    <a:pt x="916" y="672"/>
                    <a:pt x="916" y="671"/>
                  </a:cubicBezTo>
                  <a:cubicBezTo>
                    <a:pt x="917" y="671"/>
                    <a:pt x="917" y="671"/>
                    <a:pt x="917" y="670"/>
                  </a:cubicBezTo>
                  <a:cubicBezTo>
                    <a:pt x="917" y="670"/>
                    <a:pt x="918" y="670"/>
                    <a:pt x="918" y="670"/>
                  </a:cubicBezTo>
                  <a:cubicBezTo>
                    <a:pt x="920" y="669"/>
                    <a:pt x="921" y="668"/>
                    <a:pt x="921" y="665"/>
                  </a:cubicBezTo>
                  <a:cubicBezTo>
                    <a:pt x="921" y="665"/>
                    <a:pt x="921" y="665"/>
                    <a:pt x="921" y="666"/>
                  </a:cubicBezTo>
                  <a:cubicBezTo>
                    <a:pt x="921" y="666"/>
                    <a:pt x="921" y="666"/>
                    <a:pt x="921" y="666"/>
                  </a:cubicBezTo>
                  <a:cubicBezTo>
                    <a:pt x="922" y="666"/>
                    <a:pt x="922" y="667"/>
                    <a:pt x="922" y="667"/>
                  </a:cubicBezTo>
                  <a:cubicBezTo>
                    <a:pt x="922" y="668"/>
                    <a:pt x="922" y="669"/>
                    <a:pt x="923" y="669"/>
                  </a:cubicBezTo>
                  <a:cubicBezTo>
                    <a:pt x="923" y="670"/>
                    <a:pt x="925" y="670"/>
                    <a:pt x="926" y="670"/>
                  </a:cubicBezTo>
                  <a:cubicBezTo>
                    <a:pt x="925" y="671"/>
                    <a:pt x="925" y="672"/>
                    <a:pt x="925" y="675"/>
                  </a:cubicBezTo>
                  <a:cubicBezTo>
                    <a:pt x="926" y="677"/>
                    <a:pt x="927" y="678"/>
                    <a:pt x="928" y="679"/>
                  </a:cubicBezTo>
                  <a:cubicBezTo>
                    <a:pt x="928" y="680"/>
                    <a:pt x="928" y="680"/>
                    <a:pt x="928" y="680"/>
                  </a:cubicBezTo>
                  <a:cubicBezTo>
                    <a:pt x="928" y="680"/>
                    <a:pt x="928" y="680"/>
                    <a:pt x="928" y="680"/>
                  </a:cubicBezTo>
                  <a:cubicBezTo>
                    <a:pt x="927" y="682"/>
                    <a:pt x="928" y="683"/>
                    <a:pt x="928" y="683"/>
                  </a:cubicBezTo>
                  <a:cubicBezTo>
                    <a:pt x="928" y="683"/>
                    <a:pt x="928" y="683"/>
                    <a:pt x="928" y="683"/>
                  </a:cubicBezTo>
                  <a:cubicBezTo>
                    <a:pt x="928" y="684"/>
                    <a:pt x="928" y="684"/>
                    <a:pt x="928" y="685"/>
                  </a:cubicBezTo>
                  <a:cubicBezTo>
                    <a:pt x="928" y="686"/>
                    <a:pt x="928" y="687"/>
                    <a:pt x="929" y="687"/>
                  </a:cubicBezTo>
                  <a:cubicBezTo>
                    <a:pt x="929" y="689"/>
                    <a:pt x="930" y="690"/>
                    <a:pt x="930" y="690"/>
                  </a:cubicBezTo>
                  <a:cubicBezTo>
                    <a:pt x="930" y="690"/>
                    <a:pt x="930" y="691"/>
                    <a:pt x="930" y="691"/>
                  </a:cubicBezTo>
                  <a:cubicBezTo>
                    <a:pt x="930" y="692"/>
                    <a:pt x="931" y="692"/>
                    <a:pt x="931" y="692"/>
                  </a:cubicBezTo>
                  <a:cubicBezTo>
                    <a:pt x="931" y="693"/>
                    <a:pt x="931" y="694"/>
                    <a:pt x="931" y="694"/>
                  </a:cubicBezTo>
                  <a:cubicBezTo>
                    <a:pt x="931" y="695"/>
                    <a:pt x="931" y="695"/>
                    <a:pt x="931" y="695"/>
                  </a:cubicBezTo>
                  <a:cubicBezTo>
                    <a:pt x="931" y="696"/>
                    <a:pt x="931" y="697"/>
                    <a:pt x="932" y="699"/>
                  </a:cubicBezTo>
                  <a:cubicBezTo>
                    <a:pt x="933" y="700"/>
                    <a:pt x="933" y="701"/>
                    <a:pt x="934" y="701"/>
                  </a:cubicBezTo>
                  <a:cubicBezTo>
                    <a:pt x="934" y="701"/>
                    <a:pt x="934" y="701"/>
                    <a:pt x="934" y="701"/>
                  </a:cubicBezTo>
                  <a:cubicBezTo>
                    <a:pt x="935" y="701"/>
                    <a:pt x="935" y="701"/>
                    <a:pt x="935" y="701"/>
                  </a:cubicBezTo>
                  <a:cubicBezTo>
                    <a:pt x="935" y="700"/>
                    <a:pt x="935" y="700"/>
                    <a:pt x="935" y="700"/>
                  </a:cubicBezTo>
                  <a:cubicBezTo>
                    <a:pt x="935" y="700"/>
                    <a:pt x="935" y="701"/>
                    <a:pt x="935" y="701"/>
                  </a:cubicBezTo>
                  <a:cubicBezTo>
                    <a:pt x="936" y="701"/>
                    <a:pt x="936" y="702"/>
                    <a:pt x="936" y="703"/>
                  </a:cubicBezTo>
                  <a:cubicBezTo>
                    <a:pt x="936" y="704"/>
                    <a:pt x="937" y="705"/>
                    <a:pt x="938" y="705"/>
                  </a:cubicBezTo>
                  <a:cubicBezTo>
                    <a:pt x="938" y="706"/>
                    <a:pt x="938" y="706"/>
                    <a:pt x="938" y="706"/>
                  </a:cubicBezTo>
                  <a:cubicBezTo>
                    <a:pt x="938" y="706"/>
                    <a:pt x="938" y="706"/>
                    <a:pt x="938" y="706"/>
                  </a:cubicBezTo>
                  <a:cubicBezTo>
                    <a:pt x="937" y="707"/>
                    <a:pt x="937" y="708"/>
                    <a:pt x="938" y="709"/>
                  </a:cubicBezTo>
                  <a:cubicBezTo>
                    <a:pt x="938" y="709"/>
                    <a:pt x="938" y="710"/>
                    <a:pt x="937" y="711"/>
                  </a:cubicBezTo>
                  <a:cubicBezTo>
                    <a:pt x="937" y="712"/>
                    <a:pt x="937" y="712"/>
                    <a:pt x="937" y="712"/>
                  </a:cubicBezTo>
                  <a:cubicBezTo>
                    <a:pt x="937" y="713"/>
                    <a:pt x="937" y="713"/>
                    <a:pt x="938" y="714"/>
                  </a:cubicBezTo>
                  <a:cubicBezTo>
                    <a:pt x="937" y="714"/>
                    <a:pt x="938" y="715"/>
                    <a:pt x="938" y="715"/>
                  </a:cubicBezTo>
                  <a:cubicBezTo>
                    <a:pt x="938" y="715"/>
                    <a:pt x="938" y="715"/>
                    <a:pt x="938" y="716"/>
                  </a:cubicBezTo>
                  <a:cubicBezTo>
                    <a:pt x="938" y="716"/>
                    <a:pt x="937" y="717"/>
                    <a:pt x="938" y="717"/>
                  </a:cubicBezTo>
                  <a:cubicBezTo>
                    <a:pt x="938" y="718"/>
                    <a:pt x="938" y="718"/>
                    <a:pt x="938" y="718"/>
                  </a:cubicBezTo>
                  <a:cubicBezTo>
                    <a:pt x="938" y="718"/>
                    <a:pt x="939" y="719"/>
                    <a:pt x="939" y="719"/>
                  </a:cubicBezTo>
                  <a:cubicBezTo>
                    <a:pt x="939" y="720"/>
                    <a:pt x="939" y="720"/>
                    <a:pt x="939" y="720"/>
                  </a:cubicBezTo>
                  <a:cubicBezTo>
                    <a:pt x="939" y="721"/>
                    <a:pt x="939" y="721"/>
                    <a:pt x="939" y="721"/>
                  </a:cubicBezTo>
                  <a:cubicBezTo>
                    <a:pt x="939" y="722"/>
                    <a:pt x="939" y="723"/>
                    <a:pt x="940" y="724"/>
                  </a:cubicBezTo>
                  <a:cubicBezTo>
                    <a:pt x="940" y="725"/>
                    <a:pt x="940" y="725"/>
                    <a:pt x="940" y="725"/>
                  </a:cubicBezTo>
                  <a:cubicBezTo>
                    <a:pt x="940" y="725"/>
                    <a:pt x="940" y="725"/>
                    <a:pt x="940" y="725"/>
                  </a:cubicBezTo>
                  <a:cubicBezTo>
                    <a:pt x="939" y="725"/>
                    <a:pt x="939" y="726"/>
                    <a:pt x="939" y="726"/>
                  </a:cubicBezTo>
                  <a:cubicBezTo>
                    <a:pt x="938" y="726"/>
                    <a:pt x="937" y="727"/>
                    <a:pt x="938" y="729"/>
                  </a:cubicBezTo>
                  <a:cubicBezTo>
                    <a:pt x="938" y="730"/>
                    <a:pt x="938" y="730"/>
                    <a:pt x="938" y="730"/>
                  </a:cubicBezTo>
                  <a:cubicBezTo>
                    <a:pt x="938" y="730"/>
                    <a:pt x="937" y="730"/>
                    <a:pt x="937" y="731"/>
                  </a:cubicBezTo>
                  <a:cubicBezTo>
                    <a:pt x="937" y="732"/>
                    <a:pt x="938" y="733"/>
                    <a:pt x="938" y="734"/>
                  </a:cubicBezTo>
                  <a:cubicBezTo>
                    <a:pt x="939" y="735"/>
                    <a:pt x="939" y="735"/>
                    <a:pt x="940" y="735"/>
                  </a:cubicBezTo>
                  <a:cubicBezTo>
                    <a:pt x="940" y="735"/>
                    <a:pt x="940" y="735"/>
                    <a:pt x="940" y="735"/>
                  </a:cubicBezTo>
                  <a:cubicBezTo>
                    <a:pt x="940" y="735"/>
                    <a:pt x="940" y="735"/>
                    <a:pt x="940" y="735"/>
                  </a:cubicBezTo>
                  <a:cubicBezTo>
                    <a:pt x="939" y="736"/>
                    <a:pt x="939" y="737"/>
                    <a:pt x="939" y="737"/>
                  </a:cubicBezTo>
                  <a:cubicBezTo>
                    <a:pt x="939" y="738"/>
                    <a:pt x="939" y="738"/>
                    <a:pt x="939" y="738"/>
                  </a:cubicBezTo>
                  <a:cubicBezTo>
                    <a:pt x="938" y="739"/>
                    <a:pt x="938" y="740"/>
                    <a:pt x="938" y="742"/>
                  </a:cubicBezTo>
                  <a:cubicBezTo>
                    <a:pt x="938" y="742"/>
                    <a:pt x="938" y="743"/>
                    <a:pt x="938" y="743"/>
                  </a:cubicBezTo>
                  <a:cubicBezTo>
                    <a:pt x="938" y="743"/>
                    <a:pt x="938" y="744"/>
                    <a:pt x="938" y="745"/>
                  </a:cubicBezTo>
                  <a:cubicBezTo>
                    <a:pt x="938" y="745"/>
                    <a:pt x="938" y="745"/>
                    <a:pt x="938" y="745"/>
                  </a:cubicBezTo>
                  <a:cubicBezTo>
                    <a:pt x="937" y="745"/>
                    <a:pt x="937" y="746"/>
                    <a:pt x="937" y="747"/>
                  </a:cubicBezTo>
                  <a:cubicBezTo>
                    <a:pt x="937" y="747"/>
                    <a:pt x="936" y="748"/>
                    <a:pt x="936" y="749"/>
                  </a:cubicBezTo>
                  <a:cubicBezTo>
                    <a:pt x="936" y="749"/>
                    <a:pt x="937" y="750"/>
                    <a:pt x="937" y="751"/>
                  </a:cubicBezTo>
                  <a:cubicBezTo>
                    <a:pt x="937" y="751"/>
                    <a:pt x="937" y="752"/>
                    <a:pt x="937" y="752"/>
                  </a:cubicBezTo>
                  <a:cubicBezTo>
                    <a:pt x="937" y="753"/>
                    <a:pt x="938" y="754"/>
                    <a:pt x="939" y="754"/>
                  </a:cubicBezTo>
                  <a:cubicBezTo>
                    <a:pt x="939" y="754"/>
                    <a:pt x="940" y="754"/>
                    <a:pt x="941" y="753"/>
                  </a:cubicBezTo>
                  <a:cubicBezTo>
                    <a:pt x="941" y="755"/>
                    <a:pt x="942" y="755"/>
                    <a:pt x="943" y="756"/>
                  </a:cubicBezTo>
                  <a:cubicBezTo>
                    <a:pt x="943" y="756"/>
                    <a:pt x="943" y="756"/>
                    <a:pt x="943" y="756"/>
                  </a:cubicBezTo>
                  <a:cubicBezTo>
                    <a:pt x="943" y="756"/>
                    <a:pt x="943" y="756"/>
                    <a:pt x="944" y="756"/>
                  </a:cubicBezTo>
                  <a:cubicBezTo>
                    <a:pt x="943" y="756"/>
                    <a:pt x="943" y="757"/>
                    <a:pt x="944" y="757"/>
                  </a:cubicBezTo>
                  <a:cubicBezTo>
                    <a:pt x="944" y="758"/>
                    <a:pt x="945" y="758"/>
                    <a:pt x="945" y="759"/>
                  </a:cubicBezTo>
                  <a:cubicBezTo>
                    <a:pt x="945" y="759"/>
                    <a:pt x="945" y="759"/>
                    <a:pt x="945" y="759"/>
                  </a:cubicBezTo>
                  <a:cubicBezTo>
                    <a:pt x="946" y="760"/>
                    <a:pt x="947" y="762"/>
                    <a:pt x="948" y="762"/>
                  </a:cubicBezTo>
                  <a:cubicBezTo>
                    <a:pt x="948" y="762"/>
                    <a:pt x="948" y="762"/>
                    <a:pt x="948" y="763"/>
                  </a:cubicBezTo>
                  <a:cubicBezTo>
                    <a:pt x="949" y="763"/>
                    <a:pt x="949" y="763"/>
                    <a:pt x="949" y="763"/>
                  </a:cubicBezTo>
                  <a:cubicBezTo>
                    <a:pt x="949" y="765"/>
                    <a:pt x="950" y="767"/>
                    <a:pt x="952" y="768"/>
                  </a:cubicBezTo>
                  <a:cubicBezTo>
                    <a:pt x="952" y="768"/>
                    <a:pt x="952" y="768"/>
                    <a:pt x="953" y="769"/>
                  </a:cubicBezTo>
                  <a:cubicBezTo>
                    <a:pt x="953" y="770"/>
                    <a:pt x="953" y="771"/>
                    <a:pt x="953" y="771"/>
                  </a:cubicBezTo>
                  <a:cubicBezTo>
                    <a:pt x="954" y="772"/>
                    <a:pt x="954" y="773"/>
                    <a:pt x="954" y="773"/>
                  </a:cubicBezTo>
                  <a:cubicBezTo>
                    <a:pt x="955" y="775"/>
                    <a:pt x="954" y="778"/>
                    <a:pt x="954" y="779"/>
                  </a:cubicBezTo>
                  <a:cubicBezTo>
                    <a:pt x="954" y="780"/>
                    <a:pt x="954" y="782"/>
                    <a:pt x="954" y="783"/>
                  </a:cubicBezTo>
                  <a:cubicBezTo>
                    <a:pt x="955" y="784"/>
                    <a:pt x="955" y="784"/>
                    <a:pt x="956" y="784"/>
                  </a:cubicBezTo>
                  <a:cubicBezTo>
                    <a:pt x="956" y="785"/>
                    <a:pt x="957" y="786"/>
                    <a:pt x="957" y="787"/>
                  </a:cubicBezTo>
                  <a:cubicBezTo>
                    <a:pt x="958" y="788"/>
                    <a:pt x="958" y="789"/>
                    <a:pt x="958" y="789"/>
                  </a:cubicBezTo>
                  <a:cubicBezTo>
                    <a:pt x="958" y="789"/>
                    <a:pt x="958" y="790"/>
                    <a:pt x="958" y="790"/>
                  </a:cubicBezTo>
                  <a:cubicBezTo>
                    <a:pt x="958" y="791"/>
                    <a:pt x="958" y="792"/>
                    <a:pt x="959" y="793"/>
                  </a:cubicBezTo>
                  <a:cubicBezTo>
                    <a:pt x="958" y="794"/>
                    <a:pt x="958" y="794"/>
                    <a:pt x="958" y="795"/>
                  </a:cubicBezTo>
                  <a:cubicBezTo>
                    <a:pt x="958" y="797"/>
                    <a:pt x="962" y="801"/>
                    <a:pt x="963" y="802"/>
                  </a:cubicBezTo>
                  <a:cubicBezTo>
                    <a:pt x="963" y="802"/>
                    <a:pt x="963" y="802"/>
                    <a:pt x="963" y="803"/>
                  </a:cubicBezTo>
                  <a:cubicBezTo>
                    <a:pt x="963" y="804"/>
                    <a:pt x="963" y="804"/>
                    <a:pt x="964" y="805"/>
                  </a:cubicBezTo>
                  <a:cubicBezTo>
                    <a:pt x="964" y="805"/>
                    <a:pt x="964" y="805"/>
                    <a:pt x="964" y="805"/>
                  </a:cubicBezTo>
                  <a:cubicBezTo>
                    <a:pt x="964" y="806"/>
                    <a:pt x="964" y="807"/>
                    <a:pt x="964" y="808"/>
                  </a:cubicBezTo>
                  <a:cubicBezTo>
                    <a:pt x="965" y="809"/>
                    <a:pt x="968" y="809"/>
                    <a:pt x="968" y="809"/>
                  </a:cubicBezTo>
                  <a:cubicBezTo>
                    <a:pt x="968" y="809"/>
                    <a:pt x="968" y="810"/>
                    <a:pt x="968" y="810"/>
                  </a:cubicBezTo>
                  <a:cubicBezTo>
                    <a:pt x="968" y="811"/>
                    <a:pt x="969" y="812"/>
                    <a:pt x="972" y="813"/>
                  </a:cubicBezTo>
                  <a:cubicBezTo>
                    <a:pt x="973" y="814"/>
                    <a:pt x="974" y="815"/>
                    <a:pt x="974" y="815"/>
                  </a:cubicBezTo>
                  <a:cubicBezTo>
                    <a:pt x="974" y="816"/>
                    <a:pt x="975" y="817"/>
                    <a:pt x="976" y="817"/>
                  </a:cubicBezTo>
                  <a:cubicBezTo>
                    <a:pt x="977" y="817"/>
                    <a:pt x="977" y="817"/>
                    <a:pt x="978" y="818"/>
                  </a:cubicBezTo>
                  <a:cubicBezTo>
                    <a:pt x="978" y="819"/>
                    <a:pt x="979" y="820"/>
                    <a:pt x="980" y="820"/>
                  </a:cubicBezTo>
                  <a:cubicBezTo>
                    <a:pt x="980" y="820"/>
                    <a:pt x="980" y="820"/>
                    <a:pt x="980" y="820"/>
                  </a:cubicBezTo>
                  <a:cubicBezTo>
                    <a:pt x="980" y="820"/>
                    <a:pt x="980" y="821"/>
                    <a:pt x="980" y="821"/>
                  </a:cubicBezTo>
                  <a:cubicBezTo>
                    <a:pt x="981" y="822"/>
                    <a:pt x="982" y="823"/>
                    <a:pt x="983" y="823"/>
                  </a:cubicBezTo>
                  <a:cubicBezTo>
                    <a:pt x="983" y="823"/>
                    <a:pt x="984" y="823"/>
                    <a:pt x="984" y="823"/>
                  </a:cubicBezTo>
                  <a:cubicBezTo>
                    <a:pt x="984" y="823"/>
                    <a:pt x="984" y="823"/>
                    <a:pt x="985" y="823"/>
                  </a:cubicBezTo>
                  <a:cubicBezTo>
                    <a:pt x="986" y="823"/>
                    <a:pt x="987" y="822"/>
                    <a:pt x="987" y="821"/>
                  </a:cubicBezTo>
                  <a:cubicBezTo>
                    <a:pt x="988" y="822"/>
                    <a:pt x="989" y="822"/>
                    <a:pt x="989" y="822"/>
                  </a:cubicBezTo>
                  <a:cubicBezTo>
                    <a:pt x="989" y="822"/>
                    <a:pt x="989" y="822"/>
                    <a:pt x="989" y="822"/>
                  </a:cubicBezTo>
                  <a:cubicBezTo>
                    <a:pt x="990" y="822"/>
                    <a:pt x="990" y="822"/>
                    <a:pt x="991" y="821"/>
                  </a:cubicBezTo>
                  <a:cubicBezTo>
                    <a:pt x="992" y="821"/>
                    <a:pt x="991" y="819"/>
                    <a:pt x="991" y="818"/>
                  </a:cubicBezTo>
                  <a:cubicBezTo>
                    <a:pt x="991" y="818"/>
                    <a:pt x="991" y="818"/>
                    <a:pt x="991" y="818"/>
                  </a:cubicBezTo>
                  <a:cubicBezTo>
                    <a:pt x="991" y="817"/>
                    <a:pt x="991" y="817"/>
                    <a:pt x="990" y="816"/>
                  </a:cubicBezTo>
                  <a:cubicBezTo>
                    <a:pt x="990" y="816"/>
                    <a:pt x="990" y="816"/>
                    <a:pt x="990" y="816"/>
                  </a:cubicBezTo>
                  <a:cubicBezTo>
                    <a:pt x="990" y="815"/>
                    <a:pt x="989" y="813"/>
                    <a:pt x="989" y="813"/>
                  </a:cubicBezTo>
                  <a:cubicBezTo>
                    <a:pt x="988" y="811"/>
                    <a:pt x="988" y="811"/>
                    <a:pt x="988" y="810"/>
                  </a:cubicBezTo>
                  <a:cubicBezTo>
                    <a:pt x="988" y="808"/>
                    <a:pt x="986" y="806"/>
                    <a:pt x="985" y="806"/>
                  </a:cubicBezTo>
                  <a:cubicBezTo>
                    <a:pt x="984" y="806"/>
                    <a:pt x="984" y="805"/>
                    <a:pt x="984" y="804"/>
                  </a:cubicBezTo>
                  <a:cubicBezTo>
                    <a:pt x="984" y="800"/>
                    <a:pt x="983" y="798"/>
                    <a:pt x="983" y="798"/>
                  </a:cubicBezTo>
                  <a:cubicBezTo>
                    <a:pt x="983" y="797"/>
                    <a:pt x="983" y="797"/>
                    <a:pt x="983" y="797"/>
                  </a:cubicBezTo>
                  <a:cubicBezTo>
                    <a:pt x="984" y="796"/>
                    <a:pt x="985" y="795"/>
                    <a:pt x="984" y="794"/>
                  </a:cubicBezTo>
                  <a:cubicBezTo>
                    <a:pt x="984" y="793"/>
                    <a:pt x="984" y="793"/>
                    <a:pt x="984" y="793"/>
                  </a:cubicBezTo>
                  <a:cubicBezTo>
                    <a:pt x="984" y="793"/>
                    <a:pt x="984" y="793"/>
                    <a:pt x="984" y="793"/>
                  </a:cubicBezTo>
                  <a:cubicBezTo>
                    <a:pt x="983" y="792"/>
                    <a:pt x="983" y="791"/>
                    <a:pt x="983" y="791"/>
                  </a:cubicBezTo>
                  <a:cubicBezTo>
                    <a:pt x="984" y="789"/>
                    <a:pt x="983" y="787"/>
                    <a:pt x="983" y="786"/>
                  </a:cubicBezTo>
                  <a:cubicBezTo>
                    <a:pt x="983" y="786"/>
                    <a:pt x="983" y="785"/>
                    <a:pt x="983" y="784"/>
                  </a:cubicBezTo>
                  <a:cubicBezTo>
                    <a:pt x="983" y="781"/>
                    <a:pt x="977" y="776"/>
                    <a:pt x="977" y="775"/>
                  </a:cubicBezTo>
                  <a:cubicBezTo>
                    <a:pt x="976" y="775"/>
                    <a:pt x="976" y="775"/>
                    <a:pt x="976" y="774"/>
                  </a:cubicBezTo>
                  <a:cubicBezTo>
                    <a:pt x="976" y="774"/>
                    <a:pt x="976" y="774"/>
                    <a:pt x="976" y="774"/>
                  </a:cubicBezTo>
                  <a:cubicBezTo>
                    <a:pt x="976" y="772"/>
                    <a:pt x="973" y="771"/>
                    <a:pt x="973" y="771"/>
                  </a:cubicBezTo>
                  <a:cubicBezTo>
                    <a:pt x="973" y="771"/>
                    <a:pt x="973" y="771"/>
                    <a:pt x="973" y="770"/>
                  </a:cubicBezTo>
                  <a:cubicBezTo>
                    <a:pt x="971" y="770"/>
                    <a:pt x="971" y="770"/>
                    <a:pt x="971" y="770"/>
                  </a:cubicBezTo>
                  <a:cubicBezTo>
                    <a:pt x="971" y="770"/>
                    <a:pt x="971" y="769"/>
                    <a:pt x="970" y="769"/>
                  </a:cubicBezTo>
                  <a:cubicBezTo>
                    <a:pt x="970" y="769"/>
                    <a:pt x="970" y="769"/>
                    <a:pt x="970" y="769"/>
                  </a:cubicBezTo>
                  <a:cubicBezTo>
                    <a:pt x="969" y="768"/>
                    <a:pt x="969" y="767"/>
                    <a:pt x="968" y="766"/>
                  </a:cubicBezTo>
                  <a:cubicBezTo>
                    <a:pt x="968" y="766"/>
                    <a:pt x="967" y="766"/>
                    <a:pt x="967" y="766"/>
                  </a:cubicBezTo>
                  <a:cubicBezTo>
                    <a:pt x="967" y="764"/>
                    <a:pt x="966" y="763"/>
                    <a:pt x="964" y="764"/>
                  </a:cubicBezTo>
                  <a:cubicBezTo>
                    <a:pt x="963" y="764"/>
                    <a:pt x="963" y="764"/>
                    <a:pt x="963" y="764"/>
                  </a:cubicBezTo>
                  <a:cubicBezTo>
                    <a:pt x="963" y="764"/>
                    <a:pt x="962" y="763"/>
                    <a:pt x="962" y="763"/>
                  </a:cubicBezTo>
                  <a:cubicBezTo>
                    <a:pt x="962" y="763"/>
                    <a:pt x="961" y="763"/>
                    <a:pt x="961" y="763"/>
                  </a:cubicBezTo>
                  <a:cubicBezTo>
                    <a:pt x="960" y="762"/>
                    <a:pt x="959" y="760"/>
                    <a:pt x="959" y="759"/>
                  </a:cubicBezTo>
                  <a:cubicBezTo>
                    <a:pt x="959" y="758"/>
                    <a:pt x="958" y="758"/>
                    <a:pt x="958" y="757"/>
                  </a:cubicBezTo>
                  <a:cubicBezTo>
                    <a:pt x="958" y="756"/>
                    <a:pt x="957" y="755"/>
                    <a:pt x="957" y="754"/>
                  </a:cubicBezTo>
                  <a:cubicBezTo>
                    <a:pt x="957" y="751"/>
                    <a:pt x="955" y="749"/>
                    <a:pt x="953" y="748"/>
                  </a:cubicBezTo>
                  <a:cubicBezTo>
                    <a:pt x="953" y="747"/>
                    <a:pt x="952" y="745"/>
                    <a:pt x="952" y="743"/>
                  </a:cubicBezTo>
                  <a:cubicBezTo>
                    <a:pt x="952" y="741"/>
                    <a:pt x="951" y="740"/>
                    <a:pt x="949" y="740"/>
                  </a:cubicBezTo>
                  <a:cubicBezTo>
                    <a:pt x="949" y="740"/>
                    <a:pt x="949" y="740"/>
                    <a:pt x="949" y="740"/>
                  </a:cubicBezTo>
                  <a:cubicBezTo>
                    <a:pt x="948" y="740"/>
                    <a:pt x="948" y="740"/>
                    <a:pt x="947" y="740"/>
                  </a:cubicBezTo>
                  <a:cubicBezTo>
                    <a:pt x="947" y="740"/>
                    <a:pt x="947" y="740"/>
                    <a:pt x="947" y="740"/>
                  </a:cubicBezTo>
                  <a:cubicBezTo>
                    <a:pt x="947" y="740"/>
                    <a:pt x="947" y="740"/>
                    <a:pt x="947" y="740"/>
                  </a:cubicBezTo>
                  <a:cubicBezTo>
                    <a:pt x="947" y="739"/>
                    <a:pt x="947" y="738"/>
                    <a:pt x="946" y="737"/>
                  </a:cubicBezTo>
                  <a:cubicBezTo>
                    <a:pt x="946" y="736"/>
                    <a:pt x="946" y="736"/>
                    <a:pt x="946" y="736"/>
                  </a:cubicBezTo>
                  <a:cubicBezTo>
                    <a:pt x="946" y="735"/>
                    <a:pt x="946" y="735"/>
                    <a:pt x="946" y="734"/>
                  </a:cubicBezTo>
                  <a:cubicBezTo>
                    <a:pt x="946" y="733"/>
                    <a:pt x="947" y="732"/>
                    <a:pt x="946" y="732"/>
                  </a:cubicBezTo>
                  <a:cubicBezTo>
                    <a:pt x="947" y="731"/>
                    <a:pt x="947" y="731"/>
                    <a:pt x="947" y="730"/>
                  </a:cubicBezTo>
                  <a:cubicBezTo>
                    <a:pt x="947" y="729"/>
                    <a:pt x="948" y="728"/>
                    <a:pt x="948" y="727"/>
                  </a:cubicBezTo>
                  <a:cubicBezTo>
                    <a:pt x="948" y="726"/>
                    <a:pt x="948" y="726"/>
                    <a:pt x="948" y="725"/>
                  </a:cubicBezTo>
                  <a:cubicBezTo>
                    <a:pt x="948" y="725"/>
                    <a:pt x="948" y="724"/>
                    <a:pt x="948" y="724"/>
                  </a:cubicBezTo>
                  <a:cubicBezTo>
                    <a:pt x="948" y="723"/>
                    <a:pt x="948" y="723"/>
                    <a:pt x="948" y="723"/>
                  </a:cubicBezTo>
                  <a:cubicBezTo>
                    <a:pt x="949" y="722"/>
                    <a:pt x="949" y="722"/>
                    <a:pt x="949" y="722"/>
                  </a:cubicBezTo>
                  <a:cubicBezTo>
                    <a:pt x="949" y="721"/>
                    <a:pt x="949" y="721"/>
                    <a:pt x="949" y="719"/>
                  </a:cubicBezTo>
                  <a:cubicBezTo>
                    <a:pt x="949" y="718"/>
                    <a:pt x="949" y="717"/>
                    <a:pt x="950" y="716"/>
                  </a:cubicBezTo>
                  <a:cubicBezTo>
                    <a:pt x="951" y="714"/>
                    <a:pt x="951" y="711"/>
                    <a:pt x="951" y="710"/>
                  </a:cubicBezTo>
                  <a:cubicBezTo>
                    <a:pt x="950" y="709"/>
                    <a:pt x="950" y="708"/>
                    <a:pt x="951" y="706"/>
                  </a:cubicBezTo>
                  <a:cubicBezTo>
                    <a:pt x="952" y="704"/>
                    <a:pt x="951" y="702"/>
                    <a:pt x="950" y="701"/>
                  </a:cubicBezTo>
                  <a:cubicBezTo>
                    <a:pt x="949" y="702"/>
                    <a:pt x="949" y="702"/>
                    <a:pt x="949" y="702"/>
                  </a:cubicBezTo>
                  <a:cubicBezTo>
                    <a:pt x="950" y="701"/>
                    <a:pt x="950" y="701"/>
                    <a:pt x="950" y="701"/>
                  </a:cubicBezTo>
                  <a:cubicBezTo>
                    <a:pt x="950" y="701"/>
                    <a:pt x="950" y="701"/>
                    <a:pt x="950" y="701"/>
                  </a:cubicBezTo>
                  <a:cubicBezTo>
                    <a:pt x="951" y="700"/>
                    <a:pt x="951" y="700"/>
                    <a:pt x="952" y="699"/>
                  </a:cubicBezTo>
                  <a:cubicBezTo>
                    <a:pt x="952" y="699"/>
                    <a:pt x="952" y="699"/>
                    <a:pt x="952" y="699"/>
                  </a:cubicBezTo>
                  <a:cubicBezTo>
                    <a:pt x="953" y="699"/>
                    <a:pt x="953" y="699"/>
                    <a:pt x="954" y="699"/>
                  </a:cubicBezTo>
                  <a:cubicBezTo>
                    <a:pt x="954" y="699"/>
                    <a:pt x="954" y="700"/>
                    <a:pt x="954" y="700"/>
                  </a:cubicBezTo>
                  <a:cubicBezTo>
                    <a:pt x="954" y="702"/>
                    <a:pt x="954" y="704"/>
                    <a:pt x="955" y="705"/>
                  </a:cubicBezTo>
                  <a:cubicBezTo>
                    <a:pt x="955" y="705"/>
                    <a:pt x="955" y="705"/>
                    <a:pt x="955" y="706"/>
                  </a:cubicBezTo>
                  <a:cubicBezTo>
                    <a:pt x="955" y="707"/>
                    <a:pt x="955" y="707"/>
                    <a:pt x="955" y="708"/>
                  </a:cubicBezTo>
                  <a:cubicBezTo>
                    <a:pt x="955" y="708"/>
                    <a:pt x="956" y="709"/>
                    <a:pt x="957" y="709"/>
                  </a:cubicBezTo>
                  <a:cubicBezTo>
                    <a:pt x="958" y="709"/>
                    <a:pt x="958" y="709"/>
                    <a:pt x="958" y="709"/>
                  </a:cubicBezTo>
                  <a:cubicBezTo>
                    <a:pt x="959" y="709"/>
                    <a:pt x="959" y="709"/>
                    <a:pt x="959" y="708"/>
                  </a:cubicBezTo>
                  <a:cubicBezTo>
                    <a:pt x="959" y="708"/>
                    <a:pt x="959" y="708"/>
                    <a:pt x="960" y="709"/>
                  </a:cubicBezTo>
                  <a:cubicBezTo>
                    <a:pt x="961" y="709"/>
                    <a:pt x="962" y="709"/>
                    <a:pt x="963" y="709"/>
                  </a:cubicBezTo>
                  <a:cubicBezTo>
                    <a:pt x="963" y="709"/>
                    <a:pt x="963" y="709"/>
                    <a:pt x="964" y="709"/>
                  </a:cubicBezTo>
                  <a:cubicBezTo>
                    <a:pt x="965" y="709"/>
                    <a:pt x="965" y="710"/>
                    <a:pt x="965" y="710"/>
                  </a:cubicBezTo>
                  <a:cubicBezTo>
                    <a:pt x="965" y="711"/>
                    <a:pt x="966" y="712"/>
                    <a:pt x="967" y="712"/>
                  </a:cubicBezTo>
                  <a:cubicBezTo>
                    <a:pt x="968" y="712"/>
                    <a:pt x="968" y="712"/>
                    <a:pt x="968" y="712"/>
                  </a:cubicBezTo>
                  <a:cubicBezTo>
                    <a:pt x="968" y="712"/>
                    <a:pt x="968" y="712"/>
                    <a:pt x="968" y="712"/>
                  </a:cubicBezTo>
                  <a:cubicBezTo>
                    <a:pt x="969" y="713"/>
                    <a:pt x="969" y="714"/>
                    <a:pt x="970" y="714"/>
                  </a:cubicBezTo>
                  <a:cubicBezTo>
                    <a:pt x="970" y="714"/>
                    <a:pt x="971" y="714"/>
                    <a:pt x="971" y="714"/>
                  </a:cubicBezTo>
                  <a:cubicBezTo>
                    <a:pt x="971" y="714"/>
                    <a:pt x="971" y="714"/>
                    <a:pt x="971" y="715"/>
                  </a:cubicBezTo>
                  <a:cubicBezTo>
                    <a:pt x="971" y="716"/>
                    <a:pt x="972" y="717"/>
                    <a:pt x="972" y="718"/>
                  </a:cubicBezTo>
                  <a:cubicBezTo>
                    <a:pt x="972" y="719"/>
                    <a:pt x="973" y="719"/>
                    <a:pt x="974" y="719"/>
                  </a:cubicBezTo>
                  <a:cubicBezTo>
                    <a:pt x="975" y="720"/>
                    <a:pt x="975" y="720"/>
                    <a:pt x="975" y="720"/>
                  </a:cubicBezTo>
                  <a:cubicBezTo>
                    <a:pt x="975" y="720"/>
                    <a:pt x="975" y="720"/>
                    <a:pt x="975" y="720"/>
                  </a:cubicBezTo>
                  <a:cubicBezTo>
                    <a:pt x="975" y="720"/>
                    <a:pt x="975" y="721"/>
                    <a:pt x="975" y="721"/>
                  </a:cubicBezTo>
                  <a:cubicBezTo>
                    <a:pt x="974" y="721"/>
                    <a:pt x="974" y="722"/>
                    <a:pt x="974" y="723"/>
                  </a:cubicBezTo>
                  <a:cubicBezTo>
                    <a:pt x="974" y="723"/>
                    <a:pt x="974" y="724"/>
                    <a:pt x="975" y="725"/>
                  </a:cubicBezTo>
                  <a:cubicBezTo>
                    <a:pt x="976" y="726"/>
                    <a:pt x="976" y="726"/>
                    <a:pt x="977" y="726"/>
                  </a:cubicBezTo>
                  <a:cubicBezTo>
                    <a:pt x="977" y="727"/>
                    <a:pt x="977" y="728"/>
                    <a:pt x="978" y="729"/>
                  </a:cubicBezTo>
                  <a:cubicBezTo>
                    <a:pt x="978" y="729"/>
                    <a:pt x="980" y="730"/>
                    <a:pt x="981" y="730"/>
                  </a:cubicBezTo>
                  <a:cubicBezTo>
                    <a:pt x="982" y="730"/>
                    <a:pt x="983" y="729"/>
                    <a:pt x="983" y="729"/>
                  </a:cubicBezTo>
                  <a:cubicBezTo>
                    <a:pt x="983" y="729"/>
                    <a:pt x="983" y="729"/>
                    <a:pt x="983" y="729"/>
                  </a:cubicBezTo>
                  <a:cubicBezTo>
                    <a:pt x="983" y="729"/>
                    <a:pt x="984" y="729"/>
                    <a:pt x="984" y="730"/>
                  </a:cubicBezTo>
                  <a:cubicBezTo>
                    <a:pt x="984" y="730"/>
                    <a:pt x="985" y="730"/>
                    <a:pt x="985" y="730"/>
                  </a:cubicBezTo>
                  <a:cubicBezTo>
                    <a:pt x="985" y="730"/>
                    <a:pt x="985" y="730"/>
                    <a:pt x="985" y="730"/>
                  </a:cubicBezTo>
                  <a:cubicBezTo>
                    <a:pt x="985" y="730"/>
                    <a:pt x="985" y="730"/>
                    <a:pt x="985" y="730"/>
                  </a:cubicBezTo>
                  <a:cubicBezTo>
                    <a:pt x="986" y="730"/>
                    <a:pt x="986" y="731"/>
                    <a:pt x="986" y="731"/>
                  </a:cubicBezTo>
                  <a:cubicBezTo>
                    <a:pt x="987" y="732"/>
                    <a:pt x="988" y="733"/>
                    <a:pt x="989" y="732"/>
                  </a:cubicBezTo>
                  <a:cubicBezTo>
                    <a:pt x="990" y="733"/>
                    <a:pt x="990" y="733"/>
                    <a:pt x="991" y="733"/>
                  </a:cubicBezTo>
                  <a:cubicBezTo>
                    <a:pt x="991" y="734"/>
                    <a:pt x="990" y="734"/>
                    <a:pt x="990" y="734"/>
                  </a:cubicBezTo>
                  <a:cubicBezTo>
                    <a:pt x="989" y="736"/>
                    <a:pt x="989" y="738"/>
                    <a:pt x="990" y="739"/>
                  </a:cubicBezTo>
                  <a:cubicBezTo>
                    <a:pt x="990" y="740"/>
                    <a:pt x="990" y="740"/>
                    <a:pt x="990" y="740"/>
                  </a:cubicBezTo>
                  <a:cubicBezTo>
                    <a:pt x="990" y="740"/>
                    <a:pt x="990" y="740"/>
                    <a:pt x="990" y="740"/>
                  </a:cubicBezTo>
                  <a:cubicBezTo>
                    <a:pt x="990" y="740"/>
                    <a:pt x="989" y="742"/>
                    <a:pt x="989" y="743"/>
                  </a:cubicBezTo>
                  <a:cubicBezTo>
                    <a:pt x="989" y="743"/>
                    <a:pt x="989" y="744"/>
                    <a:pt x="989" y="744"/>
                  </a:cubicBezTo>
                  <a:cubicBezTo>
                    <a:pt x="989" y="745"/>
                    <a:pt x="989" y="746"/>
                    <a:pt x="990" y="746"/>
                  </a:cubicBezTo>
                  <a:cubicBezTo>
                    <a:pt x="989" y="746"/>
                    <a:pt x="989" y="746"/>
                    <a:pt x="989" y="746"/>
                  </a:cubicBezTo>
                  <a:cubicBezTo>
                    <a:pt x="989" y="747"/>
                    <a:pt x="989" y="748"/>
                    <a:pt x="989" y="748"/>
                  </a:cubicBezTo>
                  <a:cubicBezTo>
                    <a:pt x="989" y="749"/>
                    <a:pt x="990" y="749"/>
                    <a:pt x="991" y="749"/>
                  </a:cubicBezTo>
                  <a:cubicBezTo>
                    <a:pt x="992" y="749"/>
                    <a:pt x="993" y="748"/>
                    <a:pt x="994" y="748"/>
                  </a:cubicBezTo>
                  <a:cubicBezTo>
                    <a:pt x="994" y="748"/>
                    <a:pt x="994" y="748"/>
                    <a:pt x="994" y="748"/>
                  </a:cubicBezTo>
                  <a:cubicBezTo>
                    <a:pt x="995" y="748"/>
                    <a:pt x="997" y="747"/>
                    <a:pt x="998" y="745"/>
                  </a:cubicBezTo>
                  <a:cubicBezTo>
                    <a:pt x="998" y="744"/>
                    <a:pt x="1000" y="743"/>
                    <a:pt x="1001" y="742"/>
                  </a:cubicBezTo>
                  <a:cubicBezTo>
                    <a:pt x="1001" y="742"/>
                    <a:pt x="1002" y="741"/>
                    <a:pt x="1002" y="741"/>
                  </a:cubicBezTo>
                  <a:cubicBezTo>
                    <a:pt x="1003" y="740"/>
                    <a:pt x="1004" y="739"/>
                    <a:pt x="1004" y="738"/>
                  </a:cubicBezTo>
                  <a:cubicBezTo>
                    <a:pt x="1004" y="739"/>
                    <a:pt x="1005" y="738"/>
                    <a:pt x="1006" y="738"/>
                  </a:cubicBezTo>
                  <a:cubicBezTo>
                    <a:pt x="1006" y="737"/>
                    <a:pt x="1006" y="736"/>
                    <a:pt x="1006" y="736"/>
                  </a:cubicBezTo>
                  <a:cubicBezTo>
                    <a:pt x="1006" y="735"/>
                    <a:pt x="1007" y="735"/>
                    <a:pt x="1007" y="735"/>
                  </a:cubicBezTo>
                  <a:cubicBezTo>
                    <a:pt x="1008" y="734"/>
                    <a:pt x="1008" y="732"/>
                    <a:pt x="1008" y="731"/>
                  </a:cubicBezTo>
                  <a:cubicBezTo>
                    <a:pt x="1008" y="731"/>
                    <a:pt x="1008" y="731"/>
                    <a:pt x="1009" y="731"/>
                  </a:cubicBezTo>
                  <a:cubicBezTo>
                    <a:pt x="1010" y="731"/>
                    <a:pt x="1010" y="731"/>
                    <a:pt x="1011" y="730"/>
                  </a:cubicBezTo>
                  <a:cubicBezTo>
                    <a:pt x="1011" y="730"/>
                    <a:pt x="1011" y="730"/>
                    <a:pt x="1011" y="730"/>
                  </a:cubicBezTo>
                  <a:cubicBezTo>
                    <a:pt x="1013" y="730"/>
                    <a:pt x="1017" y="726"/>
                    <a:pt x="1019" y="724"/>
                  </a:cubicBezTo>
                  <a:cubicBezTo>
                    <a:pt x="1020" y="722"/>
                    <a:pt x="1020" y="722"/>
                    <a:pt x="1021" y="722"/>
                  </a:cubicBezTo>
                  <a:cubicBezTo>
                    <a:pt x="1021" y="722"/>
                    <a:pt x="1022" y="722"/>
                    <a:pt x="1023" y="721"/>
                  </a:cubicBezTo>
                  <a:cubicBezTo>
                    <a:pt x="1024" y="720"/>
                    <a:pt x="1024" y="719"/>
                    <a:pt x="1024" y="718"/>
                  </a:cubicBezTo>
                  <a:cubicBezTo>
                    <a:pt x="1025" y="718"/>
                    <a:pt x="1025" y="717"/>
                    <a:pt x="1026" y="716"/>
                  </a:cubicBezTo>
                  <a:cubicBezTo>
                    <a:pt x="1026" y="715"/>
                    <a:pt x="1026" y="715"/>
                    <a:pt x="1026" y="714"/>
                  </a:cubicBezTo>
                  <a:cubicBezTo>
                    <a:pt x="1026" y="714"/>
                    <a:pt x="1027" y="714"/>
                    <a:pt x="1027" y="714"/>
                  </a:cubicBezTo>
                  <a:cubicBezTo>
                    <a:pt x="1027" y="713"/>
                    <a:pt x="1027" y="712"/>
                    <a:pt x="1027" y="711"/>
                  </a:cubicBezTo>
                  <a:cubicBezTo>
                    <a:pt x="1027" y="710"/>
                    <a:pt x="1026" y="710"/>
                    <a:pt x="1026" y="709"/>
                  </a:cubicBezTo>
                  <a:cubicBezTo>
                    <a:pt x="1026" y="709"/>
                    <a:pt x="1026" y="708"/>
                    <a:pt x="1025" y="707"/>
                  </a:cubicBezTo>
                  <a:cubicBezTo>
                    <a:pt x="1025" y="707"/>
                    <a:pt x="1025" y="707"/>
                    <a:pt x="1025" y="707"/>
                  </a:cubicBezTo>
                  <a:cubicBezTo>
                    <a:pt x="1026" y="707"/>
                    <a:pt x="1026" y="706"/>
                    <a:pt x="1026" y="705"/>
                  </a:cubicBezTo>
                  <a:cubicBezTo>
                    <a:pt x="1026" y="704"/>
                    <a:pt x="1026" y="704"/>
                    <a:pt x="1026" y="704"/>
                  </a:cubicBezTo>
                  <a:cubicBezTo>
                    <a:pt x="1027" y="702"/>
                    <a:pt x="1026" y="701"/>
                    <a:pt x="1025" y="700"/>
                  </a:cubicBezTo>
                  <a:cubicBezTo>
                    <a:pt x="1025" y="700"/>
                    <a:pt x="1025" y="700"/>
                    <a:pt x="1025" y="700"/>
                  </a:cubicBezTo>
                  <a:cubicBezTo>
                    <a:pt x="1025" y="699"/>
                    <a:pt x="1025" y="698"/>
                    <a:pt x="1025" y="698"/>
                  </a:cubicBezTo>
                  <a:cubicBezTo>
                    <a:pt x="1025" y="697"/>
                    <a:pt x="1025" y="696"/>
                    <a:pt x="1024" y="696"/>
                  </a:cubicBezTo>
                  <a:cubicBezTo>
                    <a:pt x="1024" y="696"/>
                    <a:pt x="1024" y="695"/>
                    <a:pt x="1024" y="695"/>
                  </a:cubicBezTo>
                  <a:cubicBezTo>
                    <a:pt x="1024" y="695"/>
                    <a:pt x="1024" y="695"/>
                    <a:pt x="1024" y="695"/>
                  </a:cubicBezTo>
                  <a:cubicBezTo>
                    <a:pt x="1024" y="695"/>
                    <a:pt x="1024" y="695"/>
                    <a:pt x="1024" y="695"/>
                  </a:cubicBezTo>
                  <a:cubicBezTo>
                    <a:pt x="1024" y="695"/>
                    <a:pt x="1024" y="694"/>
                    <a:pt x="1024" y="693"/>
                  </a:cubicBezTo>
                  <a:cubicBezTo>
                    <a:pt x="1024" y="691"/>
                    <a:pt x="1023" y="690"/>
                    <a:pt x="1023" y="689"/>
                  </a:cubicBezTo>
                  <a:cubicBezTo>
                    <a:pt x="1023" y="689"/>
                    <a:pt x="1023" y="689"/>
                    <a:pt x="1023" y="689"/>
                  </a:cubicBezTo>
                  <a:cubicBezTo>
                    <a:pt x="1022" y="689"/>
                    <a:pt x="1022" y="689"/>
                    <a:pt x="1022" y="689"/>
                  </a:cubicBezTo>
                  <a:cubicBezTo>
                    <a:pt x="1022" y="688"/>
                    <a:pt x="1022" y="688"/>
                    <a:pt x="1022" y="686"/>
                  </a:cubicBezTo>
                  <a:cubicBezTo>
                    <a:pt x="1022" y="684"/>
                    <a:pt x="1021" y="682"/>
                    <a:pt x="1019" y="681"/>
                  </a:cubicBezTo>
                  <a:cubicBezTo>
                    <a:pt x="1019" y="681"/>
                    <a:pt x="1019" y="681"/>
                    <a:pt x="1019" y="681"/>
                  </a:cubicBezTo>
                  <a:cubicBezTo>
                    <a:pt x="1019" y="680"/>
                    <a:pt x="1019" y="680"/>
                    <a:pt x="1019" y="679"/>
                  </a:cubicBezTo>
                  <a:cubicBezTo>
                    <a:pt x="1019" y="677"/>
                    <a:pt x="1018" y="676"/>
                    <a:pt x="1016" y="675"/>
                  </a:cubicBezTo>
                  <a:cubicBezTo>
                    <a:pt x="1016" y="674"/>
                    <a:pt x="1016" y="674"/>
                    <a:pt x="1016" y="674"/>
                  </a:cubicBezTo>
                  <a:cubicBezTo>
                    <a:pt x="1016" y="672"/>
                    <a:pt x="1015" y="672"/>
                    <a:pt x="1014" y="672"/>
                  </a:cubicBezTo>
                  <a:cubicBezTo>
                    <a:pt x="1014" y="671"/>
                    <a:pt x="1014" y="671"/>
                    <a:pt x="1013" y="671"/>
                  </a:cubicBezTo>
                  <a:cubicBezTo>
                    <a:pt x="1013" y="671"/>
                    <a:pt x="1013" y="671"/>
                    <a:pt x="1014" y="671"/>
                  </a:cubicBezTo>
                  <a:cubicBezTo>
                    <a:pt x="1014" y="670"/>
                    <a:pt x="1014" y="670"/>
                    <a:pt x="1014" y="670"/>
                  </a:cubicBezTo>
                  <a:cubicBezTo>
                    <a:pt x="1014" y="670"/>
                    <a:pt x="1014" y="669"/>
                    <a:pt x="1014" y="668"/>
                  </a:cubicBezTo>
                  <a:cubicBezTo>
                    <a:pt x="1013" y="667"/>
                    <a:pt x="1012" y="667"/>
                    <a:pt x="1011" y="668"/>
                  </a:cubicBezTo>
                  <a:cubicBezTo>
                    <a:pt x="1011" y="667"/>
                    <a:pt x="1011" y="667"/>
                    <a:pt x="1010" y="667"/>
                  </a:cubicBezTo>
                  <a:cubicBezTo>
                    <a:pt x="1010" y="666"/>
                    <a:pt x="1009" y="665"/>
                    <a:pt x="1008" y="665"/>
                  </a:cubicBezTo>
                  <a:cubicBezTo>
                    <a:pt x="1008" y="665"/>
                    <a:pt x="1008" y="665"/>
                    <a:pt x="1007" y="665"/>
                  </a:cubicBezTo>
                  <a:cubicBezTo>
                    <a:pt x="1007" y="665"/>
                    <a:pt x="1007" y="665"/>
                    <a:pt x="1007" y="665"/>
                  </a:cubicBezTo>
                  <a:cubicBezTo>
                    <a:pt x="1007" y="665"/>
                    <a:pt x="1006" y="665"/>
                    <a:pt x="1006" y="664"/>
                  </a:cubicBezTo>
                  <a:cubicBezTo>
                    <a:pt x="1006" y="664"/>
                    <a:pt x="1006" y="664"/>
                    <a:pt x="1006" y="664"/>
                  </a:cubicBezTo>
                  <a:cubicBezTo>
                    <a:pt x="1006" y="663"/>
                    <a:pt x="1005" y="662"/>
                    <a:pt x="1004" y="661"/>
                  </a:cubicBezTo>
                  <a:cubicBezTo>
                    <a:pt x="1004" y="660"/>
                    <a:pt x="1003" y="660"/>
                    <a:pt x="1002" y="659"/>
                  </a:cubicBezTo>
                  <a:cubicBezTo>
                    <a:pt x="1002" y="659"/>
                    <a:pt x="1001" y="659"/>
                    <a:pt x="1001" y="658"/>
                  </a:cubicBezTo>
                  <a:cubicBezTo>
                    <a:pt x="1000" y="658"/>
                    <a:pt x="999" y="654"/>
                    <a:pt x="997" y="654"/>
                  </a:cubicBezTo>
                  <a:cubicBezTo>
                    <a:pt x="997" y="654"/>
                    <a:pt x="997" y="653"/>
                    <a:pt x="997" y="653"/>
                  </a:cubicBezTo>
                  <a:cubicBezTo>
                    <a:pt x="998" y="651"/>
                    <a:pt x="994" y="648"/>
                    <a:pt x="993" y="648"/>
                  </a:cubicBezTo>
                  <a:cubicBezTo>
                    <a:pt x="992" y="647"/>
                    <a:pt x="991" y="645"/>
                    <a:pt x="990" y="644"/>
                  </a:cubicBezTo>
                  <a:cubicBezTo>
                    <a:pt x="990" y="644"/>
                    <a:pt x="990" y="644"/>
                    <a:pt x="990" y="644"/>
                  </a:cubicBezTo>
                  <a:cubicBezTo>
                    <a:pt x="990" y="643"/>
                    <a:pt x="989" y="642"/>
                    <a:pt x="989" y="641"/>
                  </a:cubicBezTo>
                  <a:cubicBezTo>
                    <a:pt x="990" y="640"/>
                    <a:pt x="990" y="639"/>
                    <a:pt x="989" y="638"/>
                  </a:cubicBezTo>
                  <a:cubicBezTo>
                    <a:pt x="989" y="638"/>
                    <a:pt x="989" y="637"/>
                    <a:pt x="989" y="634"/>
                  </a:cubicBezTo>
                  <a:cubicBezTo>
                    <a:pt x="989" y="633"/>
                    <a:pt x="989" y="632"/>
                    <a:pt x="990" y="632"/>
                  </a:cubicBezTo>
                  <a:cubicBezTo>
                    <a:pt x="991" y="632"/>
                    <a:pt x="992" y="631"/>
                    <a:pt x="992" y="630"/>
                  </a:cubicBezTo>
                  <a:cubicBezTo>
                    <a:pt x="992" y="630"/>
                    <a:pt x="992" y="630"/>
                    <a:pt x="993" y="630"/>
                  </a:cubicBezTo>
                  <a:cubicBezTo>
                    <a:pt x="995" y="628"/>
                    <a:pt x="994" y="626"/>
                    <a:pt x="994" y="626"/>
                  </a:cubicBezTo>
                  <a:cubicBezTo>
                    <a:pt x="994" y="626"/>
                    <a:pt x="994" y="625"/>
                    <a:pt x="994" y="625"/>
                  </a:cubicBezTo>
                  <a:cubicBezTo>
                    <a:pt x="994" y="625"/>
                    <a:pt x="994" y="624"/>
                    <a:pt x="994" y="622"/>
                  </a:cubicBezTo>
                  <a:cubicBezTo>
                    <a:pt x="994" y="623"/>
                    <a:pt x="994" y="623"/>
                    <a:pt x="995" y="623"/>
                  </a:cubicBezTo>
                  <a:cubicBezTo>
                    <a:pt x="996" y="623"/>
                    <a:pt x="996" y="622"/>
                    <a:pt x="997" y="621"/>
                  </a:cubicBezTo>
                  <a:cubicBezTo>
                    <a:pt x="997" y="621"/>
                    <a:pt x="997" y="621"/>
                    <a:pt x="997" y="621"/>
                  </a:cubicBezTo>
                  <a:cubicBezTo>
                    <a:pt x="998" y="621"/>
                    <a:pt x="999" y="621"/>
                    <a:pt x="999" y="620"/>
                  </a:cubicBezTo>
                  <a:cubicBezTo>
                    <a:pt x="1000" y="619"/>
                    <a:pt x="999" y="618"/>
                    <a:pt x="999" y="618"/>
                  </a:cubicBezTo>
                  <a:cubicBezTo>
                    <a:pt x="999" y="618"/>
                    <a:pt x="999" y="618"/>
                    <a:pt x="1000" y="617"/>
                  </a:cubicBezTo>
                  <a:cubicBezTo>
                    <a:pt x="1001" y="616"/>
                    <a:pt x="1001" y="616"/>
                    <a:pt x="1001" y="616"/>
                  </a:cubicBezTo>
                  <a:cubicBezTo>
                    <a:pt x="1002" y="616"/>
                    <a:pt x="1002" y="616"/>
                    <a:pt x="1002" y="616"/>
                  </a:cubicBezTo>
                  <a:cubicBezTo>
                    <a:pt x="1003" y="616"/>
                    <a:pt x="1003" y="616"/>
                    <a:pt x="1004" y="615"/>
                  </a:cubicBezTo>
                  <a:cubicBezTo>
                    <a:pt x="1004" y="615"/>
                    <a:pt x="1004" y="615"/>
                    <a:pt x="1004" y="615"/>
                  </a:cubicBezTo>
                  <a:cubicBezTo>
                    <a:pt x="1004" y="615"/>
                    <a:pt x="1004" y="615"/>
                    <a:pt x="1004" y="615"/>
                  </a:cubicBezTo>
                  <a:cubicBezTo>
                    <a:pt x="1004" y="614"/>
                    <a:pt x="1005" y="614"/>
                    <a:pt x="1005" y="614"/>
                  </a:cubicBezTo>
                  <a:cubicBezTo>
                    <a:pt x="1005" y="614"/>
                    <a:pt x="1006" y="614"/>
                    <a:pt x="1007" y="614"/>
                  </a:cubicBezTo>
                  <a:cubicBezTo>
                    <a:pt x="1007" y="614"/>
                    <a:pt x="1008" y="614"/>
                    <a:pt x="1008" y="614"/>
                  </a:cubicBezTo>
                  <a:cubicBezTo>
                    <a:pt x="1009" y="614"/>
                    <a:pt x="1009" y="614"/>
                    <a:pt x="1010" y="615"/>
                  </a:cubicBezTo>
                  <a:cubicBezTo>
                    <a:pt x="1010" y="615"/>
                    <a:pt x="1010" y="615"/>
                    <a:pt x="1010" y="615"/>
                  </a:cubicBezTo>
                  <a:cubicBezTo>
                    <a:pt x="1011" y="616"/>
                    <a:pt x="1011" y="616"/>
                    <a:pt x="1012" y="616"/>
                  </a:cubicBezTo>
                  <a:cubicBezTo>
                    <a:pt x="1013" y="616"/>
                    <a:pt x="1013" y="616"/>
                    <a:pt x="1014" y="615"/>
                  </a:cubicBezTo>
                  <a:cubicBezTo>
                    <a:pt x="1013" y="614"/>
                    <a:pt x="1013" y="614"/>
                    <a:pt x="1013" y="614"/>
                  </a:cubicBezTo>
                  <a:cubicBezTo>
                    <a:pt x="1013" y="614"/>
                    <a:pt x="1013" y="614"/>
                    <a:pt x="1013" y="614"/>
                  </a:cubicBezTo>
                  <a:cubicBezTo>
                    <a:pt x="1014" y="615"/>
                    <a:pt x="1014" y="615"/>
                    <a:pt x="1014" y="615"/>
                  </a:cubicBezTo>
                  <a:cubicBezTo>
                    <a:pt x="1015" y="615"/>
                    <a:pt x="1015" y="615"/>
                    <a:pt x="1015" y="614"/>
                  </a:cubicBezTo>
                  <a:cubicBezTo>
                    <a:pt x="1015" y="614"/>
                    <a:pt x="1015" y="614"/>
                    <a:pt x="1015" y="614"/>
                  </a:cubicBezTo>
                  <a:cubicBezTo>
                    <a:pt x="1015" y="615"/>
                    <a:pt x="1015" y="615"/>
                    <a:pt x="1015" y="615"/>
                  </a:cubicBezTo>
                  <a:cubicBezTo>
                    <a:pt x="1015" y="615"/>
                    <a:pt x="1015" y="616"/>
                    <a:pt x="1015" y="616"/>
                  </a:cubicBezTo>
                  <a:cubicBezTo>
                    <a:pt x="1014" y="618"/>
                    <a:pt x="1015" y="620"/>
                    <a:pt x="1016" y="621"/>
                  </a:cubicBezTo>
                  <a:cubicBezTo>
                    <a:pt x="1016" y="621"/>
                    <a:pt x="1016" y="621"/>
                    <a:pt x="1017" y="622"/>
                  </a:cubicBezTo>
                  <a:cubicBezTo>
                    <a:pt x="1017" y="622"/>
                    <a:pt x="1017" y="622"/>
                    <a:pt x="1017" y="622"/>
                  </a:cubicBezTo>
                  <a:cubicBezTo>
                    <a:pt x="1017" y="623"/>
                    <a:pt x="1017" y="624"/>
                    <a:pt x="1018" y="624"/>
                  </a:cubicBezTo>
                  <a:cubicBezTo>
                    <a:pt x="1018" y="624"/>
                    <a:pt x="1018" y="624"/>
                    <a:pt x="1018" y="624"/>
                  </a:cubicBezTo>
                  <a:cubicBezTo>
                    <a:pt x="1017" y="625"/>
                    <a:pt x="1017" y="626"/>
                    <a:pt x="1017" y="626"/>
                  </a:cubicBezTo>
                  <a:cubicBezTo>
                    <a:pt x="1017" y="627"/>
                    <a:pt x="1018" y="627"/>
                    <a:pt x="1018" y="627"/>
                  </a:cubicBezTo>
                  <a:cubicBezTo>
                    <a:pt x="1018" y="627"/>
                    <a:pt x="1017" y="628"/>
                    <a:pt x="1016" y="628"/>
                  </a:cubicBezTo>
                  <a:cubicBezTo>
                    <a:pt x="1016" y="629"/>
                    <a:pt x="1015" y="629"/>
                    <a:pt x="1015" y="629"/>
                  </a:cubicBezTo>
                  <a:cubicBezTo>
                    <a:pt x="1015" y="629"/>
                    <a:pt x="1014" y="630"/>
                    <a:pt x="1013" y="630"/>
                  </a:cubicBezTo>
                  <a:cubicBezTo>
                    <a:pt x="1013" y="631"/>
                    <a:pt x="1013" y="632"/>
                    <a:pt x="1014" y="632"/>
                  </a:cubicBezTo>
                  <a:cubicBezTo>
                    <a:pt x="1013" y="633"/>
                    <a:pt x="1013" y="633"/>
                    <a:pt x="1013" y="633"/>
                  </a:cubicBezTo>
                  <a:cubicBezTo>
                    <a:pt x="1012" y="633"/>
                    <a:pt x="1012" y="633"/>
                    <a:pt x="1012" y="633"/>
                  </a:cubicBezTo>
                  <a:cubicBezTo>
                    <a:pt x="1011" y="634"/>
                    <a:pt x="1010" y="635"/>
                    <a:pt x="1010" y="636"/>
                  </a:cubicBezTo>
                  <a:cubicBezTo>
                    <a:pt x="1010" y="636"/>
                    <a:pt x="1010" y="637"/>
                    <a:pt x="1010" y="637"/>
                  </a:cubicBezTo>
                  <a:cubicBezTo>
                    <a:pt x="1010" y="638"/>
                    <a:pt x="1010" y="638"/>
                    <a:pt x="1010" y="639"/>
                  </a:cubicBezTo>
                  <a:cubicBezTo>
                    <a:pt x="1010" y="639"/>
                    <a:pt x="1010" y="639"/>
                    <a:pt x="1010" y="639"/>
                  </a:cubicBezTo>
                  <a:cubicBezTo>
                    <a:pt x="1010" y="640"/>
                    <a:pt x="1010" y="641"/>
                    <a:pt x="1010" y="641"/>
                  </a:cubicBezTo>
                  <a:cubicBezTo>
                    <a:pt x="1010" y="642"/>
                    <a:pt x="1010" y="642"/>
                    <a:pt x="1010" y="642"/>
                  </a:cubicBezTo>
                  <a:cubicBezTo>
                    <a:pt x="1010" y="642"/>
                    <a:pt x="1010" y="642"/>
                    <a:pt x="1010" y="642"/>
                  </a:cubicBezTo>
                  <a:cubicBezTo>
                    <a:pt x="1010" y="642"/>
                    <a:pt x="1010" y="643"/>
                    <a:pt x="1010" y="643"/>
                  </a:cubicBezTo>
                  <a:cubicBezTo>
                    <a:pt x="1010" y="644"/>
                    <a:pt x="1011" y="646"/>
                    <a:pt x="1012" y="646"/>
                  </a:cubicBezTo>
                  <a:cubicBezTo>
                    <a:pt x="1013" y="646"/>
                    <a:pt x="1013" y="646"/>
                    <a:pt x="1013" y="646"/>
                  </a:cubicBezTo>
                  <a:cubicBezTo>
                    <a:pt x="1013" y="646"/>
                    <a:pt x="1014" y="646"/>
                    <a:pt x="1014" y="646"/>
                  </a:cubicBezTo>
                  <a:cubicBezTo>
                    <a:pt x="1014" y="646"/>
                    <a:pt x="1014" y="646"/>
                    <a:pt x="1014" y="646"/>
                  </a:cubicBezTo>
                  <a:cubicBezTo>
                    <a:pt x="1014" y="646"/>
                    <a:pt x="1014" y="646"/>
                    <a:pt x="1015" y="647"/>
                  </a:cubicBezTo>
                  <a:cubicBezTo>
                    <a:pt x="1015" y="647"/>
                    <a:pt x="1015" y="647"/>
                    <a:pt x="1015" y="647"/>
                  </a:cubicBezTo>
                  <a:cubicBezTo>
                    <a:pt x="1016" y="648"/>
                    <a:pt x="1016" y="648"/>
                    <a:pt x="1017" y="648"/>
                  </a:cubicBezTo>
                  <a:cubicBezTo>
                    <a:pt x="1017" y="648"/>
                    <a:pt x="1017" y="648"/>
                    <a:pt x="1017" y="648"/>
                  </a:cubicBezTo>
                  <a:cubicBezTo>
                    <a:pt x="1017" y="648"/>
                    <a:pt x="1018" y="650"/>
                    <a:pt x="1019" y="650"/>
                  </a:cubicBezTo>
                  <a:cubicBezTo>
                    <a:pt x="1020" y="650"/>
                    <a:pt x="1020" y="650"/>
                    <a:pt x="1020" y="650"/>
                  </a:cubicBezTo>
                  <a:cubicBezTo>
                    <a:pt x="1020" y="650"/>
                    <a:pt x="1021" y="649"/>
                    <a:pt x="1021" y="649"/>
                  </a:cubicBezTo>
                  <a:cubicBezTo>
                    <a:pt x="1021" y="649"/>
                    <a:pt x="1021" y="649"/>
                    <a:pt x="1022" y="649"/>
                  </a:cubicBezTo>
                  <a:cubicBezTo>
                    <a:pt x="1023" y="649"/>
                    <a:pt x="1024" y="649"/>
                    <a:pt x="1024" y="648"/>
                  </a:cubicBezTo>
                  <a:cubicBezTo>
                    <a:pt x="1024" y="648"/>
                    <a:pt x="1024" y="647"/>
                    <a:pt x="1024" y="647"/>
                  </a:cubicBezTo>
                  <a:cubicBezTo>
                    <a:pt x="1024" y="647"/>
                    <a:pt x="1024" y="647"/>
                    <a:pt x="1024" y="647"/>
                  </a:cubicBezTo>
                  <a:cubicBezTo>
                    <a:pt x="1025" y="647"/>
                    <a:pt x="1025" y="646"/>
                    <a:pt x="1025" y="646"/>
                  </a:cubicBezTo>
                  <a:cubicBezTo>
                    <a:pt x="1024" y="645"/>
                    <a:pt x="1024" y="645"/>
                    <a:pt x="1024" y="645"/>
                  </a:cubicBezTo>
                  <a:cubicBezTo>
                    <a:pt x="1024" y="645"/>
                    <a:pt x="1024" y="645"/>
                    <a:pt x="1024" y="645"/>
                  </a:cubicBezTo>
                  <a:cubicBezTo>
                    <a:pt x="1026" y="645"/>
                    <a:pt x="1026" y="645"/>
                    <a:pt x="1026" y="645"/>
                  </a:cubicBezTo>
                  <a:cubicBezTo>
                    <a:pt x="1026" y="645"/>
                    <a:pt x="1026" y="645"/>
                    <a:pt x="1026" y="644"/>
                  </a:cubicBezTo>
                  <a:cubicBezTo>
                    <a:pt x="1026" y="644"/>
                    <a:pt x="1027" y="644"/>
                    <a:pt x="1027" y="644"/>
                  </a:cubicBezTo>
                  <a:cubicBezTo>
                    <a:pt x="1027" y="643"/>
                    <a:pt x="1028" y="643"/>
                    <a:pt x="1028" y="643"/>
                  </a:cubicBezTo>
                  <a:cubicBezTo>
                    <a:pt x="1028" y="642"/>
                    <a:pt x="1028" y="642"/>
                    <a:pt x="1028" y="642"/>
                  </a:cubicBezTo>
                  <a:cubicBezTo>
                    <a:pt x="1028" y="642"/>
                    <a:pt x="1028" y="642"/>
                    <a:pt x="1028" y="642"/>
                  </a:cubicBezTo>
                  <a:cubicBezTo>
                    <a:pt x="1028" y="641"/>
                    <a:pt x="1028" y="641"/>
                    <a:pt x="1029" y="641"/>
                  </a:cubicBezTo>
                  <a:cubicBezTo>
                    <a:pt x="1029" y="640"/>
                    <a:pt x="1029" y="640"/>
                    <a:pt x="1028" y="639"/>
                  </a:cubicBezTo>
                  <a:cubicBezTo>
                    <a:pt x="1028" y="639"/>
                    <a:pt x="1028" y="639"/>
                    <a:pt x="1028" y="639"/>
                  </a:cubicBezTo>
                  <a:cubicBezTo>
                    <a:pt x="1028" y="639"/>
                    <a:pt x="1028" y="639"/>
                    <a:pt x="1028" y="639"/>
                  </a:cubicBezTo>
                  <a:cubicBezTo>
                    <a:pt x="1028" y="638"/>
                    <a:pt x="1028" y="638"/>
                    <a:pt x="1028" y="638"/>
                  </a:cubicBezTo>
                  <a:cubicBezTo>
                    <a:pt x="1029" y="637"/>
                    <a:pt x="1029" y="637"/>
                    <a:pt x="1029" y="636"/>
                  </a:cubicBezTo>
                  <a:cubicBezTo>
                    <a:pt x="1029" y="636"/>
                    <a:pt x="1029" y="636"/>
                    <a:pt x="1029" y="636"/>
                  </a:cubicBezTo>
                  <a:cubicBezTo>
                    <a:pt x="1029" y="636"/>
                    <a:pt x="1029" y="636"/>
                    <a:pt x="1029" y="636"/>
                  </a:cubicBezTo>
                  <a:cubicBezTo>
                    <a:pt x="1029" y="635"/>
                    <a:pt x="1030" y="635"/>
                    <a:pt x="1030" y="635"/>
                  </a:cubicBezTo>
                  <a:cubicBezTo>
                    <a:pt x="1030" y="634"/>
                    <a:pt x="1031" y="634"/>
                    <a:pt x="1031" y="633"/>
                  </a:cubicBezTo>
                  <a:cubicBezTo>
                    <a:pt x="1031" y="632"/>
                    <a:pt x="1031" y="632"/>
                    <a:pt x="1030" y="631"/>
                  </a:cubicBezTo>
                  <a:cubicBezTo>
                    <a:pt x="1030" y="631"/>
                    <a:pt x="1030" y="631"/>
                    <a:pt x="1030" y="630"/>
                  </a:cubicBezTo>
                  <a:cubicBezTo>
                    <a:pt x="1030" y="630"/>
                    <a:pt x="1030" y="629"/>
                    <a:pt x="1030" y="629"/>
                  </a:cubicBezTo>
                  <a:cubicBezTo>
                    <a:pt x="1030" y="628"/>
                    <a:pt x="1029" y="627"/>
                    <a:pt x="1028" y="628"/>
                  </a:cubicBezTo>
                  <a:cubicBezTo>
                    <a:pt x="1028" y="627"/>
                    <a:pt x="1027" y="626"/>
                    <a:pt x="1026" y="626"/>
                  </a:cubicBezTo>
                  <a:cubicBezTo>
                    <a:pt x="1026" y="626"/>
                    <a:pt x="1025" y="626"/>
                    <a:pt x="1025" y="627"/>
                  </a:cubicBezTo>
                  <a:cubicBezTo>
                    <a:pt x="1024" y="627"/>
                    <a:pt x="1024" y="628"/>
                    <a:pt x="1024" y="629"/>
                  </a:cubicBezTo>
                  <a:cubicBezTo>
                    <a:pt x="1024" y="629"/>
                    <a:pt x="1024" y="629"/>
                    <a:pt x="1024" y="629"/>
                  </a:cubicBezTo>
                  <a:cubicBezTo>
                    <a:pt x="1024" y="629"/>
                    <a:pt x="1024" y="629"/>
                    <a:pt x="1023" y="629"/>
                  </a:cubicBezTo>
                  <a:cubicBezTo>
                    <a:pt x="1023" y="628"/>
                    <a:pt x="1022" y="628"/>
                    <a:pt x="1022" y="628"/>
                  </a:cubicBezTo>
                  <a:cubicBezTo>
                    <a:pt x="1021" y="628"/>
                    <a:pt x="1020" y="628"/>
                    <a:pt x="1020" y="627"/>
                  </a:cubicBezTo>
                  <a:cubicBezTo>
                    <a:pt x="1020" y="627"/>
                    <a:pt x="1021" y="627"/>
                    <a:pt x="1021" y="627"/>
                  </a:cubicBezTo>
                  <a:cubicBezTo>
                    <a:pt x="1021" y="627"/>
                    <a:pt x="1022" y="627"/>
                    <a:pt x="1022" y="627"/>
                  </a:cubicBezTo>
                  <a:cubicBezTo>
                    <a:pt x="1024" y="627"/>
                    <a:pt x="1025" y="626"/>
                    <a:pt x="1025" y="625"/>
                  </a:cubicBezTo>
                  <a:cubicBezTo>
                    <a:pt x="1025" y="625"/>
                    <a:pt x="1025" y="625"/>
                    <a:pt x="1025" y="625"/>
                  </a:cubicBezTo>
                  <a:cubicBezTo>
                    <a:pt x="1026" y="624"/>
                    <a:pt x="1026" y="624"/>
                    <a:pt x="1026" y="623"/>
                  </a:cubicBezTo>
                  <a:cubicBezTo>
                    <a:pt x="1026" y="622"/>
                    <a:pt x="1025" y="622"/>
                    <a:pt x="1024" y="621"/>
                  </a:cubicBezTo>
                  <a:cubicBezTo>
                    <a:pt x="1024" y="621"/>
                    <a:pt x="1024" y="621"/>
                    <a:pt x="1024" y="620"/>
                  </a:cubicBezTo>
                  <a:cubicBezTo>
                    <a:pt x="1024" y="620"/>
                    <a:pt x="1024" y="620"/>
                    <a:pt x="1024" y="620"/>
                  </a:cubicBezTo>
                  <a:cubicBezTo>
                    <a:pt x="1024" y="619"/>
                    <a:pt x="1025" y="619"/>
                    <a:pt x="1025" y="618"/>
                  </a:cubicBezTo>
                  <a:cubicBezTo>
                    <a:pt x="1025" y="617"/>
                    <a:pt x="1024" y="617"/>
                    <a:pt x="1023" y="617"/>
                  </a:cubicBezTo>
                  <a:cubicBezTo>
                    <a:pt x="1024" y="616"/>
                    <a:pt x="1024" y="616"/>
                    <a:pt x="1024" y="616"/>
                  </a:cubicBezTo>
                  <a:cubicBezTo>
                    <a:pt x="1025" y="616"/>
                    <a:pt x="1026" y="616"/>
                    <a:pt x="1026" y="615"/>
                  </a:cubicBezTo>
                  <a:cubicBezTo>
                    <a:pt x="1027" y="614"/>
                    <a:pt x="1027" y="614"/>
                    <a:pt x="1027" y="614"/>
                  </a:cubicBezTo>
                  <a:cubicBezTo>
                    <a:pt x="1028" y="614"/>
                    <a:pt x="1028" y="614"/>
                    <a:pt x="1029" y="614"/>
                  </a:cubicBezTo>
                  <a:cubicBezTo>
                    <a:pt x="1029" y="614"/>
                    <a:pt x="1029" y="614"/>
                    <a:pt x="1029" y="614"/>
                  </a:cubicBezTo>
                  <a:cubicBezTo>
                    <a:pt x="1029" y="614"/>
                    <a:pt x="1029" y="614"/>
                    <a:pt x="1030" y="614"/>
                  </a:cubicBezTo>
                  <a:cubicBezTo>
                    <a:pt x="1031" y="614"/>
                    <a:pt x="1032" y="613"/>
                    <a:pt x="1033" y="613"/>
                  </a:cubicBezTo>
                  <a:cubicBezTo>
                    <a:pt x="1033" y="613"/>
                    <a:pt x="1033" y="613"/>
                    <a:pt x="1033" y="613"/>
                  </a:cubicBezTo>
                  <a:cubicBezTo>
                    <a:pt x="1034" y="613"/>
                    <a:pt x="1035" y="612"/>
                    <a:pt x="1035" y="611"/>
                  </a:cubicBezTo>
                  <a:cubicBezTo>
                    <a:pt x="1036" y="611"/>
                    <a:pt x="1037" y="611"/>
                    <a:pt x="1037" y="611"/>
                  </a:cubicBezTo>
                  <a:cubicBezTo>
                    <a:pt x="1038" y="611"/>
                    <a:pt x="1038" y="611"/>
                    <a:pt x="1038" y="610"/>
                  </a:cubicBezTo>
                  <a:cubicBezTo>
                    <a:pt x="1039" y="611"/>
                    <a:pt x="1039" y="610"/>
                    <a:pt x="1039" y="610"/>
                  </a:cubicBezTo>
                  <a:cubicBezTo>
                    <a:pt x="1040" y="610"/>
                    <a:pt x="1040" y="610"/>
                    <a:pt x="1040" y="610"/>
                  </a:cubicBezTo>
                  <a:cubicBezTo>
                    <a:pt x="1041" y="609"/>
                    <a:pt x="1042" y="609"/>
                    <a:pt x="1042" y="608"/>
                  </a:cubicBezTo>
                  <a:cubicBezTo>
                    <a:pt x="1042" y="608"/>
                    <a:pt x="1042" y="608"/>
                    <a:pt x="1042" y="608"/>
                  </a:cubicBezTo>
                  <a:cubicBezTo>
                    <a:pt x="1043" y="608"/>
                    <a:pt x="1045" y="608"/>
                    <a:pt x="1045" y="605"/>
                  </a:cubicBezTo>
                  <a:cubicBezTo>
                    <a:pt x="1045" y="603"/>
                    <a:pt x="1045" y="603"/>
                    <a:pt x="1045" y="603"/>
                  </a:cubicBezTo>
                  <a:cubicBezTo>
                    <a:pt x="1045" y="603"/>
                    <a:pt x="1045" y="602"/>
                    <a:pt x="1046" y="602"/>
                  </a:cubicBezTo>
                  <a:cubicBezTo>
                    <a:pt x="1046" y="601"/>
                    <a:pt x="1046" y="601"/>
                    <a:pt x="1046" y="601"/>
                  </a:cubicBezTo>
                  <a:cubicBezTo>
                    <a:pt x="1046" y="602"/>
                    <a:pt x="1046" y="602"/>
                    <a:pt x="1046" y="602"/>
                  </a:cubicBezTo>
                  <a:cubicBezTo>
                    <a:pt x="1047" y="603"/>
                    <a:pt x="1047" y="604"/>
                    <a:pt x="1049" y="604"/>
                  </a:cubicBezTo>
                  <a:cubicBezTo>
                    <a:pt x="1050" y="604"/>
                    <a:pt x="1050" y="603"/>
                    <a:pt x="1050" y="602"/>
                  </a:cubicBezTo>
                  <a:cubicBezTo>
                    <a:pt x="1050" y="603"/>
                    <a:pt x="1050" y="603"/>
                    <a:pt x="1050" y="603"/>
                  </a:cubicBezTo>
                  <a:cubicBezTo>
                    <a:pt x="1051" y="603"/>
                    <a:pt x="1051" y="603"/>
                    <a:pt x="1051" y="603"/>
                  </a:cubicBezTo>
                  <a:cubicBezTo>
                    <a:pt x="1052" y="603"/>
                    <a:pt x="1052" y="603"/>
                    <a:pt x="1052" y="603"/>
                  </a:cubicBezTo>
                  <a:cubicBezTo>
                    <a:pt x="1052" y="603"/>
                    <a:pt x="1053" y="602"/>
                    <a:pt x="1053" y="602"/>
                  </a:cubicBezTo>
                  <a:cubicBezTo>
                    <a:pt x="1054" y="602"/>
                    <a:pt x="1056" y="602"/>
                    <a:pt x="1056" y="600"/>
                  </a:cubicBezTo>
                  <a:cubicBezTo>
                    <a:pt x="1056" y="600"/>
                    <a:pt x="1056" y="600"/>
                    <a:pt x="1056" y="600"/>
                  </a:cubicBezTo>
                  <a:cubicBezTo>
                    <a:pt x="1056" y="600"/>
                    <a:pt x="1057" y="600"/>
                    <a:pt x="1057" y="600"/>
                  </a:cubicBezTo>
                  <a:cubicBezTo>
                    <a:pt x="1057" y="601"/>
                    <a:pt x="1058" y="601"/>
                    <a:pt x="1058" y="601"/>
                  </a:cubicBezTo>
                  <a:cubicBezTo>
                    <a:pt x="1059" y="601"/>
                    <a:pt x="1060" y="600"/>
                    <a:pt x="1061" y="599"/>
                  </a:cubicBezTo>
                  <a:cubicBezTo>
                    <a:pt x="1061" y="600"/>
                    <a:pt x="1062" y="600"/>
                    <a:pt x="1063" y="600"/>
                  </a:cubicBezTo>
                  <a:cubicBezTo>
                    <a:pt x="1063" y="600"/>
                    <a:pt x="1063" y="600"/>
                    <a:pt x="1063" y="600"/>
                  </a:cubicBezTo>
                  <a:cubicBezTo>
                    <a:pt x="1064" y="600"/>
                    <a:pt x="1065" y="600"/>
                    <a:pt x="1066" y="598"/>
                  </a:cubicBezTo>
                  <a:cubicBezTo>
                    <a:pt x="1066" y="598"/>
                    <a:pt x="1067" y="598"/>
                    <a:pt x="1067" y="598"/>
                  </a:cubicBezTo>
                  <a:cubicBezTo>
                    <a:pt x="1068" y="597"/>
                    <a:pt x="1068" y="596"/>
                    <a:pt x="1068" y="596"/>
                  </a:cubicBezTo>
                  <a:cubicBezTo>
                    <a:pt x="1068" y="595"/>
                    <a:pt x="1068" y="593"/>
                    <a:pt x="1068" y="591"/>
                  </a:cubicBezTo>
                  <a:cubicBezTo>
                    <a:pt x="1068" y="591"/>
                    <a:pt x="1069" y="591"/>
                    <a:pt x="1069" y="591"/>
                  </a:cubicBezTo>
                  <a:cubicBezTo>
                    <a:pt x="1070" y="591"/>
                    <a:pt x="1070" y="591"/>
                    <a:pt x="1071" y="591"/>
                  </a:cubicBezTo>
                  <a:cubicBezTo>
                    <a:pt x="1071" y="591"/>
                    <a:pt x="1071" y="591"/>
                    <a:pt x="1072" y="591"/>
                  </a:cubicBezTo>
                  <a:cubicBezTo>
                    <a:pt x="1073" y="591"/>
                    <a:pt x="1074" y="591"/>
                    <a:pt x="1074" y="588"/>
                  </a:cubicBezTo>
                  <a:cubicBezTo>
                    <a:pt x="1074" y="588"/>
                    <a:pt x="1074" y="588"/>
                    <a:pt x="1075" y="587"/>
                  </a:cubicBezTo>
                  <a:cubicBezTo>
                    <a:pt x="1075" y="587"/>
                    <a:pt x="1075" y="586"/>
                    <a:pt x="1075" y="586"/>
                  </a:cubicBezTo>
                  <a:cubicBezTo>
                    <a:pt x="1076" y="585"/>
                    <a:pt x="1076" y="584"/>
                    <a:pt x="1076" y="584"/>
                  </a:cubicBezTo>
                  <a:cubicBezTo>
                    <a:pt x="1076" y="584"/>
                    <a:pt x="1076" y="584"/>
                    <a:pt x="1077" y="583"/>
                  </a:cubicBezTo>
                  <a:cubicBezTo>
                    <a:pt x="1077" y="583"/>
                    <a:pt x="1077" y="583"/>
                    <a:pt x="1077" y="583"/>
                  </a:cubicBezTo>
                  <a:cubicBezTo>
                    <a:pt x="1078" y="583"/>
                    <a:pt x="1078" y="582"/>
                    <a:pt x="1078" y="582"/>
                  </a:cubicBezTo>
                  <a:cubicBezTo>
                    <a:pt x="1078" y="580"/>
                    <a:pt x="1077" y="580"/>
                    <a:pt x="1075" y="580"/>
                  </a:cubicBezTo>
                  <a:cubicBezTo>
                    <a:pt x="1076" y="580"/>
                    <a:pt x="1076" y="579"/>
                    <a:pt x="1077" y="579"/>
                  </a:cubicBezTo>
                  <a:cubicBezTo>
                    <a:pt x="1077" y="579"/>
                    <a:pt x="1077" y="579"/>
                    <a:pt x="1077" y="579"/>
                  </a:cubicBezTo>
                  <a:cubicBezTo>
                    <a:pt x="1077" y="581"/>
                    <a:pt x="1078" y="581"/>
                    <a:pt x="1079" y="581"/>
                  </a:cubicBezTo>
                  <a:cubicBezTo>
                    <a:pt x="1080" y="581"/>
                    <a:pt x="1080" y="580"/>
                    <a:pt x="1080" y="579"/>
                  </a:cubicBezTo>
                  <a:cubicBezTo>
                    <a:pt x="1081" y="578"/>
                    <a:pt x="1081" y="578"/>
                    <a:pt x="1081" y="578"/>
                  </a:cubicBezTo>
                  <a:cubicBezTo>
                    <a:pt x="1081" y="578"/>
                    <a:pt x="1081" y="578"/>
                    <a:pt x="1081" y="577"/>
                  </a:cubicBezTo>
                  <a:cubicBezTo>
                    <a:pt x="1082" y="576"/>
                    <a:pt x="1082" y="575"/>
                    <a:pt x="1082" y="575"/>
                  </a:cubicBezTo>
                  <a:cubicBezTo>
                    <a:pt x="1082" y="574"/>
                    <a:pt x="1083" y="574"/>
                    <a:pt x="1083" y="573"/>
                  </a:cubicBezTo>
                  <a:cubicBezTo>
                    <a:pt x="1083" y="573"/>
                    <a:pt x="1083" y="573"/>
                    <a:pt x="1083" y="573"/>
                  </a:cubicBezTo>
                  <a:cubicBezTo>
                    <a:pt x="1083" y="572"/>
                    <a:pt x="1084" y="572"/>
                    <a:pt x="1084" y="571"/>
                  </a:cubicBezTo>
                  <a:cubicBezTo>
                    <a:pt x="1084" y="571"/>
                    <a:pt x="1084" y="570"/>
                    <a:pt x="1084" y="570"/>
                  </a:cubicBezTo>
                  <a:cubicBezTo>
                    <a:pt x="1084" y="570"/>
                    <a:pt x="1084" y="570"/>
                    <a:pt x="1084" y="570"/>
                  </a:cubicBezTo>
                  <a:cubicBezTo>
                    <a:pt x="1085" y="570"/>
                    <a:pt x="1086" y="569"/>
                    <a:pt x="1086" y="569"/>
                  </a:cubicBezTo>
                  <a:cubicBezTo>
                    <a:pt x="1086" y="568"/>
                    <a:pt x="1086" y="567"/>
                    <a:pt x="1085" y="566"/>
                  </a:cubicBezTo>
                  <a:cubicBezTo>
                    <a:pt x="1085" y="566"/>
                    <a:pt x="1085" y="566"/>
                    <a:pt x="1085" y="566"/>
                  </a:cubicBezTo>
                  <a:cubicBezTo>
                    <a:pt x="1085" y="566"/>
                    <a:pt x="1085" y="565"/>
                    <a:pt x="1085" y="565"/>
                  </a:cubicBezTo>
                  <a:cubicBezTo>
                    <a:pt x="1085" y="564"/>
                    <a:pt x="1086" y="563"/>
                    <a:pt x="1085" y="563"/>
                  </a:cubicBezTo>
                  <a:cubicBezTo>
                    <a:pt x="1085" y="562"/>
                    <a:pt x="1084" y="562"/>
                    <a:pt x="1084" y="562"/>
                  </a:cubicBezTo>
                  <a:cubicBezTo>
                    <a:pt x="1084" y="562"/>
                    <a:pt x="1084" y="562"/>
                    <a:pt x="1084" y="561"/>
                  </a:cubicBezTo>
                  <a:cubicBezTo>
                    <a:pt x="1085" y="562"/>
                    <a:pt x="1086" y="561"/>
                    <a:pt x="1086" y="560"/>
                  </a:cubicBezTo>
                  <a:cubicBezTo>
                    <a:pt x="1087" y="559"/>
                    <a:pt x="1086" y="559"/>
                    <a:pt x="1086" y="558"/>
                  </a:cubicBezTo>
                  <a:cubicBezTo>
                    <a:pt x="1086" y="558"/>
                    <a:pt x="1086" y="558"/>
                    <a:pt x="1085" y="558"/>
                  </a:cubicBezTo>
                  <a:cubicBezTo>
                    <a:pt x="1085" y="558"/>
                    <a:pt x="1086" y="558"/>
                    <a:pt x="1086" y="557"/>
                  </a:cubicBezTo>
                  <a:cubicBezTo>
                    <a:pt x="1086" y="557"/>
                    <a:pt x="1086" y="556"/>
                    <a:pt x="1086" y="555"/>
                  </a:cubicBezTo>
                  <a:cubicBezTo>
                    <a:pt x="1086" y="555"/>
                    <a:pt x="1087" y="554"/>
                    <a:pt x="1087" y="554"/>
                  </a:cubicBezTo>
                  <a:cubicBezTo>
                    <a:pt x="1087" y="553"/>
                    <a:pt x="1087" y="553"/>
                    <a:pt x="1087" y="553"/>
                  </a:cubicBezTo>
                  <a:cubicBezTo>
                    <a:pt x="1087" y="553"/>
                    <a:pt x="1087" y="553"/>
                    <a:pt x="1087" y="552"/>
                  </a:cubicBezTo>
                  <a:cubicBezTo>
                    <a:pt x="1088" y="552"/>
                    <a:pt x="1088" y="552"/>
                    <a:pt x="1088" y="552"/>
                  </a:cubicBezTo>
                  <a:cubicBezTo>
                    <a:pt x="1088" y="552"/>
                    <a:pt x="1088" y="552"/>
                    <a:pt x="1088" y="552"/>
                  </a:cubicBezTo>
                  <a:cubicBezTo>
                    <a:pt x="1089" y="551"/>
                    <a:pt x="1089" y="551"/>
                    <a:pt x="1089" y="550"/>
                  </a:cubicBezTo>
                  <a:cubicBezTo>
                    <a:pt x="1089" y="549"/>
                    <a:pt x="1090" y="549"/>
                    <a:pt x="1090" y="548"/>
                  </a:cubicBezTo>
                  <a:cubicBezTo>
                    <a:pt x="1090" y="548"/>
                    <a:pt x="1089" y="547"/>
                    <a:pt x="1088" y="546"/>
                  </a:cubicBezTo>
                  <a:cubicBezTo>
                    <a:pt x="1089" y="545"/>
                    <a:pt x="1089" y="544"/>
                    <a:pt x="1089" y="544"/>
                  </a:cubicBezTo>
                  <a:cubicBezTo>
                    <a:pt x="1089" y="543"/>
                    <a:pt x="1089" y="543"/>
                    <a:pt x="1089" y="543"/>
                  </a:cubicBezTo>
                  <a:cubicBezTo>
                    <a:pt x="1089" y="543"/>
                    <a:pt x="1089" y="543"/>
                    <a:pt x="1089" y="543"/>
                  </a:cubicBezTo>
                  <a:cubicBezTo>
                    <a:pt x="1089" y="543"/>
                    <a:pt x="1089" y="543"/>
                    <a:pt x="1089" y="542"/>
                  </a:cubicBezTo>
                  <a:cubicBezTo>
                    <a:pt x="1089" y="542"/>
                    <a:pt x="1090" y="542"/>
                    <a:pt x="1090" y="541"/>
                  </a:cubicBezTo>
                  <a:cubicBezTo>
                    <a:pt x="1091" y="541"/>
                    <a:pt x="1092" y="541"/>
                    <a:pt x="1092" y="539"/>
                  </a:cubicBezTo>
                  <a:cubicBezTo>
                    <a:pt x="1092" y="539"/>
                    <a:pt x="1093" y="539"/>
                    <a:pt x="1093" y="539"/>
                  </a:cubicBezTo>
                  <a:cubicBezTo>
                    <a:pt x="1094" y="539"/>
                    <a:pt x="1094" y="538"/>
                    <a:pt x="1094" y="538"/>
                  </a:cubicBezTo>
                  <a:cubicBezTo>
                    <a:pt x="1094" y="537"/>
                    <a:pt x="1094" y="536"/>
                    <a:pt x="1093" y="535"/>
                  </a:cubicBezTo>
                  <a:cubicBezTo>
                    <a:pt x="1093" y="535"/>
                    <a:pt x="1093" y="535"/>
                    <a:pt x="1093" y="534"/>
                  </a:cubicBezTo>
                  <a:cubicBezTo>
                    <a:pt x="1093" y="534"/>
                    <a:pt x="1092" y="534"/>
                    <a:pt x="1092" y="534"/>
                  </a:cubicBezTo>
                  <a:cubicBezTo>
                    <a:pt x="1092" y="533"/>
                    <a:pt x="1092" y="533"/>
                    <a:pt x="1093" y="533"/>
                  </a:cubicBezTo>
                  <a:cubicBezTo>
                    <a:pt x="1093" y="532"/>
                    <a:pt x="1092" y="531"/>
                    <a:pt x="1092" y="530"/>
                  </a:cubicBezTo>
                  <a:cubicBezTo>
                    <a:pt x="1092" y="530"/>
                    <a:pt x="1093" y="530"/>
                    <a:pt x="1093" y="529"/>
                  </a:cubicBezTo>
                  <a:cubicBezTo>
                    <a:pt x="1094" y="528"/>
                    <a:pt x="1093" y="526"/>
                    <a:pt x="1093" y="526"/>
                  </a:cubicBezTo>
                  <a:cubicBezTo>
                    <a:pt x="1093" y="526"/>
                    <a:pt x="1093" y="525"/>
                    <a:pt x="1093" y="525"/>
                  </a:cubicBezTo>
                  <a:cubicBezTo>
                    <a:pt x="1092" y="524"/>
                    <a:pt x="1092" y="524"/>
                    <a:pt x="1092" y="524"/>
                  </a:cubicBezTo>
                  <a:cubicBezTo>
                    <a:pt x="1092" y="523"/>
                    <a:pt x="1093" y="523"/>
                    <a:pt x="1092" y="522"/>
                  </a:cubicBezTo>
                  <a:cubicBezTo>
                    <a:pt x="1092" y="521"/>
                    <a:pt x="1091" y="519"/>
                    <a:pt x="1090" y="519"/>
                  </a:cubicBezTo>
                  <a:cubicBezTo>
                    <a:pt x="1089" y="519"/>
                    <a:pt x="1088" y="518"/>
                    <a:pt x="1088" y="518"/>
                  </a:cubicBezTo>
                  <a:cubicBezTo>
                    <a:pt x="1088" y="517"/>
                    <a:pt x="1087" y="517"/>
                    <a:pt x="1087" y="516"/>
                  </a:cubicBezTo>
                  <a:cubicBezTo>
                    <a:pt x="1086" y="516"/>
                    <a:pt x="1085" y="515"/>
                    <a:pt x="1083" y="515"/>
                  </a:cubicBezTo>
                  <a:cubicBezTo>
                    <a:pt x="1083" y="515"/>
                    <a:pt x="1083" y="515"/>
                    <a:pt x="1083" y="515"/>
                  </a:cubicBezTo>
                  <a:cubicBezTo>
                    <a:pt x="1084" y="515"/>
                    <a:pt x="1084" y="514"/>
                    <a:pt x="1084" y="514"/>
                  </a:cubicBezTo>
                  <a:cubicBezTo>
                    <a:pt x="1084" y="514"/>
                    <a:pt x="1085" y="513"/>
                    <a:pt x="1085" y="512"/>
                  </a:cubicBezTo>
                  <a:cubicBezTo>
                    <a:pt x="1085" y="512"/>
                    <a:pt x="1086" y="512"/>
                    <a:pt x="1086" y="512"/>
                  </a:cubicBezTo>
                  <a:cubicBezTo>
                    <a:pt x="1087" y="512"/>
                    <a:pt x="1088" y="512"/>
                    <a:pt x="1088" y="511"/>
                  </a:cubicBezTo>
                  <a:cubicBezTo>
                    <a:pt x="1089" y="510"/>
                    <a:pt x="1088" y="509"/>
                    <a:pt x="1088" y="509"/>
                  </a:cubicBezTo>
                  <a:cubicBezTo>
                    <a:pt x="1088" y="508"/>
                    <a:pt x="1087" y="508"/>
                    <a:pt x="1087" y="508"/>
                  </a:cubicBezTo>
                  <a:cubicBezTo>
                    <a:pt x="1087" y="508"/>
                    <a:pt x="1087" y="508"/>
                    <a:pt x="1087" y="508"/>
                  </a:cubicBezTo>
                  <a:cubicBezTo>
                    <a:pt x="1087" y="507"/>
                    <a:pt x="1087" y="506"/>
                    <a:pt x="1086" y="505"/>
                  </a:cubicBezTo>
                  <a:cubicBezTo>
                    <a:pt x="1085" y="505"/>
                    <a:pt x="1083" y="504"/>
                    <a:pt x="1082" y="503"/>
                  </a:cubicBezTo>
                  <a:cubicBezTo>
                    <a:pt x="1081" y="502"/>
                    <a:pt x="1080" y="502"/>
                    <a:pt x="1079" y="502"/>
                  </a:cubicBezTo>
                  <a:cubicBezTo>
                    <a:pt x="1081" y="502"/>
                    <a:pt x="1081" y="502"/>
                    <a:pt x="1082" y="502"/>
                  </a:cubicBezTo>
                  <a:cubicBezTo>
                    <a:pt x="1082" y="502"/>
                    <a:pt x="1082" y="502"/>
                    <a:pt x="1082" y="502"/>
                  </a:cubicBezTo>
                  <a:cubicBezTo>
                    <a:pt x="1083" y="502"/>
                    <a:pt x="1083" y="503"/>
                    <a:pt x="1084" y="503"/>
                  </a:cubicBezTo>
                  <a:cubicBezTo>
                    <a:pt x="1085" y="503"/>
                    <a:pt x="1086" y="503"/>
                    <a:pt x="1086" y="502"/>
                  </a:cubicBezTo>
                  <a:cubicBezTo>
                    <a:pt x="1087" y="501"/>
                    <a:pt x="1087" y="500"/>
                    <a:pt x="1084" y="497"/>
                  </a:cubicBezTo>
                  <a:cubicBezTo>
                    <a:pt x="1084" y="497"/>
                    <a:pt x="1083" y="496"/>
                    <a:pt x="1082" y="496"/>
                  </a:cubicBezTo>
                  <a:cubicBezTo>
                    <a:pt x="1081" y="495"/>
                    <a:pt x="1081" y="494"/>
                    <a:pt x="1080" y="494"/>
                  </a:cubicBezTo>
                  <a:cubicBezTo>
                    <a:pt x="1080" y="493"/>
                    <a:pt x="1079" y="492"/>
                    <a:pt x="1078" y="492"/>
                  </a:cubicBezTo>
                  <a:cubicBezTo>
                    <a:pt x="1078" y="492"/>
                    <a:pt x="1078" y="492"/>
                    <a:pt x="1077" y="492"/>
                  </a:cubicBezTo>
                  <a:cubicBezTo>
                    <a:pt x="1077" y="492"/>
                    <a:pt x="1076" y="492"/>
                    <a:pt x="1076" y="492"/>
                  </a:cubicBezTo>
                  <a:cubicBezTo>
                    <a:pt x="1076" y="491"/>
                    <a:pt x="1076" y="491"/>
                    <a:pt x="1076" y="491"/>
                  </a:cubicBezTo>
                  <a:cubicBezTo>
                    <a:pt x="1076" y="491"/>
                    <a:pt x="1076" y="491"/>
                    <a:pt x="1076" y="490"/>
                  </a:cubicBezTo>
                  <a:cubicBezTo>
                    <a:pt x="1076" y="488"/>
                    <a:pt x="1075" y="487"/>
                    <a:pt x="1074" y="486"/>
                  </a:cubicBezTo>
                  <a:cubicBezTo>
                    <a:pt x="1074" y="486"/>
                    <a:pt x="1073" y="485"/>
                    <a:pt x="1073" y="485"/>
                  </a:cubicBezTo>
                  <a:cubicBezTo>
                    <a:pt x="1073" y="483"/>
                    <a:pt x="1071" y="482"/>
                    <a:pt x="1070" y="482"/>
                  </a:cubicBezTo>
                  <a:cubicBezTo>
                    <a:pt x="1070" y="482"/>
                    <a:pt x="1070" y="482"/>
                    <a:pt x="1070" y="482"/>
                  </a:cubicBezTo>
                  <a:cubicBezTo>
                    <a:pt x="1070" y="480"/>
                    <a:pt x="1069" y="479"/>
                    <a:pt x="1068" y="479"/>
                  </a:cubicBezTo>
                  <a:cubicBezTo>
                    <a:pt x="1068" y="478"/>
                    <a:pt x="1068" y="478"/>
                    <a:pt x="1068" y="478"/>
                  </a:cubicBezTo>
                  <a:cubicBezTo>
                    <a:pt x="1068" y="478"/>
                    <a:pt x="1067" y="477"/>
                    <a:pt x="1067" y="476"/>
                  </a:cubicBezTo>
                  <a:cubicBezTo>
                    <a:pt x="1066" y="475"/>
                    <a:pt x="1066" y="475"/>
                    <a:pt x="1066" y="475"/>
                  </a:cubicBezTo>
                  <a:cubicBezTo>
                    <a:pt x="1066" y="474"/>
                    <a:pt x="1064" y="473"/>
                    <a:pt x="1061" y="472"/>
                  </a:cubicBezTo>
                  <a:cubicBezTo>
                    <a:pt x="1061" y="471"/>
                    <a:pt x="1061" y="471"/>
                    <a:pt x="1061" y="471"/>
                  </a:cubicBezTo>
                  <a:cubicBezTo>
                    <a:pt x="1060" y="471"/>
                    <a:pt x="1060" y="471"/>
                    <a:pt x="1060" y="471"/>
                  </a:cubicBezTo>
                  <a:cubicBezTo>
                    <a:pt x="1060" y="469"/>
                    <a:pt x="1059" y="469"/>
                    <a:pt x="1058" y="468"/>
                  </a:cubicBezTo>
                  <a:cubicBezTo>
                    <a:pt x="1057" y="468"/>
                    <a:pt x="1057" y="468"/>
                    <a:pt x="1057" y="468"/>
                  </a:cubicBezTo>
                  <a:cubicBezTo>
                    <a:pt x="1057" y="468"/>
                    <a:pt x="1057" y="468"/>
                    <a:pt x="1057" y="468"/>
                  </a:cubicBezTo>
                  <a:cubicBezTo>
                    <a:pt x="1057" y="468"/>
                    <a:pt x="1057" y="468"/>
                    <a:pt x="1057" y="468"/>
                  </a:cubicBezTo>
                  <a:cubicBezTo>
                    <a:pt x="1058" y="467"/>
                    <a:pt x="1058" y="466"/>
                    <a:pt x="1057" y="465"/>
                  </a:cubicBezTo>
                  <a:cubicBezTo>
                    <a:pt x="1057" y="465"/>
                    <a:pt x="1057" y="464"/>
                    <a:pt x="1057" y="464"/>
                  </a:cubicBezTo>
                  <a:cubicBezTo>
                    <a:pt x="1057" y="464"/>
                    <a:pt x="1057" y="464"/>
                    <a:pt x="1057" y="464"/>
                  </a:cubicBezTo>
                  <a:cubicBezTo>
                    <a:pt x="1057" y="464"/>
                    <a:pt x="1057" y="464"/>
                    <a:pt x="1057" y="464"/>
                  </a:cubicBezTo>
                  <a:cubicBezTo>
                    <a:pt x="1058" y="463"/>
                    <a:pt x="1058" y="462"/>
                    <a:pt x="1058" y="461"/>
                  </a:cubicBezTo>
                  <a:cubicBezTo>
                    <a:pt x="1058" y="461"/>
                    <a:pt x="1058" y="461"/>
                    <a:pt x="1059" y="459"/>
                  </a:cubicBezTo>
                  <a:cubicBezTo>
                    <a:pt x="1060" y="457"/>
                    <a:pt x="1059" y="456"/>
                    <a:pt x="1058" y="455"/>
                  </a:cubicBezTo>
                  <a:cubicBezTo>
                    <a:pt x="1058" y="455"/>
                    <a:pt x="1058" y="455"/>
                    <a:pt x="1058" y="455"/>
                  </a:cubicBezTo>
                  <a:cubicBezTo>
                    <a:pt x="1058" y="455"/>
                    <a:pt x="1058" y="455"/>
                    <a:pt x="1059" y="455"/>
                  </a:cubicBezTo>
                  <a:cubicBezTo>
                    <a:pt x="1059" y="455"/>
                    <a:pt x="1059" y="455"/>
                    <a:pt x="1059" y="455"/>
                  </a:cubicBezTo>
                  <a:cubicBezTo>
                    <a:pt x="1060" y="455"/>
                    <a:pt x="1061" y="454"/>
                    <a:pt x="1062" y="453"/>
                  </a:cubicBezTo>
                  <a:cubicBezTo>
                    <a:pt x="1062" y="453"/>
                    <a:pt x="1063" y="452"/>
                    <a:pt x="1063" y="452"/>
                  </a:cubicBezTo>
                  <a:cubicBezTo>
                    <a:pt x="1063" y="452"/>
                    <a:pt x="1063" y="451"/>
                    <a:pt x="1063" y="451"/>
                  </a:cubicBezTo>
                  <a:cubicBezTo>
                    <a:pt x="1064" y="451"/>
                    <a:pt x="1065" y="450"/>
                    <a:pt x="1065" y="449"/>
                  </a:cubicBezTo>
                  <a:cubicBezTo>
                    <a:pt x="1066" y="449"/>
                    <a:pt x="1067" y="449"/>
                    <a:pt x="1067" y="448"/>
                  </a:cubicBezTo>
                  <a:cubicBezTo>
                    <a:pt x="1067" y="448"/>
                    <a:pt x="1067" y="448"/>
                    <a:pt x="1067" y="448"/>
                  </a:cubicBezTo>
                  <a:cubicBezTo>
                    <a:pt x="1067" y="448"/>
                    <a:pt x="1067" y="448"/>
                    <a:pt x="1068" y="448"/>
                  </a:cubicBezTo>
                  <a:cubicBezTo>
                    <a:pt x="1068" y="448"/>
                    <a:pt x="1069" y="449"/>
                    <a:pt x="1069" y="449"/>
                  </a:cubicBezTo>
                  <a:cubicBezTo>
                    <a:pt x="1070" y="449"/>
                    <a:pt x="1071" y="448"/>
                    <a:pt x="1071" y="447"/>
                  </a:cubicBezTo>
                  <a:cubicBezTo>
                    <a:pt x="1072" y="447"/>
                    <a:pt x="1072" y="447"/>
                    <a:pt x="1073" y="447"/>
                  </a:cubicBezTo>
                  <a:cubicBezTo>
                    <a:pt x="1073" y="447"/>
                    <a:pt x="1074" y="446"/>
                    <a:pt x="1074" y="445"/>
                  </a:cubicBezTo>
                  <a:cubicBezTo>
                    <a:pt x="1074" y="444"/>
                    <a:pt x="1073" y="442"/>
                    <a:pt x="1072" y="441"/>
                  </a:cubicBezTo>
                  <a:cubicBezTo>
                    <a:pt x="1072" y="441"/>
                    <a:pt x="1072" y="441"/>
                    <a:pt x="1072" y="441"/>
                  </a:cubicBezTo>
                  <a:cubicBezTo>
                    <a:pt x="1072" y="441"/>
                    <a:pt x="1073" y="440"/>
                    <a:pt x="1072" y="439"/>
                  </a:cubicBezTo>
                  <a:cubicBezTo>
                    <a:pt x="1071" y="438"/>
                    <a:pt x="1070" y="438"/>
                    <a:pt x="1069" y="439"/>
                  </a:cubicBezTo>
                  <a:cubicBezTo>
                    <a:pt x="1068" y="438"/>
                    <a:pt x="1068" y="438"/>
                    <a:pt x="1067" y="438"/>
                  </a:cubicBezTo>
                  <a:cubicBezTo>
                    <a:pt x="1066" y="438"/>
                    <a:pt x="1066" y="438"/>
                    <a:pt x="1066" y="438"/>
                  </a:cubicBezTo>
                  <a:cubicBezTo>
                    <a:pt x="1066" y="438"/>
                    <a:pt x="1066" y="438"/>
                    <a:pt x="1066" y="438"/>
                  </a:cubicBezTo>
                  <a:cubicBezTo>
                    <a:pt x="1065" y="438"/>
                    <a:pt x="1064" y="438"/>
                    <a:pt x="1064" y="439"/>
                  </a:cubicBezTo>
                  <a:cubicBezTo>
                    <a:pt x="1063" y="439"/>
                    <a:pt x="1063" y="440"/>
                    <a:pt x="1063" y="440"/>
                  </a:cubicBezTo>
                  <a:cubicBezTo>
                    <a:pt x="1063" y="440"/>
                    <a:pt x="1063" y="440"/>
                    <a:pt x="1063" y="440"/>
                  </a:cubicBezTo>
                  <a:cubicBezTo>
                    <a:pt x="1062" y="438"/>
                    <a:pt x="1061" y="437"/>
                    <a:pt x="1061" y="437"/>
                  </a:cubicBezTo>
                  <a:cubicBezTo>
                    <a:pt x="1060" y="437"/>
                    <a:pt x="1060" y="437"/>
                    <a:pt x="1059" y="438"/>
                  </a:cubicBezTo>
                  <a:cubicBezTo>
                    <a:pt x="1059" y="438"/>
                    <a:pt x="1059" y="438"/>
                    <a:pt x="1059" y="438"/>
                  </a:cubicBezTo>
                  <a:cubicBezTo>
                    <a:pt x="1058" y="437"/>
                    <a:pt x="1058" y="437"/>
                    <a:pt x="1057" y="437"/>
                  </a:cubicBezTo>
                  <a:cubicBezTo>
                    <a:pt x="1056" y="436"/>
                    <a:pt x="1054" y="437"/>
                    <a:pt x="1054" y="437"/>
                  </a:cubicBezTo>
                  <a:cubicBezTo>
                    <a:pt x="1054" y="437"/>
                    <a:pt x="1054" y="437"/>
                    <a:pt x="1053" y="437"/>
                  </a:cubicBezTo>
                  <a:cubicBezTo>
                    <a:pt x="1052" y="437"/>
                    <a:pt x="1051" y="438"/>
                    <a:pt x="1051" y="438"/>
                  </a:cubicBezTo>
                  <a:cubicBezTo>
                    <a:pt x="1051" y="438"/>
                    <a:pt x="1050" y="439"/>
                    <a:pt x="1050" y="440"/>
                  </a:cubicBezTo>
                  <a:cubicBezTo>
                    <a:pt x="1049" y="440"/>
                    <a:pt x="1049" y="442"/>
                    <a:pt x="1049" y="443"/>
                  </a:cubicBezTo>
                  <a:cubicBezTo>
                    <a:pt x="1050" y="443"/>
                    <a:pt x="1050" y="443"/>
                    <a:pt x="1050" y="443"/>
                  </a:cubicBezTo>
                  <a:cubicBezTo>
                    <a:pt x="1049" y="443"/>
                    <a:pt x="1049" y="443"/>
                    <a:pt x="1049" y="443"/>
                  </a:cubicBezTo>
                  <a:cubicBezTo>
                    <a:pt x="1048" y="443"/>
                    <a:pt x="1048" y="443"/>
                    <a:pt x="1047" y="443"/>
                  </a:cubicBezTo>
                  <a:cubicBezTo>
                    <a:pt x="1047" y="443"/>
                    <a:pt x="1047" y="443"/>
                    <a:pt x="1047" y="443"/>
                  </a:cubicBezTo>
                  <a:cubicBezTo>
                    <a:pt x="1047" y="443"/>
                    <a:pt x="1046" y="442"/>
                    <a:pt x="1045" y="442"/>
                  </a:cubicBezTo>
                  <a:cubicBezTo>
                    <a:pt x="1045" y="442"/>
                    <a:pt x="1045" y="441"/>
                    <a:pt x="1044" y="439"/>
                  </a:cubicBezTo>
                  <a:cubicBezTo>
                    <a:pt x="1044" y="438"/>
                    <a:pt x="1044" y="438"/>
                    <a:pt x="1044" y="438"/>
                  </a:cubicBezTo>
                  <a:cubicBezTo>
                    <a:pt x="1044" y="436"/>
                    <a:pt x="1043" y="436"/>
                    <a:pt x="1042" y="436"/>
                  </a:cubicBezTo>
                  <a:cubicBezTo>
                    <a:pt x="1042" y="435"/>
                    <a:pt x="1041" y="435"/>
                    <a:pt x="1040" y="435"/>
                  </a:cubicBezTo>
                  <a:cubicBezTo>
                    <a:pt x="1040" y="434"/>
                    <a:pt x="1040" y="434"/>
                    <a:pt x="1040" y="434"/>
                  </a:cubicBezTo>
                  <a:cubicBezTo>
                    <a:pt x="1038" y="434"/>
                    <a:pt x="1038" y="435"/>
                    <a:pt x="1037" y="435"/>
                  </a:cubicBezTo>
                  <a:cubicBezTo>
                    <a:pt x="1037" y="435"/>
                    <a:pt x="1036" y="435"/>
                    <a:pt x="1036" y="435"/>
                  </a:cubicBezTo>
                  <a:cubicBezTo>
                    <a:pt x="1036" y="434"/>
                    <a:pt x="1035" y="433"/>
                    <a:pt x="1033" y="433"/>
                  </a:cubicBezTo>
                  <a:cubicBezTo>
                    <a:pt x="1033" y="432"/>
                    <a:pt x="1033" y="431"/>
                    <a:pt x="1032" y="430"/>
                  </a:cubicBezTo>
                  <a:cubicBezTo>
                    <a:pt x="1031" y="429"/>
                    <a:pt x="1031" y="429"/>
                    <a:pt x="1031" y="428"/>
                  </a:cubicBezTo>
                  <a:cubicBezTo>
                    <a:pt x="1032" y="427"/>
                    <a:pt x="1031" y="426"/>
                    <a:pt x="1031" y="425"/>
                  </a:cubicBezTo>
                  <a:cubicBezTo>
                    <a:pt x="1031" y="425"/>
                    <a:pt x="1031" y="425"/>
                    <a:pt x="1031" y="425"/>
                  </a:cubicBezTo>
                  <a:cubicBezTo>
                    <a:pt x="1031" y="426"/>
                    <a:pt x="1031" y="426"/>
                    <a:pt x="1031" y="426"/>
                  </a:cubicBezTo>
                  <a:cubicBezTo>
                    <a:pt x="1031" y="426"/>
                    <a:pt x="1032" y="427"/>
                    <a:pt x="1033" y="427"/>
                  </a:cubicBezTo>
                  <a:cubicBezTo>
                    <a:pt x="1034" y="427"/>
                    <a:pt x="1034" y="426"/>
                    <a:pt x="1035" y="426"/>
                  </a:cubicBezTo>
                  <a:cubicBezTo>
                    <a:pt x="1035" y="426"/>
                    <a:pt x="1035" y="426"/>
                    <a:pt x="1035" y="426"/>
                  </a:cubicBezTo>
                  <a:cubicBezTo>
                    <a:pt x="1035" y="426"/>
                    <a:pt x="1036" y="426"/>
                    <a:pt x="1036" y="426"/>
                  </a:cubicBezTo>
                  <a:cubicBezTo>
                    <a:pt x="1037" y="426"/>
                    <a:pt x="1038" y="425"/>
                    <a:pt x="1038" y="425"/>
                  </a:cubicBezTo>
                  <a:cubicBezTo>
                    <a:pt x="1039" y="425"/>
                    <a:pt x="1039" y="424"/>
                    <a:pt x="1039" y="423"/>
                  </a:cubicBezTo>
                  <a:cubicBezTo>
                    <a:pt x="1039" y="423"/>
                    <a:pt x="1039" y="423"/>
                    <a:pt x="1039" y="423"/>
                  </a:cubicBezTo>
                  <a:cubicBezTo>
                    <a:pt x="1040" y="422"/>
                    <a:pt x="1040" y="421"/>
                    <a:pt x="1040" y="419"/>
                  </a:cubicBezTo>
                  <a:cubicBezTo>
                    <a:pt x="1040" y="419"/>
                    <a:pt x="1040" y="419"/>
                    <a:pt x="1040" y="419"/>
                  </a:cubicBezTo>
                  <a:cubicBezTo>
                    <a:pt x="1040" y="419"/>
                    <a:pt x="1040" y="418"/>
                    <a:pt x="1040" y="417"/>
                  </a:cubicBezTo>
                  <a:cubicBezTo>
                    <a:pt x="1040" y="417"/>
                    <a:pt x="1040" y="417"/>
                    <a:pt x="1040" y="417"/>
                  </a:cubicBezTo>
                  <a:cubicBezTo>
                    <a:pt x="1041" y="417"/>
                    <a:pt x="1041" y="417"/>
                    <a:pt x="1041" y="417"/>
                  </a:cubicBezTo>
                  <a:cubicBezTo>
                    <a:pt x="1042" y="416"/>
                    <a:pt x="1043" y="416"/>
                    <a:pt x="1043" y="414"/>
                  </a:cubicBezTo>
                  <a:cubicBezTo>
                    <a:pt x="1043" y="414"/>
                    <a:pt x="1044" y="414"/>
                    <a:pt x="1044" y="414"/>
                  </a:cubicBezTo>
                  <a:cubicBezTo>
                    <a:pt x="1044" y="413"/>
                    <a:pt x="1045" y="413"/>
                    <a:pt x="1045" y="413"/>
                  </a:cubicBezTo>
                  <a:cubicBezTo>
                    <a:pt x="1046" y="412"/>
                    <a:pt x="1046" y="410"/>
                    <a:pt x="1046" y="409"/>
                  </a:cubicBezTo>
                  <a:cubicBezTo>
                    <a:pt x="1046" y="409"/>
                    <a:pt x="1047" y="408"/>
                    <a:pt x="1047" y="407"/>
                  </a:cubicBezTo>
                  <a:cubicBezTo>
                    <a:pt x="1047" y="407"/>
                    <a:pt x="1047" y="407"/>
                    <a:pt x="1047" y="406"/>
                  </a:cubicBezTo>
                  <a:cubicBezTo>
                    <a:pt x="1047" y="406"/>
                    <a:pt x="1047" y="405"/>
                    <a:pt x="1047" y="405"/>
                  </a:cubicBezTo>
                  <a:cubicBezTo>
                    <a:pt x="1047" y="405"/>
                    <a:pt x="1047" y="405"/>
                    <a:pt x="1048" y="405"/>
                  </a:cubicBezTo>
                  <a:cubicBezTo>
                    <a:pt x="1048" y="405"/>
                    <a:pt x="1048" y="405"/>
                    <a:pt x="1048" y="405"/>
                  </a:cubicBezTo>
                  <a:cubicBezTo>
                    <a:pt x="1048" y="405"/>
                    <a:pt x="1049" y="405"/>
                    <a:pt x="1050" y="405"/>
                  </a:cubicBezTo>
                  <a:cubicBezTo>
                    <a:pt x="1050" y="405"/>
                    <a:pt x="1051" y="406"/>
                    <a:pt x="1052" y="406"/>
                  </a:cubicBezTo>
                  <a:cubicBezTo>
                    <a:pt x="1052" y="406"/>
                    <a:pt x="1053" y="406"/>
                    <a:pt x="1053" y="406"/>
                  </a:cubicBezTo>
                  <a:cubicBezTo>
                    <a:pt x="1054" y="407"/>
                    <a:pt x="1054" y="407"/>
                    <a:pt x="1055" y="407"/>
                  </a:cubicBezTo>
                  <a:cubicBezTo>
                    <a:pt x="1055" y="407"/>
                    <a:pt x="1055" y="407"/>
                    <a:pt x="1055" y="407"/>
                  </a:cubicBezTo>
                  <a:cubicBezTo>
                    <a:pt x="1054" y="408"/>
                    <a:pt x="1054" y="408"/>
                    <a:pt x="1054" y="408"/>
                  </a:cubicBezTo>
                  <a:cubicBezTo>
                    <a:pt x="1054" y="408"/>
                    <a:pt x="1054" y="409"/>
                    <a:pt x="1054" y="409"/>
                  </a:cubicBezTo>
                  <a:cubicBezTo>
                    <a:pt x="1054" y="410"/>
                    <a:pt x="1054" y="410"/>
                    <a:pt x="1054" y="410"/>
                  </a:cubicBezTo>
                  <a:cubicBezTo>
                    <a:pt x="1054" y="411"/>
                    <a:pt x="1053" y="412"/>
                    <a:pt x="1053" y="414"/>
                  </a:cubicBezTo>
                  <a:cubicBezTo>
                    <a:pt x="1053" y="414"/>
                    <a:pt x="1053" y="414"/>
                    <a:pt x="1053" y="414"/>
                  </a:cubicBezTo>
                  <a:cubicBezTo>
                    <a:pt x="1053" y="414"/>
                    <a:pt x="1053" y="414"/>
                    <a:pt x="1053" y="414"/>
                  </a:cubicBezTo>
                  <a:cubicBezTo>
                    <a:pt x="1052" y="414"/>
                    <a:pt x="1052" y="415"/>
                    <a:pt x="1052" y="415"/>
                  </a:cubicBezTo>
                  <a:cubicBezTo>
                    <a:pt x="1052" y="417"/>
                    <a:pt x="1053" y="417"/>
                    <a:pt x="1053" y="418"/>
                  </a:cubicBezTo>
                  <a:cubicBezTo>
                    <a:pt x="1054" y="418"/>
                    <a:pt x="1054" y="418"/>
                    <a:pt x="1054" y="419"/>
                  </a:cubicBezTo>
                  <a:cubicBezTo>
                    <a:pt x="1054" y="419"/>
                    <a:pt x="1054" y="419"/>
                    <a:pt x="1054" y="419"/>
                  </a:cubicBezTo>
                  <a:cubicBezTo>
                    <a:pt x="1054" y="419"/>
                    <a:pt x="1053" y="420"/>
                    <a:pt x="1054" y="421"/>
                  </a:cubicBezTo>
                  <a:cubicBezTo>
                    <a:pt x="1054" y="421"/>
                    <a:pt x="1054" y="421"/>
                    <a:pt x="1055" y="421"/>
                  </a:cubicBezTo>
                  <a:cubicBezTo>
                    <a:pt x="1055" y="422"/>
                    <a:pt x="1055" y="422"/>
                    <a:pt x="1055" y="423"/>
                  </a:cubicBezTo>
                  <a:cubicBezTo>
                    <a:pt x="1055" y="423"/>
                    <a:pt x="1054" y="423"/>
                    <a:pt x="1054" y="423"/>
                  </a:cubicBezTo>
                  <a:cubicBezTo>
                    <a:pt x="1054" y="423"/>
                    <a:pt x="1053" y="423"/>
                    <a:pt x="1053" y="423"/>
                  </a:cubicBezTo>
                  <a:cubicBezTo>
                    <a:pt x="1052" y="423"/>
                    <a:pt x="1052" y="423"/>
                    <a:pt x="1051" y="424"/>
                  </a:cubicBezTo>
                  <a:cubicBezTo>
                    <a:pt x="1051" y="424"/>
                    <a:pt x="1051" y="425"/>
                    <a:pt x="1051" y="426"/>
                  </a:cubicBezTo>
                  <a:cubicBezTo>
                    <a:pt x="1051" y="427"/>
                    <a:pt x="1051" y="428"/>
                    <a:pt x="1053" y="428"/>
                  </a:cubicBezTo>
                  <a:cubicBezTo>
                    <a:pt x="1054" y="428"/>
                    <a:pt x="1056" y="428"/>
                    <a:pt x="1057" y="427"/>
                  </a:cubicBezTo>
                  <a:cubicBezTo>
                    <a:pt x="1059" y="427"/>
                    <a:pt x="1060" y="426"/>
                    <a:pt x="1060" y="423"/>
                  </a:cubicBezTo>
                  <a:cubicBezTo>
                    <a:pt x="1060" y="423"/>
                    <a:pt x="1061" y="423"/>
                    <a:pt x="1061" y="423"/>
                  </a:cubicBezTo>
                  <a:cubicBezTo>
                    <a:pt x="1062" y="422"/>
                    <a:pt x="1062" y="421"/>
                    <a:pt x="1062" y="420"/>
                  </a:cubicBezTo>
                  <a:cubicBezTo>
                    <a:pt x="1063" y="420"/>
                    <a:pt x="1064" y="420"/>
                    <a:pt x="1065" y="418"/>
                  </a:cubicBezTo>
                  <a:cubicBezTo>
                    <a:pt x="1065" y="418"/>
                    <a:pt x="1065" y="418"/>
                    <a:pt x="1065" y="418"/>
                  </a:cubicBezTo>
                  <a:cubicBezTo>
                    <a:pt x="1065" y="418"/>
                    <a:pt x="1066" y="418"/>
                    <a:pt x="1066" y="418"/>
                  </a:cubicBezTo>
                  <a:cubicBezTo>
                    <a:pt x="1067" y="418"/>
                    <a:pt x="1067" y="417"/>
                    <a:pt x="1068" y="416"/>
                  </a:cubicBezTo>
                  <a:cubicBezTo>
                    <a:pt x="1068" y="416"/>
                    <a:pt x="1068" y="416"/>
                    <a:pt x="1068" y="416"/>
                  </a:cubicBezTo>
                  <a:cubicBezTo>
                    <a:pt x="1068" y="416"/>
                    <a:pt x="1069" y="415"/>
                    <a:pt x="1069" y="415"/>
                  </a:cubicBezTo>
                  <a:cubicBezTo>
                    <a:pt x="1069" y="415"/>
                    <a:pt x="1070" y="415"/>
                    <a:pt x="1070" y="415"/>
                  </a:cubicBezTo>
                  <a:cubicBezTo>
                    <a:pt x="1071" y="415"/>
                    <a:pt x="1072" y="414"/>
                    <a:pt x="1073" y="414"/>
                  </a:cubicBezTo>
                  <a:cubicBezTo>
                    <a:pt x="1073" y="414"/>
                    <a:pt x="1073" y="414"/>
                    <a:pt x="1074" y="414"/>
                  </a:cubicBezTo>
                  <a:cubicBezTo>
                    <a:pt x="1074" y="414"/>
                    <a:pt x="1074" y="415"/>
                    <a:pt x="1074" y="415"/>
                  </a:cubicBezTo>
                  <a:cubicBezTo>
                    <a:pt x="1075" y="416"/>
                    <a:pt x="1075" y="416"/>
                    <a:pt x="1076" y="416"/>
                  </a:cubicBezTo>
                  <a:cubicBezTo>
                    <a:pt x="1076" y="416"/>
                    <a:pt x="1076" y="416"/>
                    <a:pt x="1077" y="416"/>
                  </a:cubicBezTo>
                  <a:cubicBezTo>
                    <a:pt x="1077" y="416"/>
                    <a:pt x="1078" y="416"/>
                    <a:pt x="1078" y="415"/>
                  </a:cubicBezTo>
                  <a:cubicBezTo>
                    <a:pt x="1078" y="415"/>
                    <a:pt x="1078" y="416"/>
                    <a:pt x="1078" y="416"/>
                  </a:cubicBezTo>
                  <a:cubicBezTo>
                    <a:pt x="1079" y="416"/>
                    <a:pt x="1079" y="417"/>
                    <a:pt x="1080" y="417"/>
                  </a:cubicBezTo>
                  <a:cubicBezTo>
                    <a:pt x="1080" y="417"/>
                    <a:pt x="1080" y="417"/>
                    <a:pt x="1081" y="417"/>
                  </a:cubicBezTo>
                  <a:cubicBezTo>
                    <a:pt x="1081" y="418"/>
                    <a:pt x="1081" y="418"/>
                    <a:pt x="1081" y="419"/>
                  </a:cubicBezTo>
                  <a:cubicBezTo>
                    <a:pt x="1081" y="419"/>
                    <a:pt x="1081" y="419"/>
                    <a:pt x="1082" y="419"/>
                  </a:cubicBezTo>
                  <a:cubicBezTo>
                    <a:pt x="1082" y="420"/>
                    <a:pt x="1082" y="420"/>
                    <a:pt x="1082" y="421"/>
                  </a:cubicBezTo>
                  <a:cubicBezTo>
                    <a:pt x="1082" y="421"/>
                    <a:pt x="1082" y="421"/>
                    <a:pt x="1082" y="421"/>
                  </a:cubicBezTo>
                  <a:cubicBezTo>
                    <a:pt x="1081" y="423"/>
                    <a:pt x="1081" y="424"/>
                    <a:pt x="1083" y="425"/>
                  </a:cubicBezTo>
                  <a:cubicBezTo>
                    <a:pt x="1083" y="425"/>
                    <a:pt x="1083" y="425"/>
                    <a:pt x="1083" y="425"/>
                  </a:cubicBezTo>
                  <a:cubicBezTo>
                    <a:pt x="1082" y="426"/>
                    <a:pt x="1082" y="426"/>
                    <a:pt x="1082" y="427"/>
                  </a:cubicBezTo>
                  <a:cubicBezTo>
                    <a:pt x="1082" y="428"/>
                    <a:pt x="1082" y="429"/>
                    <a:pt x="1082" y="430"/>
                  </a:cubicBezTo>
                  <a:cubicBezTo>
                    <a:pt x="1082" y="430"/>
                    <a:pt x="1082" y="430"/>
                    <a:pt x="1082" y="430"/>
                  </a:cubicBezTo>
                  <a:cubicBezTo>
                    <a:pt x="1081" y="431"/>
                    <a:pt x="1081" y="432"/>
                    <a:pt x="1081" y="432"/>
                  </a:cubicBezTo>
                  <a:cubicBezTo>
                    <a:pt x="1082" y="434"/>
                    <a:pt x="1083" y="434"/>
                    <a:pt x="1084" y="434"/>
                  </a:cubicBezTo>
                  <a:cubicBezTo>
                    <a:pt x="1084" y="434"/>
                    <a:pt x="1084" y="435"/>
                    <a:pt x="1084" y="435"/>
                  </a:cubicBezTo>
                  <a:cubicBezTo>
                    <a:pt x="1085" y="435"/>
                    <a:pt x="1085" y="436"/>
                    <a:pt x="1086" y="436"/>
                  </a:cubicBezTo>
                  <a:cubicBezTo>
                    <a:pt x="1087" y="436"/>
                    <a:pt x="1087" y="436"/>
                    <a:pt x="1088" y="436"/>
                  </a:cubicBezTo>
                  <a:cubicBezTo>
                    <a:pt x="1088" y="437"/>
                    <a:pt x="1089" y="437"/>
                    <a:pt x="1090" y="437"/>
                  </a:cubicBezTo>
                  <a:cubicBezTo>
                    <a:pt x="1090" y="437"/>
                    <a:pt x="1091" y="436"/>
                    <a:pt x="1091" y="435"/>
                  </a:cubicBezTo>
                  <a:cubicBezTo>
                    <a:pt x="1092" y="435"/>
                    <a:pt x="1093" y="436"/>
                    <a:pt x="1093" y="436"/>
                  </a:cubicBezTo>
                  <a:cubicBezTo>
                    <a:pt x="1094" y="436"/>
                    <a:pt x="1094" y="436"/>
                    <a:pt x="1094" y="436"/>
                  </a:cubicBezTo>
                  <a:cubicBezTo>
                    <a:pt x="1094" y="436"/>
                    <a:pt x="1095" y="436"/>
                    <a:pt x="1096" y="435"/>
                  </a:cubicBezTo>
                  <a:cubicBezTo>
                    <a:pt x="1096" y="437"/>
                    <a:pt x="1098" y="438"/>
                    <a:pt x="1099" y="438"/>
                  </a:cubicBezTo>
                  <a:cubicBezTo>
                    <a:pt x="1099" y="439"/>
                    <a:pt x="1100" y="440"/>
                    <a:pt x="1100" y="440"/>
                  </a:cubicBezTo>
                  <a:cubicBezTo>
                    <a:pt x="1100" y="440"/>
                    <a:pt x="1100" y="441"/>
                    <a:pt x="1101" y="442"/>
                  </a:cubicBezTo>
                  <a:cubicBezTo>
                    <a:pt x="1100" y="441"/>
                    <a:pt x="1099" y="442"/>
                    <a:pt x="1098" y="443"/>
                  </a:cubicBezTo>
                  <a:cubicBezTo>
                    <a:pt x="1098" y="443"/>
                    <a:pt x="1098" y="444"/>
                    <a:pt x="1098" y="444"/>
                  </a:cubicBezTo>
                  <a:cubicBezTo>
                    <a:pt x="1098" y="445"/>
                    <a:pt x="1098" y="446"/>
                    <a:pt x="1099" y="447"/>
                  </a:cubicBezTo>
                  <a:cubicBezTo>
                    <a:pt x="1100" y="447"/>
                    <a:pt x="1100" y="447"/>
                    <a:pt x="1101" y="447"/>
                  </a:cubicBezTo>
                  <a:cubicBezTo>
                    <a:pt x="1101" y="447"/>
                    <a:pt x="1101" y="447"/>
                    <a:pt x="1101" y="447"/>
                  </a:cubicBezTo>
                  <a:cubicBezTo>
                    <a:pt x="1102" y="448"/>
                    <a:pt x="1102" y="448"/>
                    <a:pt x="1102" y="449"/>
                  </a:cubicBezTo>
                  <a:cubicBezTo>
                    <a:pt x="1103" y="451"/>
                    <a:pt x="1104" y="453"/>
                    <a:pt x="1105" y="454"/>
                  </a:cubicBezTo>
                  <a:cubicBezTo>
                    <a:pt x="1105" y="455"/>
                    <a:pt x="1105" y="455"/>
                    <a:pt x="1105" y="455"/>
                  </a:cubicBezTo>
                  <a:cubicBezTo>
                    <a:pt x="1106" y="455"/>
                    <a:pt x="1105" y="456"/>
                    <a:pt x="1105" y="456"/>
                  </a:cubicBezTo>
                  <a:cubicBezTo>
                    <a:pt x="1105" y="457"/>
                    <a:pt x="1105" y="459"/>
                    <a:pt x="1105" y="460"/>
                  </a:cubicBezTo>
                  <a:cubicBezTo>
                    <a:pt x="1105" y="460"/>
                    <a:pt x="1105" y="460"/>
                    <a:pt x="1105" y="461"/>
                  </a:cubicBezTo>
                  <a:cubicBezTo>
                    <a:pt x="1105" y="461"/>
                    <a:pt x="1105" y="461"/>
                    <a:pt x="1105" y="461"/>
                  </a:cubicBezTo>
                  <a:cubicBezTo>
                    <a:pt x="1104" y="463"/>
                    <a:pt x="1106" y="464"/>
                    <a:pt x="1107" y="465"/>
                  </a:cubicBezTo>
                  <a:cubicBezTo>
                    <a:pt x="1107" y="465"/>
                    <a:pt x="1107" y="465"/>
                    <a:pt x="1108" y="466"/>
                  </a:cubicBezTo>
                  <a:cubicBezTo>
                    <a:pt x="1108" y="466"/>
                    <a:pt x="1108" y="466"/>
                    <a:pt x="1108" y="467"/>
                  </a:cubicBezTo>
                  <a:cubicBezTo>
                    <a:pt x="1108" y="467"/>
                    <a:pt x="1108" y="467"/>
                    <a:pt x="1108" y="467"/>
                  </a:cubicBezTo>
                  <a:cubicBezTo>
                    <a:pt x="1108" y="467"/>
                    <a:pt x="1108" y="468"/>
                    <a:pt x="1108" y="468"/>
                  </a:cubicBezTo>
                  <a:cubicBezTo>
                    <a:pt x="1108" y="470"/>
                    <a:pt x="1109" y="470"/>
                    <a:pt x="1109" y="470"/>
                  </a:cubicBezTo>
                  <a:cubicBezTo>
                    <a:pt x="1109" y="470"/>
                    <a:pt x="1110" y="471"/>
                    <a:pt x="1110" y="471"/>
                  </a:cubicBezTo>
                  <a:cubicBezTo>
                    <a:pt x="1110" y="471"/>
                    <a:pt x="1110" y="471"/>
                    <a:pt x="1110" y="471"/>
                  </a:cubicBezTo>
                  <a:cubicBezTo>
                    <a:pt x="1111" y="472"/>
                    <a:pt x="1111" y="472"/>
                    <a:pt x="1112" y="472"/>
                  </a:cubicBezTo>
                  <a:cubicBezTo>
                    <a:pt x="1113" y="472"/>
                    <a:pt x="1114" y="471"/>
                    <a:pt x="1114" y="470"/>
                  </a:cubicBezTo>
                  <a:cubicBezTo>
                    <a:pt x="1114" y="470"/>
                    <a:pt x="1114" y="470"/>
                    <a:pt x="1114" y="470"/>
                  </a:cubicBezTo>
                  <a:cubicBezTo>
                    <a:pt x="1114" y="470"/>
                    <a:pt x="1115" y="469"/>
                    <a:pt x="1115" y="469"/>
                  </a:cubicBezTo>
                  <a:cubicBezTo>
                    <a:pt x="1116" y="470"/>
                    <a:pt x="1117" y="470"/>
                    <a:pt x="1118" y="469"/>
                  </a:cubicBezTo>
                  <a:cubicBezTo>
                    <a:pt x="1118" y="468"/>
                    <a:pt x="1118" y="468"/>
                    <a:pt x="1119" y="467"/>
                  </a:cubicBezTo>
                  <a:cubicBezTo>
                    <a:pt x="1119" y="467"/>
                    <a:pt x="1120" y="467"/>
                    <a:pt x="1120" y="466"/>
                  </a:cubicBezTo>
                  <a:cubicBezTo>
                    <a:pt x="1120" y="466"/>
                    <a:pt x="1120" y="465"/>
                    <a:pt x="1120" y="464"/>
                  </a:cubicBezTo>
                  <a:cubicBezTo>
                    <a:pt x="1120" y="465"/>
                    <a:pt x="1120" y="465"/>
                    <a:pt x="1121" y="465"/>
                  </a:cubicBezTo>
                  <a:cubicBezTo>
                    <a:pt x="1121" y="465"/>
                    <a:pt x="1121" y="465"/>
                    <a:pt x="1121" y="465"/>
                  </a:cubicBezTo>
                  <a:cubicBezTo>
                    <a:pt x="1122" y="466"/>
                    <a:pt x="1122" y="466"/>
                    <a:pt x="1123" y="466"/>
                  </a:cubicBezTo>
                  <a:cubicBezTo>
                    <a:pt x="1124" y="466"/>
                    <a:pt x="1124" y="466"/>
                    <a:pt x="1125" y="465"/>
                  </a:cubicBezTo>
                  <a:cubicBezTo>
                    <a:pt x="1125" y="464"/>
                    <a:pt x="1125" y="463"/>
                    <a:pt x="1125" y="462"/>
                  </a:cubicBezTo>
                  <a:cubicBezTo>
                    <a:pt x="1125" y="462"/>
                    <a:pt x="1125" y="462"/>
                    <a:pt x="1125" y="462"/>
                  </a:cubicBezTo>
                  <a:cubicBezTo>
                    <a:pt x="1125" y="462"/>
                    <a:pt x="1126" y="462"/>
                    <a:pt x="1126" y="462"/>
                  </a:cubicBezTo>
                  <a:cubicBezTo>
                    <a:pt x="1126" y="463"/>
                    <a:pt x="1127" y="464"/>
                    <a:pt x="1128" y="464"/>
                  </a:cubicBezTo>
                  <a:cubicBezTo>
                    <a:pt x="1129" y="463"/>
                    <a:pt x="1129" y="463"/>
                    <a:pt x="1129" y="463"/>
                  </a:cubicBezTo>
                  <a:cubicBezTo>
                    <a:pt x="1129" y="463"/>
                    <a:pt x="1129" y="463"/>
                    <a:pt x="1129" y="463"/>
                  </a:cubicBezTo>
                  <a:cubicBezTo>
                    <a:pt x="1129" y="463"/>
                    <a:pt x="1129" y="462"/>
                    <a:pt x="1129" y="461"/>
                  </a:cubicBezTo>
                  <a:cubicBezTo>
                    <a:pt x="1129" y="460"/>
                    <a:pt x="1129" y="459"/>
                    <a:pt x="1129" y="458"/>
                  </a:cubicBezTo>
                  <a:cubicBezTo>
                    <a:pt x="1130" y="457"/>
                    <a:pt x="1129" y="455"/>
                    <a:pt x="1129" y="455"/>
                  </a:cubicBezTo>
                  <a:cubicBezTo>
                    <a:pt x="1129" y="454"/>
                    <a:pt x="1129" y="454"/>
                    <a:pt x="1129" y="454"/>
                  </a:cubicBezTo>
                  <a:cubicBezTo>
                    <a:pt x="1129" y="453"/>
                    <a:pt x="1129" y="453"/>
                    <a:pt x="1128" y="453"/>
                  </a:cubicBezTo>
                  <a:cubicBezTo>
                    <a:pt x="1128" y="451"/>
                    <a:pt x="1127" y="450"/>
                    <a:pt x="1126" y="449"/>
                  </a:cubicBezTo>
                  <a:cubicBezTo>
                    <a:pt x="1126" y="449"/>
                    <a:pt x="1126" y="448"/>
                    <a:pt x="1126" y="447"/>
                  </a:cubicBezTo>
                  <a:cubicBezTo>
                    <a:pt x="1125" y="447"/>
                    <a:pt x="1125" y="446"/>
                    <a:pt x="1125" y="446"/>
                  </a:cubicBezTo>
                  <a:cubicBezTo>
                    <a:pt x="1125" y="445"/>
                    <a:pt x="1125" y="445"/>
                    <a:pt x="1125" y="445"/>
                  </a:cubicBezTo>
                  <a:cubicBezTo>
                    <a:pt x="1125" y="445"/>
                    <a:pt x="1124" y="444"/>
                    <a:pt x="1124" y="442"/>
                  </a:cubicBezTo>
                  <a:cubicBezTo>
                    <a:pt x="1123" y="438"/>
                    <a:pt x="1121" y="436"/>
                    <a:pt x="1120" y="435"/>
                  </a:cubicBezTo>
                  <a:cubicBezTo>
                    <a:pt x="1120" y="435"/>
                    <a:pt x="1119" y="434"/>
                    <a:pt x="1119" y="434"/>
                  </a:cubicBezTo>
                  <a:cubicBezTo>
                    <a:pt x="1119" y="432"/>
                    <a:pt x="1118" y="431"/>
                    <a:pt x="1117" y="430"/>
                  </a:cubicBezTo>
                  <a:cubicBezTo>
                    <a:pt x="1115" y="430"/>
                    <a:pt x="1112" y="426"/>
                    <a:pt x="1111" y="425"/>
                  </a:cubicBezTo>
                  <a:cubicBezTo>
                    <a:pt x="1111" y="425"/>
                    <a:pt x="1111" y="424"/>
                    <a:pt x="1110" y="423"/>
                  </a:cubicBezTo>
                  <a:cubicBezTo>
                    <a:pt x="1110" y="423"/>
                    <a:pt x="1110" y="423"/>
                    <a:pt x="1110" y="423"/>
                  </a:cubicBezTo>
                  <a:cubicBezTo>
                    <a:pt x="1109" y="423"/>
                    <a:pt x="1109" y="423"/>
                    <a:pt x="1109" y="423"/>
                  </a:cubicBezTo>
                  <a:cubicBezTo>
                    <a:pt x="1109" y="423"/>
                    <a:pt x="1109" y="422"/>
                    <a:pt x="1109" y="422"/>
                  </a:cubicBezTo>
                  <a:cubicBezTo>
                    <a:pt x="1107" y="421"/>
                    <a:pt x="1107" y="421"/>
                    <a:pt x="1107" y="421"/>
                  </a:cubicBezTo>
                  <a:cubicBezTo>
                    <a:pt x="1107" y="421"/>
                    <a:pt x="1107" y="421"/>
                    <a:pt x="1107" y="421"/>
                  </a:cubicBezTo>
                  <a:cubicBezTo>
                    <a:pt x="1106" y="419"/>
                    <a:pt x="1105" y="419"/>
                    <a:pt x="1105" y="418"/>
                  </a:cubicBezTo>
                  <a:cubicBezTo>
                    <a:pt x="1104" y="418"/>
                    <a:pt x="1102" y="417"/>
                    <a:pt x="1101" y="417"/>
                  </a:cubicBezTo>
                  <a:cubicBezTo>
                    <a:pt x="1102" y="416"/>
                    <a:pt x="1101" y="415"/>
                    <a:pt x="1100" y="414"/>
                  </a:cubicBezTo>
                  <a:cubicBezTo>
                    <a:pt x="1100" y="413"/>
                    <a:pt x="1100" y="413"/>
                    <a:pt x="1100" y="413"/>
                  </a:cubicBezTo>
                  <a:cubicBezTo>
                    <a:pt x="1099" y="412"/>
                    <a:pt x="1099" y="412"/>
                    <a:pt x="1099" y="412"/>
                  </a:cubicBezTo>
                  <a:cubicBezTo>
                    <a:pt x="1099" y="412"/>
                    <a:pt x="1100" y="412"/>
                    <a:pt x="1100" y="412"/>
                  </a:cubicBezTo>
                  <a:cubicBezTo>
                    <a:pt x="1100" y="411"/>
                    <a:pt x="1100" y="411"/>
                    <a:pt x="1100" y="410"/>
                  </a:cubicBezTo>
                  <a:cubicBezTo>
                    <a:pt x="1101" y="409"/>
                    <a:pt x="1101" y="409"/>
                    <a:pt x="1102" y="408"/>
                  </a:cubicBezTo>
                  <a:cubicBezTo>
                    <a:pt x="1102" y="409"/>
                    <a:pt x="1103" y="409"/>
                    <a:pt x="1103" y="409"/>
                  </a:cubicBezTo>
                  <a:cubicBezTo>
                    <a:pt x="1104" y="409"/>
                    <a:pt x="1104" y="408"/>
                    <a:pt x="1105" y="408"/>
                  </a:cubicBezTo>
                  <a:cubicBezTo>
                    <a:pt x="1105" y="407"/>
                    <a:pt x="1105" y="405"/>
                    <a:pt x="1105" y="404"/>
                  </a:cubicBezTo>
                  <a:cubicBezTo>
                    <a:pt x="1105" y="404"/>
                    <a:pt x="1106" y="404"/>
                    <a:pt x="1106" y="404"/>
                  </a:cubicBezTo>
                  <a:cubicBezTo>
                    <a:pt x="1106" y="403"/>
                    <a:pt x="1106" y="403"/>
                    <a:pt x="1106" y="402"/>
                  </a:cubicBezTo>
                  <a:cubicBezTo>
                    <a:pt x="1106" y="402"/>
                    <a:pt x="1107" y="401"/>
                    <a:pt x="1108" y="400"/>
                  </a:cubicBezTo>
                  <a:cubicBezTo>
                    <a:pt x="1108" y="400"/>
                    <a:pt x="1108" y="400"/>
                    <a:pt x="1108" y="400"/>
                  </a:cubicBezTo>
                  <a:cubicBezTo>
                    <a:pt x="1110" y="396"/>
                    <a:pt x="1107" y="390"/>
                    <a:pt x="1107" y="390"/>
                  </a:cubicBezTo>
                  <a:cubicBezTo>
                    <a:pt x="1107" y="389"/>
                    <a:pt x="1106" y="387"/>
                    <a:pt x="1106" y="386"/>
                  </a:cubicBezTo>
                  <a:cubicBezTo>
                    <a:pt x="1106" y="386"/>
                    <a:pt x="1106" y="386"/>
                    <a:pt x="1106" y="385"/>
                  </a:cubicBezTo>
                  <a:cubicBezTo>
                    <a:pt x="1106" y="385"/>
                    <a:pt x="1106" y="384"/>
                    <a:pt x="1106" y="384"/>
                  </a:cubicBezTo>
                  <a:cubicBezTo>
                    <a:pt x="1106" y="384"/>
                    <a:pt x="1106" y="384"/>
                    <a:pt x="1106" y="384"/>
                  </a:cubicBezTo>
                  <a:cubicBezTo>
                    <a:pt x="1108" y="384"/>
                    <a:pt x="1109" y="383"/>
                    <a:pt x="1110" y="382"/>
                  </a:cubicBezTo>
                  <a:cubicBezTo>
                    <a:pt x="1110" y="382"/>
                    <a:pt x="1111" y="381"/>
                    <a:pt x="1111" y="380"/>
                  </a:cubicBezTo>
                  <a:cubicBezTo>
                    <a:pt x="1111" y="380"/>
                    <a:pt x="1111" y="380"/>
                    <a:pt x="1111" y="380"/>
                  </a:cubicBezTo>
                  <a:cubicBezTo>
                    <a:pt x="1111" y="380"/>
                    <a:pt x="1111" y="379"/>
                    <a:pt x="1112" y="379"/>
                  </a:cubicBezTo>
                  <a:cubicBezTo>
                    <a:pt x="1112" y="378"/>
                    <a:pt x="1112" y="376"/>
                    <a:pt x="1112" y="375"/>
                  </a:cubicBezTo>
                  <a:cubicBezTo>
                    <a:pt x="1112" y="375"/>
                    <a:pt x="1112" y="375"/>
                    <a:pt x="1112" y="375"/>
                  </a:cubicBezTo>
                  <a:cubicBezTo>
                    <a:pt x="1112" y="374"/>
                    <a:pt x="1113" y="373"/>
                    <a:pt x="1112" y="372"/>
                  </a:cubicBezTo>
                  <a:cubicBezTo>
                    <a:pt x="1113" y="372"/>
                    <a:pt x="1113" y="372"/>
                    <a:pt x="1114" y="372"/>
                  </a:cubicBezTo>
                  <a:cubicBezTo>
                    <a:pt x="1114" y="372"/>
                    <a:pt x="1115" y="372"/>
                    <a:pt x="1115" y="372"/>
                  </a:cubicBezTo>
                  <a:cubicBezTo>
                    <a:pt x="1115" y="372"/>
                    <a:pt x="1116" y="373"/>
                    <a:pt x="1115" y="374"/>
                  </a:cubicBezTo>
                  <a:cubicBezTo>
                    <a:pt x="1115" y="375"/>
                    <a:pt x="1116" y="375"/>
                    <a:pt x="1116" y="376"/>
                  </a:cubicBezTo>
                  <a:cubicBezTo>
                    <a:pt x="1116" y="376"/>
                    <a:pt x="1117" y="376"/>
                    <a:pt x="1118" y="376"/>
                  </a:cubicBezTo>
                  <a:cubicBezTo>
                    <a:pt x="1118" y="376"/>
                    <a:pt x="1118" y="376"/>
                    <a:pt x="1118" y="376"/>
                  </a:cubicBezTo>
                  <a:cubicBezTo>
                    <a:pt x="1119" y="376"/>
                    <a:pt x="1119" y="376"/>
                    <a:pt x="1119" y="376"/>
                  </a:cubicBezTo>
                  <a:cubicBezTo>
                    <a:pt x="1119" y="376"/>
                    <a:pt x="1120" y="376"/>
                    <a:pt x="1120" y="376"/>
                  </a:cubicBezTo>
                  <a:cubicBezTo>
                    <a:pt x="1120" y="376"/>
                    <a:pt x="1120" y="376"/>
                    <a:pt x="1121" y="376"/>
                  </a:cubicBezTo>
                  <a:cubicBezTo>
                    <a:pt x="1121" y="376"/>
                    <a:pt x="1121" y="376"/>
                    <a:pt x="1121" y="376"/>
                  </a:cubicBezTo>
                  <a:cubicBezTo>
                    <a:pt x="1121" y="376"/>
                    <a:pt x="1121" y="376"/>
                    <a:pt x="1121" y="377"/>
                  </a:cubicBezTo>
                  <a:cubicBezTo>
                    <a:pt x="1121" y="378"/>
                    <a:pt x="1122" y="378"/>
                    <a:pt x="1123" y="378"/>
                  </a:cubicBezTo>
                  <a:cubicBezTo>
                    <a:pt x="1123" y="378"/>
                    <a:pt x="1124" y="378"/>
                    <a:pt x="1124" y="378"/>
                  </a:cubicBezTo>
                  <a:cubicBezTo>
                    <a:pt x="1124" y="378"/>
                    <a:pt x="1125" y="378"/>
                    <a:pt x="1125" y="377"/>
                  </a:cubicBezTo>
                  <a:cubicBezTo>
                    <a:pt x="1125" y="377"/>
                    <a:pt x="1125" y="377"/>
                    <a:pt x="1126" y="376"/>
                  </a:cubicBezTo>
                  <a:cubicBezTo>
                    <a:pt x="1127" y="376"/>
                    <a:pt x="1130" y="372"/>
                    <a:pt x="1131" y="372"/>
                  </a:cubicBezTo>
                  <a:cubicBezTo>
                    <a:pt x="1131" y="371"/>
                    <a:pt x="1131" y="371"/>
                    <a:pt x="1132" y="371"/>
                  </a:cubicBezTo>
                  <a:cubicBezTo>
                    <a:pt x="1133" y="370"/>
                    <a:pt x="1134" y="369"/>
                    <a:pt x="1134" y="368"/>
                  </a:cubicBezTo>
                  <a:cubicBezTo>
                    <a:pt x="1134" y="367"/>
                    <a:pt x="1135" y="366"/>
                    <a:pt x="1135" y="365"/>
                  </a:cubicBezTo>
                  <a:cubicBezTo>
                    <a:pt x="1137" y="362"/>
                    <a:pt x="1137" y="359"/>
                    <a:pt x="1136" y="358"/>
                  </a:cubicBezTo>
                  <a:cubicBezTo>
                    <a:pt x="1136" y="357"/>
                    <a:pt x="1136" y="357"/>
                    <a:pt x="1136" y="357"/>
                  </a:cubicBezTo>
                  <a:cubicBezTo>
                    <a:pt x="1136" y="356"/>
                    <a:pt x="1136" y="356"/>
                    <a:pt x="1136" y="356"/>
                  </a:cubicBezTo>
                  <a:cubicBezTo>
                    <a:pt x="1136" y="355"/>
                    <a:pt x="1136" y="355"/>
                    <a:pt x="1136" y="355"/>
                  </a:cubicBezTo>
                  <a:cubicBezTo>
                    <a:pt x="1137" y="353"/>
                    <a:pt x="1138" y="351"/>
                    <a:pt x="1138" y="349"/>
                  </a:cubicBezTo>
                  <a:cubicBezTo>
                    <a:pt x="1137" y="348"/>
                    <a:pt x="1138" y="348"/>
                    <a:pt x="1138" y="348"/>
                  </a:cubicBezTo>
                  <a:cubicBezTo>
                    <a:pt x="1138" y="347"/>
                    <a:pt x="1138" y="347"/>
                    <a:pt x="1139" y="346"/>
                  </a:cubicBezTo>
                  <a:cubicBezTo>
                    <a:pt x="1139" y="345"/>
                    <a:pt x="1140" y="344"/>
                    <a:pt x="1141" y="340"/>
                  </a:cubicBezTo>
                  <a:cubicBezTo>
                    <a:pt x="1142" y="335"/>
                    <a:pt x="1141" y="331"/>
                    <a:pt x="1140" y="329"/>
                  </a:cubicBezTo>
                  <a:cubicBezTo>
                    <a:pt x="1140" y="328"/>
                    <a:pt x="1140" y="328"/>
                    <a:pt x="1140" y="328"/>
                  </a:cubicBezTo>
                  <a:cubicBezTo>
                    <a:pt x="1140" y="328"/>
                    <a:pt x="1140" y="327"/>
                    <a:pt x="1140" y="327"/>
                  </a:cubicBezTo>
                  <a:cubicBezTo>
                    <a:pt x="1140" y="326"/>
                    <a:pt x="1140" y="326"/>
                    <a:pt x="1140" y="325"/>
                  </a:cubicBezTo>
                  <a:cubicBezTo>
                    <a:pt x="1140" y="323"/>
                    <a:pt x="1140" y="322"/>
                    <a:pt x="1140" y="319"/>
                  </a:cubicBezTo>
                  <a:cubicBezTo>
                    <a:pt x="1139" y="317"/>
                    <a:pt x="1140" y="313"/>
                    <a:pt x="1140" y="312"/>
                  </a:cubicBezTo>
                  <a:cubicBezTo>
                    <a:pt x="1141" y="311"/>
                    <a:pt x="1141" y="305"/>
                    <a:pt x="1141" y="303"/>
                  </a:cubicBezTo>
                  <a:cubicBezTo>
                    <a:pt x="1141" y="301"/>
                    <a:pt x="1139" y="299"/>
                    <a:pt x="1138" y="298"/>
                  </a:cubicBezTo>
                  <a:cubicBezTo>
                    <a:pt x="1138" y="298"/>
                    <a:pt x="1138" y="297"/>
                    <a:pt x="1138" y="296"/>
                  </a:cubicBezTo>
                  <a:cubicBezTo>
                    <a:pt x="1138" y="295"/>
                    <a:pt x="1136" y="293"/>
                    <a:pt x="1135" y="291"/>
                  </a:cubicBezTo>
                  <a:cubicBezTo>
                    <a:pt x="1135" y="290"/>
                    <a:pt x="1135" y="290"/>
                    <a:pt x="1134" y="290"/>
                  </a:cubicBezTo>
                  <a:cubicBezTo>
                    <a:pt x="1136" y="289"/>
                    <a:pt x="1134" y="286"/>
                    <a:pt x="1132" y="285"/>
                  </a:cubicBezTo>
                  <a:cubicBezTo>
                    <a:pt x="1132" y="285"/>
                    <a:pt x="1132" y="285"/>
                    <a:pt x="1132" y="284"/>
                  </a:cubicBezTo>
                  <a:cubicBezTo>
                    <a:pt x="1132" y="283"/>
                    <a:pt x="1130" y="281"/>
                    <a:pt x="1129" y="280"/>
                  </a:cubicBezTo>
                  <a:cubicBezTo>
                    <a:pt x="1129" y="280"/>
                    <a:pt x="1129" y="280"/>
                    <a:pt x="1129" y="280"/>
                  </a:cubicBezTo>
                  <a:cubicBezTo>
                    <a:pt x="1129" y="280"/>
                    <a:pt x="1129" y="280"/>
                    <a:pt x="1129" y="280"/>
                  </a:cubicBezTo>
                  <a:cubicBezTo>
                    <a:pt x="1129" y="279"/>
                    <a:pt x="1129" y="278"/>
                    <a:pt x="1128" y="278"/>
                  </a:cubicBezTo>
                  <a:cubicBezTo>
                    <a:pt x="1127" y="278"/>
                    <a:pt x="1127" y="278"/>
                    <a:pt x="1127" y="278"/>
                  </a:cubicBezTo>
                  <a:cubicBezTo>
                    <a:pt x="1128" y="277"/>
                    <a:pt x="1128" y="277"/>
                    <a:pt x="1128" y="277"/>
                  </a:cubicBezTo>
                  <a:cubicBezTo>
                    <a:pt x="1128" y="277"/>
                    <a:pt x="1128" y="277"/>
                    <a:pt x="1128" y="277"/>
                  </a:cubicBezTo>
                  <a:cubicBezTo>
                    <a:pt x="1128" y="275"/>
                    <a:pt x="1127" y="274"/>
                    <a:pt x="1127" y="273"/>
                  </a:cubicBezTo>
                  <a:cubicBezTo>
                    <a:pt x="1128" y="273"/>
                    <a:pt x="1127" y="272"/>
                    <a:pt x="1127" y="271"/>
                  </a:cubicBezTo>
                  <a:cubicBezTo>
                    <a:pt x="1127" y="271"/>
                    <a:pt x="1127" y="271"/>
                    <a:pt x="1127" y="271"/>
                  </a:cubicBezTo>
                  <a:cubicBezTo>
                    <a:pt x="1127" y="271"/>
                    <a:pt x="1127" y="270"/>
                    <a:pt x="1127" y="270"/>
                  </a:cubicBezTo>
                  <a:cubicBezTo>
                    <a:pt x="1128" y="269"/>
                    <a:pt x="1128" y="269"/>
                    <a:pt x="1128" y="268"/>
                  </a:cubicBezTo>
                  <a:cubicBezTo>
                    <a:pt x="1128" y="268"/>
                    <a:pt x="1128" y="268"/>
                    <a:pt x="1128" y="268"/>
                  </a:cubicBezTo>
                  <a:cubicBezTo>
                    <a:pt x="1128" y="268"/>
                    <a:pt x="1128" y="268"/>
                    <a:pt x="1128" y="268"/>
                  </a:cubicBezTo>
                  <a:cubicBezTo>
                    <a:pt x="1128" y="268"/>
                    <a:pt x="1128" y="269"/>
                    <a:pt x="1129" y="269"/>
                  </a:cubicBezTo>
                  <a:cubicBezTo>
                    <a:pt x="1129" y="270"/>
                    <a:pt x="1129" y="270"/>
                    <a:pt x="1129" y="271"/>
                  </a:cubicBezTo>
                  <a:cubicBezTo>
                    <a:pt x="1130" y="271"/>
                    <a:pt x="1131" y="271"/>
                    <a:pt x="1131" y="272"/>
                  </a:cubicBezTo>
                  <a:cubicBezTo>
                    <a:pt x="1131" y="272"/>
                    <a:pt x="1132" y="272"/>
                    <a:pt x="1132" y="272"/>
                  </a:cubicBezTo>
                  <a:cubicBezTo>
                    <a:pt x="1134" y="273"/>
                    <a:pt x="1135" y="275"/>
                    <a:pt x="1135" y="276"/>
                  </a:cubicBezTo>
                  <a:cubicBezTo>
                    <a:pt x="1135" y="276"/>
                    <a:pt x="1136" y="276"/>
                    <a:pt x="1136" y="277"/>
                  </a:cubicBezTo>
                  <a:cubicBezTo>
                    <a:pt x="1136" y="277"/>
                    <a:pt x="1136" y="278"/>
                    <a:pt x="1136" y="278"/>
                  </a:cubicBezTo>
                  <a:cubicBezTo>
                    <a:pt x="1136" y="279"/>
                    <a:pt x="1136" y="279"/>
                    <a:pt x="1136" y="279"/>
                  </a:cubicBezTo>
                  <a:cubicBezTo>
                    <a:pt x="1137" y="280"/>
                    <a:pt x="1138" y="281"/>
                    <a:pt x="1139" y="282"/>
                  </a:cubicBezTo>
                  <a:cubicBezTo>
                    <a:pt x="1139" y="282"/>
                    <a:pt x="1139" y="282"/>
                    <a:pt x="1140" y="283"/>
                  </a:cubicBezTo>
                  <a:cubicBezTo>
                    <a:pt x="1140" y="283"/>
                    <a:pt x="1141" y="284"/>
                    <a:pt x="1141" y="284"/>
                  </a:cubicBezTo>
                  <a:cubicBezTo>
                    <a:pt x="1142" y="285"/>
                    <a:pt x="1142" y="286"/>
                    <a:pt x="1142" y="287"/>
                  </a:cubicBezTo>
                  <a:cubicBezTo>
                    <a:pt x="1143" y="288"/>
                    <a:pt x="1143" y="288"/>
                    <a:pt x="1144" y="289"/>
                  </a:cubicBezTo>
                  <a:cubicBezTo>
                    <a:pt x="1144" y="290"/>
                    <a:pt x="1144" y="291"/>
                    <a:pt x="1145" y="291"/>
                  </a:cubicBezTo>
                  <a:cubicBezTo>
                    <a:pt x="1146" y="292"/>
                    <a:pt x="1146" y="293"/>
                    <a:pt x="1147" y="294"/>
                  </a:cubicBezTo>
                  <a:cubicBezTo>
                    <a:pt x="1147" y="295"/>
                    <a:pt x="1147" y="295"/>
                    <a:pt x="1147" y="295"/>
                  </a:cubicBezTo>
                  <a:cubicBezTo>
                    <a:pt x="1147" y="295"/>
                    <a:pt x="1147" y="296"/>
                    <a:pt x="1147" y="297"/>
                  </a:cubicBezTo>
                  <a:cubicBezTo>
                    <a:pt x="1147" y="297"/>
                    <a:pt x="1147" y="297"/>
                    <a:pt x="1147" y="297"/>
                  </a:cubicBezTo>
                  <a:cubicBezTo>
                    <a:pt x="1147" y="297"/>
                    <a:pt x="1147" y="298"/>
                    <a:pt x="1147" y="298"/>
                  </a:cubicBezTo>
                  <a:cubicBezTo>
                    <a:pt x="1147" y="300"/>
                    <a:pt x="1148" y="301"/>
                    <a:pt x="1149" y="302"/>
                  </a:cubicBezTo>
                  <a:cubicBezTo>
                    <a:pt x="1149" y="303"/>
                    <a:pt x="1150" y="303"/>
                    <a:pt x="1150" y="303"/>
                  </a:cubicBezTo>
                  <a:cubicBezTo>
                    <a:pt x="1151" y="305"/>
                    <a:pt x="1152" y="307"/>
                    <a:pt x="1153" y="309"/>
                  </a:cubicBezTo>
                  <a:cubicBezTo>
                    <a:pt x="1153" y="309"/>
                    <a:pt x="1153" y="309"/>
                    <a:pt x="1153" y="309"/>
                  </a:cubicBezTo>
                  <a:cubicBezTo>
                    <a:pt x="1153" y="310"/>
                    <a:pt x="1154" y="311"/>
                    <a:pt x="1154" y="311"/>
                  </a:cubicBezTo>
                  <a:cubicBezTo>
                    <a:pt x="1155" y="312"/>
                    <a:pt x="1156" y="313"/>
                    <a:pt x="1156" y="314"/>
                  </a:cubicBezTo>
                  <a:cubicBezTo>
                    <a:pt x="1156" y="314"/>
                    <a:pt x="1156" y="315"/>
                    <a:pt x="1156" y="315"/>
                  </a:cubicBezTo>
                  <a:cubicBezTo>
                    <a:pt x="1156" y="316"/>
                    <a:pt x="1156" y="317"/>
                    <a:pt x="1156" y="318"/>
                  </a:cubicBezTo>
                  <a:cubicBezTo>
                    <a:pt x="1157" y="319"/>
                    <a:pt x="1158" y="320"/>
                    <a:pt x="1159" y="321"/>
                  </a:cubicBezTo>
                  <a:cubicBezTo>
                    <a:pt x="1160" y="322"/>
                    <a:pt x="1160" y="323"/>
                    <a:pt x="1160" y="324"/>
                  </a:cubicBezTo>
                  <a:cubicBezTo>
                    <a:pt x="1161" y="325"/>
                    <a:pt x="1161" y="325"/>
                    <a:pt x="1161" y="325"/>
                  </a:cubicBezTo>
                  <a:cubicBezTo>
                    <a:pt x="1161" y="327"/>
                    <a:pt x="1162" y="328"/>
                    <a:pt x="1163" y="330"/>
                  </a:cubicBezTo>
                  <a:cubicBezTo>
                    <a:pt x="1163" y="330"/>
                    <a:pt x="1163" y="330"/>
                    <a:pt x="1163" y="330"/>
                  </a:cubicBezTo>
                  <a:cubicBezTo>
                    <a:pt x="1164" y="331"/>
                    <a:pt x="1164" y="332"/>
                    <a:pt x="1165" y="332"/>
                  </a:cubicBezTo>
                  <a:cubicBezTo>
                    <a:pt x="1165" y="332"/>
                    <a:pt x="1165" y="333"/>
                    <a:pt x="1165" y="333"/>
                  </a:cubicBezTo>
                  <a:cubicBezTo>
                    <a:pt x="1166" y="334"/>
                    <a:pt x="1166" y="335"/>
                    <a:pt x="1167" y="335"/>
                  </a:cubicBezTo>
                  <a:cubicBezTo>
                    <a:pt x="1168" y="335"/>
                    <a:pt x="1168" y="335"/>
                    <a:pt x="1168" y="335"/>
                  </a:cubicBezTo>
                  <a:cubicBezTo>
                    <a:pt x="1168" y="335"/>
                    <a:pt x="1169" y="334"/>
                    <a:pt x="1169" y="334"/>
                  </a:cubicBezTo>
                  <a:cubicBezTo>
                    <a:pt x="1170" y="332"/>
                    <a:pt x="1168" y="328"/>
                    <a:pt x="1168" y="328"/>
                  </a:cubicBezTo>
                  <a:cubicBezTo>
                    <a:pt x="1168" y="327"/>
                    <a:pt x="1168" y="327"/>
                    <a:pt x="1168" y="327"/>
                  </a:cubicBezTo>
                  <a:cubicBezTo>
                    <a:pt x="1168" y="327"/>
                    <a:pt x="1168" y="327"/>
                    <a:pt x="1169" y="327"/>
                  </a:cubicBezTo>
                  <a:cubicBezTo>
                    <a:pt x="1170" y="327"/>
                    <a:pt x="1170" y="327"/>
                    <a:pt x="1170" y="327"/>
                  </a:cubicBezTo>
                  <a:cubicBezTo>
                    <a:pt x="1170" y="327"/>
                    <a:pt x="1171" y="327"/>
                    <a:pt x="1172" y="327"/>
                  </a:cubicBezTo>
                  <a:cubicBezTo>
                    <a:pt x="1172" y="327"/>
                    <a:pt x="1172" y="327"/>
                    <a:pt x="1172" y="327"/>
                  </a:cubicBezTo>
                  <a:cubicBezTo>
                    <a:pt x="1172" y="328"/>
                    <a:pt x="1172" y="328"/>
                    <a:pt x="1173" y="329"/>
                  </a:cubicBezTo>
                  <a:cubicBezTo>
                    <a:pt x="1173" y="329"/>
                    <a:pt x="1173" y="329"/>
                    <a:pt x="1174" y="329"/>
                  </a:cubicBezTo>
                  <a:cubicBezTo>
                    <a:pt x="1174" y="330"/>
                    <a:pt x="1174" y="330"/>
                    <a:pt x="1174" y="330"/>
                  </a:cubicBezTo>
                  <a:cubicBezTo>
                    <a:pt x="1174" y="331"/>
                    <a:pt x="1175" y="333"/>
                    <a:pt x="1177" y="333"/>
                  </a:cubicBezTo>
                  <a:cubicBezTo>
                    <a:pt x="1177" y="333"/>
                    <a:pt x="1177" y="333"/>
                    <a:pt x="1177" y="333"/>
                  </a:cubicBezTo>
                  <a:cubicBezTo>
                    <a:pt x="1178" y="333"/>
                    <a:pt x="1178" y="333"/>
                    <a:pt x="1178" y="332"/>
                  </a:cubicBezTo>
                  <a:cubicBezTo>
                    <a:pt x="1179" y="331"/>
                    <a:pt x="1178" y="330"/>
                    <a:pt x="1178" y="329"/>
                  </a:cubicBezTo>
                  <a:cubicBezTo>
                    <a:pt x="1177" y="328"/>
                    <a:pt x="1177" y="328"/>
                    <a:pt x="1177" y="327"/>
                  </a:cubicBezTo>
                  <a:cubicBezTo>
                    <a:pt x="1177" y="325"/>
                    <a:pt x="1177" y="324"/>
                    <a:pt x="1176" y="323"/>
                  </a:cubicBezTo>
                  <a:cubicBezTo>
                    <a:pt x="1175" y="323"/>
                    <a:pt x="1175" y="323"/>
                    <a:pt x="1175" y="323"/>
                  </a:cubicBezTo>
                  <a:cubicBezTo>
                    <a:pt x="1175" y="322"/>
                    <a:pt x="1174" y="322"/>
                    <a:pt x="1174" y="322"/>
                  </a:cubicBezTo>
                  <a:cubicBezTo>
                    <a:pt x="1173" y="321"/>
                    <a:pt x="1172" y="320"/>
                    <a:pt x="1171" y="320"/>
                  </a:cubicBezTo>
                  <a:cubicBezTo>
                    <a:pt x="1170" y="320"/>
                    <a:pt x="1170" y="319"/>
                    <a:pt x="1169" y="319"/>
                  </a:cubicBezTo>
                  <a:cubicBezTo>
                    <a:pt x="1169" y="319"/>
                    <a:pt x="1168" y="318"/>
                    <a:pt x="1168" y="318"/>
                  </a:cubicBezTo>
                  <a:cubicBezTo>
                    <a:pt x="1167" y="317"/>
                    <a:pt x="1167" y="316"/>
                    <a:pt x="1166" y="316"/>
                  </a:cubicBezTo>
                  <a:cubicBezTo>
                    <a:pt x="1166" y="315"/>
                    <a:pt x="1166" y="315"/>
                    <a:pt x="1166" y="315"/>
                  </a:cubicBezTo>
                  <a:cubicBezTo>
                    <a:pt x="1165" y="315"/>
                    <a:pt x="1165" y="315"/>
                    <a:pt x="1164" y="314"/>
                  </a:cubicBezTo>
                  <a:cubicBezTo>
                    <a:pt x="1164" y="314"/>
                    <a:pt x="1164" y="314"/>
                    <a:pt x="1164" y="313"/>
                  </a:cubicBezTo>
                  <a:cubicBezTo>
                    <a:pt x="1164" y="313"/>
                    <a:pt x="1164" y="312"/>
                    <a:pt x="1164" y="312"/>
                  </a:cubicBezTo>
                  <a:cubicBezTo>
                    <a:pt x="1163" y="312"/>
                    <a:pt x="1163" y="312"/>
                    <a:pt x="1163" y="312"/>
                  </a:cubicBezTo>
                  <a:cubicBezTo>
                    <a:pt x="1163" y="311"/>
                    <a:pt x="1162" y="309"/>
                    <a:pt x="1161" y="307"/>
                  </a:cubicBezTo>
                  <a:cubicBezTo>
                    <a:pt x="1161" y="306"/>
                    <a:pt x="1161" y="306"/>
                    <a:pt x="1161" y="306"/>
                  </a:cubicBezTo>
                  <a:cubicBezTo>
                    <a:pt x="1160" y="303"/>
                    <a:pt x="1159" y="301"/>
                    <a:pt x="1158" y="298"/>
                  </a:cubicBezTo>
                  <a:cubicBezTo>
                    <a:pt x="1158" y="298"/>
                    <a:pt x="1158" y="297"/>
                    <a:pt x="1158" y="297"/>
                  </a:cubicBezTo>
                  <a:cubicBezTo>
                    <a:pt x="1157" y="296"/>
                    <a:pt x="1157" y="295"/>
                    <a:pt x="1157" y="295"/>
                  </a:cubicBezTo>
                  <a:cubicBezTo>
                    <a:pt x="1158" y="295"/>
                    <a:pt x="1158" y="295"/>
                    <a:pt x="1159" y="295"/>
                  </a:cubicBezTo>
                  <a:cubicBezTo>
                    <a:pt x="1159" y="295"/>
                    <a:pt x="1160" y="296"/>
                    <a:pt x="1161" y="295"/>
                  </a:cubicBezTo>
                  <a:cubicBezTo>
                    <a:pt x="1162" y="295"/>
                    <a:pt x="1162" y="295"/>
                    <a:pt x="1162" y="295"/>
                  </a:cubicBezTo>
                  <a:cubicBezTo>
                    <a:pt x="1162" y="296"/>
                    <a:pt x="1162" y="296"/>
                    <a:pt x="1162" y="296"/>
                  </a:cubicBezTo>
                  <a:cubicBezTo>
                    <a:pt x="1162" y="296"/>
                    <a:pt x="1162" y="296"/>
                    <a:pt x="1162" y="296"/>
                  </a:cubicBezTo>
                  <a:cubicBezTo>
                    <a:pt x="1162" y="296"/>
                    <a:pt x="1163" y="297"/>
                    <a:pt x="1163" y="297"/>
                  </a:cubicBezTo>
                  <a:cubicBezTo>
                    <a:pt x="1163" y="297"/>
                    <a:pt x="1164" y="298"/>
                    <a:pt x="1164" y="298"/>
                  </a:cubicBezTo>
                  <a:cubicBezTo>
                    <a:pt x="1164" y="298"/>
                    <a:pt x="1165" y="298"/>
                    <a:pt x="1165" y="299"/>
                  </a:cubicBezTo>
                  <a:cubicBezTo>
                    <a:pt x="1166" y="300"/>
                    <a:pt x="1167" y="302"/>
                    <a:pt x="1170" y="301"/>
                  </a:cubicBezTo>
                  <a:cubicBezTo>
                    <a:pt x="1170" y="301"/>
                    <a:pt x="1170" y="301"/>
                    <a:pt x="1170" y="301"/>
                  </a:cubicBezTo>
                  <a:cubicBezTo>
                    <a:pt x="1170" y="300"/>
                    <a:pt x="1170" y="300"/>
                    <a:pt x="1170" y="300"/>
                  </a:cubicBezTo>
                  <a:cubicBezTo>
                    <a:pt x="1171" y="297"/>
                    <a:pt x="1168" y="296"/>
                    <a:pt x="1167" y="295"/>
                  </a:cubicBezTo>
                  <a:cubicBezTo>
                    <a:pt x="1166" y="294"/>
                    <a:pt x="1166" y="294"/>
                    <a:pt x="1165" y="293"/>
                  </a:cubicBezTo>
                  <a:cubicBezTo>
                    <a:pt x="1165" y="293"/>
                    <a:pt x="1165" y="292"/>
                    <a:pt x="1165" y="292"/>
                  </a:cubicBezTo>
                  <a:cubicBezTo>
                    <a:pt x="1164" y="291"/>
                    <a:pt x="1163" y="290"/>
                    <a:pt x="1162" y="290"/>
                  </a:cubicBezTo>
                  <a:cubicBezTo>
                    <a:pt x="1162" y="290"/>
                    <a:pt x="1161" y="289"/>
                    <a:pt x="1161" y="289"/>
                  </a:cubicBezTo>
                  <a:cubicBezTo>
                    <a:pt x="1160" y="288"/>
                    <a:pt x="1160" y="288"/>
                    <a:pt x="1159" y="286"/>
                  </a:cubicBezTo>
                  <a:cubicBezTo>
                    <a:pt x="1159" y="286"/>
                    <a:pt x="1159" y="286"/>
                    <a:pt x="1158" y="286"/>
                  </a:cubicBezTo>
                  <a:cubicBezTo>
                    <a:pt x="1158" y="285"/>
                    <a:pt x="1158" y="285"/>
                    <a:pt x="1158" y="285"/>
                  </a:cubicBezTo>
                  <a:cubicBezTo>
                    <a:pt x="1157" y="284"/>
                    <a:pt x="1157" y="283"/>
                    <a:pt x="1156" y="282"/>
                  </a:cubicBezTo>
                  <a:cubicBezTo>
                    <a:pt x="1155" y="281"/>
                    <a:pt x="1154" y="280"/>
                    <a:pt x="1153" y="280"/>
                  </a:cubicBezTo>
                  <a:cubicBezTo>
                    <a:pt x="1153" y="280"/>
                    <a:pt x="1152" y="279"/>
                    <a:pt x="1152" y="279"/>
                  </a:cubicBezTo>
                  <a:cubicBezTo>
                    <a:pt x="1151" y="278"/>
                    <a:pt x="1151" y="277"/>
                    <a:pt x="1150" y="276"/>
                  </a:cubicBezTo>
                  <a:cubicBezTo>
                    <a:pt x="1150" y="276"/>
                    <a:pt x="1149" y="275"/>
                    <a:pt x="1149" y="275"/>
                  </a:cubicBezTo>
                  <a:cubicBezTo>
                    <a:pt x="1148" y="273"/>
                    <a:pt x="1147" y="272"/>
                    <a:pt x="1145" y="271"/>
                  </a:cubicBezTo>
                  <a:cubicBezTo>
                    <a:pt x="1144" y="270"/>
                    <a:pt x="1144" y="270"/>
                    <a:pt x="1143" y="269"/>
                  </a:cubicBezTo>
                  <a:cubicBezTo>
                    <a:pt x="1143" y="268"/>
                    <a:pt x="1142" y="268"/>
                    <a:pt x="1141" y="267"/>
                  </a:cubicBezTo>
                  <a:cubicBezTo>
                    <a:pt x="1141" y="267"/>
                    <a:pt x="1140" y="266"/>
                    <a:pt x="1140" y="266"/>
                  </a:cubicBezTo>
                  <a:cubicBezTo>
                    <a:pt x="1139" y="266"/>
                    <a:pt x="1138" y="265"/>
                    <a:pt x="1138" y="264"/>
                  </a:cubicBezTo>
                  <a:cubicBezTo>
                    <a:pt x="1137" y="264"/>
                    <a:pt x="1137" y="264"/>
                    <a:pt x="1137" y="264"/>
                  </a:cubicBezTo>
                  <a:cubicBezTo>
                    <a:pt x="1137" y="264"/>
                    <a:pt x="1137" y="263"/>
                    <a:pt x="1137" y="263"/>
                  </a:cubicBezTo>
                  <a:cubicBezTo>
                    <a:pt x="1137" y="262"/>
                    <a:pt x="1137" y="261"/>
                    <a:pt x="1136" y="260"/>
                  </a:cubicBezTo>
                  <a:cubicBezTo>
                    <a:pt x="1136" y="260"/>
                    <a:pt x="1136" y="260"/>
                    <a:pt x="1136" y="260"/>
                  </a:cubicBezTo>
                  <a:cubicBezTo>
                    <a:pt x="1136" y="260"/>
                    <a:pt x="1136" y="260"/>
                    <a:pt x="1136" y="260"/>
                  </a:cubicBezTo>
                  <a:cubicBezTo>
                    <a:pt x="1136" y="260"/>
                    <a:pt x="1136" y="260"/>
                    <a:pt x="1136" y="260"/>
                  </a:cubicBezTo>
                  <a:cubicBezTo>
                    <a:pt x="1136" y="259"/>
                    <a:pt x="1136" y="258"/>
                    <a:pt x="1136" y="257"/>
                  </a:cubicBezTo>
                  <a:cubicBezTo>
                    <a:pt x="1136" y="257"/>
                    <a:pt x="1136" y="257"/>
                    <a:pt x="1136" y="257"/>
                  </a:cubicBezTo>
                  <a:cubicBezTo>
                    <a:pt x="1135" y="257"/>
                    <a:pt x="1135" y="257"/>
                    <a:pt x="1135" y="257"/>
                  </a:cubicBezTo>
                  <a:cubicBezTo>
                    <a:pt x="1135" y="257"/>
                    <a:pt x="1135" y="256"/>
                    <a:pt x="1134" y="256"/>
                  </a:cubicBezTo>
                  <a:cubicBezTo>
                    <a:pt x="1134" y="255"/>
                    <a:pt x="1133" y="254"/>
                    <a:pt x="1132" y="254"/>
                  </a:cubicBezTo>
                  <a:cubicBezTo>
                    <a:pt x="1133" y="254"/>
                    <a:pt x="1133" y="254"/>
                    <a:pt x="1133" y="254"/>
                  </a:cubicBezTo>
                  <a:cubicBezTo>
                    <a:pt x="1134" y="253"/>
                    <a:pt x="1134" y="253"/>
                    <a:pt x="1134" y="253"/>
                  </a:cubicBezTo>
                  <a:cubicBezTo>
                    <a:pt x="1133" y="252"/>
                    <a:pt x="1133" y="252"/>
                    <a:pt x="1133" y="252"/>
                  </a:cubicBezTo>
                  <a:cubicBezTo>
                    <a:pt x="1132" y="251"/>
                    <a:pt x="1131" y="250"/>
                    <a:pt x="1130" y="249"/>
                  </a:cubicBezTo>
                  <a:cubicBezTo>
                    <a:pt x="1130" y="248"/>
                    <a:pt x="1129" y="248"/>
                    <a:pt x="1129" y="247"/>
                  </a:cubicBezTo>
                  <a:cubicBezTo>
                    <a:pt x="1128" y="246"/>
                    <a:pt x="1126" y="245"/>
                    <a:pt x="1125" y="243"/>
                  </a:cubicBezTo>
                  <a:cubicBezTo>
                    <a:pt x="1124" y="242"/>
                    <a:pt x="1123" y="241"/>
                    <a:pt x="1122" y="240"/>
                  </a:cubicBezTo>
                  <a:cubicBezTo>
                    <a:pt x="1121" y="239"/>
                    <a:pt x="1120" y="237"/>
                    <a:pt x="1118" y="237"/>
                  </a:cubicBezTo>
                  <a:cubicBezTo>
                    <a:pt x="1117" y="237"/>
                    <a:pt x="1116" y="237"/>
                    <a:pt x="1116" y="238"/>
                  </a:cubicBezTo>
                  <a:cubicBezTo>
                    <a:pt x="1115" y="238"/>
                    <a:pt x="1114" y="239"/>
                    <a:pt x="1114" y="240"/>
                  </a:cubicBezTo>
                  <a:cubicBezTo>
                    <a:pt x="1115" y="242"/>
                    <a:pt x="1116" y="243"/>
                    <a:pt x="1117" y="243"/>
                  </a:cubicBezTo>
                  <a:cubicBezTo>
                    <a:pt x="1119" y="244"/>
                    <a:pt x="1120" y="246"/>
                    <a:pt x="1121" y="248"/>
                  </a:cubicBezTo>
                  <a:cubicBezTo>
                    <a:pt x="1121" y="248"/>
                    <a:pt x="1121" y="248"/>
                    <a:pt x="1121" y="248"/>
                  </a:cubicBezTo>
                  <a:cubicBezTo>
                    <a:pt x="1121" y="248"/>
                    <a:pt x="1121" y="248"/>
                    <a:pt x="1121" y="249"/>
                  </a:cubicBezTo>
                  <a:cubicBezTo>
                    <a:pt x="1121" y="249"/>
                    <a:pt x="1121" y="249"/>
                    <a:pt x="1121" y="249"/>
                  </a:cubicBezTo>
                  <a:cubicBezTo>
                    <a:pt x="1121" y="249"/>
                    <a:pt x="1121" y="249"/>
                    <a:pt x="1121" y="249"/>
                  </a:cubicBezTo>
                  <a:cubicBezTo>
                    <a:pt x="1120" y="248"/>
                    <a:pt x="1118" y="248"/>
                    <a:pt x="1118" y="249"/>
                  </a:cubicBezTo>
                  <a:cubicBezTo>
                    <a:pt x="1117" y="251"/>
                    <a:pt x="1118" y="252"/>
                    <a:pt x="1120" y="254"/>
                  </a:cubicBezTo>
                  <a:cubicBezTo>
                    <a:pt x="1120" y="254"/>
                    <a:pt x="1120" y="254"/>
                    <a:pt x="1120" y="254"/>
                  </a:cubicBezTo>
                  <a:cubicBezTo>
                    <a:pt x="1120" y="255"/>
                    <a:pt x="1121" y="256"/>
                    <a:pt x="1121" y="256"/>
                  </a:cubicBezTo>
                  <a:cubicBezTo>
                    <a:pt x="1121" y="256"/>
                    <a:pt x="1121" y="257"/>
                    <a:pt x="1121" y="257"/>
                  </a:cubicBezTo>
                  <a:cubicBezTo>
                    <a:pt x="1121" y="257"/>
                    <a:pt x="1121" y="257"/>
                    <a:pt x="1121" y="257"/>
                  </a:cubicBezTo>
                  <a:cubicBezTo>
                    <a:pt x="1121" y="256"/>
                    <a:pt x="1119" y="256"/>
                    <a:pt x="1118" y="255"/>
                  </a:cubicBezTo>
                  <a:cubicBezTo>
                    <a:pt x="1118" y="255"/>
                    <a:pt x="1118" y="255"/>
                    <a:pt x="1118" y="255"/>
                  </a:cubicBezTo>
                  <a:cubicBezTo>
                    <a:pt x="1119" y="255"/>
                    <a:pt x="1119" y="254"/>
                    <a:pt x="1119" y="254"/>
                  </a:cubicBezTo>
                  <a:cubicBezTo>
                    <a:pt x="1119" y="253"/>
                    <a:pt x="1119" y="252"/>
                    <a:pt x="1115" y="251"/>
                  </a:cubicBezTo>
                  <a:cubicBezTo>
                    <a:pt x="1115" y="251"/>
                    <a:pt x="1115" y="251"/>
                    <a:pt x="1115" y="250"/>
                  </a:cubicBezTo>
                  <a:cubicBezTo>
                    <a:pt x="1115" y="249"/>
                    <a:pt x="1112" y="248"/>
                    <a:pt x="1112" y="248"/>
                  </a:cubicBezTo>
                  <a:cubicBezTo>
                    <a:pt x="1111" y="248"/>
                    <a:pt x="1111" y="248"/>
                    <a:pt x="1111" y="248"/>
                  </a:cubicBezTo>
                  <a:cubicBezTo>
                    <a:pt x="1110" y="248"/>
                    <a:pt x="1109" y="247"/>
                    <a:pt x="1109" y="247"/>
                  </a:cubicBezTo>
                  <a:cubicBezTo>
                    <a:pt x="1108" y="247"/>
                    <a:pt x="1107" y="246"/>
                    <a:pt x="1107" y="245"/>
                  </a:cubicBezTo>
                  <a:cubicBezTo>
                    <a:pt x="1106" y="245"/>
                    <a:pt x="1106" y="244"/>
                    <a:pt x="1105" y="244"/>
                  </a:cubicBezTo>
                  <a:cubicBezTo>
                    <a:pt x="1105" y="244"/>
                    <a:pt x="1104" y="244"/>
                    <a:pt x="1104" y="244"/>
                  </a:cubicBezTo>
                  <a:cubicBezTo>
                    <a:pt x="1104" y="244"/>
                    <a:pt x="1103" y="244"/>
                    <a:pt x="1103" y="243"/>
                  </a:cubicBezTo>
                  <a:cubicBezTo>
                    <a:pt x="1101" y="242"/>
                    <a:pt x="1100" y="242"/>
                    <a:pt x="1099" y="242"/>
                  </a:cubicBezTo>
                  <a:cubicBezTo>
                    <a:pt x="1099" y="242"/>
                    <a:pt x="1099" y="242"/>
                    <a:pt x="1099" y="242"/>
                  </a:cubicBezTo>
                  <a:cubicBezTo>
                    <a:pt x="1099" y="242"/>
                    <a:pt x="1098" y="242"/>
                    <a:pt x="1097" y="242"/>
                  </a:cubicBezTo>
                  <a:cubicBezTo>
                    <a:pt x="1096" y="242"/>
                    <a:pt x="1095" y="242"/>
                    <a:pt x="1094" y="242"/>
                  </a:cubicBezTo>
                  <a:cubicBezTo>
                    <a:pt x="1094" y="242"/>
                    <a:pt x="1094" y="242"/>
                    <a:pt x="1094" y="242"/>
                  </a:cubicBezTo>
                  <a:cubicBezTo>
                    <a:pt x="1093" y="242"/>
                    <a:pt x="1092" y="242"/>
                    <a:pt x="1092" y="243"/>
                  </a:cubicBezTo>
                  <a:cubicBezTo>
                    <a:pt x="1092" y="244"/>
                    <a:pt x="1093" y="246"/>
                    <a:pt x="1094" y="247"/>
                  </a:cubicBezTo>
                  <a:cubicBezTo>
                    <a:pt x="1094" y="247"/>
                    <a:pt x="1094" y="247"/>
                    <a:pt x="1094" y="247"/>
                  </a:cubicBezTo>
                  <a:cubicBezTo>
                    <a:pt x="1094" y="247"/>
                    <a:pt x="1093" y="247"/>
                    <a:pt x="1093" y="248"/>
                  </a:cubicBezTo>
                  <a:cubicBezTo>
                    <a:pt x="1092" y="248"/>
                    <a:pt x="1092" y="249"/>
                    <a:pt x="1092" y="250"/>
                  </a:cubicBezTo>
                  <a:cubicBezTo>
                    <a:pt x="1091" y="250"/>
                    <a:pt x="1091" y="250"/>
                    <a:pt x="1091" y="250"/>
                  </a:cubicBezTo>
                  <a:cubicBezTo>
                    <a:pt x="1091" y="250"/>
                    <a:pt x="1091" y="250"/>
                    <a:pt x="1091" y="250"/>
                  </a:cubicBezTo>
                  <a:cubicBezTo>
                    <a:pt x="1091" y="250"/>
                    <a:pt x="1090" y="250"/>
                    <a:pt x="1090" y="250"/>
                  </a:cubicBezTo>
                  <a:cubicBezTo>
                    <a:pt x="1091" y="250"/>
                    <a:pt x="1091" y="250"/>
                    <a:pt x="1091" y="250"/>
                  </a:cubicBezTo>
                  <a:cubicBezTo>
                    <a:pt x="1091" y="249"/>
                    <a:pt x="1092" y="248"/>
                    <a:pt x="1091" y="247"/>
                  </a:cubicBezTo>
                  <a:cubicBezTo>
                    <a:pt x="1091" y="246"/>
                    <a:pt x="1090" y="246"/>
                    <a:pt x="1088" y="246"/>
                  </a:cubicBezTo>
                  <a:cubicBezTo>
                    <a:pt x="1088" y="246"/>
                    <a:pt x="1088" y="246"/>
                    <a:pt x="1088" y="246"/>
                  </a:cubicBezTo>
                  <a:cubicBezTo>
                    <a:pt x="1088" y="246"/>
                    <a:pt x="1088" y="246"/>
                    <a:pt x="1088" y="246"/>
                  </a:cubicBezTo>
                  <a:cubicBezTo>
                    <a:pt x="1088" y="245"/>
                    <a:pt x="1088" y="244"/>
                    <a:pt x="1088" y="244"/>
                  </a:cubicBezTo>
                  <a:cubicBezTo>
                    <a:pt x="1087" y="243"/>
                    <a:pt x="1087" y="243"/>
                    <a:pt x="1085" y="243"/>
                  </a:cubicBezTo>
                  <a:cubicBezTo>
                    <a:pt x="1085" y="243"/>
                    <a:pt x="1085" y="243"/>
                    <a:pt x="1085" y="243"/>
                  </a:cubicBezTo>
                  <a:cubicBezTo>
                    <a:pt x="1084" y="243"/>
                    <a:pt x="1083" y="243"/>
                    <a:pt x="1083" y="244"/>
                  </a:cubicBezTo>
                  <a:cubicBezTo>
                    <a:pt x="1083" y="244"/>
                    <a:pt x="1083" y="245"/>
                    <a:pt x="1083" y="245"/>
                  </a:cubicBezTo>
                  <a:cubicBezTo>
                    <a:pt x="1083" y="244"/>
                    <a:pt x="1082" y="244"/>
                    <a:pt x="1082" y="244"/>
                  </a:cubicBezTo>
                  <a:cubicBezTo>
                    <a:pt x="1082" y="243"/>
                    <a:pt x="1081" y="243"/>
                    <a:pt x="1081" y="242"/>
                  </a:cubicBezTo>
                  <a:cubicBezTo>
                    <a:pt x="1081" y="241"/>
                    <a:pt x="1081" y="240"/>
                    <a:pt x="1079" y="240"/>
                  </a:cubicBezTo>
                  <a:cubicBezTo>
                    <a:pt x="1079" y="239"/>
                    <a:pt x="1078" y="239"/>
                    <a:pt x="1078" y="239"/>
                  </a:cubicBezTo>
                  <a:cubicBezTo>
                    <a:pt x="1077" y="239"/>
                    <a:pt x="1076" y="240"/>
                    <a:pt x="1076" y="240"/>
                  </a:cubicBezTo>
                  <a:cubicBezTo>
                    <a:pt x="1076" y="240"/>
                    <a:pt x="1076" y="240"/>
                    <a:pt x="1075" y="240"/>
                  </a:cubicBezTo>
                  <a:cubicBezTo>
                    <a:pt x="1075" y="240"/>
                    <a:pt x="1074" y="240"/>
                    <a:pt x="1074" y="240"/>
                  </a:cubicBezTo>
                  <a:cubicBezTo>
                    <a:pt x="1073" y="240"/>
                    <a:pt x="1073" y="240"/>
                    <a:pt x="1072" y="241"/>
                  </a:cubicBezTo>
                  <a:cubicBezTo>
                    <a:pt x="1071" y="240"/>
                    <a:pt x="1071" y="240"/>
                    <a:pt x="1070" y="240"/>
                  </a:cubicBezTo>
                  <a:cubicBezTo>
                    <a:pt x="1070" y="240"/>
                    <a:pt x="1069" y="240"/>
                    <a:pt x="1069" y="239"/>
                  </a:cubicBezTo>
                  <a:cubicBezTo>
                    <a:pt x="1069" y="239"/>
                    <a:pt x="1069" y="239"/>
                    <a:pt x="1070" y="237"/>
                  </a:cubicBezTo>
                  <a:cubicBezTo>
                    <a:pt x="1070" y="237"/>
                    <a:pt x="1070" y="237"/>
                    <a:pt x="1070" y="237"/>
                  </a:cubicBezTo>
                  <a:cubicBezTo>
                    <a:pt x="1071" y="236"/>
                    <a:pt x="1072" y="234"/>
                    <a:pt x="1071" y="233"/>
                  </a:cubicBezTo>
                  <a:cubicBezTo>
                    <a:pt x="1071" y="232"/>
                    <a:pt x="1071" y="232"/>
                    <a:pt x="1071" y="232"/>
                  </a:cubicBezTo>
                  <a:cubicBezTo>
                    <a:pt x="1073" y="232"/>
                    <a:pt x="1072" y="230"/>
                    <a:pt x="1072" y="229"/>
                  </a:cubicBezTo>
                  <a:cubicBezTo>
                    <a:pt x="1071" y="229"/>
                    <a:pt x="1071" y="229"/>
                    <a:pt x="1071" y="229"/>
                  </a:cubicBezTo>
                  <a:cubicBezTo>
                    <a:pt x="1072" y="228"/>
                    <a:pt x="1072" y="228"/>
                    <a:pt x="1072" y="228"/>
                  </a:cubicBezTo>
                  <a:cubicBezTo>
                    <a:pt x="1072" y="228"/>
                    <a:pt x="1072" y="228"/>
                    <a:pt x="1072" y="228"/>
                  </a:cubicBezTo>
                  <a:cubicBezTo>
                    <a:pt x="1073" y="228"/>
                    <a:pt x="1073" y="228"/>
                    <a:pt x="1073" y="227"/>
                  </a:cubicBezTo>
                  <a:cubicBezTo>
                    <a:pt x="1074" y="227"/>
                    <a:pt x="1074" y="226"/>
                    <a:pt x="1073" y="225"/>
                  </a:cubicBezTo>
                  <a:cubicBezTo>
                    <a:pt x="1073" y="225"/>
                    <a:pt x="1073" y="225"/>
                    <a:pt x="1073" y="225"/>
                  </a:cubicBezTo>
                  <a:cubicBezTo>
                    <a:pt x="1073" y="225"/>
                    <a:pt x="1074" y="224"/>
                    <a:pt x="1074" y="224"/>
                  </a:cubicBezTo>
                  <a:cubicBezTo>
                    <a:pt x="1075" y="224"/>
                    <a:pt x="1075" y="222"/>
                    <a:pt x="1075" y="215"/>
                  </a:cubicBezTo>
                  <a:cubicBezTo>
                    <a:pt x="1075" y="213"/>
                    <a:pt x="1075" y="213"/>
                    <a:pt x="1075" y="213"/>
                  </a:cubicBezTo>
                  <a:cubicBezTo>
                    <a:pt x="1075" y="212"/>
                    <a:pt x="1075" y="211"/>
                    <a:pt x="1075" y="211"/>
                  </a:cubicBezTo>
                  <a:cubicBezTo>
                    <a:pt x="1076" y="211"/>
                    <a:pt x="1076" y="211"/>
                    <a:pt x="1076" y="211"/>
                  </a:cubicBezTo>
                  <a:cubicBezTo>
                    <a:pt x="1076" y="211"/>
                    <a:pt x="1076" y="210"/>
                    <a:pt x="1076" y="209"/>
                  </a:cubicBezTo>
                  <a:cubicBezTo>
                    <a:pt x="1076" y="209"/>
                    <a:pt x="1076" y="209"/>
                    <a:pt x="1077" y="209"/>
                  </a:cubicBezTo>
                  <a:cubicBezTo>
                    <a:pt x="1077" y="208"/>
                    <a:pt x="1078" y="207"/>
                    <a:pt x="1078" y="206"/>
                  </a:cubicBezTo>
                  <a:cubicBezTo>
                    <a:pt x="1078" y="205"/>
                    <a:pt x="1078" y="205"/>
                    <a:pt x="1078" y="205"/>
                  </a:cubicBezTo>
                  <a:cubicBezTo>
                    <a:pt x="1079" y="204"/>
                    <a:pt x="1079" y="202"/>
                    <a:pt x="1079" y="197"/>
                  </a:cubicBezTo>
                  <a:cubicBezTo>
                    <a:pt x="1078" y="196"/>
                    <a:pt x="1079" y="195"/>
                    <a:pt x="1080" y="194"/>
                  </a:cubicBezTo>
                  <a:cubicBezTo>
                    <a:pt x="1080" y="193"/>
                    <a:pt x="1081" y="192"/>
                    <a:pt x="1081" y="191"/>
                  </a:cubicBezTo>
                  <a:cubicBezTo>
                    <a:pt x="1081" y="190"/>
                    <a:pt x="1081" y="190"/>
                    <a:pt x="1081" y="189"/>
                  </a:cubicBezTo>
                  <a:cubicBezTo>
                    <a:pt x="1082" y="188"/>
                    <a:pt x="1082" y="187"/>
                    <a:pt x="1082" y="186"/>
                  </a:cubicBezTo>
                  <a:cubicBezTo>
                    <a:pt x="1082" y="186"/>
                    <a:pt x="1083" y="185"/>
                    <a:pt x="1083" y="185"/>
                  </a:cubicBezTo>
                  <a:cubicBezTo>
                    <a:pt x="1083" y="185"/>
                    <a:pt x="1083" y="185"/>
                    <a:pt x="1083" y="185"/>
                  </a:cubicBezTo>
                  <a:cubicBezTo>
                    <a:pt x="1084" y="185"/>
                    <a:pt x="1084" y="185"/>
                    <a:pt x="1085" y="184"/>
                  </a:cubicBezTo>
                  <a:cubicBezTo>
                    <a:pt x="1086" y="184"/>
                    <a:pt x="1088" y="183"/>
                    <a:pt x="1089" y="183"/>
                  </a:cubicBezTo>
                  <a:cubicBezTo>
                    <a:pt x="1091" y="183"/>
                    <a:pt x="1092" y="182"/>
                    <a:pt x="1094" y="182"/>
                  </a:cubicBezTo>
                  <a:cubicBezTo>
                    <a:pt x="1094" y="182"/>
                    <a:pt x="1094" y="182"/>
                    <a:pt x="1094" y="182"/>
                  </a:cubicBezTo>
                  <a:cubicBezTo>
                    <a:pt x="1095" y="183"/>
                    <a:pt x="1096" y="182"/>
                    <a:pt x="1097" y="182"/>
                  </a:cubicBezTo>
                  <a:cubicBezTo>
                    <a:pt x="1097" y="181"/>
                    <a:pt x="1097" y="181"/>
                    <a:pt x="1097" y="181"/>
                  </a:cubicBezTo>
                  <a:cubicBezTo>
                    <a:pt x="1097" y="182"/>
                    <a:pt x="1097" y="183"/>
                    <a:pt x="1098" y="183"/>
                  </a:cubicBezTo>
                  <a:cubicBezTo>
                    <a:pt x="1099" y="184"/>
                    <a:pt x="1100" y="184"/>
                    <a:pt x="1101" y="184"/>
                  </a:cubicBezTo>
                  <a:cubicBezTo>
                    <a:pt x="1101" y="184"/>
                    <a:pt x="1101" y="184"/>
                    <a:pt x="1101" y="184"/>
                  </a:cubicBezTo>
                  <a:cubicBezTo>
                    <a:pt x="1103" y="184"/>
                    <a:pt x="1103" y="182"/>
                    <a:pt x="1103" y="181"/>
                  </a:cubicBezTo>
                  <a:cubicBezTo>
                    <a:pt x="1103" y="181"/>
                    <a:pt x="1103" y="181"/>
                    <a:pt x="1103" y="181"/>
                  </a:cubicBezTo>
                  <a:cubicBezTo>
                    <a:pt x="1104" y="181"/>
                    <a:pt x="1104" y="182"/>
                    <a:pt x="1106" y="182"/>
                  </a:cubicBezTo>
                  <a:cubicBezTo>
                    <a:pt x="1106" y="182"/>
                    <a:pt x="1107" y="182"/>
                    <a:pt x="1108" y="183"/>
                  </a:cubicBezTo>
                  <a:cubicBezTo>
                    <a:pt x="1110" y="183"/>
                    <a:pt x="1111" y="182"/>
                    <a:pt x="1111" y="182"/>
                  </a:cubicBezTo>
                  <a:cubicBezTo>
                    <a:pt x="1111" y="182"/>
                    <a:pt x="1112" y="182"/>
                    <a:pt x="1112" y="182"/>
                  </a:cubicBezTo>
                  <a:cubicBezTo>
                    <a:pt x="1112" y="182"/>
                    <a:pt x="1113" y="182"/>
                    <a:pt x="1113" y="180"/>
                  </a:cubicBezTo>
                  <a:cubicBezTo>
                    <a:pt x="1114" y="181"/>
                    <a:pt x="1115" y="181"/>
                    <a:pt x="1117" y="180"/>
                  </a:cubicBezTo>
                  <a:cubicBezTo>
                    <a:pt x="1118" y="180"/>
                    <a:pt x="1118" y="179"/>
                    <a:pt x="1118" y="178"/>
                  </a:cubicBezTo>
                  <a:cubicBezTo>
                    <a:pt x="1118" y="178"/>
                    <a:pt x="1118" y="178"/>
                    <a:pt x="1118" y="178"/>
                  </a:cubicBezTo>
                  <a:cubicBezTo>
                    <a:pt x="1118" y="178"/>
                    <a:pt x="1119" y="177"/>
                    <a:pt x="1119" y="177"/>
                  </a:cubicBezTo>
                  <a:cubicBezTo>
                    <a:pt x="1120" y="176"/>
                    <a:pt x="1120" y="175"/>
                    <a:pt x="1119" y="175"/>
                  </a:cubicBezTo>
                  <a:cubicBezTo>
                    <a:pt x="1119" y="174"/>
                    <a:pt x="1120" y="175"/>
                    <a:pt x="1120" y="175"/>
                  </a:cubicBezTo>
                  <a:cubicBezTo>
                    <a:pt x="1121" y="175"/>
                    <a:pt x="1121" y="175"/>
                    <a:pt x="1121" y="175"/>
                  </a:cubicBezTo>
                  <a:cubicBezTo>
                    <a:pt x="1122" y="175"/>
                    <a:pt x="1123" y="175"/>
                    <a:pt x="1123" y="175"/>
                  </a:cubicBezTo>
                  <a:cubicBezTo>
                    <a:pt x="1123" y="175"/>
                    <a:pt x="1123" y="176"/>
                    <a:pt x="1124" y="176"/>
                  </a:cubicBezTo>
                  <a:cubicBezTo>
                    <a:pt x="1124" y="176"/>
                    <a:pt x="1125" y="176"/>
                    <a:pt x="1126" y="176"/>
                  </a:cubicBezTo>
                  <a:cubicBezTo>
                    <a:pt x="1126" y="176"/>
                    <a:pt x="1126" y="176"/>
                    <a:pt x="1126" y="176"/>
                  </a:cubicBezTo>
                  <a:cubicBezTo>
                    <a:pt x="1126" y="176"/>
                    <a:pt x="1126" y="176"/>
                    <a:pt x="1126" y="176"/>
                  </a:cubicBezTo>
                  <a:cubicBezTo>
                    <a:pt x="1126" y="176"/>
                    <a:pt x="1126" y="176"/>
                    <a:pt x="1127" y="176"/>
                  </a:cubicBezTo>
                  <a:cubicBezTo>
                    <a:pt x="1128" y="177"/>
                    <a:pt x="1129" y="177"/>
                    <a:pt x="1130" y="176"/>
                  </a:cubicBezTo>
                  <a:cubicBezTo>
                    <a:pt x="1130" y="175"/>
                    <a:pt x="1130" y="175"/>
                    <a:pt x="1130" y="175"/>
                  </a:cubicBezTo>
                  <a:cubicBezTo>
                    <a:pt x="1131" y="175"/>
                    <a:pt x="1131" y="175"/>
                    <a:pt x="1132" y="175"/>
                  </a:cubicBezTo>
                  <a:cubicBezTo>
                    <a:pt x="1132" y="176"/>
                    <a:pt x="1132" y="176"/>
                    <a:pt x="1133" y="176"/>
                  </a:cubicBezTo>
                  <a:cubicBezTo>
                    <a:pt x="1132" y="176"/>
                    <a:pt x="1132" y="176"/>
                    <a:pt x="1132" y="176"/>
                  </a:cubicBezTo>
                  <a:cubicBezTo>
                    <a:pt x="1131" y="177"/>
                    <a:pt x="1131" y="178"/>
                    <a:pt x="1131" y="178"/>
                  </a:cubicBezTo>
                  <a:cubicBezTo>
                    <a:pt x="1131" y="179"/>
                    <a:pt x="1132" y="180"/>
                    <a:pt x="1133" y="180"/>
                  </a:cubicBezTo>
                  <a:cubicBezTo>
                    <a:pt x="1133" y="180"/>
                    <a:pt x="1133" y="180"/>
                    <a:pt x="1133" y="180"/>
                  </a:cubicBezTo>
                  <a:cubicBezTo>
                    <a:pt x="1133" y="180"/>
                    <a:pt x="1133" y="181"/>
                    <a:pt x="1133" y="181"/>
                  </a:cubicBezTo>
                  <a:cubicBezTo>
                    <a:pt x="1134" y="182"/>
                    <a:pt x="1135" y="182"/>
                    <a:pt x="1135" y="182"/>
                  </a:cubicBezTo>
                  <a:cubicBezTo>
                    <a:pt x="1136" y="182"/>
                    <a:pt x="1136" y="182"/>
                    <a:pt x="1137" y="181"/>
                  </a:cubicBezTo>
                  <a:cubicBezTo>
                    <a:pt x="1137" y="181"/>
                    <a:pt x="1137" y="181"/>
                    <a:pt x="1137" y="181"/>
                  </a:cubicBezTo>
                  <a:cubicBezTo>
                    <a:pt x="1138" y="181"/>
                    <a:pt x="1139" y="181"/>
                    <a:pt x="1139" y="180"/>
                  </a:cubicBezTo>
                  <a:cubicBezTo>
                    <a:pt x="1140" y="180"/>
                    <a:pt x="1140" y="180"/>
                    <a:pt x="1141" y="180"/>
                  </a:cubicBezTo>
                  <a:cubicBezTo>
                    <a:pt x="1141" y="180"/>
                    <a:pt x="1141" y="180"/>
                    <a:pt x="1141" y="180"/>
                  </a:cubicBezTo>
                  <a:cubicBezTo>
                    <a:pt x="1141" y="180"/>
                    <a:pt x="1142" y="180"/>
                    <a:pt x="1143" y="180"/>
                  </a:cubicBezTo>
                  <a:cubicBezTo>
                    <a:pt x="1143" y="180"/>
                    <a:pt x="1143" y="180"/>
                    <a:pt x="1143" y="180"/>
                  </a:cubicBezTo>
                  <a:cubicBezTo>
                    <a:pt x="1144" y="180"/>
                    <a:pt x="1144" y="179"/>
                    <a:pt x="1145" y="178"/>
                  </a:cubicBezTo>
                  <a:cubicBezTo>
                    <a:pt x="1145" y="178"/>
                    <a:pt x="1145" y="178"/>
                    <a:pt x="1145" y="178"/>
                  </a:cubicBezTo>
                  <a:cubicBezTo>
                    <a:pt x="1145" y="178"/>
                    <a:pt x="1145" y="177"/>
                    <a:pt x="1146" y="177"/>
                  </a:cubicBezTo>
                  <a:cubicBezTo>
                    <a:pt x="1146" y="177"/>
                    <a:pt x="1146" y="177"/>
                    <a:pt x="1146" y="177"/>
                  </a:cubicBezTo>
                  <a:cubicBezTo>
                    <a:pt x="1149" y="178"/>
                    <a:pt x="1151" y="177"/>
                    <a:pt x="1152" y="175"/>
                  </a:cubicBezTo>
                  <a:cubicBezTo>
                    <a:pt x="1152" y="176"/>
                    <a:pt x="1153" y="176"/>
                    <a:pt x="1153" y="176"/>
                  </a:cubicBezTo>
                  <a:cubicBezTo>
                    <a:pt x="1154" y="176"/>
                    <a:pt x="1155" y="175"/>
                    <a:pt x="1155" y="174"/>
                  </a:cubicBezTo>
                  <a:cubicBezTo>
                    <a:pt x="1156" y="174"/>
                    <a:pt x="1156" y="173"/>
                    <a:pt x="1156" y="173"/>
                  </a:cubicBezTo>
                  <a:cubicBezTo>
                    <a:pt x="1156" y="172"/>
                    <a:pt x="1155" y="171"/>
                    <a:pt x="1154" y="171"/>
                  </a:cubicBezTo>
                  <a:cubicBezTo>
                    <a:pt x="1153" y="170"/>
                    <a:pt x="1152" y="170"/>
                    <a:pt x="1151" y="169"/>
                  </a:cubicBezTo>
                  <a:cubicBezTo>
                    <a:pt x="1150" y="169"/>
                    <a:pt x="1149" y="168"/>
                    <a:pt x="1149" y="169"/>
                  </a:cubicBezTo>
                  <a:cubicBezTo>
                    <a:pt x="1149" y="167"/>
                    <a:pt x="1147" y="167"/>
                    <a:pt x="1146" y="167"/>
                  </a:cubicBezTo>
                  <a:cubicBezTo>
                    <a:pt x="1146" y="165"/>
                    <a:pt x="1145" y="164"/>
                    <a:pt x="1145" y="163"/>
                  </a:cubicBezTo>
                  <a:cubicBezTo>
                    <a:pt x="1144" y="163"/>
                    <a:pt x="1144" y="163"/>
                    <a:pt x="1144" y="163"/>
                  </a:cubicBezTo>
                  <a:cubicBezTo>
                    <a:pt x="1144" y="163"/>
                    <a:pt x="1144" y="162"/>
                    <a:pt x="1144" y="162"/>
                  </a:cubicBezTo>
                  <a:cubicBezTo>
                    <a:pt x="1145" y="161"/>
                    <a:pt x="1145" y="159"/>
                    <a:pt x="1145" y="158"/>
                  </a:cubicBezTo>
                  <a:cubicBezTo>
                    <a:pt x="1144" y="158"/>
                    <a:pt x="1144" y="158"/>
                    <a:pt x="1144" y="158"/>
                  </a:cubicBezTo>
                  <a:cubicBezTo>
                    <a:pt x="1144" y="158"/>
                    <a:pt x="1144" y="158"/>
                    <a:pt x="1144" y="158"/>
                  </a:cubicBezTo>
                  <a:cubicBezTo>
                    <a:pt x="1145" y="156"/>
                    <a:pt x="1145" y="154"/>
                    <a:pt x="1145" y="152"/>
                  </a:cubicBezTo>
                  <a:cubicBezTo>
                    <a:pt x="1145" y="151"/>
                    <a:pt x="1145" y="151"/>
                    <a:pt x="1145" y="151"/>
                  </a:cubicBezTo>
                  <a:cubicBezTo>
                    <a:pt x="1144" y="151"/>
                    <a:pt x="1145" y="150"/>
                    <a:pt x="1144" y="151"/>
                  </a:cubicBezTo>
                  <a:cubicBezTo>
                    <a:pt x="1144" y="150"/>
                    <a:pt x="1144" y="150"/>
                    <a:pt x="1144" y="150"/>
                  </a:cubicBezTo>
                  <a:cubicBezTo>
                    <a:pt x="1144" y="150"/>
                    <a:pt x="1144" y="150"/>
                    <a:pt x="1144" y="150"/>
                  </a:cubicBezTo>
                  <a:cubicBezTo>
                    <a:pt x="1145" y="150"/>
                    <a:pt x="1145" y="150"/>
                    <a:pt x="1145" y="150"/>
                  </a:cubicBezTo>
                  <a:cubicBezTo>
                    <a:pt x="1145" y="150"/>
                    <a:pt x="1146" y="149"/>
                    <a:pt x="1146" y="148"/>
                  </a:cubicBezTo>
                  <a:cubicBezTo>
                    <a:pt x="1146" y="147"/>
                    <a:pt x="1145" y="147"/>
                    <a:pt x="1145" y="147"/>
                  </a:cubicBezTo>
                  <a:cubicBezTo>
                    <a:pt x="1145" y="146"/>
                    <a:pt x="1145" y="144"/>
                    <a:pt x="1145" y="144"/>
                  </a:cubicBezTo>
                  <a:cubicBezTo>
                    <a:pt x="1145" y="143"/>
                    <a:pt x="1145" y="143"/>
                    <a:pt x="1145" y="143"/>
                  </a:cubicBezTo>
                  <a:cubicBezTo>
                    <a:pt x="1147" y="144"/>
                    <a:pt x="1148" y="142"/>
                    <a:pt x="1149" y="142"/>
                  </a:cubicBezTo>
                  <a:cubicBezTo>
                    <a:pt x="1149" y="141"/>
                    <a:pt x="1149" y="141"/>
                    <a:pt x="1150" y="141"/>
                  </a:cubicBezTo>
                  <a:cubicBezTo>
                    <a:pt x="1151" y="140"/>
                    <a:pt x="1152" y="140"/>
                    <a:pt x="1152" y="139"/>
                  </a:cubicBezTo>
                  <a:cubicBezTo>
                    <a:pt x="1153" y="139"/>
                    <a:pt x="1153" y="139"/>
                    <a:pt x="1153" y="139"/>
                  </a:cubicBezTo>
                  <a:cubicBezTo>
                    <a:pt x="1154" y="139"/>
                    <a:pt x="1154" y="140"/>
                    <a:pt x="1155" y="140"/>
                  </a:cubicBezTo>
                  <a:cubicBezTo>
                    <a:pt x="1155" y="140"/>
                    <a:pt x="1155" y="140"/>
                    <a:pt x="1155" y="140"/>
                  </a:cubicBezTo>
                  <a:cubicBezTo>
                    <a:pt x="1155" y="140"/>
                    <a:pt x="1155" y="141"/>
                    <a:pt x="1155" y="141"/>
                  </a:cubicBezTo>
                  <a:cubicBezTo>
                    <a:pt x="1156" y="141"/>
                    <a:pt x="1156" y="141"/>
                    <a:pt x="1157" y="141"/>
                  </a:cubicBezTo>
                  <a:cubicBezTo>
                    <a:pt x="1157" y="141"/>
                    <a:pt x="1158" y="141"/>
                    <a:pt x="1158" y="141"/>
                  </a:cubicBezTo>
                  <a:cubicBezTo>
                    <a:pt x="1159" y="141"/>
                    <a:pt x="1159" y="141"/>
                    <a:pt x="1160" y="140"/>
                  </a:cubicBezTo>
                  <a:cubicBezTo>
                    <a:pt x="1160" y="141"/>
                    <a:pt x="1160" y="141"/>
                    <a:pt x="1161" y="141"/>
                  </a:cubicBezTo>
                  <a:cubicBezTo>
                    <a:pt x="1161" y="142"/>
                    <a:pt x="1161" y="142"/>
                    <a:pt x="1161" y="143"/>
                  </a:cubicBezTo>
                  <a:cubicBezTo>
                    <a:pt x="1161" y="144"/>
                    <a:pt x="1161" y="144"/>
                    <a:pt x="1161" y="144"/>
                  </a:cubicBezTo>
                  <a:cubicBezTo>
                    <a:pt x="1161" y="146"/>
                    <a:pt x="1162" y="147"/>
                    <a:pt x="1163" y="147"/>
                  </a:cubicBezTo>
                  <a:cubicBezTo>
                    <a:pt x="1163" y="147"/>
                    <a:pt x="1163" y="147"/>
                    <a:pt x="1163" y="147"/>
                  </a:cubicBezTo>
                  <a:cubicBezTo>
                    <a:pt x="1163" y="147"/>
                    <a:pt x="1163" y="147"/>
                    <a:pt x="1164" y="148"/>
                  </a:cubicBezTo>
                  <a:cubicBezTo>
                    <a:pt x="1164" y="150"/>
                    <a:pt x="1165" y="150"/>
                    <a:pt x="1166" y="150"/>
                  </a:cubicBezTo>
                  <a:cubicBezTo>
                    <a:pt x="1166" y="150"/>
                    <a:pt x="1167" y="150"/>
                    <a:pt x="1167" y="149"/>
                  </a:cubicBezTo>
                  <a:cubicBezTo>
                    <a:pt x="1168" y="150"/>
                    <a:pt x="1168" y="150"/>
                    <a:pt x="1168" y="150"/>
                  </a:cubicBezTo>
                  <a:cubicBezTo>
                    <a:pt x="1169" y="151"/>
                    <a:pt x="1169" y="151"/>
                    <a:pt x="1169" y="151"/>
                  </a:cubicBezTo>
                  <a:cubicBezTo>
                    <a:pt x="1169" y="151"/>
                    <a:pt x="1169" y="151"/>
                    <a:pt x="1170" y="151"/>
                  </a:cubicBezTo>
                  <a:cubicBezTo>
                    <a:pt x="1170" y="152"/>
                    <a:pt x="1171" y="153"/>
                    <a:pt x="1172" y="153"/>
                  </a:cubicBezTo>
                  <a:cubicBezTo>
                    <a:pt x="1173" y="153"/>
                    <a:pt x="1173" y="152"/>
                    <a:pt x="1173" y="151"/>
                  </a:cubicBezTo>
                  <a:cubicBezTo>
                    <a:pt x="1173" y="150"/>
                    <a:pt x="1174" y="150"/>
                    <a:pt x="1174" y="150"/>
                  </a:cubicBezTo>
                  <a:cubicBezTo>
                    <a:pt x="1174" y="149"/>
                    <a:pt x="1175" y="148"/>
                    <a:pt x="1175" y="147"/>
                  </a:cubicBezTo>
                  <a:cubicBezTo>
                    <a:pt x="1174" y="147"/>
                    <a:pt x="1174" y="146"/>
                    <a:pt x="1175" y="145"/>
                  </a:cubicBezTo>
                  <a:cubicBezTo>
                    <a:pt x="1176" y="144"/>
                    <a:pt x="1175" y="142"/>
                    <a:pt x="1175" y="140"/>
                  </a:cubicBezTo>
                  <a:cubicBezTo>
                    <a:pt x="1175" y="140"/>
                    <a:pt x="1175" y="139"/>
                    <a:pt x="1175" y="139"/>
                  </a:cubicBezTo>
                  <a:cubicBezTo>
                    <a:pt x="1175" y="139"/>
                    <a:pt x="1175" y="139"/>
                    <a:pt x="1175" y="139"/>
                  </a:cubicBezTo>
                  <a:cubicBezTo>
                    <a:pt x="1175" y="139"/>
                    <a:pt x="1176" y="139"/>
                    <a:pt x="1176" y="139"/>
                  </a:cubicBezTo>
                  <a:cubicBezTo>
                    <a:pt x="1177" y="139"/>
                    <a:pt x="1177" y="139"/>
                    <a:pt x="1177" y="139"/>
                  </a:cubicBezTo>
                  <a:cubicBezTo>
                    <a:pt x="1178" y="140"/>
                    <a:pt x="1179" y="139"/>
                    <a:pt x="1180" y="137"/>
                  </a:cubicBezTo>
                  <a:cubicBezTo>
                    <a:pt x="1180" y="136"/>
                    <a:pt x="1179" y="135"/>
                    <a:pt x="1178" y="135"/>
                  </a:cubicBezTo>
                  <a:cubicBezTo>
                    <a:pt x="1178" y="135"/>
                    <a:pt x="1176" y="134"/>
                    <a:pt x="1176" y="134"/>
                  </a:cubicBezTo>
                  <a:cubicBezTo>
                    <a:pt x="1176" y="134"/>
                    <a:pt x="1176" y="133"/>
                    <a:pt x="1176" y="133"/>
                  </a:cubicBezTo>
                  <a:cubicBezTo>
                    <a:pt x="1175" y="133"/>
                    <a:pt x="1175" y="132"/>
                    <a:pt x="1174" y="131"/>
                  </a:cubicBezTo>
                  <a:cubicBezTo>
                    <a:pt x="1174" y="131"/>
                    <a:pt x="1174" y="131"/>
                    <a:pt x="1174" y="131"/>
                  </a:cubicBezTo>
                  <a:cubicBezTo>
                    <a:pt x="1175" y="130"/>
                    <a:pt x="1175" y="129"/>
                    <a:pt x="1175" y="129"/>
                  </a:cubicBezTo>
                  <a:cubicBezTo>
                    <a:pt x="1174" y="129"/>
                    <a:pt x="1174" y="128"/>
                    <a:pt x="1173" y="128"/>
                  </a:cubicBezTo>
                  <a:cubicBezTo>
                    <a:pt x="1173" y="128"/>
                    <a:pt x="1172" y="128"/>
                    <a:pt x="1172" y="128"/>
                  </a:cubicBezTo>
                  <a:cubicBezTo>
                    <a:pt x="1172" y="128"/>
                    <a:pt x="1172" y="128"/>
                    <a:pt x="1172" y="128"/>
                  </a:cubicBezTo>
                  <a:cubicBezTo>
                    <a:pt x="1172" y="128"/>
                    <a:pt x="1173" y="127"/>
                    <a:pt x="1173" y="127"/>
                  </a:cubicBezTo>
                  <a:cubicBezTo>
                    <a:pt x="1173" y="127"/>
                    <a:pt x="1174" y="126"/>
                    <a:pt x="1174" y="126"/>
                  </a:cubicBezTo>
                  <a:cubicBezTo>
                    <a:pt x="1174" y="126"/>
                    <a:pt x="1174" y="126"/>
                    <a:pt x="1174" y="126"/>
                  </a:cubicBezTo>
                  <a:cubicBezTo>
                    <a:pt x="1175" y="126"/>
                    <a:pt x="1176" y="126"/>
                    <a:pt x="1177" y="127"/>
                  </a:cubicBezTo>
                  <a:cubicBezTo>
                    <a:pt x="1176" y="127"/>
                    <a:pt x="1176" y="128"/>
                    <a:pt x="1176" y="128"/>
                  </a:cubicBezTo>
                  <a:cubicBezTo>
                    <a:pt x="1176" y="129"/>
                    <a:pt x="1177" y="131"/>
                    <a:pt x="1177" y="131"/>
                  </a:cubicBezTo>
                  <a:cubicBezTo>
                    <a:pt x="1177" y="131"/>
                    <a:pt x="1177" y="131"/>
                    <a:pt x="1177" y="131"/>
                  </a:cubicBezTo>
                  <a:cubicBezTo>
                    <a:pt x="1177" y="132"/>
                    <a:pt x="1177" y="132"/>
                    <a:pt x="1177" y="132"/>
                  </a:cubicBezTo>
                  <a:cubicBezTo>
                    <a:pt x="1177" y="133"/>
                    <a:pt x="1179" y="134"/>
                    <a:pt x="1179" y="135"/>
                  </a:cubicBezTo>
                  <a:cubicBezTo>
                    <a:pt x="1180" y="135"/>
                    <a:pt x="1180" y="136"/>
                    <a:pt x="1180" y="136"/>
                  </a:cubicBezTo>
                  <a:cubicBezTo>
                    <a:pt x="1180" y="137"/>
                    <a:pt x="1181" y="137"/>
                    <a:pt x="1181" y="137"/>
                  </a:cubicBezTo>
                  <a:cubicBezTo>
                    <a:pt x="1181" y="140"/>
                    <a:pt x="1183" y="140"/>
                    <a:pt x="1184" y="140"/>
                  </a:cubicBezTo>
                  <a:cubicBezTo>
                    <a:pt x="1184" y="140"/>
                    <a:pt x="1184" y="141"/>
                    <a:pt x="1185" y="142"/>
                  </a:cubicBezTo>
                  <a:cubicBezTo>
                    <a:pt x="1186" y="142"/>
                    <a:pt x="1186" y="142"/>
                    <a:pt x="1186" y="142"/>
                  </a:cubicBezTo>
                  <a:cubicBezTo>
                    <a:pt x="1186" y="142"/>
                    <a:pt x="1186" y="142"/>
                    <a:pt x="1186" y="142"/>
                  </a:cubicBezTo>
                  <a:cubicBezTo>
                    <a:pt x="1185" y="143"/>
                    <a:pt x="1185" y="143"/>
                    <a:pt x="1185" y="143"/>
                  </a:cubicBezTo>
                  <a:cubicBezTo>
                    <a:pt x="1185" y="143"/>
                    <a:pt x="1185" y="144"/>
                    <a:pt x="1185" y="144"/>
                  </a:cubicBezTo>
                  <a:cubicBezTo>
                    <a:pt x="1185" y="145"/>
                    <a:pt x="1186" y="145"/>
                    <a:pt x="1186" y="145"/>
                  </a:cubicBezTo>
                  <a:cubicBezTo>
                    <a:pt x="1186" y="145"/>
                    <a:pt x="1186" y="145"/>
                    <a:pt x="1186" y="145"/>
                  </a:cubicBezTo>
                  <a:cubicBezTo>
                    <a:pt x="1186" y="146"/>
                    <a:pt x="1186" y="146"/>
                    <a:pt x="1186" y="146"/>
                  </a:cubicBezTo>
                  <a:cubicBezTo>
                    <a:pt x="1185" y="145"/>
                    <a:pt x="1185" y="145"/>
                    <a:pt x="1185" y="145"/>
                  </a:cubicBezTo>
                  <a:cubicBezTo>
                    <a:pt x="1185" y="145"/>
                    <a:pt x="1186" y="145"/>
                    <a:pt x="1186" y="145"/>
                  </a:cubicBezTo>
                  <a:cubicBezTo>
                    <a:pt x="1184" y="145"/>
                    <a:pt x="1184" y="146"/>
                    <a:pt x="1184" y="147"/>
                  </a:cubicBezTo>
                  <a:cubicBezTo>
                    <a:pt x="1184" y="147"/>
                    <a:pt x="1183" y="148"/>
                    <a:pt x="1183" y="148"/>
                  </a:cubicBezTo>
                  <a:cubicBezTo>
                    <a:pt x="1183" y="148"/>
                    <a:pt x="1183" y="148"/>
                    <a:pt x="1183" y="148"/>
                  </a:cubicBezTo>
                  <a:cubicBezTo>
                    <a:pt x="1182" y="149"/>
                    <a:pt x="1182" y="149"/>
                    <a:pt x="1182" y="150"/>
                  </a:cubicBezTo>
                  <a:cubicBezTo>
                    <a:pt x="1182" y="150"/>
                    <a:pt x="1182" y="150"/>
                    <a:pt x="1181" y="151"/>
                  </a:cubicBezTo>
                  <a:cubicBezTo>
                    <a:pt x="1180" y="154"/>
                    <a:pt x="1182" y="155"/>
                    <a:pt x="1183" y="156"/>
                  </a:cubicBezTo>
                  <a:cubicBezTo>
                    <a:pt x="1183" y="156"/>
                    <a:pt x="1183" y="156"/>
                    <a:pt x="1183" y="156"/>
                  </a:cubicBezTo>
                  <a:cubicBezTo>
                    <a:pt x="1183" y="156"/>
                    <a:pt x="1183" y="157"/>
                    <a:pt x="1183" y="159"/>
                  </a:cubicBezTo>
                  <a:cubicBezTo>
                    <a:pt x="1183" y="160"/>
                    <a:pt x="1183" y="160"/>
                    <a:pt x="1183" y="161"/>
                  </a:cubicBezTo>
                  <a:cubicBezTo>
                    <a:pt x="1184" y="162"/>
                    <a:pt x="1184" y="162"/>
                    <a:pt x="1184" y="163"/>
                  </a:cubicBezTo>
                  <a:cubicBezTo>
                    <a:pt x="1183" y="164"/>
                    <a:pt x="1183" y="165"/>
                    <a:pt x="1183" y="166"/>
                  </a:cubicBezTo>
                  <a:cubicBezTo>
                    <a:pt x="1183" y="167"/>
                    <a:pt x="1183" y="168"/>
                    <a:pt x="1183" y="169"/>
                  </a:cubicBezTo>
                  <a:cubicBezTo>
                    <a:pt x="1183" y="170"/>
                    <a:pt x="1183" y="171"/>
                    <a:pt x="1183" y="172"/>
                  </a:cubicBezTo>
                  <a:cubicBezTo>
                    <a:pt x="1183" y="172"/>
                    <a:pt x="1183" y="172"/>
                    <a:pt x="1183" y="172"/>
                  </a:cubicBezTo>
                  <a:cubicBezTo>
                    <a:pt x="1183" y="173"/>
                    <a:pt x="1183" y="174"/>
                    <a:pt x="1183" y="174"/>
                  </a:cubicBezTo>
                  <a:cubicBezTo>
                    <a:pt x="1184" y="175"/>
                    <a:pt x="1184" y="176"/>
                    <a:pt x="1184" y="177"/>
                  </a:cubicBezTo>
                  <a:cubicBezTo>
                    <a:pt x="1182" y="178"/>
                    <a:pt x="1183" y="180"/>
                    <a:pt x="1183" y="182"/>
                  </a:cubicBezTo>
                  <a:cubicBezTo>
                    <a:pt x="1183" y="182"/>
                    <a:pt x="1183" y="183"/>
                    <a:pt x="1183" y="183"/>
                  </a:cubicBezTo>
                  <a:cubicBezTo>
                    <a:pt x="1183" y="183"/>
                    <a:pt x="1183" y="183"/>
                    <a:pt x="1183" y="183"/>
                  </a:cubicBezTo>
                  <a:cubicBezTo>
                    <a:pt x="1182" y="183"/>
                    <a:pt x="1182" y="183"/>
                    <a:pt x="1182" y="183"/>
                  </a:cubicBezTo>
                  <a:cubicBezTo>
                    <a:pt x="1181" y="183"/>
                    <a:pt x="1180" y="184"/>
                    <a:pt x="1180" y="186"/>
                  </a:cubicBezTo>
                  <a:cubicBezTo>
                    <a:pt x="1179" y="186"/>
                    <a:pt x="1179" y="186"/>
                    <a:pt x="1178" y="186"/>
                  </a:cubicBezTo>
                  <a:cubicBezTo>
                    <a:pt x="1177" y="187"/>
                    <a:pt x="1177" y="188"/>
                    <a:pt x="1177" y="188"/>
                  </a:cubicBezTo>
                  <a:cubicBezTo>
                    <a:pt x="1177" y="190"/>
                    <a:pt x="1179" y="190"/>
                    <a:pt x="1180" y="191"/>
                  </a:cubicBezTo>
                  <a:cubicBezTo>
                    <a:pt x="1180" y="191"/>
                    <a:pt x="1180" y="191"/>
                    <a:pt x="1180" y="192"/>
                  </a:cubicBezTo>
                  <a:cubicBezTo>
                    <a:pt x="1180" y="193"/>
                    <a:pt x="1180" y="194"/>
                    <a:pt x="1181" y="195"/>
                  </a:cubicBezTo>
                  <a:cubicBezTo>
                    <a:pt x="1180" y="196"/>
                    <a:pt x="1180" y="197"/>
                    <a:pt x="1180" y="198"/>
                  </a:cubicBezTo>
                  <a:cubicBezTo>
                    <a:pt x="1180" y="198"/>
                    <a:pt x="1180" y="198"/>
                    <a:pt x="1180" y="199"/>
                  </a:cubicBezTo>
                  <a:cubicBezTo>
                    <a:pt x="1180" y="201"/>
                    <a:pt x="1181" y="203"/>
                    <a:pt x="1182" y="204"/>
                  </a:cubicBezTo>
                  <a:cubicBezTo>
                    <a:pt x="1183" y="204"/>
                    <a:pt x="1185" y="207"/>
                    <a:pt x="1185" y="209"/>
                  </a:cubicBezTo>
                  <a:cubicBezTo>
                    <a:pt x="1185" y="210"/>
                    <a:pt x="1186" y="212"/>
                    <a:pt x="1188" y="216"/>
                  </a:cubicBezTo>
                  <a:cubicBezTo>
                    <a:pt x="1189" y="216"/>
                    <a:pt x="1189" y="216"/>
                    <a:pt x="1189" y="216"/>
                  </a:cubicBezTo>
                  <a:cubicBezTo>
                    <a:pt x="1189" y="217"/>
                    <a:pt x="1190" y="218"/>
                    <a:pt x="1191" y="219"/>
                  </a:cubicBezTo>
                  <a:cubicBezTo>
                    <a:pt x="1192" y="220"/>
                    <a:pt x="1193" y="221"/>
                    <a:pt x="1194" y="222"/>
                  </a:cubicBezTo>
                  <a:cubicBezTo>
                    <a:pt x="1195" y="224"/>
                    <a:pt x="1197" y="225"/>
                    <a:pt x="1198" y="226"/>
                  </a:cubicBezTo>
                  <a:cubicBezTo>
                    <a:pt x="1199" y="227"/>
                    <a:pt x="1200" y="228"/>
                    <a:pt x="1200" y="228"/>
                  </a:cubicBezTo>
                  <a:cubicBezTo>
                    <a:pt x="1200" y="229"/>
                    <a:pt x="1200" y="229"/>
                    <a:pt x="1200" y="229"/>
                  </a:cubicBezTo>
                  <a:cubicBezTo>
                    <a:pt x="1201" y="230"/>
                    <a:pt x="1202" y="231"/>
                    <a:pt x="1204" y="233"/>
                  </a:cubicBezTo>
                  <a:cubicBezTo>
                    <a:pt x="1206" y="236"/>
                    <a:pt x="1210" y="240"/>
                    <a:pt x="1211" y="241"/>
                  </a:cubicBezTo>
                  <a:cubicBezTo>
                    <a:pt x="1211" y="242"/>
                    <a:pt x="1215" y="246"/>
                    <a:pt x="1221" y="251"/>
                  </a:cubicBezTo>
                  <a:cubicBezTo>
                    <a:pt x="1221" y="252"/>
                    <a:pt x="1221" y="252"/>
                    <a:pt x="1221" y="252"/>
                  </a:cubicBezTo>
                  <a:cubicBezTo>
                    <a:pt x="1221" y="252"/>
                    <a:pt x="1222" y="253"/>
                    <a:pt x="1222" y="253"/>
                  </a:cubicBezTo>
                  <a:cubicBezTo>
                    <a:pt x="1222" y="253"/>
                    <a:pt x="1222" y="253"/>
                    <a:pt x="1223" y="253"/>
                  </a:cubicBezTo>
                  <a:cubicBezTo>
                    <a:pt x="1223" y="253"/>
                    <a:pt x="1223" y="253"/>
                    <a:pt x="1223" y="254"/>
                  </a:cubicBezTo>
                  <a:cubicBezTo>
                    <a:pt x="1223" y="255"/>
                    <a:pt x="1224" y="257"/>
                    <a:pt x="1226" y="259"/>
                  </a:cubicBezTo>
                  <a:cubicBezTo>
                    <a:pt x="1227" y="259"/>
                    <a:pt x="1227" y="259"/>
                    <a:pt x="1227" y="259"/>
                  </a:cubicBezTo>
                  <a:cubicBezTo>
                    <a:pt x="1228" y="260"/>
                    <a:pt x="1228" y="260"/>
                    <a:pt x="1228" y="260"/>
                  </a:cubicBezTo>
                  <a:cubicBezTo>
                    <a:pt x="1228" y="261"/>
                    <a:pt x="1230" y="262"/>
                    <a:pt x="1231" y="262"/>
                  </a:cubicBezTo>
                  <a:cubicBezTo>
                    <a:pt x="1231" y="262"/>
                    <a:pt x="1231" y="263"/>
                    <a:pt x="1232" y="263"/>
                  </a:cubicBezTo>
                  <a:cubicBezTo>
                    <a:pt x="1232" y="265"/>
                    <a:pt x="1233" y="265"/>
                    <a:pt x="1234" y="265"/>
                  </a:cubicBezTo>
                  <a:cubicBezTo>
                    <a:pt x="1235" y="265"/>
                    <a:pt x="1235" y="265"/>
                    <a:pt x="1235" y="265"/>
                  </a:cubicBezTo>
                  <a:cubicBezTo>
                    <a:pt x="1236" y="265"/>
                    <a:pt x="1236" y="263"/>
                    <a:pt x="1235" y="260"/>
                  </a:cubicBezTo>
                  <a:cubicBezTo>
                    <a:pt x="1235" y="259"/>
                    <a:pt x="1235" y="257"/>
                    <a:pt x="1236" y="257"/>
                  </a:cubicBezTo>
                  <a:cubicBezTo>
                    <a:pt x="1237" y="255"/>
                    <a:pt x="1237" y="253"/>
                    <a:pt x="1237" y="251"/>
                  </a:cubicBezTo>
                  <a:cubicBezTo>
                    <a:pt x="1236" y="251"/>
                    <a:pt x="1236" y="248"/>
                    <a:pt x="1236" y="248"/>
                  </a:cubicBezTo>
                  <a:cubicBezTo>
                    <a:pt x="1236" y="246"/>
                    <a:pt x="1235" y="245"/>
                    <a:pt x="1234" y="245"/>
                  </a:cubicBezTo>
                  <a:cubicBezTo>
                    <a:pt x="1234" y="245"/>
                    <a:pt x="1233" y="245"/>
                    <a:pt x="1233" y="245"/>
                  </a:cubicBezTo>
                  <a:cubicBezTo>
                    <a:pt x="1234" y="244"/>
                    <a:pt x="1234" y="244"/>
                    <a:pt x="1234" y="243"/>
                  </a:cubicBezTo>
                  <a:cubicBezTo>
                    <a:pt x="1234" y="242"/>
                    <a:pt x="1233" y="242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1"/>
                    <a:pt x="1232" y="241"/>
                  </a:cubicBezTo>
                  <a:cubicBezTo>
                    <a:pt x="1232" y="241"/>
                    <a:pt x="1232" y="240"/>
                    <a:pt x="1231" y="240"/>
                  </a:cubicBezTo>
                  <a:cubicBezTo>
                    <a:pt x="1233" y="240"/>
                    <a:pt x="1233" y="238"/>
                    <a:pt x="1233" y="237"/>
                  </a:cubicBezTo>
                  <a:cubicBezTo>
                    <a:pt x="1233" y="237"/>
                    <a:pt x="1233" y="237"/>
                    <a:pt x="1233" y="237"/>
                  </a:cubicBezTo>
                  <a:cubicBezTo>
                    <a:pt x="1233" y="237"/>
                    <a:pt x="1234" y="237"/>
                    <a:pt x="1234" y="237"/>
                  </a:cubicBezTo>
                  <a:cubicBezTo>
                    <a:pt x="1234" y="237"/>
                    <a:pt x="1235" y="237"/>
                    <a:pt x="1235" y="237"/>
                  </a:cubicBezTo>
                  <a:cubicBezTo>
                    <a:pt x="1236" y="237"/>
                    <a:pt x="1237" y="236"/>
                    <a:pt x="1237" y="236"/>
                  </a:cubicBezTo>
                  <a:cubicBezTo>
                    <a:pt x="1237" y="235"/>
                    <a:pt x="1237" y="235"/>
                    <a:pt x="1237" y="234"/>
                  </a:cubicBezTo>
                  <a:cubicBezTo>
                    <a:pt x="1237" y="234"/>
                    <a:pt x="1237" y="234"/>
                    <a:pt x="1236" y="234"/>
                  </a:cubicBezTo>
                  <a:cubicBezTo>
                    <a:pt x="1236" y="233"/>
                    <a:pt x="1235" y="232"/>
                    <a:pt x="1235" y="232"/>
                  </a:cubicBezTo>
                  <a:cubicBezTo>
                    <a:pt x="1235" y="231"/>
                    <a:pt x="1234" y="230"/>
                    <a:pt x="1232" y="228"/>
                  </a:cubicBezTo>
                  <a:cubicBezTo>
                    <a:pt x="1231" y="227"/>
                    <a:pt x="1230" y="226"/>
                    <a:pt x="1230" y="225"/>
                  </a:cubicBezTo>
                  <a:cubicBezTo>
                    <a:pt x="1229" y="224"/>
                    <a:pt x="1230" y="222"/>
                    <a:pt x="1231" y="221"/>
                  </a:cubicBezTo>
                  <a:cubicBezTo>
                    <a:pt x="1231" y="221"/>
                    <a:pt x="1231" y="221"/>
                    <a:pt x="1231" y="221"/>
                  </a:cubicBezTo>
                  <a:cubicBezTo>
                    <a:pt x="1232" y="221"/>
                    <a:pt x="1232" y="221"/>
                    <a:pt x="1232" y="221"/>
                  </a:cubicBezTo>
                  <a:cubicBezTo>
                    <a:pt x="1233" y="221"/>
                    <a:pt x="1234" y="222"/>
                    <a:pt x="1235" y="220"/>
                  </a:cubicBezTo>
                  <a:cubicBezTo>
                    <a:pt x="1235" y="220"/>
                    <a:pt x="1235" y="220"/>
                    <a:pt x="1236" y="220"/>
                  </a:cubicBezTo>
                  <a:cubicBezTo>
                    <a:pt x="1237" y="220"/>
                    <a:pt x="1238" y="219"/>
                    <a:pt x="1238" y="217"/>
                  </a:cubicBezTo>
                  <a:cubicBezTo>
                    <a:pt x="1237" y="217"/>
                    <a:pt x="1238" y="217"/>
                    <a:pt x="1238" y="216"/>
                  </a:cubicBezTo>
                  <a:cubicBezTo>
                    <a:pt x="1238" y="216"/>
                    <a:pt x="1238" y="215"/>
                    <a:pt x="1238" y="215"/>
                  </a:cubicBezTo>
                  <a:cubicBezTo>
                    <a:pt x="1238" y="215"/>
                    <a:pt x="1238" y="214"/>
                    <a:pt x="1237" y="213"/>
                  </a:cubicBezTo>
                  <a:cubicBezTo>
                    <a:pt x="1237" y="213"/>
                    <a:pt x="1236" y="212"/>
                    <a:pt x="1235" y="212"/>
                  </a:cubicBezTo>
                  <a:cubicBezTo>
                    <a:pt x="1234" y="212"/>
                    <a:pt x="1234" y="212"/>
                    <a:pt x="1233" y="211"/>
                  </a:cubicBezTo>
                  <a:cubicBezTo>
                    <a:pt x="1233" y="210"/>
                    <a:pt x="1233" y="210"/>
                    <a:pt x="1233" y="210"/>
                  </a:cubicBezTo>
                  <a:cubicBezTo>
                    <a:pt x="1232" y="209"/>
                    <a:pt x="1230" y="207"/>
                    <a:pt x="1229" y="205"/>
                  </a:cubicBezTo>
                  <a:cubicBezTo>
                    <a:pt x="1229" y="205"/>
                    <a:pt x="1229" y="205"/>
                    <a:pt x="1229" y="205"/>
                  </a:cubicBezTo>
                  <a:cubicBezTo>
                    <a:pt x="1228" y="205"/>
                    <a:pt x="1228" y="204"/>
                    <a:pt x="1227" y="204"/>
                  </a:cubicBezTo>
                  <a:cubicBezTo>
                    <a:pt x="1227" y="203"/>
                    <a:pt x="1227" y="202"/>
                    <a:pt x="1227" y="201"/>
                  </a:cubicBezTo>
                  <a:cubicBezTo>
                    <a:pt x="1228" y="201"/>
                    <a:pt x="1228" y="201"/>
                    <a:pt x="1230" y="201"/>
                  </a:cubicBezTo>
                  <a:cubicBezTo>
                    <a:pt x="1231" y="200"/>
                    <a:pt x="1232" y="199"/>
                    <a:pt x="1232" y="198"/>
                  </a:cubicBezTo>
                  <a:cubicBezTo>
                    <a:pt x="1232" y="196"/>
                    <a:pt x="1229" y="195"/>
                    <a:pt x="1229" y="194"/>
                  </a:cubicBezTo>
                  <a:cubicBezTo>
                    <a:pt x="1229" y="194"/>
                    <a:pt x="1228" y="193"/>
                    <a:pt x="1228" y="192"/>
                  </a:cubicBezTo>
                  <a:cubicBezTo>
                    <a:pt x="1228" y="192"/>
                    <a:pt x="1227" y="189"/>
                    <a:pt x="1225" y="189"/>
                  </a:cubicBezTo>
                  <a:cubicBezTo>
                    <a:pt x="1225" y="189"/>
                    <a:pt x="1224" y="190"/>
                    <a:pt x="1224" y="190"/>
                  </a:cubicBezTo>
                  <a:cubicBezTo>
                    <a:pt x="1224" y="190"/>
                    <a:pt x="1224" y="190"/>
                    <a:pt x="1224" y="190"/>
                  </a:cubicBezTo>
                  <a:cubicBezTo>
                    <a:pt x="1223" y="189"/>
                    <a:pt x="1222" y="188"/>
                    <a:pt x="1221" y="188"/>
                  </a:cubicBezTo>
                  <a:cubicBezTo>
                    <a:pt x="1221" y="188"/>
                    <a:pt x="1221" y="187"/>
                    <a:pt x="1221" y="187"/>
                  </a:cubicBezTo>
                  <a:cubicBezTo>
                    <a:pt x="1221" y="187"/>
                    <a:pt x="1221" y="187"/>
                    <a:pt x="1221" y="187"/>
                  </a:cubicBezTo>
                  <a:cubicBezTo>
                    <a:pt x="1220" y="186"/>
                    <a:pt x="1220" y="186"/>
                    <a:pt x="1220" y="185"/>
                  </a:cubicBezTo>
                  <a:cubicBezTo>
                    <a:pt x="1220" y="185"/>
                    <a:pt x="1219" y="185"/>
                    <a:pt x="1219" y="184"/>
                  </a:cubicBezTo>
                  <a:cubicBezTo>
                    <a:pt x="1220" y="183"/>
                    <a:pt x="1220" y="182"/>
                    <a:pt x="1219" y="181"/>
                  </a:cubicBezTo>
                  <a:cubicBezTo>
                    <a:pt x="1219" y="180"/>
                    <a:pt x="1218" y="180"/>
                    <a:pt x="1217" y="180"/>
                  </a:cubicBezTo>
                  <a:cubicBezTo>
                    <a:pt x="1217" y="180"/>
                    <a:pt x="1217" y="180"/>
                    <a:pt x="1217" y="180"/>
                  </a:cubicBezTo>
                  <a:cubicBezTo>
                    <a:pt x="1217" y="180"/>
                    <a:pt x="1216" y="179"/>
                    <a:pt x="1215" y="179"/>
                  </a:cubicBezTo>
                  <a:cubicBezTo>
                    <a:pt x="1213" y="178"/>
                    <a:pt x="1212" y="179"/>
                    <a:pt x="1212" y="180"/>
                  </a:cubicBezTo>
                  <a:cubicBezTo>
                    <a:pt x="1211" y="179"/>
                    <a:pt x="1210" y="179"/>
                    <a:pt x="1210" y="179"/>
                  </a:cubicBezTo>
                  <a:cubicBezTo>
                    <a:pt x="1208" y="179"/>
                    <a:pt x="1208" y="178"/>
                    <a:pt x="1208" y="177"/>
                  </a:cubicBezTo>
                  <a:cubicBezTo>
                    <a:pt x="1208" y="176"/>
                    <a:pt x="1207" y="175"/>
                    <a:pt x="1206" y="175"/>
                  </a:cubicBezTo>
                  <a:cubicBezTo>
                    <a:pt x="1206" y="174"/>
                    <a:pt x="1205" y="174"/>
                    <a:pt x="1205" y="173"/>
                  </a:cubicBezTo>
                  <a:cubicBezTo>
                    <a:pt x="1205" y="173"/>
                    <a:pt x="1204" y="172"/>
                    <a:pt x="1205" y="170"/>
                  </a:cubicBezTo>
                  <a:cubicBezTo>
                    <a:pt x="1205" y="170"/>
                    <a:pt x="1205" y="170"/>
                    <a:pt x="1205" y="170"/>
                  </a:cubicBezTo>
                  <a:cubicBezTo>
                    <a:pt x="1206" y="169"/>
                    <a:pt x="1206" y="169"/>
                    <a:pt x="1206" y="168"/>
                  </a:cubicBezTo>
                  <a:cubicBezTo>
                    <a:pt x="1206" y="167"/>
                    <a:pt x="1206" y="167"/>
                    <a:pt x="1206" y="167"/>
                  </a:cubicBezTo>
                  <a:cubicBezTo>
                    <a:pt x="1206" y="165"/>
                    <a:pt x="1205" y="165"/>
                    <a:pt x="1204" y="164"/>
                  </a:cubicBezTo>
                  <a:cubicBezTo>
                    <a:pt x="1204" y="164"/>
                    <a:pt x="1204" y="164"/>
                    <a:pt x="1204" y="164"/>
                  </a:cubicBezTo>
                  <a:cubicBezTo>
                    <a:pt x="1203" y="164"/>
                    <a:pt x="1203" y="164"/>
                    <a:pt x="1203" y="164"/>
                  </a:cubicBezTo>
                  <a:cubicBezTo>
                    <a:pt x="1204" y="163"/>
                    <a:pt x="1204" y="163"/>
                    <a:pt x="1204" y="163"/>
                  </a:cubicBezTo>
                  <a:cubicBezTo>
                    <a:pt x="1204" y="163"/>
                    <a:pt x="1204" y="161"/>
                    <a:pt x="1203" y="161"/>
                  </a:cubicBezTo>
                  <a:cubicBezTo>
                    <a:pt x="1202" y="160"/>
                    <a:pt x="1202" y="160"/>
                    <a:pt x="1202" y="160"/>
                  </a:cubicBezTo>
                  <a:cubicBezTo>
                    <a:pt x="1202" y="159"/>
                    <a:pt x="1201" y="159"/>
                    <a:pt x="1200" y="159"/>
                  </a:cubicBezTo>
                  <a:cubicBezTo>
                    <a:pt x="1200" y="158"/>
                    <a:pt x="1200" y="158"/>
                    <a:pt x="1200" y="158"/>
                  </a:cubicBezTo>
                  <a:cubicBezTo>
                    <a:pt x="1200" y="157"/>
                    <a:pt x="1200" y="157"/>
                    <a:pt x="1200" y="156"/>
                  </a:cubicBezTo>
                  <a:cubicBezTo>
                    <a:pt x="1200" y="156"/>
                    <a:pt x="1200" y="156"/>
                    <a:pt x="1200" y="156"/>
                  </a:cubicBezTo>
                  <a:cubicBezTo>
                    <a:pt x="1200" y="156"/>
                    <a:pt x="1200" y="156"/>
                    <a:pt x="1200" y="156"/>
                  </a:cubicBezTo>
                  <a:cubicBezTo>
                    <a:pt x="1200" y="156"/>
                    <a:pt x="1200" y="156"/>
                    <a:pt x="1200" y="156"/>
                  </a:cubicBezTo>
                  <a:cubicBezTo>
                    <a:pt x="1200" y="156"/>
                    <a:pt x="1201" y="157"/>
                    <a:pt x="1201" y="157"/>
                  </a:cubicBezTo>
                  <a:cubicBezTo>
                    <a:pt x="1202" y="157"/>
                    <a:pt x="1202" y="156"/>
                    <a:pt x="1203" y="156"/>
                  </a:cubicBezTo>
                  <a:cubicBezTo>
                    <a:pt x="1203" y="156"/>
                    <a:pt x="1203" y="156"/>
                    <a:pt x="1203" y="156"/>
                  </a:cubicBezTo>
                  <a:cubicBezTo>
                    <a:pt x="1203" y="157"/>
                    <a:pt x="1204" y="157"/>
                    <a:pt x="1204" y="157"/>
                  </a:cubicBezTo>
                  <a:cubicBezTo>
                    <a:pt x="1205" y="159"/>
                    <a:pt x="1207" y="159"/>
                    <a:pt x="1207" y="158"/>
                  </a:cubicBezTo>
                  <a:cubicBezTo>
                    <a:pt x="1208" y="157"/>
                    <a:pt x="1208" y="157"/>
                    <a:pt x="1208" y="157"/>
                  </a:cubicBezTo>
                  <a:cubicBezTo>
                    <a:pt x="1208" y="156"/>
                    <a:pt x="1208" y="156"/>
                    <a:pt x="1208" y="156"/>
                  </a:cubicBezTo>
                  <a:cubicBezTo>
                    <a:pt x="1209" y="155"/>
                    <a:pt x="1209" y="155"/>
                    <a:pt x="1209" y="154"/>
                  </a:cubicBezTo>
                  <a:cubicBezTo>
                    <a:pt x="1209" y="153"/>
                    <a:pt x="1208" y="153"/>
                    <a:pt x="1207" y="152"/>
                  </a:cubicBezTo>
                  <a:cubicBezTo>
                    <a:pt x="1207" y="152"/>
                    <a:pt x="1208" y="152"/>
                    <a:pt x="1208" y="152"/>
                  </a:cubicBezTo>
                  <a:cubicBezTo>
                    <a:pt x="1208" y="152"/>
                    <a:pt x="1209" y="151"/>
                    <a:pt x="1209" y="150"/>
                  </a:cubicBezTo>
                  <a:cubicBezTo>
                    <a:pt x="1209" y="150"/>
                    <a:pt x="1209" y="150"/>
                    <a:pt x="1210" y="149"/>
                  </a:cubicBezTo>
                  <a:cubicBezTo>
                    <a:pt x="1210" y="150"/>
                    <a:pt x="1211" y="152"/>
                    <a:pt x="1213" y="155"/>
                  </a:cubicBezTo>
                  <a:cubicBezTo>
                    <a:pt x="1213" y="156"/>
                    <a:pt x="1213" y="157"/>
                    <a:pt x="1215" y="157"/>
                  </a:cubicBezTo>
                  <a:cubicBezTo>
                    <a:pt x="1215" y="157"/>
                    <a:pt x="1216" y="157"/>
                    <a:pt x="1216" y="157"/>
                  </a:cubicBezTo>
                  <a:cubicBezTo>
                    <a:pt x="1217" y="156"/>
                    <a:pt x="1217" y="154"/>
                    <a:pt x="1216" y="153"/>
                  </a:cubicBezTo>
                  <a:cubicBezTo>
                    <a:pt x="1216" y="153"/>
                    <a:pt x="1216" y="152"/>
                    <a:pt x="1217" y="151"/>
                  </a:cubicBezTo>
                  <a:cubicBezTo>
                    <a:pt x="1217" y="150"/>
                    <a:pt x="1217" y="149"/>
                    <a:pt x="1216" y="148"/>
                  </a:cubicBezTo>
                  <a:cubicBezTo>
                    <a:pt x="1217" y="148"/>
                    <a:pt x="1218" y="147"/>
                    <a:pt x="1219" y="146"/>
                  </a:cubicBezTo>
                  <a:cubicBezTo>
                    <a:pt x="1219" y="145"/>
                    <a:pt x="1219" y="145"/>
                    <a:pt x="1219" y="145"/>
                  </a:cubicBezTo>
                  <a:cubicBezTo>
                    <a:pt x="1220" y="144"/>
                    <a:pt x="1220" y="144"/>
                    <a:pt x="1221" y="144"/>
                  </a:cubicBezTo>
                  <a:cubicBezTo>
                    <a:pt x="1222" y="144"/>
                    <a:pt x="1222" y="144"/>
                    <a:pt x="1223" y="144"/>
                  </a:cubicBezTo>
                  <a:cubicBezTo>
                    <a:pt x="1223" y="144"/>
                    <a:pt x="1223" y="144"/>
                    <a:pt x="1223" y="144"/>
                  </a:cubicBezTo>
                  <a:cubicBezTo>
                    <a:pt x="1224" y="144"/>
                    <a:pt x="1224" y="145"/>
                    <a:pt x="1225" y="145"/>
                  </a:cubicBezTo>
                  <a:cubicBezTo>
                    <a:pt x="1225" y="145"/>
                    <a:pt x="1226" y="145"/>
                    <a:pt x="1226" y="144"/>
                  </a:cubicBezTo>
                  <a:cubicBezTo>
                    <a:pt x="1226" y="144"/>
                    <a:pt x="1227" y="144"/>
                    <a:pt x="1227" y="145"/>
                  </a:cubicBezTo>
                  <a:cubicBezTo>
                    <a:pt x="1228" y="147"/>
                    <a:pt x="1230" y="147"/>
                    <a:pt x="1231" y="147"/>
                  </a:cubicBezTo>
                  <a:cubicBezTo>
                    <a:pt x="1231" y="148"/>
                    <a:pt x="1232" y="148"/>
                    <a:pt x="1234" y="149"/>
                  </a:cubicBezTo>
                  <a:cubicBezTo>
                    <a:pt x="1234" y="149"/>
                    <a:pt x="1234" y="149"/>
                    <a:pt x="1234" y="149"/>
                  </a:cubicBezTo>
                  <a:cubicBezTo>
                    <a:pt x="1234" y="149"/>
                    <a:pt x="1235" y="149"/>
                    <a:pt x="1235" y="149"/>
                  </a:cubicBezTo>
                  <a:cubicBezTo>
                    <a:pt x="1236" y="150"/>
                    <a:pt x="1236" y="150"/>
                    <a:pt x="1237" y="150"/>
                  </a:cubicBezTo>
                  <a:cubicBezTo>
                    <a:pt x="1237" y="150"/>
                    <a:pt x="1238" y="150"/>
                    <a:pt x="1238" y="149"/>
                  </a:cubicBezTo>
                  <a:cubicBezTo>
                    <a:pt x="1239" y="148"/>
                    <a:pt x="1238" y="147"/>
                    <a:pt x="1238" y="146"/>
                  </a:cubicBezTo>
                  <a:cubicBezTo>
                    <a:pt x="1237" y="146"/>
                    <a:pt x="1237" y="146"/>
                    <a:pt x="1237" y="145"/>
                  </a:cubicBezTo>
                  <a:cubicBezTo>
                    <a:pt x="1237" y="145"/>
                    <a:pt x="1237" y="145"/>
                    <a:pt x="1237" y="145"/>
                  </a:cubicBezTo>
                  <a:cubicBezTo>
                    <a:pt x="1237" y="144"/>
                    <a:pt x="1237" y="143"/>
                    <a:pt x="1237" y="143"/>
                  </a:cubicBezTo>
                  <a:cubicBezTo>
                    <a:pt x="1237" y="142"/>
                    <a:pt x="1237" y="142"/>
                    <a:pt x="1237" y="142"/>
                  </a:cubicBezTo>
                  <a:cubicBezTo>
                    <a:pt x="1238" y="141"/>
                    <a:pt x="1238" y="140"/>
                    <a:pt x="1237" y="138"/>
                  </a:cubicBezTo>
                  <a:cubicBezTo>
                    <a:pt x="1237" y="138"/>
                    <a:pt x="1238" y="137"/>
                    <a:pt x="1238" y="136"/>
                  </a:cubicBezTo>
                  <a:cubicBezTo>
                    <a:pt x="1239" y="135"/>
                    <a:pt x="1239" y="135"/>
                    <a:pt x="1239" y="133"/>
                  </a:cubicBezTo>
                  <a:cubicBezTo>
                    <a:pt x="1239" y="132"/>
                    <a:pt x="1239" y="132"/>
                    <a:pt x="1239" y="132"/>
                  </a:cubicBezTo>
                  <a:cubicBezTo>
                    <a:pt x="1240" y="131"/>
                    <a:pt x="1240" y="127"/>
                    <a:pt x="1239" y="126"/>
                  </a:cubicBezTo>
                  <a:cubicBezTo>
                    <a:pt x="1239" y="126"/>
                    <a:pt x="1239" y="126"/>
                    <a:pt x="1239" y="126"/>
                  </a:cubicBezTo>
                  <a:cubicBezTo>
                    <a:pt x="1239" y="126"/>
                    <a:pt x="1240" y="126"/>
                    <a:pt x="1240" y="126"/>
                  </a:cubicBezTo>
                  <a:cubicBezTo>
                    <a:pt x="1241" y="126"/>
                    <a:pt x="1242" y="123"/>
                    <a:pt x="1242" y="122"/>
                  </a:cubicBezTo>
                  <a:cubicBezTo>
                    <a:pt x="1242" y="122"/>
                    <a:pt x="1243" y="121"/>
                    <a:pt x="1243" y="121"/>
                  </a:cubicBezTo>
                  <a:cubicBezTo>
                    <a:pt x="1243" y="121"/>
                    <a:pt x="1244" y="121"/>
                    <a:pt x="1245" y="120"/>
                  </a:cubicBezTo>
                  <a:cubicBezTo>
                    <a:pt x="1245" y="120"/>
                    <a:pt x="1245" y="119"/>
                    <a:pt x="1245" y="119"/>
                  </a:cubicBezTo>
                  <a:cubicBezTo>
                    <a:pt x="1245" y="118"/>
                    <a:pt x="1246" y="117"/>
                    <a:pt x="1246" y="116"/>
                  </a:cubicBezTo>
                  <a:cubicBezTo>
                    <a:pt x="1246" y="115"/>
                    <a:pt x="1246" y="115"/>
                    <a:pt x="1247" y="114"/>
                  </a:cubicBezTo>
                  <a:cubicBezTo>
                    <a:pt x="1248" y="114"/>
                    <a:pt x="1248" y="113"/>
                    <a:pt x="1248" y="112"/>
                  </a:cubicBezTo>
                  <a:cubicBezTo>
                    <a:pt x="1249" y="112"/>
                    <a:pt x="1249" y="112"/>
                    <a:pt x="1250" y="112"/>
                  </a:cubicBezTo>
                  <a:cubicBezTo>
                    <a:pt x="1251" y="112"/>
                    <a:pt x="1251" y="112"/>
                    <a:pt x="1252" y="112"/>
                  </a:cubicBezTo>
                  <a:cubicBezTo>
                    <a:pt x="1253" y="112"/>
                    <a:pt x="1254" y="112"/>
                    <a:pt x="1254" y="112"/>
                  </a:cubicBezTo>
                  <a:cubicBezTo>
                    <a:pt x="1255" y="112"/>
                    <a:pt x="1255" y="112"/>
                    <a:pt x="1255" y="112"/>
                  </a:cubicBezTo>
                  <a:cubicBezTo>
                    <a:pt x="1256" y="112"/>
                    <a:pt x="1256" y="112"/>
                    <a:pt x="1257" y="113"/>
                  </a:cubicBezTo>
                  <a:cubicBezTo>
                    <a:pt x="1258" y="113"/>
                    <a:pt x="1258" y="113"/>
                    <a:pt x="1259" y="113"/>
                  </a:cubicBezTo>
                  <a:cubicBezTo>
                    <a:pt x="1261" y="114"/>
                    <a:pt x="1262" y="114"/>
                    <a:pt x="1262" y="113"/>
                  </a:cubicBezTo>
                  <a:cubicBezTo>
                    <a:pt x="1263" y="111"/>
                    <a:pt x="1261" y="109"/>
                    <a:pt x="1261" y="109"/>
                  </a:cubicBezTo>
                  <a:cubicBezTo>
                    <a:pt x="1261" y="109"/>
                    <a:pt x="1261" y="109"/>
                    <a:pt x="1261" y="109"/>
                  </a:cubicBezTo>
                  <a:cubicBezTo>
                    <a:pt x="1261" y="109"/>
                    <a:pt x="1262" y="108"/>
                    <a:pt x="1261" y="107"/>
                  </a:cubicBezTo>
                  <a:cubicBezTo>
                    <a:pt x="1261" y="106"/>
                    <a:pt x="1260" y="105"/>
                    <a:pt x="1260" y="105"/>
                  </a:cubicBezTo>
                  <a:cubicBezTo>
                    <a:pt x="1259" y="104"/>
                    <a:pt x="1259" y="103"/>
                    <a:pt x="1257" y="103"/>
                  </a:cubicBezTo>
                  <a:cubicBezTo>
                    <a:pt x="1256" y="103"/>
                    <a:pt x="1256" y="103"/>
                    <a:pt x="1256" y="103"/>
                  </a:cubicBezTo>
                  <a:cubicBezTo>
                    <a:pt x="1256" y="103"/>
                    <a:pt x="1256" y="102"/>
                    <a:pt x="1256" y="102"/>
                  </a:cubicBezTo>
                  <a:cubicBezTo>
                    <a:pt x="1255" y="101"/>
                    <a:pt x="1254" y="99"/>
                    <a:pt x="1252" y="99"/>
                  </a:cubicBezTo>
                  <a:cubicBezTo>
                    <a:pt x="1251" y="99"/>
                    <a:pt x="1249" y="98"/>
                    <a:pt x="1249" y="97"/>
                  </a:cubicBezTo>
                  <a:cubicBezTo>
                    <a:pt x="1248" y="96"/>
                    <a:pt x="1246" y="96"/>
                    <a:pt x="1244" y="96"/>
                  </a:cubicBezTo>
                  <a:cubicBezTo>
                    <a:pt x="1244" y="96"/>
                    <a:pt x="1244" y="95"/>
                    <a:pt x="1244" y="95"/>
                  </a:cubicBezTo>
                  <a:cubicBezTo>
                    <a:pt x="1244" y="94"/>
                    <a:pt x="1243" y="94"/>
                    <a:pt x="1243" y="94"/>
                  </a:cubicBezTo>
                  <a:cubicBezTo>
                    <a:pt x="1243" y="94"/>
                    <a:pt x="1242" y="94"/>
                    <a:pt x="1241" y="93"/>
                  </a:cubicBezTo>
                  <a:cubicBezTo>
                    <a:pt x="1240" y="91"/>
                    <a:pt x="1239" y="91"/>
                    <a:pt x="1238" y="92"/>
                  </a:cubicBezTo>
                  <a:cubicBezTo>
                    <a:pt x="1238" y="91"/>
                    <a:pt x="1237" y="90"/>
                    <a:pt x="1236" y="90"/>
                  </a:cubicBezTo>
                  <a:cubicBezTo>
                    <a:pt x="1236" y="90"/>
                    <a:pt x="1235" y="90"/>
                    <a:pt x="1235" y="89"/>
                  </a:cubicBezTo>
                  <a:cubicBezTo>
                    <a:pt x="1233" y="88"/>
                    <a:pt x="1232" y="87"/>
                    <a:pt x="1231" y="88"/>
                  </a:cubicBezTo>
                  <a:cubicBezTo>
                    <a:pt x="1231" y="89"/>
                    <a:pt x="1231" y="89"/>
                    <a:pt x="1231" y="89"/>
                  </a:cubicBezTo>
                  <a:cubicBezTo>
                    <a:pt x="1230" y="89"/>
                    <a:pt x="1229" y="88"/>
                    <a:pt x="1228" y="88"/>
                  </a:cubicBezTo>
                  <a:cubicBezTo>
                    <a:pt x="1229" y="88"/>
                    <a:pt x="1230" y="87"/>
                    <a:pt x="1230" y="87"/>
                  </a:cubicBezTo>
                  <a:cubicBezTo>
                    <a:pt x="1231" y="87"/>
                    <a:pt x="1231" y="87"/>
                    <a:pt x="1232" y="87"/>
                  </a:cubicBezTo>
                  <a:cubicBezTo>
                    <a:pt x="1232" y="86"/>
                    <a:pt x="1233" y="86"/>
                    <a:pt x="1233" y="85"/>
                  </a:cubicBezTo>
                  <a:cubicBezTo>
                    <a:pt x="1233" y="84"/>
                    <a:pt x="1234" y="84"/>
                    <a:pt x="1234" y="83"/>
                  </a:cubicBezTo>
                  <a:cubicBezTo>
                    <a:pt x="1236" y="82"/>
                    <a:pt x="1235" y="80"/>
                    <a:pt x="1235" y="77"/>
                  </a:cubicBezTo>
                  <a:cubicBezTo>
                    <a:pt x="1235" y="76"/>
                    <a:pt x="1235" y="76"/>
                    <a:pt x="1235" y="76"/>
                  </a:cubicBezTo>
                  <a:cubicBezTo>
                    <a:pt x="1235" y="74"/>
                    <a:pt x="1234" y="73"/>
                    <a:pt x="1233" y="72"/>
                  </a:cubicBezTo>
                  <a:cubicBezTo>
                    <a:pt x="1233" y="72"/>
                    <a:pt x="1234" y="72"/>
                    <a:pt x="1235" y="72"/>
                  </a:cubicBezTo>
                  <a:cubicBezTo>
                    <a:pt x="1235" y="72"/>
                    <a:pt x="1235" y="72"/>
                    <a:pt x="1235" y="72"/>
                  </a:cubicBezTo>
                  <a:cubicBezTo>
                    <a:pt x="1235" y="73"/>
                    <a:pt x="1237" y="74"/>
                    <a:pt x="1238" y="74"/>
                  </a:cubicBezTo>
                  <a:cubicBezTo>
                    <a:pt x="1239" y="74"/>
                    <a:pt x="1240" y="74"/>
                    <a:pt x="1240" y="73"/>
                  </a:cubicBezTo>
                  <a:cubicBezTo>
                    <a:pt x="1241" y="73"/>
                    <a:pt x="1241" y="73"/>
                    <a:pt x="1241" y="73"/>
                  </a:cubicBezTo>
                  <a:cubicBezTo>
                    <a:pt x="1241" y="73"/>
                    <a:pt x="1242" y="73"/>
                    <a:pt x="1242" y="73"/>
                  </a:cubicBezTo>
                  <a:cubicBezTo>
                    <a:pt x="1243" y="73"/>
                    <a:pt x="1244" y="73"/>
                    <a:pt x="1244" y="71"/>
                  </a:cubicBezTo>
                  <a:cubicBezTo>
                    <a:pt x="1245" y="71"/>
                    <a:pt x="1245" y="71"/>
                    <a:pt x="1245" y="71"/>
                  </a:cubicBezTo>
                  <a:cubicBezTo>
                    <a:pt x="1246" y="71"/>
                    <a:pt x="1246" y="71"/>
                    <a:pt x="1246" y="71"/>
                  </a:cubicBezTo>
                  <a:cubicBezTo>
                    <a:pt x="1246" y="71"/>
                    <a:pt x="1246" y="71"/>
                    <a:pt x="1247" y="71"/>
                  </a:cubicBezTo>
                  <a:cubicBezTo>
                    <a:pt x="1247" y="72"/>
                    <a:pt x="1248" y="72"/>
                    <a:pt x="1249" y="72"/>
                  </a:cubicBezTo>
                  <a:cubicBezTo>
                    <a:pt x="1250" y="72"/>
                    <a:pt x="1253" y="74"/>
                    <a:pt x="1255" y="76"/>
                  </a:cubicBezTo>
                  <a:cubicBezTo>
                    <a:pt x="1256" y="77"/>
                    <a:pt x="1257" y="78"/>
                    <a:pt x="1258" y="78"/>
                  </a:cubicBezTo>
                  <a:cubicBezTo>
                    <a:pt x="1259" y="78"/>
                    <a:pt x="1259" y="78"/>
                    <a:pt x="1260" y="78"/>
                  </a:cubicBezTo>
                  <a:cubicBezTo>
                    <a:pt x="1260" y="77"/>
                    <a:pt x="1260" y="77"/>
                    <a:pt x="1260" y="77"/>
                  </a:cubicBezTo>
                  <a:cubicBezTo>
                    <a:pt x="1260" y="77"/>
                    <a:pt x="1261" y="78"/>
                    <a:pt x="1261" y="78"/>
                  </a:cubicBezTo>
                  <a:cubicBezTo>
                    <a:pt x="1262" y="78"/>
                    <a:pt x="1264" y="78"/>
                    <a:pt x="1265" y="78"/>
                  </a:cubicBezTo>
                  <a:cubicBezTo>
                    <a:pt x="1265" y="78"/>
                    <a:pt x="1265" y="78"/>
                    <a:pt x="1265" y="78"/>
                  </a:cubicBezTo>
                  <a:cubicBezTo>
                    <a:pt x="1265" y="79"/>
                    <a:pt x="1266" y="79"/>
                    <a:pt x="1267" y="79"/>
                  </a:cubicBezTo>
                  <a:cubicBezTo>
                    <a:pt x="1267" y="78"/>
                    <a:pt x="1268" y="78"/>
                    <a:pt x="1269" y="78"/>
                  </a:cubicBezTo>
                  <a:cubicBezTo>
                    <a:pt x="1270" y="78"/>
                    <a:pt x="1271" y="79"/>
                    <a:pt x="1271" y="79"/>
                  </a:cubicBezTo>
                  <a:cubicBezTo>
                    <a:pt x="1272" y="80"/>
                    <a:pt x="1273" y="81"/>
                    <a:pt x="1275" y="81"/>
                  </a:cubicBezTo>
                  <a:cubicBezTo>
                    <a:pt x="1277" y="82"/>
                    <a:pt x="1278" y="81"/>
                    <a:pt x="1278" y="81"/>
                  </a:cubicBezTo>
                  <a:cubicBezTo>
                    <a:pt x="1278" y="81"/>
                    <a:pt x="1278" y="81"/>
                    <a:pt x="1278" y="81"/>
                  </a:cubicBezTo>
                  <a:cubicBezTo>
                    <a:pt x="1279" y="81"/>
                    <a:pt x="1279" y="81"/>
                    <a:pt x="1280" y="81"/>
                  </a:cubicBezTo>
                  <a:cubicBezTo>
                    <a:pt x="1281" y="81"/>
                    <a:pt x="1282" y="80"/>
                    <a:pt x="1282" y="79"/>
                  </a:cubicBezTo>
                  <a:cubicBezTo>
                    <a:pt x="1282" y="79"/>
                    <a:pt x="1283" y="79"/>
                    <a:pt x="1283" y="79"/>
                  </a:cubicBezTo>
                  <a:cubicBezTo>
                    <a:pt x="1283" y="79"/>
                    <a:pt x="1283" y="79"/>
                    <a:pt x="1283" y="78"/>
                  </a:cubicBezTo>
                  <a:cubicBezTo>
                    <a:pt x="1284" y="78"/>
                    <a:pt x="1284" y="78"/>
                    <a:pt x="1284" y="78"/>
                  </a:cubicBezTo>
                  <a:cubicBezTo>
                    <a:pt x="1285" y="77"/>
                    <a:pt x="1285" y="76"/>
                    <a:pt x="1285" y="76"/>
                  </a:cubicBezTo>
                  <a:cubicBezTo>
                    <a:pt x="1285" y="74"/>
                    <a:pt x="1283" y="74"/>
                    <a:pt x="1282" y="74"/>
                  </a:cubicBezTo>
                  <a:cubicBezTo>
                    <a:pt x="1281" y="74"/>
                    <a:pt x="1279" y="75"/>
                    <a:pt x="1278" y="75"/>
                  </a:cubicBezTo>
                  <a:cubicBezTo>
                    <a:pt x="1278" y="75"/>
                    <a:pt x="1277" y="74"/>
                    <a:pt x="1277" y="74"/>
                  </a:cubicBezTo>
                  <a:cubicBezTo>
                    <a:pt x="1277" y="73"/>
                    <a:pt x="1277" y="73"/>
                    <a:pt x="1277" y="73"/>
                  </a:cubicBezTo>
                  <a:cubicBezTo>
                    <a:pt x="1277" y="72"/>
                    <a:pt x="1276" y="72"/>
                    <a:pt x="1276" y="72"/>
                  </a:cubicBezTo>
                  <a:cubicBezTo>
                    <a:pt x="1276" y="71"/>
                    <a:pt x="1276" y="70"/>
                    <a:pt x="1276" y="70"/>
                  </a:cubicBezTo>
                  <a:cubicBezTo>
                    <a:pt x="1276" y="69"/>
                    <a:pt x="1275" y="67"/>
                    <a:pt x="1273" y="67"/>
                  </a:cubicBezTo>
                  <a:cubicBezTo>
                    <a:pt x="1273" y="67"/>
                    <a:pt x="1273" y="66"/>
                    <a:pt x="1273" y="66"/>
                  </a:cubicBezTo>
                  <a:cubicBezTo>
                    <a:pt x="1273" y="66"/>
                    <a:pt x="1273" y="66"/>
                    <a:pt x="1274" y="66"/>
                  </a:cubicBezTo>
                  <a:cubicBezTo>
                    <a:pt x="1274" y="66"/>
                    <a:pt x="1276" y="66"/>
                    <a:pt x="1276" y="64"/>
                  </a:cubicBezTo>
                  <a:cubicBezTo>
                    <a:pt x="1276" y="64"/>
                    <a:pt x="1276" y="63"/>
                    <a:pt x="1276" y="63"/>
                  </a:cubicBezTo>
                  <a:cubicBezTo>
                    <a:pt x="1277" y="63"/>
                    <a:pt x="1277" y="62"/>
                    <a:pt x="1278" y="62"/>
                  </a:cubicBezTo>
                  <a:cubicBezTo>
                    <a:pt x="1278" y="60"/>
                    <a:pt x="1278" y="59"/>
                    <a:pt x="1277" y="58"/>
                  </a:cubicBezTo>
                  <a:cubicBezTo>
                    <a:pt x="1276" y="58"/>
                    <a:pt x="1276" y="58"/>
                    <a:pt x="1276" y="57"/>
                  </a:cubicBezTo>
                  <a:cubicBezTo>
                    <a:pt x="1275" y="57"/>
                    <a:pt x="1275" y="57"/>
                    <a:pt x="1275" y="55"/>
                  </a:cubicBezTo>
                  <a:cubicBezTo>
                    <a:pt x="1273" y="51"/>
                    <a:pt x="1268" y="51"/>
                    <a:pt x="1264" y="51"/>
                  </a:cubicBezTo>
                  <a:cubicBezTo>
                    <a:pt x="1264" y="51"/>
                    <a:pt x="1264" y="51"/>
                    <a:pt x="1263" y="51"/>
                  </a:cubicBezTo>
                  <a:cubicBezTo>
                    <a:pt x="1262" y="51"/>
                    <a:pt x="1260" y="50"/>
                    <a:pt x="1258" y="49"/>
                  </a:cubicBezTo>
                  <a:cubicBezTo>
                    <a:pt x="1257" y="47"/>
                    <a:pt x="1255" y="47"/>
                    <a:pt x="1253" y="47"/>
                  </a:cubicBezTo>
                  <a:cubicBezTo>
                    <a:pt x="1252" y="47"/>
                    <a:pt x="1252" y="47"/>
                    <a:pt x="1251" y="47"/>
                  </a:cubicBezTo>
                  <a:cubicBezTo>
                    <a:pt x="1250" y="47"/>
                    <a:pt x="1250" y="47"/>
                    <a:pt x="1249" y="47"/>
                  </a:cubicBezTo>
                  <a:cubicBezTo>
                    <a:pt x="1248" y="47"/>
                    <a:pt x="1248" y="47"/>
                    <a:pt x="1248" y="47"/>
                  </a:cubicBezTo>
                  <a:cubicBezTo>
                    <a:pt x="1246" y="46"/>
                    <a:pt x="1246" y="47"/>
                    <a:pt x="1245" y="48"/>
                  </a:cubicBezTo>
                  <a:cubicBezTo>
                    <a:pt x="1244" y="47"/>
                    <a:pt x="1243" y="48"/>
                    <a:pt x="1243" y="48"/>
                  </a:cubicBezTo>
                  <a:cubicBezTo>
                    <a:pt x="1243" y="48"/>
                    <a:pt x="1242" y="48"/>
                    <a:pt x="1241" y="49"/>
                  </a:cubicBezTo>
                  <a:cubicBezTo>
                    <a:pt x="1240" y="49"/>
                    <a:pt x="1238" y="49"/>
                    <a:pt x="1238" y="51"/>
                  </a:cubicBezTo>
                  <a:cubicBezTo>
                    <a:pt x="1238" y="51"/>
                    <a:pt x="1238" y="51"/>
                    <a:pt x="1238" y="51"/>
                  </a:cubicBezTo>
                  <a:cubicBezTo>
                    <a:pt x="1237" y="50"/>
                    <a:pt x="1236" y="49"/>
                    <a:pt x="1236" y="48"/>
                  </a:cubicBezTo>
                  <a:cubicBezTo>
                    <a:pt x="1235" y="48"/>
                    <a:pt x="1235" y="48"/>
                    <a:pt x="1235" y="48"/>
                  </a:cubicBezTo>
                  <a:cubicBezTo>
                    <a:pt x="1234" y="47"/>
                    <a:pt x="1233" y="46"/>
                    <a:pt x="1232" y="46"/>
                  </a:cubicBezTo>
                  <a:cubicBezTo>
                    <a:pt x="1231" y="46"/>
                    <a:pt x="1231" y="46"/>
                    <a:pt x="1230" y="47"/>
                  </a:cubicBezTo>
                  <a:cubicBezTo>
                    <a:pt x="1229" y="46"/>
                    <a:pt x="1228" y="45"/>
                    <a:pt x="1227" y="44"/>
                  </a:cubicBezTo>
                  <a:cubicBezTo>
                    <a:pt x="1227" y="43"/>
                    <a:pt x="1225" y="43"/>
                    <a:pt x="1225" y="43"/>
                  </a:cubicBezTo>
                  <a:cubicBezTo>
                    <a:pt x="1224" y="43"/>
                    <a:pt x="1224" y="43"/>
                    <a:pt x="1224" y="43"/>
                  </a:cubicBezTo>
                  <a:cubicBezTo>
                    <a:pt x="1222" y="42"/>
                    <a:pt x="1221" y="42"/>
                    <a:pt x="1221" y="43"/>
                  </a:cubicBezTo>
                  <a:cubicBezTo>
                    <a:pt x="1221" y="43"/>
                    <a:pt x="1221" y="44"/>
                    <a:pt x="1221" y="44"/>
                  </a:cubicBezTo>
                  <a:cubicBezTo>
                    <a:pt x="1221" y="44"/>
                    <a:pt x="1220" y="44"/>
                    <a:pt x="1220" y="44"/>
                  </a:cubicBezTo>
                  <a:cubicBezTo>
                    <a:pt x="1220" y="44"/>
                    <a:pt x="1220" y="44"/>
                    <a:pt x="1220" y="44"/>
                  </a:cubicBezTo>
                  <a:cubicBezTo>
                    <a:pt x="1220" y="44"/>
                    <a:pt x="1220" y="44"/>
                    <a:pt x="1220" y="44"/>
                  </a:cubicBezTo>
                  <a:cubicBezTo>
                    <a:pt x="1220" y="42"/>
                    <a:pt x="1218" y="41"/>
                    <a:pt x="1217" y="41"/>
                  </a:cubicBezTo>
                  <a:cubicBezTo>
                    <a:pt x="1215" y="40"/>
                    <a:pt x="1215" y="40"/>
                    <a:pt x="1214" y="41"/>
                  </a:cubicBezTo>
                  <a:cubicBezTo>
                    <a:pt x="1213" y="40"/>
                    <a:pt x="1211" y="40"/>
                    <a:pt x="1210" y="40"/>
                  </a:cubicBezTo>
                  <a:cubicBezTo>
                    <a:pt x="1210" y="40"/>
                    <a:pt x="1210" y="40"/>
                    <a:pt x="1210" y="40"/>
                  </a:cubicBezTo>
                  <a:cubicBezTo>
                    <a:pt x="1209" y="40"/>
                    <a:pt x="1209" y="39"/>
                    <a:pt x="1209" y="39"/>
                  </a:cubicBezTo>
                  <a:cubicBezTo>
                    <a:pt x="1208" y="39"/>
                    <a:pt x="1207" y="40"/>
                    <a:pt x="1207" y="40"/>
                  </a:cubicBezTo>
                  <a:cubicBezTo>
                    <a:pt x="1206" y="40"/>
                    <a:pt x="1203" y="40"/>
                    <a:pt x="1199" y="38"/>
                  </a:cubicBezTo>
                  <a:cubicBezTo>
                    <a:pt x="1195" y="36"/>
                    <a:pt x="1189" y="35"/>
                    <a:pt x="1187" y="35"/>
                  </a:cubicBezTo>
                  <a:cubicBezTo>
                    <a:pt x="1187" y="35"/>
                    <a:pt x="1186" y="35"/>
                    <a:pt x="1186" y="35"/>
                  </a:cubicBezTo>
                  <a:cubicBezTo>
                    <a:pt x="1186" y="35"/>
                    <a:pt x="1186" y="35"/>
                    <a:pt x="1185" y="35"/>
                  </a:cubicBezTo>
                  <a:cubicBezTo>
                    <a:pt x="1184" y="35"/>
                    <a:pt x="1183" y="35"/>
                    <a:pt x="1182" y="35"/>
                  </a:cubicBezTo>
                  <a:cubicBezTo>
                    <a:pt x="1182" y="35"/>
                    <a:pt x="1181" y="35"/>
                    <a:pt x="1181" y="35"/>
                  </a:cubicBezTo>
                  <a:cubicBezTo>
                    <a:pt x="1180" y="34"/>
                    <a:pt x="1178" y="33"/>
                    <a:pt x="1177" y="33"/>
                  </a:cubicBezTo>
                  <a:cubicBezTo>
                    <a:pt x="1177" y="33"/>
                    <a:pt x="1177" y="33"/>
                    <a:pt x="1177" y="33"/>
                  </a:cubicBezTo>
                  <a:cubicBezTo>
                    <a:pt x="1176" y="33"/>
                    <a:pt x="1176" y="33"/>
                    <a:pt x="1175" y="33"/>
                  </a:cubicBezTo>
                  <a:cubicBezTo>
                    <a:pt x="1175" y="33"/>
                    <a:pt x="1175" y="33"/>
                    <a:pt x="1175" y="33"/>
                  </a:cubicBezTo>
                  <a:cubicBezTo>
                    <a:pt x="1175" y="32"/>
                    <a:pt x="1173" y="31"/>
                    <a:pt x="1170" y="31"/>
                  </a:cubicBezTo>
                  <a:cubicBezTo>
                    <a:pt x="1168" y="31"/>
                    <a:pt x="1167" y="32"/>
                    <a:pt x="1166" y="32"/>
                  </a:cubicBezTo>
                  <a:cubicBezTo>
                    <a:pt x="1165" y="32"/>
                    <a:pt x="1165" y="32"/>
                    <a:pt x="1165" y="32"/>
                  </a:cubicBezTo>
                  <a:cubicBezTo>
                    <a:pt x="1165" y="32"/>
                    <a:pt x="1164" y="32"/>
                    <a:pt x="1164" y="32"/>
                  </a:cubicBezTo>
                  <a:cubicBezTo>
                    <a:pt x="1163" y="32"/>
                    <a:pt x="1163" y="32"/>
                    <a:pt x="1163" y="32"/>
                  </a:cubicBezTo>
                  <a:cubicBezTo>
                    <a:pt x="1163" y="32"/>
                    <a:pt x="1163" y="31"/>
                    <a:pt x="1162" y="31"/>
                  </a:cubicBezTo>
                  <a:cubicBezTo>
                    <a:pt x="1162" y="31"/>
                    <a:pt x="1161" y="30"/>
                    <a:pt x="1159" y="30"/>
                  </a:cubicBezTo>
                  <a:cubicBezTo>
                    <a:pt x="1159" y="30"/>
                    <a:pt x="1159" y="30"/>
                    <a:pt x="1159" y="30"/>
                  </a:cubicBezTo>
                  <a:cubicBezTo>
                    <a:pt x="1159" y="30"/>
                    <a:pt x="1159" y="30"/>
                    <a:pt x="1159" y="30"/>
                  </a:cubicBezTo>
                  <a:cubicBezTo>
                    <a:pt x="1158" y="30"/>
                    <a:pt x="1158" y="30"/>
                    <a:pt x="1157" y="30"/>
                  </a:cubicBezTo>
                  <a:cubicBezTo>
                    <a:pt x="1156" y="30"/>
                    <a:pt x="1156" y="30"/>
                    <a:pt x="1156" y="30"/>
                  </a:cubicBezTo>
                  <a:cubicBezTo>
                    <a:pt x="1154" y="29"/>
                    <a:pt x="1152" y="29"/>
                    <a:pt x="1150" y="30"/>
                  </a:cubicBezTo>
                  <a:cubicBezTo>
                    <a:pt x="1148" y="30"/>
                    <a:pt x="1142" y="31"/>
                    <a:pt x="1140" y="31"/>
                  </a:cubicBezTo>
                  <a:cubicBezTo>
                    <a:pt x="1140" y="31"/>
                    <a:pt x="1140" y="31"/>
                    <a:pt x="1140" y="31"/>
                  </a:cubicBezTo>
                  <a:cubicBezTo>
                    <a:pt x="1139" y="31"/>
                    <a:pt x="1138" y="32"/>
                    <a:pt x="1137" y="33"/>
                  </a:cubicBezTo>
                  <a:cubicBezTo>
                    <a:pt x="1135" y="31"/>
                    <a:pt x="1133" y="32"/>
                    <a:pt x="1132" y="33"/>
                  </a:cubicBezTo>
                  <a:cubicBezTo>
                    <a:pt x="1132" y="33"/>
                    <a:pt x="1132" y="33"/>
                    <a:pt x="1132" y="33"/>
                  </a:cubicBezTo>
                  <a:cubicBezTo>
                    <a:pt x="1131" y="33"/>
                    <a:pt x="1131" y="33"/>
                    <a:pt x="1131" y="33"/>
                  </a:cubicBezTo>
                  <a:cubicBezTo>
                    <a:pt x="1130" y="33"/>
                    <a:pt x="1130" y="32"/>
                    <a:pt x="1130" y="32"/>
                  </a:cubicBezTo>
                  <a:cubicBezTo>
                    <a:pt x="1129" y="32"/>
                    <a:pt x="1128" y="32"/>
                    <a:pt x="1127" y="32"/>
                  </a:cubicBezTo>
                  <a:cubicBezTo>
                    <a:pt x="1126" y="32"/>
                    <a:pt x="1126" y="32"/>
                    <a:pt x="1126" y="32"/>
                  </a:cubicBezTo>
                  <a:cubicBezTo>
                    <a:pt x="1126" y="32"/>
                    <a:pt x="1125" y="32"/>
                    <a:pt x="1124" y="31"/>
                  </a:cubicBezTo>
                  <a:cubicBezTo>
                    <a:pt x="1123" y="31"/>
                    <a:pt x="1123" y="31"/>
                    <a:pt x="1123" y="31"/>
                  </a:cubicBezTo>
                  <a:cubicBezTo>
                    <a:pt x="1123" y="31"/>
                    <a:pt x="1123" y="31"/>
                    <a:pt x="1123" y="31"/>
                  </a:cubicBezTo>
                  <a:cubicBezTo>
                    <a:pt x="1122" y="31"/>
                    <a:pt x="1121" y="32"/>
                    <a:pt x="1121" y="32"/>
                  </a:cubicBezTo>
                  <a:cubicBezTo>
                    <a:pt x="1120" y="34"/>
                    <a:pt x="1124" y="37"/>
                    <a:pt x="1124" y="37"/>
                  </a:cubicBezTo>
                  <a:cubicBezTo>
                    <a:pt x="1124" y="38"/>
                    <a:pt x="1124" y="38"/>
                    <a:pt x="1124" y="38"/>
                  </a:cubicBezTo>
                  <a:cubicBezTo>
                    <a:pt x="1124" y="38"/>
                    <a:pt x="1124" y="38"/>
                    <a:pt x="1124" y="39"/>
                  </a:cubicBezTo>
                  <a:cubicBezTo>
                    <a:pt x="1124" y="40"/>
                    <a:pt x="1124" y="41"/>
                    <a:pt x="1125" y="42"/>
                  </a:cubicBezTo>
                  <a:cubicBezTo>
                    <a:pt x="1126" y="43"/>
                    <a:pt x="1128" y="42"/>
                    <a:pt x="1128" y="41"/>
                  </a:cubicBezTo>
                  <a:cubicBezTo>
                    <a:pt x="1129" y="43"/>
                    <a:pt x="1133" y="45"/>
                    <a:pt x="1134" y="45"/>
                  </a:cubicBezTo>
                  <a:cubicBezTo>
                    <a:pt x="1134" y="45"/>
                    <a:pt x="1134" y="45"/>
                    <a:pt x="1134" y="45"/>
                  </a:cubicBezTo>
                  <a:cubicBezTo>
                    <a:pt x="1134" y="46"/>
                    <a:pt x="1134" y="47"/>
                    <a:pt x="1135" y="48"/>
                  </a:cubicBezTo>
                  <a:cubicBezTo>
                    <a:pt x="1135" y="48"/>
                    <a:pt x="1135" y="48"/>
                    <a:pt x="1135" y="48"/>
                  </a:cubicBezTo>
                  <a:cubicBezTo>
                    <a:pt x="1134" y="48"/>
                    <a:pt x="1133" y="48"/>
                    <a:pt x="1132" y="48"/>
                  </a:cubicBezTo>
                  <a:cubicBezTo>
                    <a:pt x="1132" y="48"/>
                    <a:pt x="1131" y="48"/>
                    <a:pt x="1131" y="48"/>
                  </a:cubicBezTo>
                  <a:cubicBezTo>
                    <a:pt x="1131" y="48"/>
                    <a:pt x="1131" y="48"/>
                    <a:pt x="1131" y="48"/>
                  </a:cubicBezTo>
                  <a:cubicBezTo>
                    <a:pt x="1131" y="46"/>
                    <a:pt x="1128" y="45"/>
                    <a:pt x="1127" y="45"/>
                  </a:cubicBezTo>
                  <a:cubicBezTo>
                    <a:pt x="1126" y="45"/>
                    <a:pt x="1126" y="45"/>
                    <a:pt x="1125" y="45"/>
                  </a:cubicBezTo>
                  <a:cubicBezTo>
                    <a:pt x="1125" y="46"/>
                    <a:pt x="1125" y="46"/>
                    <a:pt x="1125" y="46"/>
                  </a:cubicBezTo>
                  <a:cubicBezTo>
                    <a:pt x="1124" y="45"/>
                    <a:pt x="1124" y="45"/>
                    <a:pt x="1124" y="45"/>
                  </a:cubicBezTo>
                  <a:cubicBezTo>
                    <a:pt x="1123" y="45"/>
                    <a:pt x="1122" y="45"/>
                    <a:pt x="1120" y="45"/>
                  </a:cubicBezTo>
                  <a:cubicBezTo>
                    <a:pt x="1120" y="45"/>
                    <a:pt x="1120" y="45"/>
                    <a:pt x="1120" y="45"/>
                  </a:cubicBezTo>
                  <a:cubicBezTo>
                    <a:pt x="1120" y="45"/>
                    <a:pt x="1120" y="45"/>
                    <a:pt x="1119" y="44"/>
                  </a:cubicBezTo>
                  <a:cubicBezTo>
                    <a:pt x="1119" y="44"/>
                    <a:pt x="1119" y="44"/>
                    <a:pt x="1118" y="43"/>
                  </a:cubicBezTo>
                  <a:cubicBezTo>
                    <a:pt x="1118" y="43"/>
                    <a:pt x="1119" y="43"/>
                    <a:pt x="1119" y="43"/>
                  </a:cubicBezTo>
                  <a:cubicBezTo>
                    <a:pt x="1119" y="43"/>
                    <a:pt x="1120" y="43"/>
                    <a:pt x="1120" y="43"/>
                  </a:cubicBezTo>
                  <a:cubicBezTo>
                    <a:pt x="1121" y="43"/>
                    <a:pt x="1121" y="43"/>
                    <a:pt x="1121" y="43"/>
                  </a:cubicBezTo>
                  <a:cubicBezTo>
                    <a:pt x="1122" y="42"/>
                    <a:pt x="1122" y="42"/>
                    <a:pt x="1122" y="41"/>
                  </a:cubicBezTo>
                  <a:cubicBezTo>
                    <a:pt x="1122" y="40"/>
                    <a:pt x="1121" y="40"/>
                    <a:pt x="1120" y="39"/>
                  </a:cubicBezTo>
                  <a:cubicBezTo>
                    <a:pt x="1120" y="39"/>
                    <a:pt x="1120" y="39"/>
                    <a:pt x="1120" y="38"/>
                  </a:cubicBezTo>
                  <a:cubicBezTo>
                    <a:pt x="1119" y="38"/>
                    <a:pt x="1118" y="37"/>
                    <a:pt x="1116" y="37"/>
                  </a:cubicBezTo>
                  <a:cubicBezTo>
                    <a:pt x="1116" y="37"/>
                    <a:pt x="1116" y="37"/>
                    <a:pt x="1116" y="37"/>
                  </a:cubicBezTo>
                  <a:cubicBezTo>
                    <a:pt x="1116" y="37"/>
                    <a:pt x="1116" y="37"/>
                    <a:pt x="1115" y="37"/>
                  </a:cubicBezTo>
                  <a:cubicBezTo>
                    <a:pt x="1115" y="37"/>
                    <a:pt x="1115" y="37"/>
                    <a:pt x="1115" y="37"/>
                  </a:cubicBezTo>
                  <a:cubicBezTo>
                    <a:pt x="1115" y="37"/>
                    <a:pt x="1115" y="37"/>
                    <a:pt x="1115" y="37"/>
                  </a:cubicBezTo>
                  <a:cubicBezTo>
                    <a:pt x="1113" y="36"/>
                    <a:pt x="1111" y="37"/>
                    <a:pt x="1110" y="39"/>
                  </a:cubicBezTo>
                  <a:cubicBezTo>
                    <a:pt x="1110" y="40"/>
                    <a:pt x="1110" y="40"/>
                    <a:pt x="1110" y="41"/>
                  </a:cubicBezTo>
                  <a:cubicBezTo>
                    <a:pt x="1110" y="41"/>
                    <a:pt x="1110" y="41"/>
                    <a:pt x="1110" y="41"/>
                  </a:cubicBezTo>
                  <a:cubicBezTo>
                    <a:pt x="1109" y="42"/>
                    <a:pt x="1109" y="42"/>
                    <a:pt x="1109" y="42"/>
                  </a:cubicBezTo>
                  <a:cubicBezTo>
                    <a:pt x="1111" y="43"/>
                    <a:pt x="1111" y="43"/>
                    <a:pt x="1111" y="43"/>
                  </a:cubicBezTo>
                  <a:cubicBezTo>
                    <a:pt x="1110" y="43"/>
                    <a:pt x="1110" y="43"/>
                    <a:pt x="1110" y="44"/>
                  </a:cubicBezTo>
                  <a:cubicBezTo>
                    <a:pt x="1110" y="44"/>
                    <a:pt x="1110" y="44"/>
                    <a:pt x="1107" y="44"/>
                  </a:cubicBezTo>
                  <a:cubicBezTo>
                    <a:pt x="1106" y="44"/>
                    <a:pt x="1106" y="44"/>
                    <a:pt x="1105" y="44"/>
                  </a:cubicBezTo>
                  <a:cubicBezTo>
                    <a:pt x="1105" y="44"/>
                    <a:pt x="1105" y="44"/>
                    <a:pt x="1105" y="44"/>
                  </a:cubicBezTo>
                  <a:cubicBezTo>
                    <a:pt x="1104" y="44"/>
                    <a:pt x="1104" y="44"/>
                    <a:pt x="1103" y="44"/>
                  </a:cubicBezTo>
                  <a:cubicBezTo>
                    <a:pt x="1102" y="44"/>
                    <a:pt x="1102" y="44"/>
                    <a:pt x="1102" y="44"/>
                  </a:cubicBezTo>
                  <a:cubicBezTo>
                    <a:pt x="1101" y="44"/>
                    <a:pt x="1100" y="45"/>
                    <a:pt x="1099" y="45"/>
                  </a:cubicBezTo>
                  <a:cubicBezTo>
                    <a:pt x="1098" y="45"/>
                    <a:pt x="1097" y="45"/>
                    <a:pt x="1097" y="45"/>
                  </a:cubicBezTo>
                  <a:cubicBezTo>
                    <a:pt x="1096" y="45"/>
                    <a:pt x="1096" y="44"/>
                    <a:pt x="1095" y="44"/>
                  </a:cubicBezTo>
                  <a:cubicBezTo>
                    <a:pt x="1094" y="44"/>
                    <a:pt x="1093" y="45"/>
                    <a:pt x="1093" y="45"/>
                  </a:cubicBezTo>
                  <a:cubicBezTo>
                    <a:pt x="1093" y="45"/>
                    <a:pt x="1093" y="45"/>
                    <a:pt x="1092" y="45"/>
                  </a:cubicBezTo>
                  <a:cubicBezTo>
                    <a:pt x="1091" y="45"/>
                    <a:pt x="1090" y="46"/>
                    <a:pt x="1090" y="46"/>
                  </a:cubicBezTo>
                  <a:cubicBezTo>
                    <a:pt x="1090" y="46"/>
                    <a:pt x="1090" y="46"/>
                    <a:pt x="1089" y="46"/>
                  </a:cubicBezTo>
                  <a:cubicBezTo>
                    <a:pt x="1089" y="46"/>
                    <a:pt x="1089" y="46"/>
                    <a:pt x="1089" y="46"/>
                  </a:cubicBezTo>
                  <a:cubicBezTo>
                    <a:pt x="1086" y="46"/>
                    <a:pt x="1085" y="47"/>
                    <a:pt x="1085" y="48"/>
                  </a:cubicBezTo>
                  <a:cubicBezTo>
                    <a:pt x="1084" y="48"/>
                    <a:pt x="1084" y="48"/>
                    <a:pt x="1084" y="49"/>
                  </a:cubicBezTo>
                  <a:cubicBezTo>
                    <a:pt x="1083" y="49"/>
                    <a:pt x="1082" y="49"/>
                    <a:pt x="1081" y="50"/>
                  </a:cubicBezTo>
                  <a:cubicBezTo>
                    <a:pt x="1081" y="50"/>
                    <a:pt x="1080" y="49"/>
                    <a:pt x="1079" y="49"/>
                  </a:cubicBezTo>
                  <a:cubicBezTo>
                    <a:pt x="1078" y="49"/>
                    <a:pt x="1078" y="49"/>
                    <a:pt x="1077" y="50"/>
                  </a:cubicBezTo>
                  <a:cubicBezTo>
                    <a:pt x="1077" y="50"/>
                    <a:pt x="1077" y="50"/>
                    <a:pt x="1077" y="50"/>
                  </a:cubicBezTo>
                  <a:cubicBezTo>
                    <a:pt x="1076" y="50"/>
                    <a:pt x="1075" y="49"/>
                    <a:pt x="1074" y="49"/>
                  </a:cubicBezTo>
                  <a:cubicBezTo>
                    <a:pt x="1074" y="49"/>
                    <a:pt x="1074" y="49"/>
                    <a:pt x="1073" y="49"/>
                  </a:cubicBezTo>
                  <a:cubicBezTo>
                    <a:pt x="1072" y="48"/>
                    <a:pt x="1071" y="48"/>
                    <a:pt x="1071" y="47"/>
                  </a:cubicBezTo>
                  <a:cubicBezTo>
                    <a:pt x="1071" y="46"/>
                    <a:pt x="1069" y="44"/>
                    <a:pt x="1069" y="43"/>
                  </a:cubicBezTo>
                  <a:cubicBezTo>
                    <a:pt x="1068" y="42"/>
                    <a:pt x="1067" y="41"/>
                    <a:pt x="1065" y="41"/>
                  </a:cubicBezTo>
                  <a:cubicBezTo>
                    <a:pt x="1065" y="41"/>
                    <a:pt x="1065" y="41"/>
                    <a:pt x="1065" y="41"/>
                  </a:cubicBezTo>
                  <a:cubicBezTo>
                    <a:pt x="1065" y="42"/>
                    <a:pt x="1065" y="42"/>
                    <a:pt x="1065" y="42"/>
                  </a:cubicBezTo>
                  <a:cubicBezTo>
                    <a:pt x="1065" y="42"/>
                    <a:pt x="1065" y="42"/>
                    <a:pt x="1065" y="42"/>
                  </a:cubicBezTo>
                  <a:cubicBezTo>
                    <a:pt x="1065" y="41"/>
                    <a:pt x="1065" y="41"/>
                    <a:pt x="1065" y="41"/>
                  </a:cubicBezTo>
                  <a:cubicBezTo>
                    <a:pt x="1064" y="41"/>
                    <a:pt x="1064" y="41"/>
                    <a:pt x="1063" y="40"/>
                  </a:cubicBezTo>
                  <a:cubicBezTo>
                    <a:pt x="1061" y="38"/>
                    <a:pt x="1057" y="37"/>
                    <a:pt x="1051" y="37"/>
                  </a:cubicBezTo>
                  <a:cubicBezTo>
                    <a:pt x="1050" y="37"/>
                    <a:pt x="1049" y="37"/>
                    <a:pt x="1047" y="37"/>
                  </a:cubicBezTo>
                  <a:cubicBezTo>
                    <a:pt x="1047" y="37"/>
                    <a:pt x="1047" y="37"/>
                    <a:pt x="1047" y="37"/>
                  </a:cubicBezTo>
                  <a:cubicBezTo>
                    <a:pt x="1046" y="37"/>
                    <a:pt x="1046" y="37"/>
                    <a:pt x="1045" y="36"/>
                  </a:cubicBezTo>
                  <a:cubicBezTo>
                    <a:pt x="1043" y="36"/>
                    <a:pt x="1041" y="36"/>
                    <a:pt x="1040" y="37"/>
                  </a:cubicBezTo>
                  <a:cubicBezTo>
                    <a:pt x="1038" y="38"/>
                    <a:pt x="1028" y="41"/>
                    <a:pt x="1027" y="41"/>
                  </a:cubicBezTo>
                  <a:cubicBezTo>
                    <a:pt x="1027" y="41"/>
                    <a:pt x="1027" y="41"/>
                    <a:pt x="1027" y="41"/>
                  </a:cubicBezTo>
                  <a:cubicBezTo>
                    <a:pt x="1026" y="41"/>
                    <a:pt x="1025" y="42"/>
                    <a:pt x="1024" y="42"/>
                  </a:cubicBezTo>
                  <a:cubicBezTo>
                    <a:pt x="1023" y="43"/>
                    <a:pt x="1023" y="43"/>
                    <a:pt x="1023" y="43"/>
                  </a:cubicBezTo>
                  <a:cubicBezTo>
                    <a:pt x="1022" y="43"/>
                    <a:pt x="1022" y="43"/>
                    <a:pt x="1021" y="43"/>
                  </a:cubicBezTo>
                  <a:cubicBezTo>
                    <a:pt x="1021" y="43"/>
                    <a:pt x="1021" y="43"/>
                    <a:pt x="1021" y="43"/>
                  </a:cubicBezTo>
                  <a:cubicBezTo>
                    <a:pt x="1021" y="40"/>
                    <a:pt x="1016" y="39"/>
                    <a:pt x="1016" y="39"/>
                  </a:cubicBezTo>
                  <a:cubicBezTo>
                    <a:pt x="1016" y="39"/>
                    <a:pt x="1015" y="39"/>
                    <a:pt x="1015" y="39"/>
                  </a:cubicBezTo>
                  <a:cubicBezTo>
                    <a:pt x="1014" y="39"/>
                    <a:pt x="1014" y="39"/>
                    <a:pt x="1013" y="39"/>
                  </a:cubicBezTo>
                  <a:cubicBezTo>
                    <a:pt x="1011" y="38"/>
                    <a:pt x="1010" y="38"/>
                    <a:pt x="1010" y="38"/>
                  </a:cubicBezTo>
                  <a:cubicBezTo>
                    <a:pt x="1009" y="39"/>
                    <a:pt x="1009" y="39"/>
                    <a:pt x="1009" y="39"/>
                  </a:cubicBezTo>
                  <a:cubicBezTo>
                    <a:pt x="1009" y="39"/>
                    <a:pt x="1009" y="39"/>
                    <a:pt x="1009" y="39"/>
                  </a:cubicBezTo>
                  <a:cubicBezTo>
                    <a:pt x="1008" y="38"/>
                    <a:pt x="1007" y="38"/>
                    <a:pt x="1005" y="38"/>
                  </a:cubicBezTo>
                  <a:cubicBezTo>
                    <a:pt x="1005" y="38"/>
                    <a:pt x="1004" y="37"/>
                    <a:pt x="1003" y="37"/>
                  </a:cubicBezTo>
                  <a:cubicBezTo>
                    <a:pt x="1003" y="36"/>
                    <a:pt x="1002" y="35"/>
                    <a:pt x="1002" y="35"/>
                  </a:cubicBezTo>
                  <a:cubicBezTo>
                    <a:pt x="999" y="31"/>
                    <a:pt x="993" y="30"/>
                    <a:pt x="993" y="30"/>
                  </a:cubicBezTo>
                  <a:cubicBezTo>
                    <a:pt x="992" y="30"/>
                    <a:pt x="990" y="30"/>
                    <a:pt x="988" y="30"/>
                  </a:cubicBezTo>
                  <a:cubicBezTo>
                    <a:pt x="987" y="30"/>
                    <a:pt x="986" y="30"/>
                    <a:pt x="985" y="30"/>
                  </a:cubicBezTo>
                  <a:cubicBezTo>
                    <a:pt x="984" y="31"/>
                    <a:pt x="984" y="31"/>
                    <a:pt x="983" y="31"/>
                  </a:cubicBezTo>
                  <a:cubicBezTo>
                    <a:pt x="982" y="31"/>
                    <a:pt x="982" y="31"/>
                    <a:pt x="982" y="31"/>
                  </a:cubicBezTo>
                  <a:cubicBezTo>
                    <a:pt x="982" y="31"/>
                    <a:pt x="981" y="31"/>
                    <a:pt x="981" y="32"/>
                  </a:cubicBezTo>
                  <a:cubicBezTo>
                    <a:pt x="980" y="33"/>
                    <a:pt x="980" y="33"/>
                    <a:pt x="980" y="34"/>
                  </a:cubicBezTo>
                  <a:cubicBezTo>
                    <a:pt x="980" y="34"/>
                    <a:pt x="980" y="34"/>
                    <a:pt x="980" y="34"/>
                  </a:cubicBezTo>
                  <a:cubicBezTo>
                    <a:pt x="980" y="34"/>
                    <a:pt x="980" y="34"/>
                    <a:pt x="980" y="34"/>
                  </a:cubicBezTo>
                  <a:cubicBezTo>
                    <a:pt x="980" y="32"/>
                    <a:pt x="978" y="32"/>
                    <a:pt x="977" y="32"/>
                  </a:cubicBezTo>
                  <a:cubicBezTo>
                    <a:pt x="976" y="32"/>
                    <a:pt x="976" y="32"/>
                    <a:pt x="976" y="32"/>
                  </a:cubicBezTo>
                  <a:cubicBezTo>
                    <a:pt x="958" y="32"/>
                    <a:pt x="953" y="32"/>
                    <a:pt x="952" y="31"/>
                  </a:cubicBezTo>
                  <a:cubicBezTo>
                    <a:pt x="951" y="31"/>
                    <a:pt x="951" y="31"/>
                    <a:pt x="950" y="31"/>
                  </a:cubicBezTo>
                  <a:cubicBezTo>
                    <a:pt x="950" y="31"/>
                    <a:pt x="949" y="31"/>
                    <a:pt x="948" y="30"/>
                  </a:cubicBezTo>
                  <a:cubicBezTo>
                    <a:pt x="946" y="30"/>
                    <a:pt x="945" y="31"/>
                    <a:pt x="945" y="32"/>
                  </a:cubicBezTo>
                  <a:cubicBezTo>
                    <a:pt x="944" y="33"/>
                    <a:pt x="946" y="35"/>
                    <a:pt x="948" y="35"/>
                  </a:cubicBezTo>
                  <a:cubicBezTo>
                    <a:pt x="948" y="35"/>
                    <a:pt x="947" y="35"/>
                    <a:pt x="947" y="35"/>
                  </a:cubicBezTo>
                  <a:cubicBezTo>
                    <a:pt x="947" y="35"/>
                    <a:pt x="947" y="35"/>
                    <a:pt x="947" y="35"/>
                  </a:cubicBezTo>
                  <a:cubicBezTo>
                    <a:pt x="945" y="35"/>
                    <a:pt x="944" y="36"/>
                    <a:pt x="943" y="38"/>
                  </a:cubicBezTo>
                  <a:cubicBezTo>
                    <a:pt x="942" y="40"/>
                    <a:pt x="942" y="41"/>
                    <a:pt x="942" y="41"/>
                  </a:cubicBezTo>
                  <a:cubicBezTo>
                    <a:pt x="943" y="43"/>
                    <a:pt x="946" y="42"/>
                    <a:pt x="947" y="41"/>
                  </a:cubicBezTo>
                  <a:cubicBezTo>
                    <a:pt x="947" y="41"/>
                    <a:pt x="947" y="41"/>
                    <a:pt x="947" y="41"/>
                  </a:cubicBezTo>
                  <a:cubicBezTo>
                    <a:pt x="947" y="41"/>
                    <a:pt x="947" y="41"/>
                    <a:pt x="947" y="41"/>
                  </a:cubicBezTo>
                  <a:cubicBezTo>
                    <a:pt x="947" y="41"/>
                    <a:pt x="947" y="41"/>
                    <a:pt x="947" y="42"/>
                  </a:cubicBezTo>
                  <a:cubicBezTo>
                    <a:pt x="947" y="42"/>
                    <a:pt x="947" y="43"/>
                    <a:pt x="947" y="44"/>
                  </a:cubicBezTo>
                  <a:cubicBezTo>
                    <a:pt x="948" y="45"/>
                    <a:pt x="948" y="45"/>
                    <a:pt x="949" y="45"/>
                  </a:cubicBezTo>
                  <a:cubicBezTo>
                    <a:pt x="949" y="45"/>
                    <a:pt x="949" y="45"/>
                    <a:pt x="949" y="45"/>
                  </a:cubicBezTo>
                  <a:cubicBezTo>
                    <a:pt x="950" y="45"/>
                    <a:pt x="950" y="45"/>
                    <a:pt x="950" y="45"/>
                  </a:cubicBezTo>
                  <a:cubicBezTo>
                    <a:pt x="950" y="47"/>
                    <a:pt x="952" y="48"/>
                    <a:pt x="954" y="48"/>
                  </a:cubicBezTo>
                  <a:cubicBezTo>
                    <a:pt x="954" y="48"/>
                    <a:pt x="953" y="49"/>
                    <a:pt x="953" y="49"/>
                  </a:cubicBezTo>
                  <a:cubicBezTo>
                    <a:pt x="953" y="49"/>
                    <a:pt x="953" y="48"/>
                    <a:pt x="952" y="48"/>
                  </a:cubicBezTo>
                  <a:cubicBezTo>
                    <a:pt x="952" y="48"/>
                    <a:pt x="952" y="48"/>
                    <a:pt x="952" y="48"/>
                  </a:cubicBezTo>
                  <a:cubicBezTo>
                    <a:pt x="951" y="47"/>
                    <a:pt x="949" y="47"/>
                    <a:pt x="947" y="48"/>
                  </a:cubicBezTo>
                  <a:cubicBezTo>
                    <a:pt x="947" y="48"/>
                    <a:pt x="947" y="48"/>
                    <a:pt x="947" y="48"/>
                  </a:cubicBezTo>
                  <a:cubicBezTo>
                    <a:pt x="946" y="49"/>
                    <a:pt x="945" y="50"/>
                    <a:pt x="945" y="51"/>
                  </a:cubicBezTo>
                  <a:cubicBezTo>
                    <a:pt x="946" y="52"/>
                    <a:pt x="947" y="52"/>
                    <a:pt x="948" y="53"/>
                  </a:cubicBezTo>
                  <a:cubicBezTo>
                    <a:pt x="948" y="53"/>
                    <a:pt x="948" y="53"/>
                    <a:pt x="948" y="53"/>
                  </a:cubicBezTo>
                  <a:cubicBezTo>
                    <a:pt x="946" y="53"/>
                    <a:pt x="945" y="52"/>
                    <a:pt x="943" y="51"/>
                  </a:cubicBezTo>
                  <a:cubicBezTo>
                    <a:pt x="942" y="51"/>
                    <a:pt x="941" y="50"/>
                    <a:pt x="940" y="50"/>
                  </a:cubicBezTo>
                  <a:cubicBezTo>
                    <a:pt x="937" y="49"/>
                    <a:pt x="935" y="49"/>
                    <a:pt x="934" y="50"/>
                  </a:cubicBezTo>
                  <a:cubicBezTo>
                    <a:pt x="932" y="50"/>
                    <a:pt x="932" y="50"/>
                    <a:pt x="931" y="50"/>
                  </a:cubicBezTo>
                  <a:cubicBezTo>
                    <a:pt x="931" y="50"/>
                    <a:pt x="931" y="50"/>
                    <a:pt x="931" y="50"/>
                  </a:cubicBezTo>
                  <a:cubicBezTo>
                    <a:pt x="930" y="50"/>
                    <a:pt x="929" y="51"/>
                    <a:pt x="929" y="52"/>
                  </a:cubicBezTo>
                  <a:cubicBezTo>
                    <a:pt x="929" y="52"/>
                    <a:pt x="928" y="52"/>
                    <a:pt x="928" y="53"/>
                  </a:cubicBezTo>
                  <a:cubicBezTo>
                    <a:pt x="928" y="53"/>
                    <a:pt x="927" y="53"/>
                    <a:pt x="926" y="53"/>
                  </a:cubicBezTo>
                  <a:cubicBezTo>
                    <a:pt x="925" y="53"/>
                    <a:pt x="924" y="53"/>
                    <a:pt x="924" y="53"/>
                  </a:cubicBezTo>
                  <a:cubicBezTo>
                    <a:pt x="924" y="52"/>
                    <a:pt x="923" y="52"/>
                    <a:pt x="923" y="52"/>
                  </a:cubicBezTo>
                  <a:cubicBezTo>
                    <a:pt x="921" y="52"/>
                    <a:pt x="920" y="52"/>
                    <a:pt x="918" y="50"/>
                  </a:cubicBezTo>
                  <a:cubicBezTo>
                    <a:pt x="917" y="49"/>
                    <a:pt x="916" y="48"/>
                    <a:pt x="915" y="48"/>
                  </a:cubicBezTo>
                  <a:cubicBezTo>
                    <a:pt x="915" y="48"/>
                    <a:pt x="914" y="48"/>
                    <a:pt x="914" y="49"/>
                  </a:cubicBezTo>
                  <a:cubicBezTo>
                    <a:pt x="913" y="50"/>
                    <a:pt x="915" y="53"/>
                    <a:pt x="915" y="53"/>
                  </a:cubicBezTo>
                  <a:cubicBezTo>
                    <a:pt x="915" y="54"/>
                    <a:pt x="916" y="55"/>
                    <a:pt x="916" y="56"/>
                  </a:cubicBezTo>
                  <a:cubicBezTo>
                    <a:pt x="916" y="58"/>
                    <a:pt x="917" y="58"/>
                    <a:pt x="918" y="59"/>
                  </a:cubicBezTo>
                  <a:cubicBezTo>
                    <a:pt x="918" y="59"/>
                    <a:pt x="918" y="59"/>
                    <a:pt x="918" y="60"/>
                  </a:cubicBezTo>
                  <a:cubicBezTo>
                    <a:pt x="918" y="60"/>
                    <a:pt x="918" y="61"/>
                    <a:pt x="918" y="62"/>
                  </a:cubicBezTo>
                  <a:cubicBezTo>
                    <a:pt x="918" y="62"/>
                    <a:pt x="918" y="62"/>
                    <a:pt x="918" y="62"/>
                  </a:cubicBezTo>
                  <a:cubicBezTo>
                    <a:pt x="918" y="62"/>
                    <a:pt x="917" y="62"/>
                    <a:pt x="917" y="61"/>
                  </a:cubicBezTo>
                  <a:cubicBezTo>
                    <a:pt x="917" y="61"/>
                    <a:pt x="916" y="60"/>
                    <a:pt x="915" y="60"/>
                  </a:cubicBezTo>
                  <a:cubicBezTo>
                    <a:pt x="914" y="60"/>
                    <a:pt x="914" y="60"/>
                    <a:pt x="913" y="61"/>
                  </a:cubicBezTo>
                  <a:cubicBezTo>
                    <a:pt x="913" y="61"/>
                    <a:pt x="912" y="60"/>
                    <a:pt x="912" y="60"/>
                  </a:cubicBezTo>
                  <a:cubicBezTo>
                    <a:pt x="911" y="59"/>
                    <a:pt x="910" y="59"/>
                    <a:pt x="909" y="59"/>
                  </a:cubicBezTo>
                  <a:cubicBezTo>
                    <a:pt x="909" y="59"/>
                    <a:pt x="909" y="59"/>
                    <a:pt x="909" y="59"/>
                  </a:cubicBezTo>
                  <a:cubicBezTo>
                    <a:pt x="908" y="59"/>
                    <a:pt x="908" y="59"/>
                    <a:pt x="908" y="59"/>
                  </a:cubicBezTo>
                  <a:cubicBezTo>
                    <a:pt x="907" y="58"/>
                    <a:pt x="906" y="57"/>
                    <a:pt x="905" y="57"/>
                  </a:cubicBezTo>
                  <a:cubicBezTo>
                    <a:pt x="905" y="57"/>
                    <a:pt x="904" y="57"/>
                    <a:pt x="904" y="57"/>
                  </a:cubicBezTo>
                  <a:cubicBezTo>
                    <a:pt x="903" y="56"/>
                    <a:pt x="903" y="56"/>
                    <a:pt x="903" y="56"/>
                  </a:cubicBezTo>
                  <a:cubicBezTo>
                    <a:pt x="903" y="56"/>
                    <a:pt x="902" y="55"/>
                    <a:pt x="902" y="55"/>
                  </a:cubicBezTo>
                  <a:cubicBezTo>
                    <a:pt x="902" y="55"/>
                    <a:pt x="902" y="54"/>
                    <a:pt x="902" y="54"/>
                  </a:cubicBezTo>
                  <a:cubicBezTo>
                    <a:pt x="903" y="53"/>
                    <a:pt x="902" y="52"/>
                    <a:pt x="901" y="52"/>
                  </a:cubicBezTo>
                  <a:cubicBezTo>
                    <a:pt x="901" y="51"/>
                    <a:pt x="901" y="51"/>
                    <a:pt x="901" y="51"/>
                  </a:cubicBezTo>
                  <a:cubicBezTo>
                    <a:pt x="901" y="50"/>
                    <a:pt x="900" y="50"/>
                    <a:pt x="899" y="50"/>
                  </a:cubicBezTo>
                  <a:cubicBezTo>
                    <a:pt x="898" y="50"/>
                    <a:pt x="898" y="50"/>
                    <a:pt x="898" y="50"/>
                  </a:cubicBezTo>
                  <a:cubicBezTo>
                    <a:pt x="897" y="50"/>
                    <a:pt x="897" y="50"/>
                    <a:pt x="896" y="50"/>
                  </a:cubicBezTo>
                  <a:cubicBezTo>
                    <a:pt x="897" y="50"/>
                    <a:pt x="898" y="49"/>
                    <a:pt x="898" y="47"/>
                  </a:cubicBezTo>
                  <a:cubicBezTo>
                    <a:pt x="898" y="47"/>
                    <a:pt x="897" y="46"/>
                    <a:pt x="896" y="46"/>
                  </a:cubicBezTo>
                  <a:cubicBezTo>
                    <a:pt x="896" y="46"/>
                    <a:pt x="895" y="46"/>
                    <a:pt x="895" y="46"/>
                  </a:cubicBezTo>
                  <a:cubicBezTo>
                    <a:pt x="895" y="46"/>
                    <a:pt x="895" y="46"/>
                    <a:pt x="895" y="46"/>
                  </a:cubicBezTo>
                  <a:cubicBezTo>
                    <a:pt x="895" y="46"/>
                    <a:pt x="895" y="46"/>
                    <a:pt x="895" y="46"/>
                  </a:cubicBezTo>
                  <a:cubicBezTo>
                    <a:pt x="895" y="46"/>
                    <a:pt x="895" y="46"/>
                    <a:pt x="895" y="46"/>
                  </a:cubicBezTo>
                  <a:cubicBezTo>
                    <a:pt x="895" y="45"/>
                    <a:pt x="894" y="45"/>
                    <a:pt x="894" y="45"/>
                  </a:cubicBezTo>
                  <a:cubicBezTo>
                    <a:pt x="894" y="45"/>
                    <a:pt x="894" y="44"/>
                    <a:pt x="894" y="44"/>
                  </a:cubicBezTo>
                  <a:cubicBezTo>
                    <a:pt x="894" y="43"/>
                    <a:pt x="892" y="42"/>
                    <a:pt x="890" y="42"/>
                  </a:cubicBezTo>
                  <a:cubicBezTo>
                    <a:pt x="890" y="42"/>
                    <a:pt x="890" y="42"/>
                    <a:pt x="890" y="42"/>
                  </a:cubicBezTo>
                  <a:cubicBezTo>
                    <a:pt x="890" y="42"/>
                    <a:pt x="890" y="41"/>
                    <a:pt x="890" y="40"/>
                  </a:cubicBezTo>
                  <a:cubicBezTo>
                    <a:pt x="890" y="39"/>
                    <a:pt x="890" y="38"/>
                    <a:pt x="890" y="37"/>
                  </a:cubicBezTo>
                  <a:cubicBezTo>
                    <a:pt x="889" y="36"/>
                    <a:pt x="887" y="37"/>
                    <a:pt x="886" y="38"/>
                  </a:cubicBezTo>
                  <a:cubicBezTo>
                    <a:pt x="886" y="37"/>
                    <a:pt x="885" y="37"/>
                    <a:pt x="885" y="37"/>
                  </a:cubicBezTo>
                  <a:cubicBezTo>
                    <a:pt x="885" y="36"/>
                    <a:pt x="884" y="36"/>
                    <a:pt x="884" y="36"/>
                  </a:cubicBezTo>
                  <a:cubicBezTo>
                    <a:pt x="884" y="36"/>
                    <a:pt x="884" y="36"/>
                    <a:pt x="884" y="36"/>
                  </a:cubicBezTo>
                  <a:cubicBezTo>
                    <a:pt x="883" y="35"/>
                    <a:pt x="882" y="35"/>
                    <a:pt x="881" y="35"/>
                  </a:cubicBezTo>
                  <a:cubicBezTo>
                    <a:pt x="881" y="35"/>
                    <a:pt x="880" y="35"/>
                    <a:pt x="880" y="35"/>
                  </a:cubicBezTo>
                  <a:cubicBezTo>
                    <a:pt x="880" y="35"/>
                    <a:pt x="880" y="35"/>
                    <a:pt x="880" y="35"/>
                  </a:cubicBezTo>
                  <a:cubicBezTo>
                    <a:pt x="880" y="34"/>
                    <a:pt x="878" y="34"/>
                    <a:pt x="876" y="34"/>
                  </a:cubicBezTo>
                  <a:cubicBezTo>
                    <a:pt x="876" y="34"/>
                    <a:pt x="875" y="34"/>
                    <a:pt x="875" y="34"/>
                  </a:cubicBezTo>
                  <a:cubicBezTo>
                    <a:pt x="874" y="34"/>
                    <a:pt x="874" y="34"/>
                    <a:pt x="874" y="34"/>
                  </a:cubicBezTo>
                  <a:cubicBezTo>
                    <a:pt x="873" y="34"/>
                    <a:pt x="872" y="35"/>
                    <a:pt x="872" y="35"/>
                  </a:cubicBezTo>
                  <a:cubicBezTo>
                    <a:pt x="871" y="35"/>
                    <a:pt x="870" y="34"/>
                    <a:pt x="869" y="36"/>
                  </a:cubicBezTo>
                  <a:cubicBezTo>
                    <a:pt x="868" y="35"/>
                    <a:pt x="866" y="35"/>
                    <a:pt x="866" y="35"/>
                  </a:cubicBezTo>
                  <a:cubicBezTo>
                    <a:pt x="865" y="35"/>
                    <a:pt x="865" y="35"/>
                    <a:pt x="865" y="35"/>
                  </a:cubicBezTo>
                  <a:cubicBezTo>
                    <a:pt x="865" y="35"/>
                    <a:pt x="865" y="35"/>
                    <a:pt x="865" y="35"/>
                  </a:cubicBezTo>
                  <a:cubicBezTo>
                    <a:pt x="865" y="35"/>
                    <a:pt x="865" y="35"/>
                    <a:pt x="865" y="35"/>
                  </a:cubicBezTo>
                  <a:cubicBezTo>
                    <a:pt x="864" y="34"/>
                    <a:pt x="861" y="33"/>
                    <a:pt x="860" y="33"/>
                  </a:cubicBezTo>
                  <a:cubicBezTo>
                    <a:pt x="859" y="33"/>
                    <a:pt x="859" y="33"/>
                    <a:pt x="859" y="33"/>
                  </a:cubicBezTo>
                  <a:cubicBezTo>
                    <a:pt x="858" y="33"/>
                    <a:pt x="857" y="35"/>
                    <a:pt x="857" y="36"/>
                  </a:cubicBezTo>
                  <a:cubicBezTo>
                    <a:pt x="856" y="35"/>
                    <a:pt x="855" y="35"/>
                    <a:pt x="855" y="36"/>
                  </a:cubicBezTo>
                  <a:cubicBezTo>
                    <a:pt x="854" y="37"/>
                    <a:pt x="855" y="38"/>
                    <a:pt x="855" y="39"/>
                  </a:cubicBezTo>
                  <a:cubicBezTo>
                    <a:pt x="856" y="39"/>
                    <a:pt x="856" y="39"/>
                    <a:pt x="856" y="39"/>
                  </a:cubicBezTo>
                  <a:cubicBezTo>
                    <a:pt x="857" y="41"/>
                    <a:pt x="857" y="41"/>
                    <a:pt x="858" y="41"/>
                  </a:cubicBezTo>
                  <a:cubicBezTo>
                    <a:pt x="858" y="42"/>
                    <a:pt x="859" y="43"/>
                    <a:pt x="859" y="43"/>
                  </a:cubicBezTo>
                  <a:cubicBezTo>
                    <a:pt x="858" y="44"/>
                    <a:pt x="858" y="44"/>
                    <a:pt x="858" y="44"/>
                  </a:cubicBezTo>
                  <a:cubicBezTo>
                    <a:pt x="857" y="44"/>
                    <a:pt x="857" y="44"/>
                    <a:pt x="856" y="44"/>
                  </a:cubicBezTo>
                  <a:cubicBezTo>
                    <a:pt x="853" y="44"/>
                    <a:pt x="851" y="45"/>
                    <a:pt x="850" y="46"/>
                  </a:cubicBezTo>
                  <a:cubicBezTo>
                    <a:pt x="850" y="46"/>
                    <a:pt x="848" y="46"/>
                    <a:pt x="841" y="45"/>
                  </a:cubicBezTo>
                  <a:cubicBezTo>
                    <a:pt x="839" y="44"/>
                    <a:pt x="837" y="44"/>
                    <a:pt x="837" y="44"/>
                  </a:cubicBezTo>
                  <a:cubicBezTo>
                    <a:pt x="836" y="44"/>
                    <a:pt x="836" y="44"/>
                    <a:pt x="836" y="44"/>
                  </a:cubicBezTo>
                  <a:cubicBezTo>
                    <a:pt x="836" y="44"/>
                    <a:pt x="836" y="44"/>
                    <a:pt x="836" y="43"/>
                  </a:cubicBezTo>
                  <a:cubicBezTo>
                    <a:pt x="835" y="43"/>
                    <a:pt x="835" y="43"/>
                    <a:pt x="835" y="43"/>
                  </a:cubicBezTo>
                  <a:cubicBezTo>
                    <a:pt x="836" y="43"/>
                    <a:pt x="838" y="43"/>
                    <a:pt x="838" y="41"/>
                  </a:cubicBezTo>
                  <a:cubicBezTo>
                    <a:pt x="837" y="39"/>
                    <a:pt x="833" y="39"/>
                    <a:pt x="830" y="39"/>
                  </a:cubicBezTo>
                  <a:cubicBezTo>
                    <a:pt x="829" y="39"/>
                    <a:pt x="829" y="39"/>
                    <a:pt x="829" y="39"/>
                  </a:cubicBezTo>
                  <a:cubicBezTo>
                    <a:pt x="828" y="39"/>
                    <a:pt x="828" y="40"/>
                    <a:pt x="825" y="40"/>
                  </a:cubicBezTo>
                  <a:cubicBezTo>
                    <a:pt x="824" y="40"/>
                    <a:pt x="824" y="40"/>
                    <a:pt x="824" y="40"/>
                  </a:cubicBezTo>
                  <a:cubicBezTo>
                    <a:pt x="823" y="40"/>
                    <a:pt x="823" y="40"/>
                    <a:pt x="823" y="40"/>
                  </a:cubicBezTo>
                  <a:cubicBezTo>
                    <a:pt x="821" y="40"/>
                    <a:pt x="819" y="40"/>
                    <a:pt x="817" y="41"/>
                  </a:cubicBezTo>
                  <a:cubicBezTo>
                    <a:pt x="816" y="42"/>
                    <a:pt x="815" y="42"/>
                    <a:pt x="814" y="42"/>
                  </a:cubicBezTo>
                  <a:cubicBezTo>
                    <a:pt x="814" y="42"/>
                    <a:pt x="813" y="42"/>
                    <a:pt x="812" y="42"/>
                  </a:cubicBezTo>
                  <a:cubicBezTo>
                    <a:pt x="811" y="42"/>
                    <a:pt x="810" y="43"/>
                    <a:pt x="810" y="44"/>
                  </a:cubicBezTo>
                  <a:cubicBezTo>
                    <a:pt x="811" y="42"/>
                    <a:pt x="809" y="42"/>
                    <a:pt x="809" y="42"/>
                  </a:cubicBezTo>
                  <a:cubicBezTo>
                    <a:pt x="809" y="42"/>
                    <a:pt x="809" y="42"/>
                    <a:pt x="809" y="42"/>
                  </a:cubicBezTo>
                  <a:cubicBezTo>
                    <a:pt x="808" y="41"/>
                    <a:pt x="808" y="41"/>
                    <a:pt x="808" y="41"/>
                  </a:cubicBezTo>
                  <a:cubicBezTo>
                    <a:pt x="808" y="41"/>
                    <a:pt x="807" y="40"/>
                    <a:pt x="807" y="39"/>
                  </a:cubicBezTo>
                  <a:cubicBezTo>
                    <a:pt x="806" y="38"/>
                    <a:pt x="805" y="38"/>
                    <a:pt x="804" y="38"/>
                  </a:cubicBezTo>
                  <a:cubicBezTo>
                    <a:pt x="804" y="38"/>
                    <a:pt x="803" y="38"/>
                    <a:pt x="803" y="39"/>
                  </a:cubicBezTo>
                  <a:cubicBezTo>
                    <a:pt x="803" y="39"/>
                    <a:pt x="802" y="40"/>
                    <a:pt x="804" y="43"/>
                  </a:cubicBezTo>
                  <a:cubicBezTo>
                    <a:pt x="803" y="43"/>
                    <a:pt x="802" y="43"/>
                    <a:pt x="801" y="43"/>
                  </a:cubicBezTo>
                  <a:cubicBezTo>
                    <a:pt x="800" y="42"/>
                    <a:pt x="800" y="42"/>
                    <a:pt x="799" y="42"/>
                  </a:cubicBezTo>
                  <a:cubicBezTo>
                    <a:pt x="799" y="42"/>
                    <a:pt x="798" y="41"/>
                    <a:pt x="798" y="41"/>
                  </a:cubicBezTo>
                  <a:cubicBezTo>
                    <a:pt x="798" y="41"/>
                    <a:pt x="798" y="41"/>
                    <a:pt x="798" y="41"/>
                  </a:cubicBezTo>
                  <a:cubicBezTo>
                    <a:pt x="797" y="40"/>
                    <a:pt x="797" y="39"/>
                    <a:pt x="796" y="39"/>
                  </a:cubicBezTo>
                  <a:cubicBezTo>
                    <a:pt x="795" y="39"/>
                    <a:pt x="795" y="40"/>
                    <a:pt x="794" y="40"/>
                  </a:cubicBezTo>
                  <a:cubicBezTo>
                    <a:pt x="794" y="40"/>
                    <a:pt x="794" y="40"/>
                    <a:pt x="794" y="40"/>
                  </a:cubicBezTo>
                  <a:cubicBezTo>
                    <a:pt x="793" y="40"/>
                    <a:pt x="793" y="40"/>
                    <a:pt x="792" y="40"/>
                  </a:cubicBezTo>
                  <a:cubicBezTo>
                    <a:pt x="791" y="39"/>
                    <a:pt x="791" y="39"/>
                    <a:pt x="790" y="40"/>
                  </a:cubicBezTo>
                  <a:cubicBezTo>
                    <a:pt x="791" y="39"/>
                    <a:pt x="791" y="39"/>
                    <a:pt x="790" y="39"/>
                  </a:cubicBezTo>
                  <a:cubicBezTo>
                    <a:pt x="790" y="38"/>
                    <a:pt x="790" y="38"/>
                    <a:pt x="790" y="38"/>
                  </a:cubicBezTo>
                  <a:cubicBezTo>
                    <a:pt x="792" y="37"/>
                    <a:pt x="793" y="36"/>
                    <a:pt x="793" y="35"/>
                  </a:cubicBezTo>
                  <a:cubicBezTo>
                    <a:pt x="793" y="34"/>
                    <a:pt x="794" y="33"/>
                    <a:pt x="797" y="30"/>
                  </a:cubicBezTo>
                  <a:cubicBezTo>
                    <a:pt x="797" y="30"/>
                    <a:pt x="797" y="30"/>
                    <a:pt x="797" y="30"/>
                  </a:cubicBezTo>
                  <a:cubicBezTo>
                    <a:pt x="798" y="29"/>
                    <a:pt x="798" y="29"/>
                    <a:pt x="798" y="28"/>
                  </a:cubicBezTo>
                  <a:cubicBezTo>
                    <a:pt x="799" y="27"/>
                    <a:pt x="799" y="25"/>
                    <a:pt x="798" y="24"/>
                  </a:cubicBezTo>
                  <a:cubicBezTo>
                    <a:pt x="798" y="23"/>
                    <a:pt x="797" y="22"/>
                    <a:pt x="797" y="22"/>
                  </a:cubicBezTo>
                  <a:cubicBezTo>
                    <a:pt x="798" y="22"/>
                    <a:pt x="798" y="21"/>
                    <a:pt x="798" y="21"/>
                  </a:cubicBezTo>
                  <a:cubicBezTo>
                    <a:pt x="798" y="20"/>
                    <a:pt x="798" y="19"/>
                    <a:pt x="796" y="18"/>
                  </a:cubicBezTo>
                  <a:cubicBezTo>
                    <a:pt x="796" y="18"/>
                    <a:pt x="792" y="15"/>
                    <a:pt x="791" y="13"/>
                  </a:cubicBezTo>
                  <a:cubicBezTo>
                    <a:pt x="791" y="12"/>
                    <a:pt x="790" y="12"/>
                    <a:pt x="789" y="12"/>
                  </a:cubicBezTo>
                  <a:cubicBezTo>
                    <a:pt x="789" y="12"/>
                    <a:pt x="789" y="12"/>
                    <a:pt x="788" y="12"/>
                  </a:cubicBezTo>
                  <a:cubicBezTo>
                    <a:pt x="788" y="12"/>
                    <a:pt x="788" y="13"/>
                    <a:pt x="788" y="13"/>
                  </a:cubicBezTo>
                  <a:cubicBezTo>
                    <a:pt x="787" y="13"/>
                    <a:pt x="787" y="12"/>
                    <a:pt x="787" y="12"/>
                  </a:cubicBezTo>
                  <a:cubicBezTo>
                    <a:pt x="787" y="11"/>
                    <a:pt x="786" y="11"/>
                    <a:pt x="785" y="11"/>
                  </a:cubicBezTo>
                  <a:cubicBezTo>
                    <a:pt x="785" y="11"/>
                    <a:pt x="784" y="11"/>
                    <a:pt x="784" y="11"/>
                  </a:cubicBezTo>
                  <a:cubicBezTo>
                    <a:pt x="783" y="10"/>
                    <a:pt x="782" y="9"/>
                    <a:pt x="781" y="9"/>
                  </a:cubicBezTo>
                  <a:cubicBezTo>
                    <a:pt x="780" y="9"/>
                    <a:pt x="780" y="8"/>
                    <a:pt x="779" y="8"/>
                  </a:cubicBezTo>
                  <a:cubicBezTo>
                    <a:pt x="779" y="8"/>
                    <a:pt x="779" y="8"/>
                    <a:pt x="779" y="8"/>
                  </a:cubicBezTo>
                  <a:cubicBezTo>
                    <a:pt x="778" y="8"/>
                    <a:pt x="777" y="7"/>
                    <a:pt x="775" y="8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774" y="9"/>
                    <a:pt x="774" y="9"/>
                    <a:pt x="774" y="9"/>
                  </a:cubicBezTo>
                  <a:cubicBezTo>
                    <a:pt x="775" y="8"/>
                    <a:pt x="775" y="8"/>
                    <a:pt x="775" y="8"/>
                  </a:cubicBezTo>
                  <a:cubicBezTo>
                    <a:pt x="774" y="8"/>
                    <a:pt x="773" y="7"/>
                    <a:pt x="772" y="8"/>
                  </a:cubicBezTo>
                  <a:cubicBezTo>
                    <a:pt x="771" y="8"/>
                    <a:pt x="770" y="8"/>
                    <a:pt x="769" y="8"/>
                  </a:cubicBezTo>
                  <a:cubicBezTo>
                    <a:pt x="768" y="8"/>
                    <a:pt x="768" y="8"/>
                    <a:pt x="768" y="8"/>
                  </a:cubicBezTo>
                  <a:cubicBezTo>
                    <a:pt x="767" y="8"/>
                    <a:pt x="767" y="8"/>
                    <a:pt x="767" y="8"/>
                  </a:cubicBezTo>
                  <a:cubicBezTo>
                    <a:pt x="767" y="8"/>
                    <a:pt x="766" y="8"/>
                    <a:pt x="765" y="8"/>
                  </a:cubicBezTo>
                  <a:cubicBezTo>
                    <a:pt x="763" y="8"/>
                    <a:pt x="763" y="8"/>
                    <a:pt x="763" y="8"/>
                  </a:cubicBezTo>
                  <a:cubicBezTo>
                    <a:pt x="762" y="8"/>
                    <a:pt x="762" y="9"/>
                    <a:pt x="762" y="10"/>
                  </a:cubicBezTo>
                  <a:cubicBezTo>
                    <a:pt x="761" y="10"/>
                    <a:pt x="761" y="11"/>
                    <a:pt x="762" y="13"/>
                  </a:cubicBezTo>
                  <a:cubicBezTo>
                    <a:pt x="762" y="13"/>
                    <a:pt x="762" y="13"/>
                    <a:pt x="762" y="13"/>
                  </a:cubicBezTo>
                  <a:cubicBezTo>
                    <a:pt x="761" y="13"/>
                    <a:pt x="761" y="13"/>
                    <a:pt x="761" y="13"/>
                  </a:cubicBezTo>
                  <a:cubicBezTo>
                    <a:pt x="761" y="13"/>
                    <a:pt x="760" y="13"/>
                    <a:pt x="760" y="13"/>
                  </a:cubicBezTo>
                  <a:cubicBezTo>
                    <a:pt x="760" y="12"/>
                    <a:pt x="759" y="12"/>
                    <a:pt x="759" y="11"/>
                  </a:cubicBezTo>
                  <a:cubicBezTo>
                    <a:pt x="759" y="11"/>
                    <a:pt x="759" y="11"/>
                    <a:pt x="759" y="11"/>
                  </a:cubicBezTo>
                  <a:cubicBezTo>
                    <a:pt x="759" y="9"/>
                    <a:pt x="758" y="8"/>
                    <a:pt x="756" y="7"/>
                  </a:cubicBezTo>
                  <a:cubicBezTo>
                    <a:pt x="755" y="7"/>
                    <a:pt x="754" y="7"/>
                    <a:pt x="754" y="7"/>
                  </a:cubicBezTo>
                  <a:cubicBezTo>
                    <a:pt x="754" y="8"/>
                    <a:pt x="754" y="8"/>
                    <a:pt x="753" y="8"/>
                  </a:cubicBezTo>
                  <a:cubicBezTo>
                    <a:pt x="753" y="8"/>
                    <a:pt x="752" y="8"/>
                    <a:pt x="752" y="8"/>
                  </a:cubicBezTo>
                  <a:cubicBezTo>
                    <a:pt x="752" y="7"/>
                    <a:pt x="751" y="7"/>
                    <a:pt x="750" y="6"/>
                  </a:cubicBezTo>
                  <a:cubicBezTo>
                    <a:pt x="751" y="6"/>
                    <a:pt x="751" y="6"/>
                    <a:pt x="751" y="5"/>
                  </a:cubicBezTo>
                  <a:cubicBezTo>
                    <a:pt x="751" y="4"/>
                    <a:pt x="750" y="3"/>
                    <a:pt x="749" y="2"/>
                  </a:cubicBezTo>
                  <a:cubicBezTo>
                    <a:pt x="749" y="2"/>
                    <a:pt x="749" y="2"/>
                    <a:pt x="749" y="2"/>
                  </a:cubicBezTo>
                  <a:cubicBezTo>
                    <a:pt x="748" y="1"/>
                    <a:pt x="747" y="1"/>
                    <a:pt x="746" y="1"/>
                  </a:cubicBezTo>
                  <a:cubicBezTo>
                    <a:pt x="746" y="1"/>
                    <a:pt x="746" y="1"/>
                    <a:pt x="745" y="1"/>
                  </a:cubicBezTo>
                  <a:cubicBezTo>
                    <a:pt x="745" y="1"/>
                    <a:pt x="745" y="1"/>
                    <a:pt x="744" y="1"/>
                  </a:cubicBezTo>
                  <a:cubicBezTo>
                    <a:pt x="742" y="0"/>
                    <a:pt x="739" y="0"/>
                    <a:pt x="739" y="0"/>
                  </a:cubicBezTo>
                  <a:cubicBezTo>
                    <a:pt x="738" y="0"/>
                    <a:pt x="738" y="0"/>
                    <a:pt x="738" y="0"/>
                  </a:cubicBezTo>
                  <a:cubicBezTo>
                    <a:pt x="737" y="0"/>
                    <a:pt x="736" y="0"/>
                    <a:pt x="736" y="1"/>
                  </a:cubicBezTo>
                  <a:cubicBezTo>
                    <a:pt x="735" y="2"/>
                    <a:pt x="734" y="3"/>
                    <a:pt x="734" y="3"/>
                  </a:cubicBezTo>
                  <a:cubicBezTo>
                    <a:pt x="734" y="3"/>
                    <a:pt x="734" y="3"/>
                    <a:pt x="734" y="3"/>
                  </a:cubicBezTo>
                  <a:cubicBezTo>
                    <a:pt x="732" y="4"/>
                    <a:pt x="730" y="7"/>
                    <a:pt x="729" y="8"/>
                  </a:cubicBezTo>
                  <a:cubicBezTo>
                    <a:pt x="728" y="9"/>
                    <a:pt x="728" y="15"/>
                    <a:pt x="730" y="16"/>
                  </a:cubicBezTo>
                  <a:cubicBezTo>
                    <a:pt x="730" y="16"/>
                    <a:pt x="731" y="16"/>
                    <a:pt x="731" y="17"/>
                  </a:cubicBezTo>
                  <a:cubicBezTo>
                    <a:pt x="731" y="17"/>
                    <a:pt x="730" y="17"/>
                    <a:pt x="730" y="17"/>
                  </a:cubicBezTo>
                  <a:cubicBezTo>
                    <a:pt x="730" y="18"/>
                    <a:pt x="729" y="18"/>
                    <a:pt x="728" y="18"/>
                  </a:cubicBezTo>
                  <a:cubicBezTo>
                    <a:pt x="728" y="18"/>
                    <a:pt x="728" y="18"/>
                    <a:pt x="728" y="18"/>
                  </a:cubicBezTo>
                  <a:cubicBezTo>
                    <a:pt x="728" y="18"/>
                    <a:pt x="727" y="17"/>
                    <a:pt x="726" y="17"/>
                  </a:cubicBezTo>
                  <a:cubicBezTo>
                    <a:pt x="725" y="17"/>
                    <a:pt x="724" y="17"/>
                    <a:pt x="724" y="19"/>
                  </a:cubicBezTo>
                  <a:cubicBezTo>
                    <a:pt x="724" y="20"/>
                    <a:pt x="724" y="21"/>
                    <a:pt x="725" y="21"/>
                  </a:cubicBezTo>
                  <a:cubicBezTo>
                    <a:pt x="725" y="22"/>
                    <a:pt x="724" y="22"/>
                    <a:pt x="723" y="22"/>
                  </a:cubicBezTo>
                  <a:cubicBezTo>
                    <a:pt x="723" y="22"/>
                    <a:pt x="722" y="22"/>
                    <a:pt x="721" y="23"/>
                  </a:cubicBezTo>
                  <a:cubicBezTo>
                    <a:pt x="721" y="23"/>
                    <a:pt x="721" y="24"/>
                    <a:pt x="721" y="24"/>
                  </a:cubicBezTo>
                  <a:cubicBezTo>
                    <a:pt x="720" y="24"/>
                    <a:pt x="719" y="24"/>
                    <a:pt x="718" y="25"/>
                  </a:cubicBezTo>
                  <a:cubicBezTo>
                    <a:pt x="717" y="25"/>
                    <a:pt x="716" y="25"/>
                    <a:pt x="716" y="25"/>
                  </a:cubicBezTo>
                  <a:cubicBezTo>
                    <a:pt x="715" y="24"/>
                    <a:pt x="714" y="24"/>
                    <a:pt x="713" y="24"/>
                  </a:cubicBezTo>
                  <a:cubicBezTo>
                    <a:pt x="713" y="24"/>
                    <a:pt x="712" y="23"/>
                    <a:pt x="711" y="23"/>
                  </a:cubicBezTo>
                  <a:cubicBezTo>
                    <a:pt x="711" y="23"/>
                    <a:pt x="710" y="23"/>
                    <a:pt x="709" y="23"/>
                  </a:cubicBezTo>
                  <a:cubicBezTo>
                    <a:pt x="708" y="22"/>
                    <a:pt x="707" y="23"/>
                    <a:pt x="706" y="23"/>
                  </a:cubicBezTo>
                  <a:cubicBezTo>
                    <a:pt x="706" y="23"/>
                    <a:pt x="705" y="23"/>
                    <a:pt x="705" y="23"/>
                  </a:cubicBezTo>
                  <a:cubicBezTo>
                    <a:pt x="705" y="23"/>
                    <a:pt x="705" y="23"/>
                    <a:pt x="704" y="23"/>
                  </a:cubicBezTo>
                  <a:cubicBezTo>
                    <a:pt x="704" y="23"/>
                    <a:pt x="703" y="23"/>
                    <a:pt x="703" y="23"/>
                  </a:cubicBezTo>
                  <a:cubicBezTo>
                    <a:pt x="703" y="23"/>
                    <a:pt x="702" y="23"/>
                    <a:pt x="702" y="23"/>
                  </a:cubicBezTo>
                  <a:cubicBezTo>
                    <a:pt x="702" y="22"/>
                    <a:pt x="702" y="22"/>
                    <a:pt x="702" y="22"/>
                  </a:cubicBezTo>
                  <a:cubicBezTo>
                    <a:pt x="702" y="22"/>
                    <a:pt x="701" y="22"/>
                    <a:pt x="700" y="22"/>
                  </a:cubicBezTo>
                  <a:cubicBezTo>
                    <a:pt x="699" y="22"/>
                    <a:pt x="699" y="23"/>
                    <a:pt x="699" y="24"/>
                  </a:cubicBezTo>
                  <a:cubicBezTo>
                    <a:pt x="699" y="24"/>
                    <a:pt x="699" y="25"/>
                    <a:pt x="699" y="25"/>
                  </a:cubicBezTo>
                  <a:cubicBezTo>
                    <a:pt x="698" y="26"/>
                    <a:pt x="699" y="27"/>
                    <a:pt x="699" y="28"/>
                  </a:cubicBezTo>
                  <a:cubicBezTo>
                    <a:pt x="699" y="28"/>
                    <a:pt x="699" y="28"/>
                    <a:pt x="699" y="28"/>
                  </a:cubicBezTo>
                  <a:cubicBezTo>
                    <a:pt x="699" y="28"/>
                    <a:pt x="699" y="28"/>
                    <a:pt x="699" y="28"/>
                  </a:cubicBezTo>
                  <a:cubicBezTo>
                    <a:pt x="698" y="28"/>
                    <a:pt x="698" y="28"/>
                    <a:pt x="697" y="28"/>
                  </a:cubicBezTo>
                  <a:cubicBezTo>
                    <a:pt x="697" y="28"/>
                    <a:pt x="697" y="28"/>
                    <a:pt x="697" y="28"/>
                  </a:cubicBezTo>
                  <a:cubicBezTo>
                    <a:pt x="696" y="28"/>
                    <a:pt x="696" y="28"/>
                    <a:pt x="696" y="28"/>
                  </a:cubicBezTo>
                  <a:cubicBezTo>
                    <a:pt x="695" y="28"/>
                    <a:pt x="694" y="28"/>
                    <a:pt x="694" y="29"/>
                  </a:cubicBezTo>
                  <a:cubicBezTo>
                    <a:pt x="694" y="29"/>
                    <a:pt x="694" y="29"/>
                    <a:pt x="694" y="29"/>
                  </a:cubicBezTo>
                  <a:cubicBezTo>
                    <a:pt x="693" y="29"/>
                    <a:pt x="693" y="29"/>
                    <a:pt x="693" y="29"/>
                  </a:cubicBezTo>
                  <a:cubicBezTo>
                    <a:pt x="691" y="29"/>
                    <a:pt x="691" y="30"/>
                    <a:pt x="690" y="30"/>
                  </a:cubicBezTo>
                  <a:cubicBezTo>
                    <a:pt x="690" y="30"/>
                    <a:pt x="689" y="31"/>
                    <a:pt x="688" y="32"/>
                  </a:cubicBezTo>
                  <a:cubicBezTo>
                    <a:pt x="688" y="32"/>
                    <a:pt x="688" y="32"/>
                    <a:pt x="687" y="32"/>
                  </a:cubicBezTo>
                  <a:cubicBezTo>
                    <a:pt x="686" y="32"/>
                    <a:pt x="686" y="32"/>
                    <a:pt x="685" y="33"/>
                  </a:cubicBezTo>
                  <a:cubicBezTo>
                    <a:pt x="683" y="33"/>
                    <a:pt x="683" y="35"/>
                    <a:pt x="682" y="36"/>
                  </a:cubicBezTo>
                  <a:cubicBezTo>
                    <a:pt x="682" y="37"/>
                    <a:pt x="682" y="37"/>
                    <a:pt x="682" y="37"/>
                  </a:cubicBezTo>
                  <a:cubicBezTo>
                    <a:pt x="682" y="37"/>
                    <a:pt x="682" y="37"/>
                    <a:pt x="681" y="37"/>
                  </a:cubicBezTo>
                  <a:cubicBezTo>
                    <a:pt x="680" y="37"/>
                    <a:pt x="680" y="37"/>
                    <a:pt x="680" y="37"/>
                  </a:cubicBezTo>
                  <a:cubicBezTo>
                    <a:pt x="678" y="38"/>
                    <a:pt x="678" y="39"/>
                    <a:pt x="678" y="40"/>
                  </a:cubicBezTo>
                  <a:cubicBezTo>
                    <a:pt x="678" y="40"/>
                    <a:pt x="679" y="41"/>
                    <a:pt x="680" y="41"/>
                  </a:cubicBezTo>
                  <a:cubicBezTo>
                    <a:pt x="680" y="41"/>
                    <a:pt x="680" y="41"/>
                    <a:pt x="680" y="41"/>
                  </a:cubicBezTo>
                  <a:cubicBezTo>
                    <a:pt x="680" y="42"/>
                    <a:pt x="680" y="42"/>
                    <a:pt x="679" y="42"/>
                  </a:cubicBezTo>
                  <a:cubicBezTo>
                    <a:pt x="679" y="42"/>
                    <a:pt x="679" y="42"/>
                    <a:pt x="679" y="43"/>
                  </a:cubicBezTo>
                  <a:cubicBezTo>
                    <a:pt x="679" y="43"/>
                    <a:pt x="679" y="43"/>
                    <a:pt x="679" y="43"/>
                  </a:cubicBezTo>
                  <a:cubicBezTo>
                    <a:pt x="678" y="43"/>
                    <a:pt x="678" y="43"/>
                    <a:pt x="678" y="42"/>
                  </a:cubicBezTo>
                  <a:cubicBezTo>
                    <a:pt x="678" y="42"/>
                    <a:pt x="677" y="41"/>
                    <a:pt x="676" y="41"/>
                  </a:cubicBezTo>
                  <a:cubicBezTo>
                    <a:pt x="676" y="41"/>
                    <a:pt x="675" y="42"/>
                    <a:pt x="675" y="42"/>
                  </a:cubicBezTo>
                  <a:cubicBezTo>
                    <a:pt x="674" y="43"/>
                    <a:pt x="674" y="44"/>
                    <a:pt x="674" y="45"/>
                  </a:cubicBezTo>
                  <a:cubicBezTo>
                    <a:pt x="674" y="46"/>
                    <a:pt x="675" y="47"/>
                    <a:pt x="677" y="47"/>
                  </a:cubicBezTo>
                  <a:cubicBezTo>
                    <a:pt x="677" y="47"/>
                    <a:pt x="677" y="47"/>
                    <a:pt x="677" y="47"/>
                  </a:cubicBezTo>
                  <a:cubicBezTo>
                    <a:pt x="677" y="47"/>
                    <a:pt x="676" y="48"/>
                    <a:pt x="676" y="48"/>
                  </a:cubicBezTo>
                  <a:cubicBezTo>
                    <a:pt x="676" y="50"/>
                    <a:pt x="679" y="51"/>
                    <a:pt x="681" y="51"/>
                  </a:cubicBezTo>
                  <a:cubicBezTo>
                    <a:pt x="681" y="51"/>
                    <a:pt x="681" y="51"/>
                    <a:pt x="681" y="51"/>
                  </a:cubicBezTo>
                  <a:cubicBezTo>
                    <a:pt x="681" y="52"/>
                    <a:pt x="682" y="52"/>
                    <a:pt x="682" y="53"/>
                  </a:cubicBezTo>
                  <a:cubicBezTo>
                    <a:pt x="682" y="53"/>
                    <a:pt x="682" y="53"/>
                    <a:pt x="681" y="53"/>
                  </a:cubicBezTo>
                  <a:cubicBezTo>
                    <a:pt x="681" y="53"/>
                    <a:pt x="681" y="53"/>
                    <a:pt x="681" y="53"/>
                  </a:cubicBezTo>
                  <a:cubicBezTo>
                    <a:pt x="679" y="53"/>
                    <a:pt x="678" y="53"/>
                    <a:pt x="677" y="54"/>
                  </a:cubicBezTo>
                  <a:cubicBezTo>
                    <a:pt x="677" y="54"/>
                    <a:pt x="676" y="54"/>
                    <a:pt x="676" y="55"/>
                  </a:cubicBezTo>
                  <a:cubicBezTo>
                    <a:pt x="676" y="55"/>
                    <a:pt x="676" y="55"/>
                    <a:pt x="675" y="55"/>
                  </a:cubicBezTo>
                  <a:cubicBezTo>
                    <a:pt x="675" y="54"/>
                    <a:pt x="675" y="54"/>
                    <a:pt x="675" y="54"/>
                  </a:cubicBezTo>
                  <a:cubicBezTo>
                    <a:pt x="674" y="54"/>
                    <a:pt x="674" y="54"/>
                    <a:pt x="673" y="54"/>
                  </a:cubicBezTo>
                  <a:cubicBezTo>
                    <a:pt x="672" y="54"/>
                    <a:pt x="672" y="55"/>
                    <a:pt x="669" y="55"/>
                  </a:cubicBezTo>
                  <a:cubicBezTo>
                    <a:pt x="668" y="56"/>
                    <a:pt x="667" y="56"/>
                    <a:pt x="665" y="56"/>
                  </a:cubicBezTo>
                  <a:cubicBezTo>
                    <a:pt x="664" y="56"/>
                    <a:pt x="663" y="56"/>
                    <a:pt x="662" y="56"/>
                  </a:cubicBezTo>
                  <a:cubicBezTo>
                    <a:pt x="661" y="56"/>
                    <a:pt x="660" y="56"/>
                    <a:pt x="659" y="56"/>
                  </a:cubicBezTo>
                  <a:cubicBezTo>
                    <a:pt x="658" y="56"/>
                    <a:pt x="657" y="56"/>
                    <a:pt x="656" y="57"/>
                  </a:cubicBezTo>
                  <a:cubicBezTo>
                    <a:pt x="655" y="59"/>
                    <a:pt x="655" y="61"/>
                    <a:pt x="655" y="62"/>
                  </a:cubicBezTo>
                  <a:cubicBezTo>
                    <a:pt x="655" y="63"/>
                    <a:pt x="655" y="63"/>
                    <a:pt x="655" y="63"/>
                  </a:cubicBezTo>
                  <a:cubicBezTo>
                    <a:pt x="655" y="63"/>
                    <a:pt x="655" y="63"/>
                    <a:pt x="655" y="63"/>
                  </a:cubicBezTo>
                  <a:cubicBezTo>
                    <a:pt x="655" y="63"/>
                    <a:pt x="655" y="63"/>
                    <a:pt x="655" y="63"/>
                  </a:cubicBezTo>
                  <a:cubicBezTo>
                    <a:pt x="655" y="66"/>
                    <a:pt x="657" y="67"/>
                    <a:pt x="658" y="68"/>
                  </a:cubicBezTo>
                  <a:cubicBezTo>
                    <a:pt x="658" y="68"/>
                    <a:pt x="658" y="68"/>
                    <a:pt x="659" y="68"/>
                  </a:cubicBezTo>
                  <a:cubicBezTo>
                    <a:pt x="659" y="68"/>
                    <a:pt x="659" y="69"/>
                    <a:pt x="659" y="70"/>
                  </a:cubicBezTo>
                  <a:cubicBezTo>
                    <a:pt x="659" y="74"/>
                    <a:pt x="663" y="74"/>
                    <a:pt x="665" y="74"/>
                  </a:cubicBezTo>
                  <a:cubicBezTo>
                    <a:pt x="665" y="74"/>
                    <a:pt x="666" y="74"/>
                    <a:pt x="666" y="74"/>
                  </a:cubicBezTo>
                  <a:cubicBezTo>
                    <a:pt x="666" y="74"/>
                    <a:pt x="666" y="74"/>
                    <a:pt x="666" y="75"/>
                  </a:cubicBezTo>
                  <a:cubicBezTo>
                    <a:pt x="667" y="77"/>
                    <a:pt x="669" y="78"/>
                    <a:pt x="671" y="78"/>
                  </a:cubicBezTo>
                  <a:cubicBezTo>
                    <a:pt x="670" y="78"/>
                    <a:pt x="670" y="79"/>
                    <a:pt x="669" y="79"/>
                  </a:cubicBezTo>
                  <a:cubicBezTo>
                    <a:pt x="668" y="79"/>
                    <a:pt x="667" y="79"/>
                    <a:pt x="666" y="78"/>
                  </a:cubicBezTo>
                  <a:cubicBezTo>
                    <a:pt x="665" y="77"/>
                    <a:pt x="665" y="77"/>
                    <a:pt x="665" y="77"/>
                  </a:cubicBezTo>
                  <a:cubicBezTo>
                    <a:pt x="664" y="77"/>
                    <a:pt x="663" y="76"/>
                    <a:pt x="662" y="76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62" y="76"/>
                    <a:pt x="661" y="76"/>
                    <a:pt x="661" y="76"/>
                  </a:cubicBezTo>
                  <a:cubicBezTo>
                    <a:pt x="661" y="75"/>
                    <a:pt x="660" y="74"/>
                    <a:pt x="659" y="74"/>
                  </a:cubicBezTo>
                  <a:cubicBezTo>
                    <a:pt x="658" y="74"/>
                    <a:pt x="658" y="74"/>
                    <a:pt x="658" y="74"/>
                  </a:cubicBezTo>
                  <a:cubicBezTo>
                    <a:pt x="658" y="74"/>
                    <a:pt x="658" y="74"/>
                    <a:pt x="657" y="74"/>
                  </a:cubicBezTo>
                  <a:cubicBezTo>
                    <a:pt x="656" y="72"/>
                    <a:pt x="655" y="72"/>
                    <a:pt x="654" y="72"/>
                  </a:cubicBezTo>
                  <a:cubicBezTo>
                    <a:pt x="653" y="72"/>
                    <a:pt x="653" y="72"/>
                    <a:pt x="653" y="72"/>
                  </a:cubicBezTo>
                  <a:cubicBezTo>
                    <a:pt x="653" y="72"/>
                    <a:pt x="653" y="72"/>
                    <a:pt x="653" y="72"/>
                  </a:cubicBezTo>
                  <a:cubicBezTo>
                    <a:pt x="651" y="72"/>
                    <a:pt x="649" y="73"/>
                    <a:pt x="649" y="74"/>
                  </a:cubicBezTo>
                  <a:cubicBezTo>
                    <a:pt x="649" y="74"/>
                    <a:pt x="649" y="74"/>
                    <a:pt x="648" y="75"/>
                  </a:cubicBezTo>
                  <a:cubicBezTo>
                    <a:pt x="646" y="75"/>
                    <a:pt x="646" y="76"/>
                    <a:pt x="646" y="77"/>
                  </a:cubicBezTo>
                  <a:cubicBezTo>
                    <a:pt x="646" y="77"/>
                    <a:pt x="646" y="77"/>
                    <a:pt x="646" y="78"/>
                  </a:cubicBezTo>
                  <a:cubicBezTo>
                    <a:pt x="646" y="78"/>
                    <a:pt x="646" y="77"/>
                    <a:pt x="646" y="77"/>
                  </a:cubicBezTo>
                  <a:cubicBezTo>
                    <a:pt x="646" y="77"/>
                    <a:pt x="645" y="76"/>
                    <a:pt x="644" y="76"/>
                  </a:cubicBezTo>
                  <a:cubicBezTo>
                    <a:pt x="643" y="76"/>
                    <a:pt x="642" y="77"/>
                    <a:pt x="641" y="78"/>
                  </a:cubicBezTo>
                  <a:cubicBezTo>
                    <a:pt x="640" y="79"/>
                    <a:pt x="640" y="79"/>
                    <a:pt x="640" y="80"/>
                  </a:cubicBezTo>
                  <a:cubicBezTo>
                    <a:pt x="640" y="82"/>
                    <a:pt x="642" y="84"/>
                    <a:pt x="646" y="86"/>
                  </a:cubicBezTo>
                  <a:cubicBezTo>
                    <a:pt x="646" y="87"/>
                    <a:pt x="647" y="87"/>
                    <a:pt x="647" y="87"/>
                  </a:cubicBezTo>
                  <a:cubicBezTo>
                    <a:pt x="647" y="87"/>
                    <a:pt x="647" y="87"/>
                    <a:pt x="647" y="87"/>
                  </a:cubicBezTo>
                  <a:cubicBezTo>
                    <a:pt x="647" y="87"/>
                    <a:pt x="647" y="87"/>
                    <a:pt x="647" y="87"/>
                  </a:cubicBezTo>
                  <a:cubicBezTo>
                    <a:pt x="646" y="87"/>
                    <a:pt x="645" y="87"/>
                    <a:pt x="645" y="87"/>
                  </a:cubicBezTo>
                  <a:cubicBezTo>
                    <a:pt x="644" y="86"/>
                    <a:pt x="642" y="86"/>
                    <a:pt x="640" y="86"/>
                  </a:cubicBezTo>
                  <a:cubicBezTo>
                    <a:pt x="640" y="86"/>
                    <a:pt x="640" y="86"/>
                    <a:pt x="640" y="86"/>
                  </a:cubicBezTo>
                  <a:cubicBezTo>
                    <a:pt x="641" y="84"/>
                    <a:pt x="639" y="83"/>
                    <a:pt x="638" y="81"/>
                  </a:cubicBezTo>
                  <a:cubicBezTo>
                    <a:pt x="638" y="81"/>
                    <a:pt x="638" y="81"/>
                    <a:pt x="638" y="81"/>
                  </a:cubicBezTo>
                  <a:cubicBezTo>
                    <a:pt x="638" y="81"/>
                    <a:pt x="638" y="81"/>
                    <a:pt x="638" y="80"/>
                  </a:cubicBezTo>
                  <a:cubicBezTo>
                    <a:pt x="640" y="79"/>
                    <a:pt x="640" y="77"/>
                    <a:pt x="639" y="77"/>
                  </a:cubicBezTo>
                  <a:cubicBezTo>
                    <a:pt x="639" y="75"/>
                    <a:pt x="639" y="75"/>
                    <a:pt x="638" y="74"/>
                  </a:cubicBezTo>
                  <a:cubicBezTo>
                    <a:pt x="638" y="74"/>
                    <a:pt x="638" y="74"/>
                    <a:pt x="638" y="74"/>
                  </a:cubicBezTo>
                  <a:cubicBezTo>
                    <a:pt x="638" y="72"/>
                    <a:pt x="637" y="71"/>
                    <a:pt x="636" y="70"/>
                  </a:cubicBezTo>
                  <a:cubicBezTo>
                    <a:pt x="636" y="70"/>
                    <a:pt x="636" y="70"/>
                    <a:pt x="636" y="70"/>
                  </a:cubicBezTo>
                  <a:cubicBezTo>
                    <a:pt x="636" y="70"/>
                    <a:pt x="636" y="70"/>
                    <a:pt x="636" y="70"/>
                  </a:cubicBezTo>
                  <a:cubicBezTo>
                    <a:pt x="636" y="69"/>
                    <a:pt x="636" y="69"/>
                    <a:pt x="636" y="69"/>
                  </a:cubicBezTo>
                  <a:cubicBezTo>
                    <a:pt x="635" y="69"/>
                    <a:pt x="635" y="69"/>
                    <a:pt x="635" y="69"/>
                  </a:cubicBezTo>
                  <a:cubicBezTo>
                    <a:pt x="633" y="67"/>
                    <a:pt x="631" y="68"/>
                    <a:pt x="631" y="70"/>
                  </a:cubicBezTo>
                  <a:cubicBezTo>
                    <a:pt x="631" y="71"/>
                    <a:pt x="631" y="72"/>
                    <a:pt x="632" y="73"/>
                  </a:cubicBezTo>
                  <a:cubicBezTo>
                    <a:pt x="632" y="73"/>
                    <a:pt x="632" y="73"/>
                    <a:pt x="632" y="74"/>
                  </a:cubicBezTo>
                  <a:cubicBezTo>
                    <a:pt x="632" y="75"/>
                    <a:pt x="632" y="75"/>
                    <a:pt x="632" y="76"/>
                  </a:cubicBezTo>
                  <a:cubicBezTo>
                    <a:pt x="632" y="76"/>
                    <a:pt x="633" y="77"/>
                    <a:pt x="633" y="77"/>
                  </a:cubicBezTo>
                  <a:cubicBezTo>
                    <a:pt x="633" y="78"/>
                    <a:pt x="633" y="78"/>
                    <a:pt x="633" y="78"/>
                  </a:cubicBezTo>
                  <a:cubicBezTo>
                    <a:pt x="633" y="78"/>
                    <a:pt x="632" y="79"/>
                    <a:pt x="630" y="80"/>
                  </a:cubicBezTo>
                  <a:cubicBezTo>
                    <a:pt x="628" y="81"/>
                    <a:pt x="628" y="82"/>
                    <a:pt x="628" y="83"/>
                  </a:cubicBezTo>
                  <a:cubicBezTo>
                    <a:pt x="628" y="84"/>
                    <a:pt x="628" y="84"/>
                    <a:pt x="628" y="84"/>
                  </a:cubicBezTo>
                  <a:cubicBezTo>
                    <a:pt x="628" y="86"/>
                    <a:pt x="628" y="89"/>
                    <a:pt x="630" y="90"/>
                  </a:cubicBezTo>
                  <a:cubicBezTo>
                    <a:pt x="631" y="91"/>
                    <a:pt x="631" y="91"/>
                    <a:pt x="631" y="92"/>
                  </a:cubicBezTo>
                  <a:cubicBezTo>
                    <a:pt x="632" y="93"/>
                    <a:pt x="633" y="96"/>
                    <a:pt x="635" y="98"/>
                  </a:cubicBezTo>
                  <a:cubicBezTo>
                    <a:pt x="635" y="98"/>
                    <a:pt x="635" y="99"/>
                    <a:pt x="635" y="100"/>
                  </a:cubicBezTo>
                  <a:cubicBezTo>
                    <a:pt x="635" y="100"/>
                    <a:pt x="635" y="100"/>
                    <a:pt x="635" y="100"/>
                  </a:cubicBezTo>
                  <a:cubicBezTo>
                    <a:pt x="635" y="101"/>
                    <a:pt x="635" y="102"/>
                    <a:pt x="636" y="103"/>
                  </a:cubicBezTo>
                  <a:cubicBezTo>
                    <a:pt x="636" y="104"/>
                    <a:pt x="636" y="104"/>
                    <a:pt x="636" y="104"/>
                  </a:cubicBezTo>
                  <a:cubicBezTo>
                    <a:pt x="635" y="105"/>
                    <a:pt x="635" y="105"/>
                    <a:pt x="635" y="106"/>
                  </a:cubicBezTo>
                  <a:cubicBezTo>
                    <a:pt x="635" y="108"/>
                    <a:pt x="637" y="109"/>
                    <a:pt x="637" y="109"/>
                  </a:cubicBezTo>
                  <a:cubicBezTo>
                    <a:pt x="637" y="110"/>
                    <a:pt x="637" y="110"/>
                    <a:pt x="637" y="111"/>
                  </a:cubicBezTo>
                  <a:cubicBezTo>
                    <a:pt x="637" y="112"/>
                    <a:pt x="637" y="113"/>
                    <a:pt x="637" y="114"/>
                  </a:cubicBezTo>
                  <a:cubicBezTo>
                    <a:pt x="638" y="114"/>
                    <a:pt x="639" y="115"/>
                    <a:pt x="640" y="115"/>
                  </a:cubicBezTo>
                  <a:cubicBezTo>
                    <a:pt x="641" y="115"/>
                    <a:pt x="641" y="115"/>
                    <a:pt x="642" y="115"/>
                  </a:cubicBezTo>
                  <a:cubicBezTo>
                    <a:pt x="642" y="115"/>
                    <a:pt x="642" y="115"/>
                    <a:pt x="643" y="115"/>
                  </a:cubicBezTo>
                  <a:cubicBezTo>
                    <a:pt x="644" y="115"/>
                    <a:pt x="645" y="115"/>
                    <a:pt x="645" y="114"/>
                  </a:cubicBezTo>
                  <a:cubicBezTo>
                    <a:pt x="646" y="114"/>
                    <a:pt x="648" y="113"/>
                    <a:pt x="650" y="113"/>
                  </a:cubicBezTo>
                  <a:cubicBezTo>
                    <a:pt x="651" y="113"/>
                    <a:pt x="652" y="114"/>
                    <a:pt x="652" y="114"/>
                  </a:cubicBezTo>
                  <a:cubicBezTo>
                    <a:pt x="652" y="114"/>
                    <a:pt x="652" y="114"/>
                    <a:pt x="651" y="114"/>
                  </a:cubicBezTo>
                  <a:cubicBezTo>
                    <a:pt x="650" y="115"/>
                    <a:pt x="648" y="115"/>
                    <a:pt x="647" y="115"/>
                  </a:cubicBezTo>
                  <a:cubicBezTo>
                    <a:pt x="643" y="116"/>
                    <a:pt x="642" y="117"/>
                    <a:pt x="642" y="120"/>
                  </a:cubicBezTo>
                  <a:cubicBezTo>
                    <a:pt x="642" y="122"/>
                    <a:pt x="643" y="122"/>
                    <a:pt x="644" y="124"/>
                  </a:cubicBezTo>
                  <a:cubicBezTo>
                    <a:pt x="644" y="124"/>
                    <a:pt x="645" y="125"/>
                    <a:pt x="646" y="126"/>
                  </a:cubicBezTo>
                  <a:cubicBezTo>
                    <a:pt x="647" y="128"/>
                    <a:pt x="647" y="129"/>
                    <a:pt x="645" y="130"/>
                  </a:cubicBezTo>
                  <a:cubicBezTo>
                    <a:pt x="644" y="131"/>
                    <a:pt x="643" y="132"/>
                    <a:pt x="644" y="135"/>
                  </a:cubicBezTo>
                  <a:cubicBezTo>
                    <a:pt x="644" y="136"/>
                    <a:pt x="644" y="136"/>
                    <a:pt x="643" y="137"/>
                  </a:cubicBezTo>
                  <a:cubicBezTo>
                    <a:pt x="642" y="137"/>
                    <a:pt x="642" y="137"/>
                    <a:pt x="642" y="137"/>
                  </a:cubicBezTo>
                  <a:cubicBezTo>
                    <a:pt x="642" y="137"/>
                    <a:pt x="642" y="137"/>
                    <a:pt x="642" y="137"/>
                  </a:cubicBezTo>
                  <a:cubicBezTo>
                    <a:pt x="642" y="137"/>
                    <a:pt x="641" y="138"/>
                    <a:pt x="640" y="139"/>
                  </a:cubicBezTo>
                  <a:cubicBezTo>
                    <a:pt x="640" y="139"/>
                    <a:pt x="640" y="140"/>
                    <a:pt x="640" y="140"/>
                  </a:cubicBezTo>
                  <a:cubicBezTo>
                    <a:pt x="639" y="140"/>
                    <a:pt x="639" y="140"/>
                    <a:pt x="638" y="141"/>
                  </a:cubicBezTo>
                  <a:cubicBezTo>
                    <a:pt x="638" y="141"/>
                    <a:pt x="638" y="141"/>
                    <a:pt x="638" y="141"/>
                  </a:cubicBezTo>
                  <a:cubicBezTo>
                    <a:pt x="637" y="141"/>
                    <a:pt x="637" y="141"/>
                    <a:pt x="637" y="141"/>
                  </a:cubicBezTo>
                  <a:cubicBezTo>
                    <a:pt x="637" y="142"/>
                    <a:pt x="636" y="143"/>
                    <a:pt x="636" y="144"/>
                  </a:cubicBezTo>
                  <a:cubicBezTo>
                    <a:pt x="636" y="144"/>
                    <a:pt x="637" y="144"/>
                    <a:pt x="637" y="145"/>
                  </a:cubicBezTo>
                  <a:cubicBezTo>
                    <a:pt x="637" y="145"/>
                    <a:pt x="637" y="145"/>
                    <a:pt x="637" y="145"/>
                  </a:cubicBezTo>
                  <a:cubicBezTo>
                    <a:pt x="637" y="145"/>
                    <a:pt x="636" y="145"/>
                    <a:pt x="636" y="145"/>
                  </a:cubicBezTo>
                  <a:cubicBezTo>
                    <a:pt x="636" y="144"/>
                    <a:pt x="634" y="144"/>
                    <a:pt x="632" y="144"/>
                  </a:cubicBezTo>
                  <a:cubicBezTo>
                    <a:pt x="632" y="144"/>
                    <a:pt x="632" y="144"/>
                    <a:pt x="632" y="144"/>
                  </a:cubicBezTo>
                  <a:cubicBezTo>
                    <a:pt x="632" y="144"/>
                    <a:pt x="632" y="144"/>
                    <a:pt x="633" y="144"/>
                  </a:cubicBezTo>
                  <a:cubicBezTo>
                    <a:pt x="633" y="144"/>
                    <a:pt x="634" y="144"/>
                    <a:pt x="635" y="143"/>
                  </a:cubicBezTo>
                  <a:cubicBezTo>
                    <a:pt x="635" y="142"/>
                    <a:pt x="635" y="141"/>
                    <a:pt x="634" y="140"/>
                  </a:cubicBezTo>
                  <a:cubicBezTo>
                    <a:pt x="635" y="140"/>
                    <a:pt x="635" y="140"/>
                    <a:pt x="635" y="140"/>
                  </a:cubicBezTo>
                  <a:cubicBezTo>
                    <a:pt x="636" y="139"/>
                    <a:pt x="636" y="138"/>
                    <a:pt x="636" y="138"/>
                  </a:cubicBezTo>
                  <a:cubicBezTo>
                    <a:pt x="636" y="137"/>
                    <a:pt x="636" y="137"/>
                    <a:pt x="636" y="137"/>
                  </a:cubicBezTo>
                  <a:cubicBezTo>
                    <a:pt x="637" y="137"/>
                    <a:pt x="637" y="136"/>
                    <a:pt x="637" y="135"/>
                  </a:cubicBezTo>
                  <a:cubicBezTo>
                    <a:pt x="637" y="135"/>
                    <a:pt x="637" y="135"/>
                    <a:pt x="637" y="135"/>
                  </a:cubicBezTo>
                  <a:cubicBezTo>
                    <a:pt x="637" y="135"/>
                    <a:pt x="638" y="135"/>
                    <a:pt x="638" y="134"/>
                  </a:cubicBezTo>
                  <a:cubicBezTo>
                    <a:pt x="639" y="134"/>
                    <a:pt x="639" y="133"/>
                    <a:pt x="639" y="131"/>
                  </a:cubicBezTo>
                  <a:cubicBezTo>
                    <a:pt x="639" y="131"/>
                    <a:pt x="641" y="130"/>
                    <a:pt x="641" y="128"/>
                  </a:cubicBezTo>
                  <a:cubicBezTo>
                    <a:pt x="641" y="126"/>
                    <a:pt x="641" y="126"/>
                    <a:pt x="640" y="125"/>
                  </a:cubicBezTo>
                  <a:cubicBezTo>
                    <a:pt x="639" y="125"/>
                    <a:pt x="639" y="125"/>
                    <a:pt x="639" y="125"/>
                  </a:cubicBezTo>
                  <a:cubicBezTo>
                    <a:pt x="639" y="124"/>
                    <a:pt x="640" y="123"/>
                    <a:pt x="640" y="122"/>
                  </a:cubicBezTo>
                  <a:cubicBezTo>
                    <a:pt x="641" y="121"/>
                    <a:pt x="641" y="120"/>
                    <a:pt x="640" y="118"/>
                  </a:cubicBezTo>
                  <a:cubicBezTo>
                    <a:pt x="639" y="117"/>
                    <a:pt x="637" y="116"/>
                    <a:pt x="635" y="116"/>
                  </a:cubicBezTo>
                  <a:cubicBezTo>
                    <a:pt x="635" y="116"/>
                    <a:pt x="635" y="116"/>
                    <a:pt x="635" y="116"/>
                  </a:cubicBezTo>
                  <a:cubicBezTo>
                    <a:pt x="635" y="116"/>
                    <a:pt x="635" y="116"/>
                    <a:pt x="635" y="116"/>
                  </a:cubicBezTo>
                  <a:cubicBezTo>
                    <a:pt x="635" y="115"/>
                    <a:pt x="633" y="114"/>
                    <a:pt x="633" y="113"/>
                  </a:cubicBezTo>
                  <a:cubicBezTo>
                    <a:pt x="633" y="113"/>
                    <a:pt x="632" y="113"/>
                    <a:pt x="632" y="112"/>
                  </a:cubicBezTo>
                  <a:cubicBezTo>
                    <a:pt x="633" y="110"/>
                    <a:pt x="632" y="109"/>
                    <a:pt x="631" y="108"/>
                  </a:cubicBezTo>
                  <a:cubicBezTo>
                    <a:pt x="631" y="107"/>
                    <a:pt x="631" y="106"/>
                    <a:pt x="631" y="105"/>
                  </a:cubicBezTo>
                  <a:cubicBezTo>
                    <a:pt x="631" y="104"/>
                    <a:pt x="630" y="102"/>
                    <a:pt x="629" y="101"/>
                  </a:cubicBezTo>
                  <a:cubicBezTo>
                    <a:pt x="629" y="101"/>
                    <a:pt x="629" y="99"/>
                    <a:pt x="629" y="97"/>
                  </a:cubicBezTo>
                  <a:cubicBezTo>
                    <a:pt x="629" y="95"/>
                    <a:pt x="628" y="93"/>
                    <a:pt x="628" y="93"/>
                  </a:cubicBezTo>
                  <a:cubicBezTo>
                    <a:pt x="628" y="92"/>
                    <a:pt x="628" y="92"/>
                    <a:pt x="628" y="92"/>
                  </a:cubicBezTo>
                  <a:cubicBezTo>
                    <a:pt x="627" y="92"/>
                    <a:pt x="627" y="92"/>
                    <a:pt x="627" y="91"/>
                  </a:cubicBezTo>
                  <a:cubicBezTo>
                    <a:pt x="626" y="89"/>
                    <a:pt x="625" y="88"/>
                    <a:pt x="624" y="88"/>
                  </a:cubicBezTo>
                  <a:cubicBezTo>
                    <a:pt x="624" y="88"/>
                    <a:pt x="624" y="88"/>
                    <a:pt x="624" y="88"/>
                  </a:cubicBezTo>
                  <a:cubicBezTo>
                    <a:pt x="624" y="88"/>
                    <a:pt x="624" y="88"/>
                    <a:pt x="624" y="88"/>
                  </a:cubicBezTo>
                  <a:cubicBezTo>
                    <a:pt x="624" y="88"/>
                    <a:pt x="624" y="88"/>
                    <a:pt x="624" y="87"/>
                  </a:cubicBezTo>
                  <a:cubicBezTo>
                    <a:pt x="624" y="87"/>
                    <a:pt x="624" y="86"/>
                    <a:pt x="624" y="85"/>
                  </a:cubicBezTo>
                  <a:cubicBezTo>
                    <a:pt x="624" y="85"/>
                    <a:pt x="624" y="84"/>
                    <a:pt x="624" y="83"/>
                  </a:cubicBezTo>
                  <a:cubicBezTo>
                    <a:pt x="625" y="81"/>
                    <a:pt x="625" y="80"/>
                    <a:pt x="625" y="79"/>
                  </a:cubicBezTo>
                  <a:cubicBezTo>
                    <a:pt x="624" y="78"/>
                    <a:pt x="624" y="78"/>
                    <a:pt x="624" y="77"/>
                  </a:cubicBezTo>
                  <a:cubicBezTo>
                    <a:pt x="625" y="74"/>
                    <a:pt x="623" y="73"/>
                    <a:pt x="622" y="73"/>
                  </a:cubicBezTo>
                  <a:cubicBezTo>
                    <a:pt x="622" y="73"/>
                    <a:pt x="622" y="73"/>
                    <a:pt x="622" y="73"/>
                  </a:cubicBezTo>
                  <a:cubicBezTo>
                    <a:pt x="622" y="73"/>
                    <a:pt x="622" y="73"/>
                    <a:pt x="622" y="73"/>
                  </a:cubicBezTo>
                  <a:cubicBezTo>
                    <a:pt x="622" y="72"/>
                    <a:pt x="622" y="71"/>
                    <a:pt x="621" y="70"/>
                  </a:cubicBezTo>
                  <a:cubicBezTo>
                    <a:pt x="621" y="70"/>
                    <a:pt x="620" y="69"/>
                    <a:pt x="619" y="69"/>
                  </a:cubicBezTo>
                  <a:cubicBezTo>
                    <a:pt x="619" y="69"/>
                    <a:pt x="618" y="70"/>
                    <a:pt x="618" y="70"/>
                  </a:cubicBezTo>
                  <a:cubicBezTo>
                    <a:pt x="617" y="70"/>
                    <a:pt x="617" y="70"/>
                    <a:pt x="617" y="70"/>
                  </a:cubicBezTo>
                  <a:cubicBezTo>
                    <a:pt x="616" y="69"/>
                    <a:pt x="615" y="69"/>
                    <a:pt x="613" y="69"/>
                  </a:cubicBezTo>
                  <a:cubicBezTo>
                    <a:pt x="611" y="69"/>
                    <a:pt x="609" y="69"/>
                    <a:pt x="607" y="70"/>
                  </a:cubicBezTo>
                  <a:cubicBezTo>
                    <a:pt x="607" y="70"/>
                    <a:pt x="607" y="70"/>
                    <a:pt x="607" y="70"/>
                  </a:cubicBezTo>
                  <a:cubicBezTo>
                    <a:pt x="607" y="68"/>
                    <a:pt x="605" y="68"/>
                    <a:pt x="604" y="69"/>
                  </a:cubicBezTo>
                  <a:cubicBezTo>
                    <a:pt x="602" y="70"/>
                    <a:pt x="601" y="71"/>
                    <a:pt x="602" y="79"/>
                  </a:cubicBezTo>
                  <a:cubicBezTo>
                    <a:pt x="602" y="85"/>
                    <a:pt x="599" y="88"/>
                    <a:pt x="597" y="91"/>
                  </a:cubicBezTo>
                  <a:cubicBezTo>
                    <a:pt x="596" y="91"/>
                    <a:pt x="596" y="91"/>
                    <a:pt x="596" y="91"/>
                  </a:cubicBezTo>
                  <a:cubicBezTo>
                    <a:pt x="596" y="92"/>
                    <a:pt x="595" y="93"/>
                    <a:pt x="595" y="94"/>
                  </a:cubicBezTo>
                  <a:cubicBezTo>
                    <a:pt x="595" y="95"/>
                    <a:pt x="596" y="95"/>
                    <a:pt x="596" y="95"/>
                  </a:cubicBezTo>
                  <a:cubicBezTo>
                    <a:pt x="596" y="96"/>
                    <a:pt x="596" y="97"/>
                    <a:pt x="596" y="98"/>
                  </a:cubicBezTo>
                  <a:cubicBezTo>
                    <a:pt x="596" y="99"/>
                    <a:pt x="597" y="99"/>
                    <a:pt x="597" y="99"/>
                  </a:cubicBezTo>
                  <a:cubicBezTo>
                    <a:pt x="598" y="99"/>
                    <a:pt x="599" y="99"/>
                    <a:pt x="600" y="98"/>
                  </a:cubicBezTo>
                  <a:cubicBezTo>
                    <a:pt x="600" y="98"/>
                    <a:pt x="600" y="98"/>
                    <a:pt x="600" y="98"/>
                  </a:cubicBezTo>
                  <a:cubicBezTo>
                    <a:pt x="600" y="98"/>
                    <a:pt x="600" y="98"/>
                    <a:pt x="599" y="99"/>
                  </a:cubicBezTo>
                  <a:cubicBezTo>
                    <a:pt x="599" y="101"/>
                    <a:pt x="600" y="103"/>
                    <a:pt x="600" y="103"/>
                  </a:cubicBezTo>
                  <a:cubicBezTo>
                    <a:pt x="600" y="104"/>
                    <a:pt x="600" y="105"/>
                    <a:pt x="600" y="105"/>
                  </a:cubicBezTo>
                  <a:cubicBezTo>
                    <a:pt x="600" y="105"/>
                    <a:pt x="600" y="105"/>
                    <a:pt x="600" y="105"/>
                  </a:cubicBezTo>
                  <a:cubicBezTo>
                    <a:pt x="600" y="105"/>
                    <a:pt x="599" y="105"/>
                    <a:pt x="599" y="105"/>
                  </a:cubicBezTo>
                  <a:cubicBezTo>
                    <a:pt x="598" y="105"/>
                    <a:pt x="598" y="107"/>
                    <a:pt x="598" y="108"/>
                  </a:cubicBezTo>
                  <a:cubicBezTo>
                    <a:pt x="598" y="108"/>
                    <a:pt x="598" y="108"/>
                    <a:pt x="598" y="108"/>
                  </a:cubicBezTo>
                  <a:cubicBezTo>
                    <a:pt x="597" y="109"/>
                    <a:pt x="597" y="110"/>
                    <a:pt x="597" y="110"/>
                  </a:cubicBezTo>
                  <a:cubicBezTo>
                    <a:pt x="597" y="111"/>
                    <a:pt x="598" y="113"/>
                    <a:pt x="599" y="113"/>
                  </a:cubicBezTo>
                  <a:cubicBezTo>
                    <a:pt x="601" y="113"/>
                    <a:pt x="601" y="111"/>
                    <a:pt x="601" y="111"/>
                  </a:cubicBezTo>
                  <a:cubicBezTo>
                    <a:pt x="601" y="111"/>
                    <a:pt x="602" y="111"/>
                    <a:pt x="602" y="111"/>
                  </a:cubicBezTo>
                  <a:cubicBezTo>
                    <a:pt x="603" y="112"/>
                    <a:pt x="604" y="113"/>
                    <a:pt x="605" y="113"/>
                  </a:cubicBezTo>
                  <a:cubicBezTo>
                    <a:pt x="605" y="114"/>
                    <a:pt x="605" y="114"/>
                    <a:pt x="606" y="114"/>
                  </a:cubicBezTo>
                  <a:cubicBezTo>
                    <a:pt x="606" y="115"/>
                    <a:pt x="606" y="115"/>
                    <a:pt x="607" y="115"/>
                  </a:cubicBezTo>
                  <a:cubicBezTo>
                    <a:pt x="607" y="117"/>
                    <a:pt x="609" y="118"/>
                    <a:pt x="611" y="118"/>
                  </a:cubicBezTo>
                  <a:cubicBezTo>
                    <a:pt x="611" y="118"/>
                    <a:pt x="611" y="119"/>
                    <a:pt x="611" y="119"/>
                  </a:cubicBezTo>
                  <a:cubicBezTo>
                    <a:pt x="611" y="119"/>
                    <a:pt x="611" y="120"/>
                    <a:pt x="611" y="120"/>
                  </a:cubicBezTo>
                  <a:cubicBezTo>
                    <a:pt x="611" y="122"/>
                    <a:pt x="611" y="122"/>
                    <a:pt x="611" y="122"/>
                  </a:cubicBezTo>
                  <a:cubicBezTo>
                    <a:pt x="611" y="122"/>
                    <a:pt x="610" y="123"/>
                    <a:pt x="610" y="123"/>
                  </a:cubicBezTo>
                  <a:cubicBezTo>
                    <a:pt x="609" y="122"/>
                    <a:pt x="608" y="121"/>
                    <a:pt x="608" y="121"/>
                  </a:cubicBezTo>
                  <a:cubicBezTo>
                    <a:pt x="608" y="121"/>
                    <a:pt x="608" y="121"/>
                    <a:pt x="608" y="121"/>
                  </a:cubicBezTo>
                  <a:cubicBezTo>
                    <a:pt x="607" y="119"/>
                    <a:pt x="606" y="119"/>
                    <a:pt x="605" y="119"/>
                  </a:cubicBezTo>
                  <a:cubicBezTo>
                    <a:pt x="605" y="118"/>
                    <a:pt x="604" y="118"/>
                    <a:pt x="604" y="118"/>
                  </a:cubicBezTo>
                  <a:cubicBezTo>
                    <a:pt x="604" y="118"/>
                    <a:pt x="603" y="118"/>
                    <a:pt x="603" y="118"/>
                  </a:cubicBezTo>
                  <a:cubicBezTo>
                    <a:pt x="602" y="117"/>
                    <a:pt x="601" y="116"/>
                    <a:pt x="599" y="116"/>
                  </a:cubicBezTo>
                  <a:cubicBezTo>
                    <a:pt x="599" y="116"/>
                    <a:pt x="599" y="116"/>
                    <a:pt x="599" y="116"/>
                  </a:cubicBezTo>
                  <a:cubicBezTo>
                    <a:pt x="599" y="116"/>
                    <a:pt x="599" y="116"/>
                    <a:pt x="598" y="116"/>
                  </a:cubicBezTo>
                  <a:cubicBezTo>
                    <a:pt x="598" y="116"/>
                    <a:pt x="598" y="116"/>
                    <a:pt x="597" y="115"/>
                  </a:cubicBezTo>
                  <a:cubicBezTo>
                    <a:pt x="597" y="115"/>
                    <a:pt x="596" y="114"/>
                    <a:pt x="595" y="114"/>
                  </a:cubicBezTo>
                  <a:cubicBezTo>
                    <a:pt x="594" y="114"/>
                    <a:pt x="594" y="113"/>
                    <a:pt x="593" y="113"/>
                  </a:cubicBezTo>
                  <a:cubicBezTo>
                    <a:pt x="592" y="113"/>
                    <a:pt x="590" y="113"/>
                    <a:pt x="589" y="112"/>
                  </a:cubicBezTo>
                  <a:cubicBezTo>
                    <a:pt x="586" y="110"/>
                    <a:pt x="581" y="109"/>
                    <a:pt x="578" y="109"/>
                  </a:cubicBezTo>
                  <a:cubicBezTo>
                    <a:pt x="576" y="109"/>
                    <a:pt x="573" y="108"/>
                    <a:pt x="572" y="108"/>
                  </a:cubicBezTo>
                  <a:cubicBezTo>
                    <a:pt x="572" y="107"/>
                    <a:pt x="571" y="107"/>
                    <a:pt x="571" y="107"/>
                  </a:cubicBezTo>
                  <a:cubicBezTo>
                    <a:pt x="570" y="107"/>
                    <a:pt x="569" y="108"/>
                    <a:pt x="569" y="109"/>
                  </a:cubicBezTo>
                  <a:cubicBezTo>
                    <a:pt x="569" y="109"/>
                    <a:pt x="569" y="109"/>
                    <a:pt x="569" y="109"/>
                  </a:cubicBezTo>
                  <a:cubicBezTo>
                    <a:pt x="568" y="110"/>
                    <a:pt x="567" y="110"/>
                    <a:pt x="567" y="111"/>
                  </a:cubicBezTo>
                  <a:cubicBezTo>
                    <a:pt x="567" y="112"/>
                    <a:pt x="567" y="114"/>
                    <a:pt x="568" y="114"/>
                  </a:cubicBezTo>
                  <a:cubicBezTo>
                    <a:pt x="568" y="115"/>
                    <a:pt x="568" y="115"/>
                    <a:pt x="569" y="116"/>
                  </a:cubicBezTo>
                  <a:cubicBezTo>
                    <a:pt x="569" y="118"/>
                    <a:pt x="569" y="118"/>
                    <a:pt x="571" y="118"/>
                  </a:cubicBezTo>
                  <a:cubicBezTo>
                    <a:pt x="571" y="119"/>
                    <a:pt x="571" y="119"/>
                    <a:pt x="571" y="119"/>
                  </a:cubicBezTo>
                  <a:cubicBezTo>
                    <a:pt x="571" y="119"/>
                    <a:pt x="570" y="120"/>
                    <a:pt x="570" y="120"/>
                  </a:cubicBezTo>
                  <a:cubicBezTo>
                    <a:pt x="569" y="121"/>
                    <a:pt x="569" y="121"/>
                    <a:pt x="569" y="121"/>
                  </a:cubicBezTo>
                  <a:cubicBezTo>
                    <a:pt x="569" y="121"/>
                    <a:pt x="569" y="121"/>
                    <a:pt x="569" y="121"/>
                  </a:cubicBezTo>
                  <a:cubicBezTo>
                    <a:pt x="569" y="121"/>
                    <a:pt x="569" y="121"/>
                    <a:pt x="569" y="121"/>
                  </a:cubicBezTo>
                  <a:cubicBezTo>
                    <a:pt x="568" y="121"/>
                    <a:pt x="568" y="121"/>
                    <a:pt x="568" y="121"/>
                  </a:cubicBezTo>
                  <a:cubicBezTo>
                    <a:pt x="567" y="121"/>
                    <a:pt x="566" y="121"/>
                    <a:pt x="566" y="122"/>
                  </a:cubicBezTo>
                  <a:cubicBezTo>
                    <a:pt x="566" y="121"/>
                    <a:pt x="565" y="120"/>
                    <a:pt x="564" y="120"/>
                  </a:cubicBezTo>
                  <a:cubicBezTo>
                    <a:pt x="564" y="119"/>
                    <a:pt x="563" y="118"/>
                    <a:pt x="562" y="118"/>
                  </a:cubicBezTo>
                  <a:cubicBezTo>
                    <a:pt x="559" y="118"/>
                    <a:pt x="555" y="122"/>
                    <a:pt x="554" y="123"/>
                  </a:cubicBezTo>
                  <a:cubicBezTo>
                    <a:pt x="554" y="123"/>
                    <a:pt x="552" y="123"/>
                    <a:pt x="551" y="123"/>
                  </a:cubicBezTo>
                  <a:cubicBezTo>
                    <a:pt x="551" y="123"/>
                    <a:pt x="551" y="123"/>
                    <a:pt x="551" y="123"/>
                  </a:cubicBezTo>
                  <a:cubicBezTo>
                    <a:pt x="550" y="123"/>
                    <a:pt x="549" y="122"/>
                    <a:pt x="548" y="122"/>
                  </a:cubicBezTo>
                  <a:cubicBezTo>
                    <a:pt x="547" y="122"/>
                    <a:pt x="546" y="123"/>
                    <a:pt x="545" y="123"/>
                  </a:cubicBezTo>
                  <a:cubicBezTo>
                    <a:pt x="545" y="123"/>
                    <a:pt x="545" y="123"/>
                    <a:pt x="545" y="123"/>
                  </a:cubicBezTo>
                  <a:cubicBezTo>
                    <a:pt x="545" y="123"/>
                    <a:pt x="545" y="123"/>
                    <a:pt x="545" y="124"/>
                  </a:cubicBezTo>
                  <a:cubicBezTo>
                    <a:pt x="544" y="124"/>
                    <a:pt x="544" y="124"/>
                    <a:pt x="544" y="124"/>
                  </a:cubicBezTo>
                  <a:cubicBezTo>
                    <a:pt x="542" y="124"/>
                    <a:pt x="541" y="125"/>
                    <a:pt x="541" y="128"/>
                  </a:cubicBezTo>
                  <a:cubicBezTo>
                    <a:pt x="540" y="128"/>
                    <a:pt x="539" y="128"/>
                    <a:pt x="538" y="128"/>
                  </a:cubicBezTo>
                  <a:cubicBezTo>
                    <a:pt x="538" y="128"/>
                    <a:pt x="538" y="128"/>
                    <a:pt x="539" y="127"/>
                  </a:cubicBezTo>
                  <a:cubicBezTo>
                    <a:pt x="539" y="126"/>
                    <a:pt x="538" y="125"/>
                    <a:pt x="538" y="125"/>
                  </a:cubicBezTo>
                  <a:cubicBezTo>
                    <a:pt x="538" y="125"/>
                    <a:pt x="538" y="124"/>
                    <a:pt x="538" y="124"/>
                  </a:cubicBezTo>
                  <a:cubicBezTo>
                    <a:pt x="538" y="124"/>
                    <a:pt x="538" y="123"/>
                    <a:pt x="537" y="122"/>
                  </a:cubicBezTo>
                  <a:cubicBezTo>
                    <a:pt x="537" y="122"/>
                    <a:pt x="537" y="122"/>
                    <a:pt x="538" y="122"/>
                  </a:cubicBezTo>
                  <a:cubicBezTo>
                    <a:pt x="539" y="121"/>
                    <a:pt x="539" y="121"/>
                    <a:pt x="539" y="120"/>
                  </a:cubicBezTo>
                  <a:cubicBezTo>
                    <a:pt x="539" y="119"/>
                    <a:pt x="538" y="119"/>
                    <a:pt x="536" y="119"/>
                  </a:cubicBezTo>
                  <a:cubicBezTo>
                    <a:pt x="535" y="119"/>
                    <a:pt x="533" y="120"/>
                    <a:pt x="532" y="121"/>
                  </a:cubicBezTo>
                  <a:cubicBezTo>
                    <a:pt x="531" y="122"/>
                    <a:pt x="530" y="123"/>
                    <a:pt x="529" y="123"/>
                  </a:cubicBezTo>
                  <a:cubicBezTo>
                    <a:pt x="528" y="123"/>
                    <a:pt x="527" y="124"/>
                    <a:pt x="527" y="124"/>
                  </a:cubicBezTo>
                  <a:cubicBezTo>
                    <a:pt x="527" y="125"/>
                    <a:pt x="527" y="125"/>
                    <a:pt x="527" y="125"/>
                  </a:cubicBezTo>
                  <a:cubicBezTo>
                    <a:pt x="527" y="125"/>
                    <a:pt x="527" y="125"/>
                    <a:pt x="527" y="125"/>
                  </a:cubicBezTo>
                  <a:cubicBezTo>
                    <a:pt x="525" y="125"/>
                    <a:pt x="524" y="126"/>
                    <a:pt x="524" y="126"/>
                  </a:cubicBezTo>
                  <a:cubicBezTo>
                    <a:pt x="523" y="127"/>
                    <a:pt x="522" y="127"/>
                    <a:pt x="521" y="127"/>
                  </a:cubicBezTo>
                  <a:cubicBezTo>
                    <a:pt x="521" y="127"/>
                    <a:pt x="521" y="127"/>
                    <a:pt x="521" y="127"/>
                  </a:cubicBezTo>
                  <a:cubicBezTo>
                    <a:pt x="520" y="127"/>
                    <a:pt x="518" y="128"/>
                    <a:pt x="516" y="130"/>
                  </a:cubicBezTo>
                  <a:cubicBezTo>
                    <a:pt x="514" y="132"/>
                    <a:pt x="513" y="132"/>
                    <a:pt x="512" y="132"/>
                  </a:cubicBezTo>
                  <a:cubicBezTo>
                    <a:pt x="510" y="131"/>
                    <a:pt x="508" y="131"/>
                    <a:pt x="508" y="132"/>
                  </a:cubicBezTo>
                  <a:cubicBezTo>
                    <a:pt x="508" y="133"/>
                    <a:pt x="508" y="134"/>
                    <a:pt x="508" y="134"/>
                  </a:cubicBezTo>
                  <a:cubicBezTo>
                    <a:pt x="508" y="134"/>
                    <a:pt x="508" y="134"/>
                    <a:pt x="508" y="134"/>
                  </a:cubicBezTo>
                  <a:cubicBezTo>
                    <a:pt x="507" y="134"/>
                    <a:pt x="507" y="134"/>
                    <a:pt x="507" y="134"/>
                  </a:cubicBezTo>
                  <a:cubicBezTo>
                    <a:pt x="506" y="134"/>
                    <a:pt x="505" y="135"/>
                    <a:pt x="504" y="136"/>
                  </a:cubicBezTo>
                  <a:cubicBezTo>
                    <a:pt x="504" y="136"/>
                    <a:pt x="503" y="137"/>
                    <a:pt x="504" y="138"/>
                  </a:cubicBezTo>
                  <a:cubicBezTo>
                    <a:pt x="504" y="139"/>
                    <a:pt x="504" y="139"/>
                    <a:pt x="504" y="140"/>
                  </a:cubicBezTo>
                  <a:cubicBezTo>
                    <a:pt x="503" y="140"/>
                    <a:pt x="502" y="142"/>
                    <a:pt x="503" y="144"/>
                  </a:cubicBezTo>
                  <a:cubicBezTo>
                    <a:pt x="503" y="144"/>
                    <a:pt x="503" y="144"/>
                    <a:pt x="502" y="144"/>
                  </a:cubicBezTo>
                  <a:cubicBezTo>
                    <a:pt x="502" y="144"/>
                    <a:pt x="502" y="144"/>
                    <a:pt x="502" y="144"/>
                  </a:cubicBezTo>
                  <a:cubicBezTo>
                    <a:pt x="500" y="144"/>
                    <a:pt x="500" y="145"/>
                    <a:pt x="500" y="145"/>
                  </a:cubicBezTo>
                  <a:cubicBezTo>
                    <a:pt x="499" y="144"/>
                    <a:pt x="498" y="144"/>
                    <a:pt x="498" y="144"/>
                  </a:cubicBezTo>
                  <a:cubicBezTo>
                    <a:pt x="497" y="144"/>
                    <a:pt x="496" y="144"/>
                    <a:pt x="496" y="145"/>
                  </a:cubicBezTo>
                  <a:cubicBezTo>
                    <a:pt x="496" y="145"/>
                    <a:pt x="496" y="145"/>
                    <a:pt x="496" y="145"/>
                  </a:cubicBezTo>
                  <a:cubicBezTo>
                    <a:pt x="495" y="145"/>
                    <a:pt x="495" y="144"/>
                    <a:pt x="495" y="144"/>
                  </a:cubicBezTo>
                  <a:cubicBezTo>
                    <a:pt x="495" y="142"/>
                    <a:pt x="494" y="141"/>
                    <a:pt x="493" y="140"/>
                  </a:cubicBezTo>
                  <a:cubicBezTo>
                    <a:pt x="493" y="140"/>
                    <a:pt x="492" y="140"/>
                    <a:pt x="492" y="139"/>
                  </a:cubicBezTo>
                  <a:cubicBezTo>
                    <a:pt x="492" y="139"/>
                    <a:pt x="491" y="139"/>
                    <a:pt x="491" y="139"/>
                  </a:cubicBezTo>
                  <a:cubicBezTo>
                    <a:pt x="492" y="139"/>
                    <a:pt x="492" y="138"/>
                    <a:pt x="493" y="137"/>
                  </a:cubicBezTo>
                  <a:cubicBezTo>
                    <a:pt x="493" y="136"/>
                    <a:pt x="493" y="136"/>
                    <a:pt x="493" y="136"/>
                  </a:cubicBezTo>
                  <a:cubicBezTo>
                    <a:pt x="494" y="136"/>
                    <a:pt x="495" y="136"/>
                    <a:pt x="495" y="135"/>
                  </a:cubicBezTo>
                  <a:cubicBezTo>
                    <a:pt x="496" y="135"/>
                    <a:pt x="496" y="135"/>
                    <a:pt x="496" y="135"/>
                  </a:cubicBezTo>
                  <a:cubicBezTo>
                    <a:pt x="499" y="136"/>
                    <a:pt x="500" y="135"/>
                    <a:pt x="500" y="134"/>
                  </a:cubicBezTo>
                  <a:cubicBezTo>
                    <a:pt x="500" y="134"/>
                    <a:pt x="500" y="133"/>
                    <a:pt x="499" y="132"/>
                  </a:cubicBezTo>
                  <a:cubicBezTo>
                    <a:pt x="498" y="132"/>
                    <a:pt x="498" y="131"/>
                    <a:pt x="498" y="131"/>
                  </a:cubicBezTo>
                  <a:cubicBezTo>
                    <a:pt x="498" y="131"/>
                    <a:pt x="498" y="131"/>
                    <a:pt x="498" y="131"/>
                  </a:cubicBezTo>
                  <a:cubicBezTo>
                    <a:pt x="498" y="131"/>
                    <a:pt x="499" y="130"/>
                    <a:pt x="498" y="129"/>
                  </a:cubicBezTo>
                  <a:cubicBezTo>
                    <a:pt x="498" y="128"/>
                    <a:pt x="497" y="128"/>
                    <a:pt x="496" y="128"/>
                  </a:cubicBezTo>
                  <a:cubicBezTo>
                    <a:pt x="496" y="128"/>
                    <a:pt x="496" y="128"/>
                    <a:pt x="496" y="128"/>
                  </a:cubicBezTo>
                  <a:cubicBezTo>
                    <a:pt x="496" y="127"/>
                    <a:pt x="495" y="126"/>
                    <a:pt x="495" y="125"/>
                  </a:cubicBezTo>
                  <a:cubicBezTo>
                    <a:pt x="494" y="125"/>
                    <a:pt x="494" y="125"/>
                    <a:pt x="494" y="125"/>
                  </a:cubicBezTo>
                  <a:cubicBezTo>
                    <a:pt x="494" y="125"/>
                    <a:pt x="493" y="125"/>
                    <a:pt x="492" y="124"/>
                  </a:cubicBezTo>
                  <a:cubicBezTo>
                    <a:pt x="492" y="123"/>
                    <a:pt x="491" y="123"/>
                    <a:pt x="490" y="123"/>
                  </a:cubicBezTo>
                  <a:cubicBezTo>
                    <a:pt x="489" y="123"/>
                    <a:pt x="488" y="124"/>
                    <a:pt x="488" y="124"/>
                  </a:cubicBezTo>
                  <a:cubicBezTo>
                    <a:pt x="487" y="125"/>
                    <a:pt x="483" y="124"/>
                    <a:pt x="482" y="123"/>
                  </a:cubicBezTo>
                  <a:cubicBezTo>
                    <a:pt x="482" y="123"/>
                    <a:pt x="482" y="123"/>
                    <a:pt x="482" y="123"/>
                  </a:cubicBezTo>
                  <a:cubicBezTo>
                    <a:pt x="481" y="123"/>
                    <a:pt x="481" y="123"/>
                    <a:pt x="481" y="123"/>
                  </a:cubicBezTo>
                  <a:cubicBezTo>
                    <a:pt x="479" y="123"/>
                    <a:pt x="479" y="124"/>
                    <a:pt x="478" y="124"/>
                  </a:cubicBezTo>
                  <a:cubicBezTo>
                    <a:pt x="478" y="126"/>
                    <a:pt x="481" y="128"/>
                    <a:pt x="483" y="128"/>
                  </a:cubicBezTo>
                  <a:cubicBezTo>
                    <a:pt x="484" y="129"/>
                    <a:pt x="484" y="129"/>
                    <a:pt x="483" y="130"/>
                  </a:cubicBezTo>
                  <a:cubicBezTo>
                    <a:pt x="483" y="130"/>
                    <a:pt x="483" y="132"/>
                    <a:pt x="484" y="133"/>
                  </a:cubicBezTo>
                  <a:cubicBezTo>
                    <a:pt x="483" y="134"/>
                    <a:pt x="483" y="135"/>
                    <a:pt x="483" y="137"/>
                  </a:cubicBezTo>
                  <a:cubicBezTo>
                    <a:pt x="483" y="138"/>
                    <a:pt x="483" y="138"/>
                    <a:pt x="483" y="138"/>
                  </a:cubicBezTo>
                  <a:cubicBezTo>
                    <a:pt x="482" y="139"/>
                    <a:pt x="482" y="139"/>
                    <a:pt x="482" y="139"/>
                  </a:cubicBezTo>
                  <a:cubicBezTo>
                    <a:pt x="482" y="141"/>
                    <a:pt x="482" y="142"/>
                    <a:pt x="482" y="142"/>
                  </a:cubicBezTo>
                  <a:cubicBezTo>
                    <a:pt x="483" y="143"/>
                    <a:pt x="484" y="143"/>
                    <a:pt x="484" y="143"/>
                  </a:cubicBezTo>
                  <a:cubicBezTo>
                    <a:pt x="485" y="143"/>
                    <a:pt x="485" y="143"/>
                    <a:pt x="485" y="143"/>
                  </a:cubicBezTo>
                  <a:cubicBezTo>
                    <a:pt x="485" y="144"/>
                    <a:pt x="485" y="145"/>
                    <a:pt x="486" y="145"/>
                  </a:cubicBezTo>
                  <a:cubicBezTo>
                    <a:pt x="486" y="146"/>
                    <a:pt x="486" y="146"/>
                    <a:pt x="486" y="147"/>
                  </a:cubicBezTo>
                  <a:cubicBezTo>
                    <a:pt x="485" y="147"/>
                    <a:pt x="485" y="149"/>
                    <a:pt x="485" y="151"/>
                  </a:cubicBezTo>
                  <a:cubicBezTo>
                    <a:pt x="485" y="151"/>
                    <a:pt x="485" y="151"/>
                    <a:pt x="485" y="150"/>
                  </a:cubicBezTo>
                  <a:cubicBezTo>
                    <a:pt x="484" y="149"/>
                    <a:pt x="483" y="148"/>
                    <a:pt x="481" y="149"/>
                  </a:cubicBezTo>
                  <a:cubicBezTo>
                    <a:pt x="480" y="149"/>
                    <a:pt x="480" y="149"/>
                    <a:pt x="480" y="149"/>
                  </a:cubicBezTo>
                  <a:cubicBezTo>
                    <a:pt x="479" y="149"/>
                    <a:pt x="478" y="148"/>
                    <a:pt x="477" y="148"/>
                  </a:cubicBezTo>
                  <a:cubicBezTo>
                    <a:pt x="476" y="148"/>
                    <a:pt x="475" y="149"/>
                    <a:pt x="474" y="150"/>
                  </a:cubicBezTo>
                  <a:cubicBezTo>
                    <a:pt x="472" y="152"/>
                    <a:pt x="469" y="154"/>
                    <a:pt x="469" y="154"/>
                  </a:cubicBezTo>
                  <a:cubicBezTo>
                    <a:pt x="469" y="154"/>
                    <a:pt x="469" y="154"/>
                    <a:pt x="469" y="154"/>
                  </a:cubicBezTo>
                  <a:cubicBezTo>
                    <a:pt x="469" y="154"/>
                    <a:pt x="467" y="155"/>
                    <a:pt x="466" y="157"/>
                  </a:cubicBezTo>
                  <a:cubicBezTo>
                    <a:pt x="466" y="157"/>
                    <a:pt x="466" y="158"/>
                    <a:pt x="465" y="158"/>
                  </a:cubicBezTo>
                  <a:cubicBezTo>
                    <a:pt x="463" y="158"/>
                    <a:pt x="463" y="159"/>
                    <a:pt x="463" y="159"/>
                  </a:cubicBezTo>
                  <a:cubicBezTo>
                    <a:pt x="461" y="163"/>
                    <a:pt x="463" y="165"/>
                    <a:pt x="465" y="166"/>
                  </a:cubicBezTo>
                  <a:cubicBezTo>
                    <a:pt x="465" y="167"/>
                    <a:pt x="466" y="167"/>
                    <a:pt x="466" y="168"/>
                  </a:cubicBezTo>
                  <a:cubicBezTo>
                    <a:pt x="466" y="168"/>
                    <a:pt x="466" y="168"/>
                    <a:pt x="466" y="168"/>
                  </a:cubicBezTo>
                  <a:cubicBezTo>
                    <a:pt x="466" y="168"/>
                    <a:pt x="466" y="168"/>
                    <a:pt x="466" y="168"/>
                  </a:cubicBezTo>
                  <a:cubicBezTo>
                    <a:pt x="466" y="169"/>
                    <a:pt x="466" y="169"/>
                    <a:pt x="466" y="169"/>
                  </a:cubicBezTo>
                  <a:cubicBezTo>
                    <a:pt x="466" y="168"/>
                    <a:pt x="466" y="168"/>
                    <a:pt x="466" y="168"/>
                  </a:cubicBezTo>
                  <a:cubicBezTo>
                    <a:pt x="465" y="168"/>
                    <a:pt x="465" y="168"/>
                    <a:pt x="465" y="168"/>
                  </a:cubicBezTo>
                  <a:cubicBezTo>
                    <a:pt x="464" y="168"/>
                    <a:pt x="463" y="169"/>
                    <a:pt x="463" y="170"/>
                  </a:cubicBezTo>
                  <a:cubicBezTo>
                    <a:pt x="463" y="170"/>
                    <a:pt x="463" y="170"/>
                    <a:pt x="463" y="171"/>
                  </a:cubicBezTo>
                  <a:cubicBezTo>
                    <a:pt x="462" y="171"/>
                    <a:pt x="461" y="170"/>
                    <a:pt x="461" y="169"/>
                  </a:cubicBezTo>
                  <a:cubicBezTo>
                    <a:pt x="460" y="169"/>
                    <a:pt x="459" y="168"/>
                    <a:pt x="457" y="168"/>
                  </a:cubicBezTo>
                  <a:cubicBezTo>
                    <a:pt x="456" y="168"/>
                    <a:pt x="456" y="168"/>
                    <a:pt x="455" y="168"/>
                  </a:cubicBezTo>
                  <a:cubicBezTo>
                    <a:pt x="455" y="168"/>
                    <a:pt x="455" y="167"/>
                    <a:pt x="455" y="167"/>
                  </a:cubicBezTo>
                  <a:cubicBezTo>
                    <a:pt x="455" y="167"/>
                    <a:pt x="454" y="166"/>
                    <a:pt x="453" y="166"/>
                  </a:cubicBezTo>
                  <a:cubicBezTo>
                    <a:pt x="453" y="166"/>
                    <a:pt x="453" y="166"/>
                    <a:pt x="453" y="166"/>
                  </a:cubicBezTo>
                  <a:cubicBezTo>
                    <a:pt x="452" y="166"/>
                    <a:pt x="450" y="165"/>
                    <a:pt x="450" y="165"/>
                  </a:cubicBezTo>
                  <a:cubicBezTo>
                    <a:pt x="449" y="164"/>
                    <a:pt x="449" y="163"/>
                    <a:pt x="448" y="163"/>
                  </a:cubicBezTo>
                  <a:cubicBezTo>
                    <a:pt x="447" y="163"/>
                    <a:pt x="446" y="164"/>
                    <a:pt x="446" y="165"/>
                  </a:cubicBezTo>
                  <a:cubicBezTo>
                    <a:pt x="446" y="166"/>
                    <a:pt x="446" y="166"/>
                    <a:pt x="446" y="166"/>
                  </a:cubicBezTo>
                  <a:cubicBezTo>
                    <a:pt x="445" y="166"/>
                    <a:pt x="444" y="167"/>
                    <a:pt x="444" y="168"/>
                  </a:cubicBezTo>
                  <a:cubicBezTo>
                    <a:pt x="444" y="168"/>
                    <a:pt x="444" y="170"/>
                    <a:pt x="445" y="171"/>
                  </a:cubicBezTo>
                  <a:cubicBezTo>
                    <a:pt x="446" y="171"/>
                    <a:pt x="446" y="172"/>
                    <a:pt x="446" y="172"/>
                  </a:cubicBezTo>
                  <a:cubicBezTo>
                    <a:pt x="447" y="174"/>
                    <a:pt x="448" y="176"/>
                    <a:pt x="450" y="175"/>
                  </a:cubicBezTo>
                  <a:cubicBezTo>
                    <a:pt x="450" y="175"/>
                    <a:pt x="450" y="175"/>
                    <a:pt x="450" y="175"/>
                  </a:cubicBezTo>
                  <a:cubicBezTo>
                    <a:pt x="451" y="176"/>
                    <a:pt x="451" y="176"/>
                    <a:pt x="452" y="176"/>
                  </a:cubicBezTo>
                  <a:cubicBezTo>
                    <a:pt x="452" y="177"/>
                    <a:pt x="451" y="177"/>
                    <a:pt x="451" y="178"/>
                  </a:cubicBezTo>
                  <a:cubicBezTo>
                    <a:pt x="451" y="178"/>
                    <a:pt x="451" y="178"/>
                    <a:pt x="451" y="178"/>
                  </a:cubicBezTo>
                  <a:cubicBezTo>
                    <a:pt x="451" y="178"/>
                    <a:pt x="451" y="178"/>
                    <a:pt x="451" y="178"/>
                  </a:cubicBezTo>
                  <a:cubicBezTo>
                    <a:pt x="451" y="178"/>
                    <a:pt x="450" y="178"/>
                    <a:pt x="449" y="178"/>
                  </a:cubicBezTo>
                  <a:cubicBezTo>
                    <a:pt x="449" y="178"/>
                    <a:pt x="449" y="178"/>
                    <a:pt x="449" y="178"/>
                  </a:cubicBezTo>
                  <a:cubicBezTo>
                    <a:pt x="448" y="178"/>
                    <a:pt x="448" y="177"/>
                    <a:pt x="447" y="177"/>
                  </a:cubicBezTo>
                  <a:cubicBezTo>
                    <a:pt x="446" y="177"/>
                    <a:pt x="446" y="177"/>
                    <a:pt x="446" y="177"/>
                  </a:cubicBezTo>
                  <a:cubicBezTo>
                    <a:pt x="446" y="177"/>
                    <a:pt x="446" y="177"/>
                    <a:pt x="446" y="177"/>
                  </a:cubicBezTo>
                  <a:cubicBezTo>
                    <a:pt x="445" y="177"/>
                    <a:pt x="445" y="176"/>
                    <a:pt x="444" y="176"/>
                  </a:cubicBezTo>
                  <a:cubicBezTo>
                    <a:pt x="444" y="176"/>
                    <a:pt x="444" y="175"/>
                    <a:pt x="443" y="175"/>
                  </a:cubicBezTo>
                  <a:cubicBezTo>
                    <a:pt x="443" y="174"/>
                    <a:pt x="442" y="174"/>
                    <a:pt x="441" y="174"/>
                  </a:cubicBezTo>
                  <a:cubicBezTo>
                    <a:pt x="441" y="174"/>
                    <a:pt x="441" y="174"/>
                    <a:pt x="440" y="174"/>
                  </a:cubicBezTo>
                  <a:cubicBezTo>
                    <a:pt x="440" y="174"/>
                    <a:pt x="439" y="173"/>
                    <a:pt x="438" y="173"/>
                  </a:cubicBezTo>
                  <a:cubicBezTo>
                    <a:pt x="438" y="173"/>
                    <a:pt x="437" y="171"/>
                    <a:pt x="437" y="171"/>
                  </a:cubicBezTo>
                  <a:cubicBezTo>
                    <a:pt x="438" y="170"/>
                    <a:pt x="437" y="168"/>
                    <a:pt x="437" y="168"/>
                  </a:cubicBezTo>
                  <a:cubicBezTo>
                    <a:pt x="437" y="168"/>
                    <a:pt x="436" y="168"/>
                    <a:pt x="436" y="168"/>
                  </a:cubicBezTo>
                  <a:cubicBezTo>
                    <a:pt x="436" y="167"/>
                    <a:pt x="436" y="167"/>
                    <a:pt x="436" y="166"/>
                  </a:cubicBezTo>
                  <a:cubicBezTo>
                    <a:pt x="436" y="166"/>
                    <a:pt x="436" y="164"/>
                    <a:pt x="435" y="163"/>
                  </a:cubicBezTo>
                  <a:cubicBezTo>
                    <a:pt x="436" y="163"/>
                    <a:pt x="436" y="162"/>
                    <a:pt x="436" y="162"/>
                  </a:cubicBezTo>
                  <a:cubicBezTo>
                    <a:pt x="436" y="161"/>
                    <a:pt x="436" y="161"/>
                    <a:pt x="436" y="161"/>
                  </a:cubicBezTo>
                  <a:cubicBezTo>
                    <a:pt x="436" y="160"/>
                    <a:pt x="436" y="160"/>
                    <a:pt x="436" y="160"/>
                  </a:cubicBezTo>
                  <a:cubicBezTo>
                    <a:pt x="436" y="159"/>
                    <a:pt x="437" y="158"/>
                    <a:pt x="436" y="157"/>
                  </a:cubicBezTo>
                  <a:cubicBezTo>
                    <a:pt x="436" y="156"/>
                    <a:pt x="435" y="155"/>
                    <a:pt x="434" y="155"/>
                  </a:cubicBezTo>
                  <a:cubicBezTo>
                    <a:pt x="434" y="155"/>
                    <a:pt x="433" y="154"/>
                    <a:pt x="432" y="153"/>
                  </a:cubicBezTo>
                  <a:cubicBezTo>
                    <a:pt x="431" y="152"/>
                    <a:pt x="430" y="152"/>
                    <a:pt x="429" y="152"/>
                  </a:cubicBezTo>
                  <a:cubicBezTo>
                    <a:pt x="430" y="151"/>
                    <a:pt x="430" y="151"/>
                    <a:pt x="430" y="151"/>
                  </a:cubicBezTo>
                  <a:cubicBezTo>
                    <a:pt x="430" y="149"/>
                    <a:pt x="428" y="148"/>
                    <a:pt x="426" y="147"/>
                  </a:cubicBezTo>
                  <a:cubicBezTo>
                    <a:pt x="426" y="147"/>
                    <a:pt x="426" y="147"/>
                    <a:pt x="426" y="147"/>
                  </a:cubicBezTo>
                  <a:cubicBezTo>
                    <a:pt x="426" y="147"/>
                    <a:pt x="427" y="147"/>
                    <a:pt x="427" y="147"/>
                  </a:cubicBezTo>
                  <a:cubicBezTo>
                    <a:pt x="427" y="147"/>
                    <a:pt x="428" y="147"/>
                    <a:pt x="429" y="147"/>
                  </a:cubicBezTo>
                  <a:cubicBezTo>
                    <a:pt x="429" y="148"/>
                    <a:pt x="429" y="148"/>
                    <a:pt x="429" y="148"/>
                  </a:cubicBezTo>
                  <a:cubicBezTo>
                    <a:pt x="430" y="148"/>
                    <a:pt x="430" y="148"/>
                    <a:pt x="431" y="148"/>
                  </a:cubicBezTo>
                  <a:cubicBezTo>
                    <a:pt x="432" y="148"/>
                    <a:pt x="432" y="148"/>
                    <a:pt x="432" y="148"/>
                  </a:cubicBezTo>
                  <a:cubicBezTo>
                    <a:pt x="432" y="148"/>
                    <a:pt x="432" y="148"/>
                    <a:pt x="432" y="148"/>
                  </a:cubicBezTo>
                  <a:cubicBezTo>
                    <a:pt x="432" y="148"/>
                    <a:pt x="432" y="148"/>
                    <a:pt x="432" y="148"/>
                  </a:cubicBezTo>
                  <a:cubicBezTo>
                    <a:pt x="432" y="150"/>
                    <a:pt x="433" y="151"/>
                    <a:pt x="435" y="150"/>
                  </a:cubicBezTo>
                  <a:cubicBezTo>
                    <a:pt x="435" y="150"/>
                    <a:pt x="436" y="151"/>
                    <a:pt x="438" y="152"/>
                  </a:cubicBezTo>
                  <a:cubicBezTo>
                    <a:pt x="440" y="154"/>
                    <a:pt x="446" y="154"/>
                    <a:pt x="448" y="154"/>
                  </a:cubicBezTo>
                  <a:cubicBezTo>
                    <a:pt x="448" y="154"/>
                    <a:pt x="449" y="154"/>
                    <a:pt x="449" y="154"/>
                  </a:cubicBezTo>
                  <a:cubicBezTo>
                    <a:pt x="450" y="154"/>
                    <a:pt x="451" y="154"/>
                    <a:pt x="452" y="155"/>
                  </a:cubicBezTo>
                  <a:cubicBezTo>
                    <a:pt x="454" y="155"/>
                    <a:pt x="455" y="156"/>
                    <a:pt x="456" y="156"/>
                  </a:cubicBezTo>
                  <a:cubicBezTo>
                    <a:pt x="459" y="156"/>
                    <a:pt x="463" y="154"/>
                    <a:pt x="467" y="152"/>
                  </a:cubicBezTo>
                  <a:cubicBezTo>
                    <a:pt x="468" y="152"/>
                    <a:pt x="468" y="152"/>
                    <a:pt x="468" y="152"/>
                  </a:cubicBezTo>
                  <a:cubicBezTo>
                    <a:pt x="469" y="151"/>
                    <a:pt x="471" y="150"/>
                    <a:pt x="472" y="148"/>
                  </a:cubicBezTo>
                  <a:cubicBezTo>
                    <a:pt x="472" y="147"/>
                    <a:pt x="472" y="147"/>
                    <a:pt x="472" y="147"/>
                  </a:cubicBezTo>
                  <a:cubicBezTo>
                    <a:pt x="473" y="146"/>
                    <a:pt x="474" y="146"/>
                    <a:pt x="474" y="145"/>
                  </a:cubicBezTo>
                  <a:cubicBezTo>
                    <a:pt x="474" y="144"/>
                    <a:pt x="474" y="144"/>
                    <a:pt x="473" y="143"/>
                  </a:cubicBezTo>
                  <a:cubicBezTo>
                    <a:pt x="473" y="142"/>
                    <a:pt x="473" y="142"/>
                    <a:pt x="473" y="142"/>
                  </a:cubicBezTo>
                  <a:cubicBezTo>
                    <a:pt x="473" y="141"/>
                    <a:pt x="472" y="138"/>
                    <a:pt x="471" y="137"/>
                  </a:cubicBezTo>
                  <a:cubicBezTo>
                    <a:pt x="471" y="137"/>
                    <a:pt x="471" y="136"/>
                    <a:pt x="471" y="136"/>
                  </a:cubicBezTo>
                  <a:cubicBezTo>
                    <a:pt x="470" y="134"/>
                    <a:pt x="469" y="133"/>
                    <a:pt x="468" y="133"/>
                  </a:cubicBezTo>
                  <a:cubicBezTo>
                    <a:pt x="468" y="133"/>
                    <a:pt x="468" y="133"/>
                    <a:pt x="468" y="133"/>
                  </a:cubicBezTo>
                  <a:cubicBezTo>
                    <a:pt x="467" y="133"/>
                    <a:pt x="467" y="133"/>
                    <a:pt x="467" y="133"/>
                  </a:cubicBezTo>
                  <a:cubicBezTo>
                    <a:pt x="466" y="134"/>
                    <a:pt x="466" y="134"/>
                    <a:pt x="466" y="134"/>
                  </a:cubicBezTo>
                  <a:cubicBezTo>
                    <a:pt x="467" y="133"/>
                    <a:pt x="467" y="133"/>
                    <a:pt x="467" y="133"/>
                  </a:cubicBezTo>
                  <a:cubicBezTo>
                    <a:pt x="467" y="133"/>
                    <a:pt x="464" y="131"/>
                    <a:pt x="463" y="130"/>
                  </a:cubicBezTo>
                  <a:cubicBezTo>
                    <a:pt x="462" y="129"/>
                    <a:pt x="462" y="129"/>
                    <a:pt x="460" y="130"/>
                  </a:cubicBezTo>
                  <a:cubicBezTo>
                    <a:pt x="460" y="130"/>
                    <a:pt x="460" y="130"/>
                    <a:pt x="460" y="130"/>
                  </a:cubicBezTo>
                  <a:cubicBezTo>
                    <a:pt x="459" y="128"/>
                    <a:pt x="458" y="128"/>
                    <a:pt x="457" y="128"/>
                  </a:cubicBezTo>
                  <a:cubicBezTo>
                    <a:pt x="456" y="128"/>
                    <a:pt x="456" y="128"/>
                    <a:pt x="456" y="128"/>
                  </a:cubicBezTo>
                  <a:cubicBezTo>
                    <a:pt x="455" y="127"/>
                    <a:pt x="455" y="127"/>
                    <a:pt x="455" y="127"/>
                  </a:cubicBezTo>
                  <a:cubicBezTo>
                    <a:pt x="454" y="126"/>
                    <a:pt x="454" y="126"/>
                    <a:pt x="453" y="125"/>
                  </a:cubicBezTo>
                  <a:cubicBezTo>
                    <a:pt x="453" y="125"/>
                    <a:pt x="453" y="125"/>
                    <a:pt x="453" y="125"/>
                  </a:cubicBezTo>
                  <a:cubicBezTo>
                    <a:pt x="452" y="124"/>
                    <a:pt x="452" y="124"/>
                    <a:pt x="451" y="123"/>
                  </a:cubicBezTo>
                  <a:cubicBezTo>
                    <a:pt x="450" y="123"/>
                    <a:pt x="449" y="122"/>
                    <a:pt x="448" y="121"/>
                  </a:cubicBezTo>
                  <a:cubicBezTo>
                    <a:pt x="447" y="121"/>
                    <a:pt x="445" y="120"/>
                    <a:pt x="443" y="119"/>
                  </a:cubicBezTo>
                  <a:cubicBezTo>
                    <a:pt x="442" y="119"/>
                    <a:pt x="442" y="119"/>
                    <a:pt x="442" y="118"/>
                  </a:cubicBezTo>
                  <a:cubicBezTo>
                    <a:pt x="441" y="118"/>
                    <a:pt x="441" y="118"/>
                    <a:pt x="439" y="118"/>
                  </a:cubicBezTo>
                  <a:cubicBezTo>
                    <a:pt x="438" y="118"/>
                    <a:pt x="438" y="118"/>
                    <a:pt x="438" y="118"/>
                  </a:cubicBezTo>
                  <a:cubicBezTo>
                    <a:pt x="437" y="118"/>
                    <a:pt x="437" y="118"/>
                    <a:pt x="436" y="117"/>
                  </a:cubicBezTo>
                  <a:cubicBezTo>
                    <a:pt x="436" y="117"/>
                    <a:pt x="436" y="117"/>
                    <a:pt x="435" y="117"/>
                  </a:cubicBezTo>
                  <a:cubicBezTo>
                    <a:pt x="435" y="117"/>
                    <a:pt x="433" y="117"/>
                    <a:pt x="431" y="117"/>
                  </a:cubicBezTo>
                  <a:cubicBezTo>
                    <a:pt x="431" y="117"/>
                    <a:pt x="431" y="117"/>
                    <a:pt x="431" y="116"/>
                  </a:cubicBezTo>
                  <a:cubicBezTo>
                    <a:pt x="430" y="115"/>
                    <a:pt x="430" y="115"/>
                    <a:pt x="429" y="115"/>
                  </a:cubicBezTo>
                  <a:cubicBezTo>
                    <a:pt x="429" y="115"/>
                    <a:pt x="429" y="115"/>
                    <a:pt x="428" y="115"/>
                  </a:cubicBezTo>
                  <a:cubicBezTo>
                    <a:pt x="428" y="115"/>
                    <a:pt x="428" y="115"/>
                    <a:pt x="428" y="115"/>
                  </a:cubicBezTo>
                  <a:cubicBezTo>
                    <a:pt x="429" y="115"/>
                    <a:pt x="429" y="115"/>
                    <a:pt x="429" y="114"/>
                  </a:cubicBezTo>
                  <a:cubicBezTo>
                    <a:pt x="430" y="113"/>
                    <a:pt x="430" y="112"/>
                    <a:pt x="429" y="112"/>
                  </a:cubicBezTo>
                  <a:cubicBezTo>
                    <a:pt x="429" y="111"/>
                    <a:pt x="428" y="111"/>
                    <a:pt x="428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27" y="110"/>
                    <a:pt x="427" y="109"/>
                    <a:pt x="425" y="109"/>
                  </a:cubicBezTo>
                  <a:cubicBezTo>
                    <a:pt x="425" y="109"/>
                    <a:pt x="425" y="109"/>
                    <a:pt x="425" y="108"/>
                  </a:cubicBezTo>
                  <a:cubicBezTo>
                    <a:pt x="424" y="108"/>
                    <a:pt x="424" y="108"/>
                    <a:pt x="423" y="108"/>
                  </a:cubicBezTo>
                  <a:cubicBezTo>
                    <a:pt x="422" y="108"/>
                    <a:pt x="421" y="109"/>
                    <a:pt x="421" y="110"/>
                  </a:cubicBezTo>
                  <a:cubicBezTo>
                    <a:pt x="421" y="111"/>
                    <a:pt x="421" y="111"/>
                    <a:pt x="420" y="111"/>
                  </a:cubicBezTo>
                  <a:cubicBezTo>
                    <a:pt x="420" y="111"/>
                    <a:pt x="420" y="111"/>
                    <a:pt x="419" y="111"/>
                  </a:cubicBezTo>
                  <a:cubicBezTo>
                    <a:pt x="419" y="110"/>
                    <a:pt x="418" y="110"/>
                    <a:pt x="418" y="110"/>
                  </a:cubicBezTo>
                  <a:cubicBezTo>
                    <a:pt x="418" y="110"/>
                    <a:pt x="418" y="110"/>
                    <a:pt x="418" y="110"/>
                  </a:cubicBezTo>
                  <a:cubicBezTo>
                    <a:pt x="417" y="110"/>
                    <a:pt x="417" y="110"/>
                    <a:pt x="417" y="110"/>
                  </a:cubicBezTo>
                  <a:cubicBezTo>
                    <a:pt x="417" y="110"/>
                    <a:pt x="416" y="110"/>
                    <a:pt x="416" y="110"/>
                  </a:cubicBezTo>
                  <a:cubicBezTo>
                    <a:pt x="416" y="110"/>
                    <a:pt x="416" y="110"/>
                    <a:pt x="416" y="110"/>
                  </a:cubicBezTo>
                  <a:cubicBezTo>
                    <a:pt x="416" y="110"/>
                    <a:pt x="415" y="109"/>
                    <a:pt x="415" y="109"/>
                  </a:cubicBezTo>
                  <a:cubicBezTo>
                    <a:pt x="414" y="109"/>
                    <a:pt x="414" y="109"/>
                    <a:pt x="414" y="109"/>
                  </a:cubicBezTo>
                  <a:cubicBezTo>
                    <a:pt x="414" y="109"/>
                    <a:pt x="413" y="109"/>
                    <a:pt x="413" y="110"/>
                  </a:cubicBezTo>
                  <a:cubicBezTo>
                    <a:pt x="413" y="109"/>
                    <a:pt x="412" y="109"/>
                    <a:pt x="412" y="109"/>
                  </a:cubicBezTo>
                  <a:cubicBezTo>
                    <a:pt x="412" y="109"/>
                    <a:pt x="412" y="109"/>
                    <a:pt x="412" y="109"/>
                  </a:cubicBezTo>
                  <a:cubicBezTo>
                    <a:pt x="412" y="109"/>
                    <a:pt x="412" y="109"/>
                    <a:pt x="412" y="109"/>
                  </a:cubicBezTo>
                  <a:cubicBezTo>
                    <a:pt x="414" y="109"/>
                    <a:pt x="415" y="108"/>
                    <a:pt x="416" y="107"/>
                  </a:cubicBezTo>
                  <a:cubicBezTo>
                    <a:pt x="416" y="106"/>
                    <a:pt x="417" y="106"/>
                    <a:pt x="417" y="106"/>
                  </a:cubicBezTo>
                  <a:cubicBezTo>
                    <a:pt x="417" y="106"/>
                    <a:pt x="417" y="106"/>
                    <a:pt x="418" y="106"/>
                  </a:cubicBezTo>
                  <a:cubicBezTo>
                    <a:pt x="419" y="106"/>
                    <a:pt x="419" y="105"/>
                    <a:pt x="419" y="104"/>
                  </a:cubicBezTo>
                  <a:cubicBezTo>
                    <a:pt x="419" y="104"/>
                    <a:pt x="419" y="104"/>
                    <a:pt x="419" y="103"/>
                  </a:cubicBezTo>
                  <a:cubicBezTo>
                    <a:pt x="420" y="103"/>
                    <a:pt x="419" y="102"/>
                    <a:pt x="419" y="102"/>
                  </a:cubicBezTo>
                  <a:cubicBezTo>
                    <a:pt x="418" y="101"/>
                    <a:pt x="417" y="101"/>
                    <a:pt x="416" y="101"/>
                  </a:cubicBezTo>
                  <a:cubicBezTo>
                    <a:pt x="416" y="101"/>
                    <a:pt x="416" y="101"/>
                    <a:pt x="416" y="100"/>
                  </a:cubicBezTo>
                  <a:cubicBezTo>
                    <a:pt x="416" y="100"/>
                    <a:pt x="416" y="100"/>
                    <a:pt x="416" y="100"/>
                  </a:cubicBezTo>
                  <a:cubicBezTo>
                    <a:pt x="416" y="99"/>
                    <a:pt x="416" y="99"/>
                    <a:pt x="416" y="98"/>
                  </a:cubicBezTo>
                  <a:cubicBezTo>
                    <a:pt x="415" y="98"/>
                    <a:pt x="415" y="97"/>
                    <a:pt x="414" y="97"/>
                  </a:cubicBezTo>
                  <a:cubicBezTo>
                    <a:pt x="413" y="97"/>
                    <a:pt x="413" y="97"/>
                    <a:pt x="413" y="98"/>
                  </a:cubicBezTo>
                  <a:cubicBezTo>
                    <a:pt x="412" y="97"/>
                    <a:pt x="411" y="96"/>
                    <a:pt x="409" y="96"/>
                  </a:cubicBezTo>
                  <a:cubicBezTo>
                    <a:pt x="409" y="96"/>
                    <a:pt x="409" y="96"/>
                    <a:pt x="409" y="96"/>
                  </a:cubicBezTo>
                  <a:cubicBezTo>
                    <a:pt x="409" y="96"/>
                    <a:pt x="408" y="96"/>
                    <a:pt x="408" y="96"/>
                  </a:cubicBezTo>
                  <a:cubicBezTo>
                    <a:pt x="408" y="95"/>
                    <a:pt x="407" y="94"/>
                    <a:pt x="406" y="94"/>
                  </a:cubicBezTo>
                  <a:cubicBezTo>
                    <a:pt x="406" y="94"/>
                    <a:pt x="406" y="93"/>
                    <a:pt x="406" y="93"/>
                  </a:cubicBezTo>
                  <a:cubicBezTo>
                    <a:pt x="405" y="92"/>
                    <a:pt x="403" y="92"/>
                    <a:pt x="402" y="93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2" y="94"/>
                    <a:pt x="402" y="94"/>
                    <a:pt x="402" y="94"/>
                  </a:cubicBezTo>
                  <a:cubicBezTo>
                    <a:pt x="401" y="94"/>
                    <a:pt x="400" y="94"/>
                    <a:pt x="400" y="95"/>
                  </a:cubicBezTo>
                  <a:cubicBezTo>
                    <a:pt x="399" y="95"/>
                    <a:pt x="399" y="96"/>
                    <a:pt x="400" y="97"/>
                  </a:cubicBezTo>
                  <a:cubicBezTo>
                    <a:pt x="399" y="97"/>
                    <a:pt x="399" y="98"/>
                    <a:pt x="399" y="98"/>
                  </a:cubicBezTo>
                  <a:cubicBezTo>
                    <a:pt x="399" y="99"/>
                    <a:pt x="399" y="99"/>
                    <a:pt x="398" y="99"/>
                  </a:cubicBezTo>
                  <a:cubicBezTo>
                    <a:pt x="398" y="99"/>
                    <a:pt x="398" y="100"/>
                    <a:pt x="398" y="100"/>
                  </a:cubicBezTo>
                  <a:cubicBezTo>
                    <a:pt x="398" y="99"/>
                    <a:pt x="398" y="99"/>
                    <a:pt x="398" y="99"/>
                  </a:cubicBezTo>
                  <a:cubicBezTo>
                    <a:pt x="398" y="98"/>
                    <a:pt x="398" y="98"/>
                    <a:pt x="398" y="98"/>
                  </a:cubicBezTo>
                  <a:cubicBezTo>
                    <a:pt x="399" y="98"/>
                    <a:pt x="399" y="97"/>
                    <a:pt x="399" y="97"/>
                  </a:cubicBezTo>
                  <a:cubicBezTo>
                    <a:pt x="399" y="96"/>
                    <a:pt x="399" y="96"/>
                    <a:pt x="399" y="96"/>
                  </a:cubicBezTo>
                  <a:cubicBezTo>
                    <a:pt x="398" y="95"/>
                    <a:pt x="398" y="95"/>
                    <a:pt x="397" y="95"/>
                  </a:cubicBezTo>
                  <a:cubicBezTo>
                    <a:pt x="397" y="95"/>
                    <a:pt x="396" y="95"/>
                    <a:pt x="396" y="96"/>
                  </a:cubicBezTo>
                  <a:cubicBezTo>
                    <a:pt x="396" y="95"/>
                    <a:pt x="396" y="95"/>
                    <a:pt x="396" y="95"/>
                  </a:cubicBezTo>
                  <a:cubicBezTo>
                    <a:pt x="396" y="94"/>
                    <a:pt x="396" y="93"/>
                    <a:pt x="395" y="93"/>
                  </a:cubicBezTo>
                  <a:cubicBezTo>
                    <a:pt x="395" y="92"/>
                    <a:pt x="394" y="92"/>
                    <a:pt x="394" y="92"/>
                  </a:cubicBezTo>
                  <a:cubicBezTo>
                    <a:pt x="393" y="92"/>
                    <a:pt x="392" y="92"/>
                    <a:pt x="392" y="92"/>
                  </a:cubicBezTo>
                  <a:cubicBezTo>
                    <a:pt x="390" y="92"/>
                    <a:pt x="390" y="93"/>
                    <a:pt x="390" y="94"/>
                  </a:cubicBezTo>
                  <a:cubicBezTo>
                    <a:pt x="390" y="94"/>
                    <a:pt x="390" y="94"/>
                    <a:pt x="390" y="95"/>
                  </a:cubicBezTo>
                  <a:cubicBezTo>
                    <a:pt x="390" y="95"/>
                    <a:pt x="390" y="95"/>
                    <a:pt x="390" y="95"/>
                  </a:cubicBezTo>
                  <a:cubicBezTo>
                    <a:pt x="389" y="94"/>
                    <a:pt x="387" y="94"/>
                    <a:pt x="386" y="95"/>
                  </a:cubicBezTo>
                  <a:cubicBezTo>
                    <a:pt x="386" y="95"/>
                    <a:pt x="386" y="95"/>
                    <a:pt x="386" y="95"/>
                  </a:cubicBezTo>
                  <a:cubicBezTo>
                    <a:pt x="385" y="96"/>
                    <a:pt x="385" y="96"/>
                    <a:pt x="385" y="97"/>
                  </a:cubicBezTo>
                  <a:cubicBezTo>
                    <a:pt x="384" y="97"/>
                    <a:pt x="384" y="97"/>
                    <a:pt x="384" y="96"/>
                  </a:cubicBezTo>
                  <a:cubicBezTo>
                    <a:pt x="383" y="96"/>
                    <a:pt x="383" y="96"/>
                    <a:pt x="383" y="96"/>
                  </a:cubicBezTo>
                  <a:cubicBezTo>
                    <a:pt x="382" y="95"/>
                    <a:pt x="382" y="95"/>
                    <a:pt x="382" y="95"/>
                  </a:cubicBezTo>
                  <a:cubicBezTo>
                    <a:pt x="381" y="95"/>
                    <a:pt x="381" y="96"/>
                    <a:pt x="381" y="96"/>
                  </a:cubicBezTo>
                  <a:cubicBezTo>
                    <a:pt x="380" y="96"/>
                    <a:pt x="380" y="96"/>
                    <a:pt x="380" y="96"/>
                  </a:cubicBezTo>
                  <a:cubicBezTo>
                    <a:pt x="380" y="96"/>
                    <a:pt x="380" y="97"/>
                    <a:pt x="380" y="97"/>
                  </a:cubicBezTo>
                  <a:cubicBezTo>
                    <a:pt x="379" y="97"/>
                    <a:pt x="379" y="97"/>
                    <a:pt x="379" y="97"/>
                  </a:cubicBezTo>
                  <a:cubicBezTo>
                    <a:pt x="379" y="97"/>
                    <a:pt x="379" y="97"/>
                    <a:pt x="379" y="97"/>
                  </a:cubicBezTo>
                  <a:cubicBezTo>
                    <a:pt x="378" y="97"/>
                    <a:pt x="378" y="97"/>
                    <a:pt x="377" y="97"/>
                  </a:cubicBezTo>
                  <a:cubicBezTo>
                    <a:pt x="377" y="97"/>
                    <a:pt x="376" y="97"/>
                    <a:pt x="375" y="98"/>
                  </a:cubicBezTo>
                  <a:cubicBezTo>
                    <a:pt x="375" y="98"/>
                    <a:pt x="374" y="98"/>
                    <a:pt x="374" y="99"/>
                  </a:cubicBezTo>
                  <a:cubicBezTo>
                    <a:pt x="373" y="99"/>
                    <a:pt x="373" y="100"/>
                    <a:pt x="373" y="101"/>
                  </a:cubicBezTo>
                  <a:cubicBezTo>
                    <a:pt x="374" y="102"/>
                    <a:pt x="374" y="102"/>
                    <a:pt x="374" y="102"/>
                  </a:cubicBezTo>
                  <a:cubicBezTo>
                    <a:pt x="374" y="102"/>
                    <a:pt x="374" y="102"/>
                    <a:pt x="374" y="102"/>
                  </a:cubicBezTo>
                  <a:cubicBezTo>
                    <a:pt x="375" y="102"/>
                    <a:pt x="375" y="102"/>
                    <a:pt x="375" y="102"/>
                  </a:cubicBezTo>
                  <a:cubicBezTo>
                    <a:pt x="375" y="102"/>
                    <a:pt x="375" y="102"/>
                    <a:pt x="375" y="102"/>
                  </a:cubicBezTo>
                  <a:cubicBezTo>
                    <a:pt x="375" y="103"/>
                    <a:pt x="375" y="103"/>
                    <a:pt x="375" y="104"/>
                  </a:cubicBezTo>
                  <a:cubicBezTo>
                    <a:pt x="375" y="104"/>
                    <a:pt x="375" y="104"/>
                    <a:pt x="375" y="104"/>
                  </a:cubicBezTo>
                  <a:cubicBezTo>
                    <a:pt x="375" y="104"/>
                    <a:pt x="375" y="104"/>
                    <a:pt x="375" y="104"/>
                  </a:cubicBezTo>
                  <a:cubicBezTo>
                    <a:pt x="375" y="104"/>
                    <a:pt x="375" y="104"/>
                    <a:pt x="375" y="104"/>
                  </a:cubicBezTo>
                  <a:cubicBezTo>
                    <a:pt x="374" y="104"/>
                    <a:pt x="374" y="104"/>
                    <a:pt x="374" y="104"/>
                  </a:cubicBezTo>
                  <a:cubicBezTo>
                    <a:pt x="374" y="103"/>
                    <a:pt x="373" y="103"/>
                    <a:pt x="372" y="103"/>
                  </a:cubicBezTo>
                  <a:cubicBezTo>
                    <a:pt x="372" y="103"/>
                    <a:pt x="371" y="103"/>
                    <a:pt x="371" y="103"/>
                  </a:cubicBezTo>
                  <a:cubicBezTo>
                    <a:pt x="370" y="103"/>
                    <a:pt x="370" y="103"/>
                    <a:pt x="369" y="104"/>
                  </a:cubicBezTo>
                  <a:cubicBezTo>
                    <a:pt x="369" y="104"/>
                    <a:pt x="368" y="104"/>
                    <a:pt x="368" y="105"/>
                  </a:cubicBezTo>
                  <a:cubicBezTo>
                    <a:pt x="368" y="105"/>
                    <a:pt x="369" y="106"/>
                    <a:pt x="369" y="106"/>
                  </a:cubicBezTo>
                  <a:cubicBezTo>
                    <a:pt x="368" y="106"/>
                    <a:pt x="367" y="106"/>
                    <a:pt x="367" y="108"/>
                  </a:cubicBezTo>
                  <a:cubicBezTo>
                    <a:pt x="367" y="108"/>
                    <a:pt x="366" y="108"/>
                    <a:pt x="366" y="108"/>
                  </a:cubicBezTo>
                  <a:cubicBezTo>
                    <a:pt x="365" y="109"/>
                    <a:pt x="365" y="109"/>
                    <a:pt x="365" y="109"/>
                  </a:cubicBezTo>
                  <a:cubicBezTo>
                    <a:pt x="365" y="109"/>
                    <a:pt x="365" y="109"/>
                    <a:pt x="365" y="109"/>
                  </a:cubicBezTo>
                  <a:cubicBezTo>
                    <a:pt x="365" y="108"/>
                    <a:pt x="365" y="108"/>
                    <a:pt x="365" y="108"/>
                  </a:cubicBezTo>
                  <a:cubicBezTo>
                    <a:pt x="364" y="107"/>
                    <a:pt x="364" y="107"/>
                    <a:pt x="363" y="107"/>
                  </a:cubicBezTo>
                  <a:cubicBezTo>
                    <a:pt x="363" y="107"/>
                    <a:pt x="363" y="107"/>
                    <a:pt x="363" y="107"/>
                  </a:cubicBezTo>
                  <a:cubicBezTo>
                    <a:pt x="362" y="107"/>
                    <a:pt x="361" y="108"/>
                    <a:pt x="361" y="108"/>
                  </a:cubicBezTo>
                  <a:cubicBezTo>
                    <a:pt x="361" y="108"/>
                    <a:pt x="361" y="108"/>
                    <a:pt x="361" y="108"/>
                  </a:cubicBezTo>
                  <a:cubicBezTo>
                    <a:pt x="361" y="108"/>
                    <a:pt x="361" y="108"/>
                    <a:pt x="361" y="108"/>
                  </a:cubicBezTo>
                  <a:cubicBezTo>
                    <a:pt x="361" y="109"/>
                    <a:pt x="360" y="109"/>
                    <a:pt x="360" y="109"/>
                  </a:cubicBezTo>
                  <a:cubicBezTo>
                    <a:pt x="360" y="109"/>
                    <a:pt x="360" y="109"/>
                    <a:pt x="360" y="109"/>
                  </a:cubicBezTo>
                  <a:cubicBezTo>
                    <a:pt x="360" y="109"/>
                    <a:pt x="360" y="109"/>
                    <a:pt x="360" y="109"/>
                  </a:cubicBezTo>
                  <a:cubicBezTo>
                    <a:pt x="360" y="108"/>
                    <a:pt x="360" y="107"/>
                    <a:pt x="360" y="107"/>
                  </a:cubicBezTo>
                  <a:cubicBezTo>
                    <a:pt x="360" y="106"/>
                    <a:pt x="359" y="105"/>
                    <a:pt x="358" y="105"/>
                  </a:cubicBezTo>
                  <a:cubicBezTo>
                    <a:pt x="357" y="105"/>
                    <a:pt x="357" y="105"/>
                    <a:pt x="357" y="105"/>
                  </a:cubicBezTo>
                  <a:cubicBezTo>
                    <a:pt x="357" y="105"/>
                    <a:pt x="357" y="105"/>
                    <a:pt x="357" y="105"/>
                  </a:cubicBezTo>
                  <a:cubicBezTo>
                    <a:pt x="357" y="101"/>
                    <a:pt x="357" y="101"/>
                    <a:pt x="357" y="101"/>
                  </a:cubicBezTo>
                  <a:cubicBezTo>
                    <a:pt x="354" y="108"/>
                    <a:pt x="354" y="108"/>
                    <a:pt x="354" y="108"/>
                  </a:cubicBezTo>
                  <a:cubicBezTo>
                    <a:pt x="353" y="108"/>
                    <a:pt x="353" y="108"/>
                    <a:pt x="352" y="109"/>
                  </a:cubicBezTo>
                  <a:cubicBezTo>
                    <a:pt x="352" y="109"/>
                    <a:pt x="352" y="109"/>
                    <a:pt x="352" y="109"/>
                  </a:cubicBezTo>
                  <a:cubicBezTo>
                    <a:pt x="352" y="109"/>
                    <a:pt x="351" y="110"/>
                    <a:pt x="351" y="112"/>
                  </a:cubicBezTo>
                  <a:cubicBezTo>
                    <a:pt x="350" y="111"/>
                    <a:pt x="349" y="111"/>
                    <a:pt x="348" y="111"/>
                  </a:cubicBezTo>
                  <a:cubicBezTo>
                    <a:pt x="348" y="111"/>
                    <a:pt x="348" y="111"/>
                    <a:pt x="348" y="111"/>
                  </a:cubicBezTo>
                  <a:cubicBezTo>
                    <a:pt x="347" y="111"/>
                    <a:pt x="347" y="112"/>
                    <a:pt x="347" y="112"/>
                  </a:cubicBezTo>
                  <a:cubicBezTo>
                    <a:pt x="346" y="112"/>
                    <a:pt x="346" y="112"/>
                    <a:pt x="346" y="113"/>
                  </a:cubicBezTo>
                  <a:cubicBezTo>
                    <a:pt x="345" y="113"/>
                    <a:pt x="345" y="113"/>
                    <a:pt x="344" y="113"/>
                  </a:cubicBezTo>
                  <a:cubicBezTo>
                    <a:pt x="343" y="114"/>
                    <a:pt x="344" y="115"/>
                    <a:pt x="344" y="116"/>
                  </a:cubicBezTo>
                  <a:cubicBezTo>
                    <a:pt x="345" y="116"/>
                    <a:pt x="345" y="116"/>
                    <a:pt x="345" y="116"/>
                  </a:cubicBezTo>
                  <a:cubicBezTo>
                    <a:pt x="345" y="116"/>
                    <a:pt x="345" y="116"/>
                    <a:pt x="345" y="116"/>
                  </a:cubicBezTo>
                  <a:cubicBezTo>
                    <a:pt x="344" y="116"/>
                    <a:pt x="344" y="116"/>
                    <a:pt x="344" y="116"/>
                  </a:cubicBezTo>
                  <a:cubicBezTo>
                    <a:pt x="344" y="117"/>
                    <a:pt x="344" y="117"/>
                    <a:pt x="344" y="117"/>
                  </a:cubicBezTo>
                  <a:cubicBezTo>
                    <a:pt x="343" y="118"/>
                    <a:pt x="343" y="119"/>
                    <a:pt x="343" y="120"/>
                  </a:cubicBezTo>
                  <a:cubicBezTo>
                    <a:pt x="343" y="121"/>
                    <a:pt x="343" y="121"/>
                    <a:pt x="343" y="121"/>
                  </a:cubicBezTo>
                  <a:cubicBezTo>
                    <a:pt x="344" y="121"/>
                    <a:pt x="344" y="121"/>
                    <a:pt x="344" y="121"/>
                  </a:cubicBezTo>
                  <a:cubicBezTo>
                    <a:pt x="344" y="121"/>
                    <a:pt x="343" y="122"/>
                    <a:pt x="343" y="122"/>
                  </a:cubicBezTo>
                  <a:cubicBezTo>
                    <a:pt x="343" y="122"/>
                    <a:pt x="343" y="121"/>
                    <a:pt x="343" y="121"/>
                  </a:cubicBezTo>
                  <a:cubicBezTo>
                    <a:pt x="342" y="120"/>
                    <a:pt x="342" y="120"/>
                    <a:pt x="341" y="120"/>
                  </a:cubicBezTo>
                  <a:cubicBezTo>
                    <a:pt x="341" y="120"/>
                    <a:pt x="341" y="120"/>
                    <a:pt x="340" y="120"/>
                  </a:cubicBezTo>
                  <a:cubicBezTo>
                    <a:pt x="341" y="119"/>
                    <a:pt x="341" y="118"/>
                    <a:pt x="341" y="118"/>
                  </a:cubicBezTo>
                  <a:cubicBezTo>
                    <a:pt x="340" y="118"/>
                    <a:pt x="340" y="118"/>
                    <a:pt x="340" y="118"/>
                  </a:cubicBezTo>
                  <a:cubicBezTo>
                    <a:pt x="341" y="117"/>
                    <a:pt x="341" y="117"/>
                    <a:pt x="341" y="117"/>
                  </a:cubicBezTo>
                  <a:cubicBezTo>
                    <a:pt x="341" y="117"/>
                    <a:pt x="341" y="115"/>
                    <a:pt x="340" y="115"/>
                  </a:cubicBezTo>
                  <a:cubicBezTo>
                    <a:pt x="339" y="114"/>
                    <a:pt x="338" y="114"/>
                    <a:pt x="337" y="116"/>
                  </a:cubicBezTo>
                  <a:cubicBezTo>
                    <a:pt x="337" y="116"/>
                    <a:pt x="337" y="116"/>
                    <a:pt x="337" y="116"/>
                  </a:cubicBezTo>
                  <a:cubicBezTo>
                    <a:pt x="337" y="117"/>
                    <a:pt x="337" y="117"/>
                    <a:pt x="337" y="117"/>
                  </a:cubicBezTo>
                  <a:cubicBezTo>
                    <a:pt x="337" y="117"/>
                    <a:pt x="337" y="117"/>
                    <a:pt x="337" y="118"/>
                  </a:cubicBezTo>
                  <a:cubicBezTo>
                    <a:pt x="336" y="118"/>
                    <a:pt x="336" y="118"/>
                    <a:pt x="336" y="119"/>
                  </a:cubicBezTo>
                  <a:cubicBezTo>
                    <a:pt x="334" y="115"/>
                    <a:pt x="334" y="115"/>
                    <a:pt x="334" y="115"/>
                  </a:cubicBezTo>
                  <a:cubicBezTo>
                    <a:pt x="334" y="119"/>
                    <a:pt x="334" y="119"/>
                    <a:pt x="334" y="119"/>
                  </a:cubicBezTo>
                  <a:cubicBezTo>
                    <a:pt x="334" y="119"/>
                    <a:pt x="333" y="120"/>
                    <a:pt x="333" y="120"/>
                  </a:cubicBezTo>
                  <a:cubicBezTo>
                    <a:pt x="333" y="120"/>
                    <a:pt x="333" y="120"/>
                    <a:pt x="333" y="120"/>
                  </a:cubicBezTo>
                  <a:cubicBezTo>
                    <a:pt x="332" y="121"/>
                    <a:pt x="332" y="121"/>
                    <a:pt x="332" y="121"/>
                  </a:cubicBezTo>
                  <a:cubicBezTo>
                    <a:pt x="332" y="121"/>
                    <a:pt x="331" y="121"/>
                    <a:pt x="330" y="121"/>
                  </a:cubicBezTo>
                  <a:cubicBezTo>
                    <a:pt x="330" y="122"/>
                    <a:pt x="329" y="123"/>
                    <a:pt x="330" y="124"/>
                  </a:cubicBezTo>
                  <a:cubicBezTo>
                    <a:pt x="330" y="125"/>
                    <a:pt x="331" y="125"/>
                    <a:pt x="332" y="124"/>
                  </a:cubicBezTo>
                  <a:cubicBezTo>
                    <a:pt x="333" y="125"/>
                    <a:pt x="333" y="125"/>
                    <a:pt x="333" y="125"/>
                  </a:cubicBezTo>
                  <a:cubicBezTo>
                    <a:pt x="333" y="125"/>
                    <a:pt x="333" y="125"/>
                    <a:pt x="333" y="125"/>
                  </a:cubicBezTo>
                  <a:cubicBezTo>
                    <a:pt x="333" y="125"/>
                    <a:pt x="333" y="125"/>
                    <a:pt x="333" y="125"/>
                  </a:cubicBezTo>
                  <a:cubicBezTo>
                    <a:pt x="333" y="125"/>
                    <a:pt x="332" y="125"/>
                    <a:pt x="332" y="125"/>
                  </a:cubicBezTo>
                  <a:cubicBezTo>
                    <a:pt x="331" y="125"/>
                    <a:pt x="331" y="125"/>
                    <a:pt x="331" y="125"/>
                  </a:cubicBezTo>
                  <a:cubicBezTo>
                    <a:pt x="331" y="125"/>
                    <a:pt x="331" y="125"/>
                    <a:pt x="331" y="125"/>
                  </a:cubicBezTo>
                  <a:cubicBezTo>
                    <a:pt x="330" y="125"/>
                    <a:pt x="330" y="125"/>
                    <a:pt x="330" y="125"/>
                  </a:cubicBezTo>
                  <a:cubicBezTo>
                    <a:pt x="329" y="126"/>
                    <a:pt x="328" y="126"/>
                    <a:pt x="328" y="127"/>
                  </a:cubicBezTo>
                  <a:cubicBezTo>
                    <a:pt x="328" y="127"/>
                    <a:pt x="328" y="127"/>
                    <a:pt x="327" y="126"/>
                  </a:cubicBezTo>
                  <a:cubicBezTo>
                    <a:pt x="327" y="126"/>
                    <a:pt x="326" y="126"/>
                    <a:pt x="326" y="126"/>
                  </a:cubicBezTo>
                  <a:cubicBezTo>
                    <a:pt x="325" y="126"/>
                    <a:pt x="324" y="127"/>
                    <a:pt x="324" y="127"/>
                  </a:cubicBezTo>
                  <a:cubicBezTo>
                    <a:pt x="323" y="128"/>
                    <a:pt x="323" y="129"/>
                    <a:pt x="323" y="130"/>
                  </a:cubicBezTo>
                  <a:cubicBezTo>
                    <a:pt x="324" y="131"/>
                    <a:pt x="324" y="131"/>
                    <a:pt x="325" y="131"/>
                  </a:cubicBezTo>
                  <a:cubicBezTo>
                    <a:pt x="325" y="131"/>
                    <a:pt x="325" y="131"/>
                    <a:pt x="325" y="131"/>
                  </a:cubicBezTo>
                  <a:cubicBezTo>
                    <a:pt x="326" y="131"/>
                    <a:pt x="326" y="131"/>
                    <a:pt x="326" y="130"/>
                  </a:cubicBezTo>
                  <a:cubicBezTo>
                    <a:pt x="326" y="129"/>
                    <a:pt x="326" y="129"/>
                    <a:pt x="326" y="129"/>
                  </a:cubicBezTo>
                  <a:cubicBezTo>
                    <a:pt x="326" y="129"/>
                    <a:pt x="326" y="129"/>
                    <a:pt x="326" y="129"/>
                  </a:cubicBezTo>
                  <a:cubicBezTo>
                    <a:pt x="327" y="130"/>
                    <a:pt x="327" y="130"/>
                    <a:pt x="327" y="130"/>
                  </a:cubicBezTo>
                  <a:cubicBezTo>
                    <a:pt x="327" y="130"/>
                    <a:pt x="328" y="130"/>
                    <a:pt x="328" y="129"/>
                  </a:cubicBezTo>
                  <a:cubicBezTo>
                    <a:pt x="328" y="129"/>
                    <a:pt x="328" y="129"/>
                    <a:pt x="328" y="129"/>
                  </a:cubicBezTo>
                  <a:cubicBezTo>
                    <a:pt x="329" y="130"/>
                    <a:pt x="329" y="130"/>
                    <a:pt x="329" y="130"/>
                  </a:cubicBezTo>
                  <a:cubicBezTo>
                    <a:pt x="329" y="130"/>
                    <a:pt x="329" y="130"/>
                    <a:pt x="329" y="130"/>
                  </a:cubicBezTo>
                  <a:cubicBezTo>
                    <a:pt x="330" y="130"/>
                    <a:pt x="330" y="130"/>
                    <a:pt x="330" y="130"/>
                  </a:cubicBezTo>
                  <a:cubicBezTo>
                    <a:pt x="330" y="130"/>
                    <a:pt x="331" y="130"/>
                    <a:pt x="331" y="130"/>
                  </a:cubicBezTo>
                  <a:cubicBezTo>
                    <a:pt x="331" y="130"/>
                    <a:pt x="331" y="130"/>
                    <a:pt x="331" y="130"/>
                  </a:cubicBezTo>
                  <a:cubicBezTo>
                    <a:pt x="332" y="130"/>
                    <a:pt x="332" y="129"/>
                    <a:pt x="332" y="129"/>
                  </a:cubicBezTo>
                  <a:cubicBezTo>
                    <a:pt x="333" y="129"/>
                    <a:pt x="333" y="129"/>
                    <a:pt x="334" y="128"/>
                  </a:cubicBezTo>
                  <a:cubicBezTo>
                    <a:pt x="334" y="128"/>
                    <a:pt x="334" y="128"/>
                    <a:pt x="334" y="127"/>
                  </a:cubicBezTo>
                  <a:cubicBezTo>
                    <a:pt x="334" y="128"/>
                    <a:pt x="334" y="128"/>
                    <a:pt x="334" y="128"/>
                  </a:cubicBezTo>
                  <a:cubicBezTo>
                    <a:pt x="333" y="131"/>
                    <a:pt x="333" y="131"/>
                    <a:pt x="333" y="131"/>
                  </a:cubicBezTo>
                  <a:cubicBezTo>
                    <a:pt x="333" y="131"/>
                    <a:pt x="333" y="131"/>
                    <a:pt x="333" y="131"/>
                  </a:cubicBezTo>
                  <a:cubicBezTo>
                    <a:pt x="332" y="131"/>
                    <a:pt x="330" y="131"/>
                    <a:pt x="330" y="133"/>
                  </a:cubicBezTo>
                  <a:cubicBezTo>
                    <a:pt x="330" y="133"/>
                    <a:pt x="330" y="134"/>
                    <a:pt x="331" y="135"/>
                  </a:cubicBezTo>
                  <a:cubicBezTo>
                    <a:pt x="330" y="135"/>
                    <a:pt x="330" y="135"/>
                    <a:pt x="329" y="136"/>
                  </a:cubicBezTo>
                  <a:cubicBezTo>
                    <a:pt x="329" y="136"/>
                    <a:pt x="328" y="137"/>
                    <a:pt x="328" y="137"/>
                  </a:cubicBezTo>
                  <a:cubicBezTo>
                    <a:pt x="327" y="137"/>
                    <a:pt x="327" y="137"/>
                    <a:pt x="326" y="138"/>
                  </a:cubicBezTo>
                  <a:cubicBezTo>
                    <a:pt x="326" y="139"/>
                    <a:pt x="326" y="140"/>
                    <a:pt x="326" y="141"/>
                  </a:cubicBezTo>
                  <a:cubicBezTo>
                    <a:pt x="326" y="141"/>
                    <a:pt x="326" y="141"/>
                    <a:pt x="326" y="141"/>
                  </a:cubicBezTo>
                  <a:cubicBezTo>
                    <a:pt x="326" y="141"/>
                    <a:pt x="326" y="141"/>
                    <a:pt x="326" y="141"/>
                  </a:cubicBezTo>
                  <a:cubicBezTo>
                    <a:pt x="326" y="141"/>
                    <a:pt x="325" y="141"/>
                    <a:pt x="324" y="141"/>
                  </a:cubicBezTo>
                  <a:cubicBezTo>
                    <a:pt x="323" y="141"/>
                    <a:pt x="323" y="141"/>
                    <a:pt x="322" y="141"/>
                  </a:cubicBezTo>
                  <a:cubicBezTo>
                    <a:pt x="321" y="142"/>
                    <a:pt x="321" y="142"/>
                    <a:pt x="321" y="143"/>
                  </a:cubicBezTo>
                  <a:cubicBezTo>
                    <a:pt x="321" y="143"/>
                    <a:pt x="321" y="143"/>
                    <a:pt x="321" y="144"/>
                  </a:cubicBezTo>
                  <a:cubicBezTo>
                    <a:pt x="320" y="144"/>
                    <a:pt x="319" y="144"/>
                    <a:pt x="319" y="145"/>
                  </a:cubicBezTo>
                  <a:cubicBezTo>
                    <a:pt x="318" y="145"/>
                    <a:pt x="318" y="146"/>
                    <a:pt x="318" y="147"/>
                  </a:cubicBezTo>
                  <a:cubicBezTo>
                    <a:pt x="318" y="147"/>
                    <a:pt x="317" y="147"/>
                    <a:pt x="317" y="147"/>
                  </a:cubicBezTo>
                  <a:cubicBezTo>
                    <a:pt x="316" y="148"/>
                    <a:pt x="317" y="149"/>
                    <a:pt x="317" y="150"/>
                  </a:cubicBezTo>
                  <a:cubicBezTo>
                    <a:pt x="317" y="151"/>
                    <a:pt x="317" y="151"/>
                    <a:pt x="317" y="151"/>
                  </a:cubicBezTo>
                  <a:cubicBezTo>
                    <a:pt x="316" y="151"/>
                    <a:pt x="316" y="151"/>
                    <a:pt x="316" y="151"/>
                  </a:cubicBezTo>
                  <a:cubicBezTo>
                    <a:pt x="316" y="151"/>
                    <a:pt x="315" y="152"/>
                    <a:pt x="315" y="153"/>
                  </a:cubicBezTo>
                  <a:cubicBezTo>
                    <a:pt x="315" y="153"/>
                    <a:pt x="314" y="153"/>
                    <a:pt x="314" y="154"/>
                  </a:cubicBezTo>
                  <a:cubicBezTo>
                    <a:pt x="313" y="154"/>
                    <a:pt x="313" y="155"/>
                    <a:pt x="313" y="155"/>
                  </a:cubicBezTo>
                  <a:cubicBezTo>
                    <a:pt x="313" y="155"/>
                    <a:pt x="313" y="155"/>
                    <a:pt x="313" y="155"/>
                  </a:cubicBezTo>
                  <a:cubicBezTo>
                    <a:pt x="312" y="155"/>
                    <a:pt x="312" y="156"/>
                    <a:pt x="311" y="156"/>
                  </a:cubicBezTo>
                  <a:cubicBezTo>
                    <a:pt x="311" y="157"/>
                    <a:pt x="311" y="158"/>
                    <a:pt x="311" y="158"/>
                  </a:cubicBezTo>
                  <a:cubicBezTo>
                    <a:pt x="311" y="158"/>
                    <a:pt x="310" y="159"/>
                    <a:pt x="309" y="160"/>
                  </a:cubicBezTo>
                  <a:cubicBezTo>
                    <a:pt x="308" y="161"/>
                    <a:pt x="308" y="161"/>
                    <a:pt x="308" y="162"/>
                  </a:cubicBezTo>
                  <a:cubicBezTo>
                    <a:pt x="307" y="162"/>
                    <a:pt x="306" y="163"/>
                    <a:pt x="306" y="164"/>
                  </a:cubicBezTo>
                  <a:cubicBezTo>
                    <a:pt x="305" y="164"/>
                    <a:pt x="305" y="164"/>
                    <a:pt x="304" y="165"/>
                  </a:cubicBezTo>
                  <a:cubicBezTo>
                    <a:pt x="304" y="165"/>
                    <a:pt x="304" y="165"/>
                    <a:pt x="303" y="165"/>
                  </a:cubicBezTo>
                  <a:cubicBezTo>
                    <a:pt x="302" y="166"/>
                    <a:pt x="302" y="167"/>
                    <a:pt x="302" y="167"/>
                  </a:cubicBezTo>
                  <a:cubicBezTo>
                    <a:pt x="303" y="167"/>
                    <a:pt x="303" y="168"/>
                    <a:pt x="303" y="168"/>
                  </a:cubicBezTo>
                  <a:cubicBezTo>
                    <a:pt x="303" y="168"/>
                    <a:pt x="303" y="168"/>
                    <a:pt x="303" y="168"/>
                  </a:cubicBezTo>
                  <a:cubicBezTo>
                    <a:pt x="303" y="168"/>
                    <a:pt x="303" y="168"/>
                    <a:pt x="303" y="168"/>
                  </a:cubicBezTo>
                  <a:cubicBezTo>
                    <a:pt x="302" y="168"/>
                    <a:pt x="301" y="168"/>
                    <a:pt x="300" y="169"/>
                  </a:cubicBezTo>
                  <a:cubicBezTo>
                    <a:pt x="300" y="169"/>
                    <a:pt x="299" y="169"/>
                    <a:pt x="299" y="170"/>
                  </a:cubicBezTo>
                  <a:cubicBezTo>
                    <a:pt x="298" y="170"/>
                    <a:pt x="297" y="170"/>
                    <a:pt x="297" y="171"/>
                  </a:cubicBezTo>
                  <a:cubicBezTo>
                    <a:pt x="297" y="171"/>
                    <a:pt x="297" y="171"/>
                    <a:pt x="297" y="171"/>
                  </a:cubicBezTo>
                  <a:cubicBezTo>
                    <a:pt x="296" y="171"/>
                    <a:pt x="296" y="172"/>
                    <a:pt x="295" y="172"/>
                  </a:cubicBezTo>
                  <a:cubicBezTo>
                    <a:pt x="295" y="173"/>
                    <a:pt x="295" y="173"/>
                    <a:pt x="295" y="174"/>
                  </a:cubicBezTo>
                  <a:cubicBezTo>
                    <a:pt x="295" y="174"/>
                    <a:pt x="295" y="174"/>
                    <a:pt x="295" y="174"/>
                  </a:cubicBezTo>
                  <a:cubicBezTo>
                    <a:pt x="294" y="174"/>
                    <a:pt x="294" y="174"/>
                    <a:pt x="293" y="174"/>
                  </a:cubicBezTo>
                  <a:cubicBezTo>
                    <a:pt x="293" y="175"/>
                    <a:pt x="293" y="175"/>
                    <a:pt x="293" y="176"/>
                  </a:cubicBezTo>
                  <a:cubicBezTo>
                    <a:pt x="293" y="176"/>
                    <a:pt x="293" y="176"/>
                    <a:pt x="292" y="176"/>
                  </a:cubicBezTo>
                  <a:cubicBezTo>
                    <a:pt x="292" y="176"/>
                    <a:pt x="292" y="176"/>
                    <a:pt x="292" y="176"/>
                  </a:cubicBezTo>
                  <a:cubicBezTo>
                    <a:pt x="291" y="176"/>
                    <a:pt x="290" y="177"/>
                    <a:pt x="290" y="178"/>
                  </a:cubicBezTo>
                  <a:cubicBezTo>
                    <a:pt x="290" y="178"/>
                    <a:pt x="290" y="179"/>
                    <a:pt x="290" y="179"/>
                  </a:cubicBezTo>
                  <a:cubicBezTo>
                    <a:pt x="289" y="179"/>
                    <a:pt x="289" y="180"/>
                    <a:pt x="289" y="181"/>
                  </a:cubicBezTo>
                  <a:cubicBezTo>
                    <a:pt x="288" y="181"/>
                    <a:pt x="288" y="181"/>
                    <a:pt x="288" y="181"/>
                  </a:cubicBezTo>
                  <a:cubicBezTo>
                    <a:pt x="287" y="181"/>
                    <a:pt x="287" y="181"/>
                    <a:pt x="287" y="181"/>
                  </a:cubicBezTo>
                  <a:cubicBezTo>
                    <a:pt x="287" y="181"/>
                    <a:pt x="287" y="181"/>
                    <a:pt x="286" y="181"/>
                  </a:cubicBezTo>
                  <a:cubicBezTo>
                    <a:pt x="286" y="181"/>
                    <a:pt x="285" y="181"/>
                    <a:pt x="284" y="181"/>
                  </a:cubicBezTo>
                  <a:cubicBezTo>
                    <a:pt x="283" y="182"/>
                    <a:pt x="283" y="182"/>
                    <a:pt x="283" y="183"/>
                  </a:cubicBezTo>
                  <a:cubicBezTo>
                    <a:pt x="283" y="183"/>
                    <a:pt x="283" y="183"/>
                    <a:pt x="283" y="184"/>
                  </a:cubicBezTo>
                  <a:cubicBezTo>
                    <a:pt x="283" y="184"/>
                    <a:pt x="283" y="184"/>
                    <a:pt x="282" y="184"/>
                  </a:cubicBezTo>
                  <a:cubicBezTo>
                    <a:pt x="282" y="184"/>
                    <a:pt x="282" y="184"/>
                    <a:pt x="282" y="184"/>
                  </a:cubicBezTo>
                  <a:cubicBezTo>
                    <a:pt x="281" y="184"/>
                    <a:pt x="280" y="184"/>
                    <a:pt x="280" y="185"/>
                  </a:cubicBezTo>
                  <a:cubicBezTo>
                    <a:pt x="279" y="184"/>
                    <a:pt x="278" y="185"/>
                    <a:pt x="278" y="186"/>
                  </a:cubicBezTo>
                  <a:cubicBezTo>
                    <a:pt x="277" y="186"/>
                    <a:pt x="277" y="186"/>
                    <a:pt x="277" y="186"/>
                  </a:cubicBezTo>
                  <a:cubicBezTo>
                    <a:pt x="277" y="186"/>
                    <a:pt x="277" y="186"/>
                    <a:pt x="276" y="186"/>
                  </a:cubicBezTo>
                  <a:cubicBezTo>
                    <a:pt x="276" y="186"/>
                    <a:pt x="275" y="186"/>
                    <a:pt x="275" y="187"/>
                  </a:cubicBezTo>
                  <a:cubicBezTo>
                    <a:pt x="275" y="187"/>
                    <a:pt x="275" y="188"/>
                    <a:pt x="275" y="189"/>
                  </a:cubicBezTo>
                  <a:cubicBezTo>
                    <a:pt x="275" y="189"/>
                    <a:pt x="275" y="189"/>
                    <a:pt x="275" y="189"/>
                  </a:cubicBezTo>
                  <a:cubicBezTo>
                    <a:pt x="275" y="189"/>
                    <a:pt x="275" y="189"/>
                    <a:pt x="275" y="190"/>
                  </a:cubicBezTo>
                  <a:cubicBezTo>
                    <a:pt x="275" y="189"/>
                    <a:pt x="274" y="189"/>
                    <a:pt x="274" y="189"/>
                  </a:cubicBezTo>
                  <a:cubicBezTo>
                    <a:pt x="273" y="189"/>
                    <a:pt x="272" y="189"/>
                    <a:pt x="272" y="189"/>
                  </a:cubicBezTo>
                  <a:cubicBezTo>
                    <a:pt x="271" y="189"/>
                    <a:pt x="270" y="189"/>
                    <a:pt x="269" y="189"/>
                  </a:cubicBezTo>
                  <a:cubicBezTo>
                    <a:pt x="269" y="190"/>
                    <a:pt x="268" y="190"/>
                    <a:pt x="269" y="191"/>
                  </a:cubicBezTo>
                  <a:cubicBezTo>
                    <a:pt x="269" y="192"/>
                    <a:pt x="269" y="192"/>
                    <a:pt x="269" y="192"/>
                  </a:cubicBezTo>
                  <a:cubicBezTo>
                    <a:pt x="269" y="193"/>
                    <a:pt x="269" y="193"/>
                    <a:pt x="269" y="193"/>
                  </a:cubicBezTo>
                  <a:cubicBezTo>
                    <a:pt x="268" y="192"/>
                    <a:pt x="267" y="193"/>
                    <a:pt x="266" y="194"/>
                  </a:cubicBezTo>
                  <a:cubicBezTo>
                    <a:pt x="266" y="194"/>
                    <a:pt x="266" y="194"/>
                    <a:pt x="265" y="194"/>
                  </a:cubicBezTo>
                  <a:cubicBezTo>
                    <a:pt x="265" y="194"/>
                    <a:pt x="264" y="193"/>
                    <a:pt x="263" y="194"/>
                  </a:cubicBezTo>
                  <a:cubicBezTo>
                    <a:pt x="262" y="193"/>
                    <a:pt x="260" y="194"/>
                    <a:pt x="260" y="195"/>
                  </a:cubicBezTo>
                  <a:cubicBezTo>
                    <a:pt x="260" y="195"/>
                    <a:pt x="260" y="195"/>
                    <a:pt x="260" y="196"/>
                  </a:cubicBezTo>
                  <a:cubicBezTo>
                    <a:pt x="260" y="196"/>
                    <a:pt x="260" y="196"/>
                    <a:pt x="260" y="196"/>
                  </a:cubicBezTo>
                  <a:cubicBezTo>
                    <a:pt x="260" y="197"/>
                    <a:pt x="261" y="197"/>
                    <a:pt x="261" y="197"/>
                  </a:cubicBezTo>
                  <a:cubicBezTo>
                    <a:pt x="261" y="198"/>
                    <a:pt x="260" y="198"/>
                    <a:pt x="260" y="198"/>
                  </a:cubicBezTo>
                  <a:cubicBezTo>
                    <a:pt x="259" y="198"/>
                    <a:pt x="259" y="199"/>
                    <a:pt x="258" y="200"/>
                  </a:cubicBezTo>
                  <a:cubicBezTo>
                    <a:pt x="258" y="201"/>
                    <a:pt x="259" y="201"/>
                    <a:pt x="259" y="202"/>
                  </a:cubicBezTo>
                  <a:cubicBezTo>
                    <a:pt x="259" y="202"/>
                    <a:pt x="258" y="203"/>
                    <a:pt x="258" y="203"/>
                  </a:cubicBezTo>
                  <a:cubicBezTo>
                    <a:pt x="258" y="203"/>
                    <a:pt x="258" y="203"/>
                    <a:pt x="258" y="203"/>
                  </a:cubicBezTo>
                  <a:cubicBezTo>
                    <a:pt x="258" y="204"/>
                    <a:pt x="257" y="204"/>
                    <a:pt x="257" y="205"/>
                  </a:cubicBezTo>
                  <a:cubicBezTo>
                    <a:pt x="257" y="205"/>
                    <a:pt x="258" y="206"/>
                    <a:pt x="258" y="206"/>
                  </a:cubicBezTo>
                  <a:cubicBezTo>
                    <a:pt x="257" y="206"/>
                    <a:pt x="257" y="207"/>
                    <a:pt x="256" y="208"/>
                  </a:cubicBezTo>
                  <a:cubicBezTo>
                    <a:pt x="256" y="208"/>
                    <a:pt x="256" y="208"/>
                    <a:pt x="256" y="209"/>
                  </a:cubicBezTo>
                  <a:cubicBezTo>
                    <a:pt x="255" y="210"/>
                    <a:pt x="255" y="211"/>
                    <a:pt x="255" y="212"/>
                  </a:cubicBezTo>
                  <a:cubicBezTo>
                    <a:pt x="256" y="212"/>
                    <a:pt x="256" y="212"/>
                    <a:pt x="256" y="212"/>
                  </a:cubicBezTo>
                  <a:cubicBezTo>
                    <a:pt x="256" y="213"/>
                    <a:pt x="257" y="214"/>
                    <a:pt x="259" y="213"/>
                  </a:cubicBezTo>
                  <a:cubicBezTo>
                    <a:pt x="259" y="213"/>
                    <a:pt x="259" y="214"/>
                    <a:pt x="259" y="214"/>
                  </a:cubicBezTo>
                  <a:cubicBezTo>
                    <a:pt x="259" y="214"/>
                    <a:pt x="259" y="214"/>
                    <a:pt x="258" y="215"/>
                  </a:cubicBezTo>
                  <a:cubicBezTo>
                    <a:pt x="258" y="215"/>
                    <a:pt x="258" y="216"/>
                    <a:pt x="258" y="217"/>
                  </a:cubicBezTo>
                  <a:cubicBezTo>
                    <a:pt x="258" y="217"/>
                    <a:pt x="258" y="218"/>
                    <a:pt x="258" y="219"/>
                  </a:cubicBezTo>
                  <a:cubicBezTo>
                    <a:pt x="258" y="219"/>
                    <a:pt x="258" y="219"/>
                    <a:pt x="258" y="219"/>
                  </a:cubicBezTo>
                  <a:cubicBezTo>
                    <a:pt x="257" y="219"/>
                    <a:pt x="257" y="220"/>
                    <a:pt x="257" y="221"/>
                  </a:cubicBezTo>
                  <a:cubicBezTo>
                    <a:pt x="257" y="221"/>
                    <a:pt x="257" y="221"/>
                    <a:pt x="257" y="221"/>
                  </a:cubicBezTo>
                  <a:cubicBezTo>
                    <a:pt x="257" y="221"/>
                    <a:pt x="257" y="221"/>
                    <a:pt x="257" y="221"/>
                  </a:cubicBezTo>
                  <a:cubicBezTo>
                    <a:pt x="257" y="221"/>
                    <a:pt x="257" y="221"/>
                    <a:pt x="256" y="221"/>
                  </a:cubicBezTo>
                  <a:cubicBezTo>
                    <a:pt x="255" y="221"/>
                    <a:pt x="254" y="222"/>
                    <a:pt x="254" y="223"/>
                  </a:cubicBezTo>
                  <a:cubicBezTo>
                    <a:pt x="253" y="224"/>
                    <a:pt x="253" y="226"/>
                    <a:pt x="254" y="227"/>
                  </a:cubicBezTo>
                  <a:cubicBezTo>
                    <a:pt x="254" y="227"/>
                    <a:pt x="254" y="228"/>
                    <a:pt x="255" y="228"/>
                  </a:cubicBezTo>
                  <a:cubicBezTo>
                    <a:pt x="256" y="228"/>
                    <a:pt x="256" y="227"/>
                    <a:pt x="257" y="227"/>
                  </a:cubicBezTo>
                  <a:cubicBezTo>
                    <a:pt x="257" y="227"/>
                    <a:pt x="257" y="227"/>
                    <a:pt x="257" y="227"/>
                  </a:cubicBezTo>
                  <a:cubicBezTo>
                    <a:pt x="257" y="227"/>
                    <a:pt x="257" y="227"/>
                    <a:pt x="257" y="227"/>
                  </a:cubicBezTo>
                  <a:cubicBezTo>
                    <a:pt x="257" y="227"/>
                    <a:pt x="257" y="228"/>
                    <a:pt x="257" y="228"/>
                  </a:cubicBezTo>
                  <a:cubicBezTo>
                    <a:pt x="256" y="229"/>
                    <a:pt x="256" y="229"/>
                    <a:pt x="256" y="230"/>
                  </a:cubicBezTo>
                  <a:cubicBezTo>
                    <a:pt x="256" y="230"/>
                    <a:pt x="256" y="230"/>
                    <a:pt x="256" y="231"/>
                  </a:cubicBezTo>
                  <a:cubicBezTo>
                    <a:pt x="256" y="231"/>
                    <a:pt x="256" y="231"/>
                    <a:pt x="255" y="231"/>
                  </a:cubicBezTo>
                  <a:cubicBezTo>
                    <a:pt x="254" y="231"/>
                    <a:pt x="253" y="232"/>
                    <a:pt x="253" y="232"/>
                  </a:cubicBezTo>
                  <a:cubicBezTo>
                    <a:pt x="252" y="234"/>
                    <a:pt x="253" y="235"/>
                    <a:pt x="254" y="236"/>
                  </a:cubicBezTo>
                  <a:cubicBezTo>
                    <a:pt x="254" y="236"/>
                    <a:pt x="254" y="236"/>
                    <a:pt x="254" y="236"/>
                  </a:cubicBezTo>
                  <a:cubicBezTo>
                    <a:pt x="255" y="237"/>
                    <a:pt x="255" y="237"/>
                    <a:pt x="255" y="237"/>
                  </a:cubicBezTo>
                  <a:cubicBezTo>
                    <a:pt x="255" y="237"/>
                    <a:pt x="255" y="237"/>
                    <a:pt x="255" y="237"/>
                  </a:cubicBezTo>
                  <a:cubicBezTo>
                    <a:pt x="255" y="239"/>
                    <a:pt x="256" y="239"/>
                    <a:pt x="258" y="239"/>
                  </a:cubicBezTo>
                  <a:cubicBezTo>
                    <a:pt x="258" y="240"/>
                    <a:pt x="258" y="241"/>
                    <a:pt x="259" y="241"/>
                  </a:cubicBezTo>
                  <a:cubicBezTo>
                    <a:pt x="259" y="242"/>
                    <a:pt x="260" y="242"/>
                    <a:pt x="261" y="242"/>
                  </a:cubicBezTo>
                  <a:cubicBezTo>
                    <a:pt x="262" y="243"/>
                    <a:pt x="263" y="243"/>
                    <a:pt x="264" y="243"/>
                  </a:cubicBezTo>
                  <a:cubicBezTo>
                    <a:pt x="265" y="243"/>
                    <a:pt x="267" y="242"/>
                    <a:pt x="268" y="242"/>
                  </a:cubicBezTo>
                  <a:cubicBezTo>
                    <a:pt x="268" y="242"/>
                    <a:pt x="269" y="242"/>
                    <a:pt x="269" y="242"/>
                  </a:cubicBezTo>
                  <a:cubicBezTo>
                    <a:pt x="270" y="242"/>
                    <a:pt x="270" y="242"/>
                    <a:pt x="271" y="241"/>
                  </a:cubicBezTo>
                  <a:cubicBezTo>
                    <a:pt x="272" y="241"/>
                    <a:pt x="275" y="237"/>
                    <a:pt x="276" y="237"/>
                  </a:cubicBezTo>
                  <a:cubicBezTo>
                    <a:pt x="277" y="236"/>
                    <a:pt x="277" y="236"/>
                    <a:pt x="277" y="236"/>
                  </a:cubicBezTo>
                  <a:cubicBezTo>
                    <a:pt x="278" y="236"/>
                    <a:pt x="279" y="235"/>
                    <a:pt x="280" y="234"/>
                  </a:cubicBezTo>
                  <a:cubicBezTo>
                    <a:pt x="280" y="234"/>
                    <a:pt x="280" y="234"/>
                    <a:pt x="280" y="234"/>
                  </a:cubicBezTo>
                  <a:cubicBezTo>
                    <a:pt x="280" y="234"/>
                    <a:pt x="281" y="233"/>
                    <a:pt x="281" y="232"/>
                  </a:cubicBezTo>
                  <a:cubicBezTo>
                    <a:pt x="282" y="233"/>
                    <a:pt x="284" y="233"/>
                    <a:pt x="284" y="232"/>
                  </a:cubicBezTo>
                  <a:cubicBezTo>
                    <a:pt x="284" y="231"/>
                    <a:pt x="284" y="231"/>
                    <a:pt x="284" y="231"/>
                  </a:cubicBezTo>
                  <a:cubicBezTo>
                    <a:pt x="285" y="231"/>
                    <a:pt x="286" y="230"/>
                    <a:pt x="286" y="229"/>
                  </a:cubicBezTo>
                  <a:cubicBezTo>
                    <a:pt x="286" y="229"/>
                    <a:pt x="286" y="229"/>
                    <a:pt x="286" y="229"/>
                  </a:cubicBezTo>
                  <a:cubicBezTo>
                    <a:pt x="286" y="229"/>
                    <a:pt x="286" y="229"/>
                    <a:pt x="286" y="229"/>
                  </a:cubicBezTo>
                  <a:cubicBezTo>
                    <a:pt x="287" y="230"/>
                    <a:pt x="287" y="230"/>
                    <a:pt x="287" y="230"/>
                  </a:cubicBezTo>
                  <a:cubicBezTo>
                    <a:pt x="287" y="231"/>
                    <a:pt x="288" y="231"/>
                    <a:pt x="288" y="232"/>
                  </a:cubicBezTo>
                  <a:cubicBezTo>
                    <a:pt x="288" y="232"/>
                    <a:pt x="288" y="232"/>
                    <a:pt x="288" y="232"/>
                  </a:cubicBezTo>
                  <a:cubicBezTo>
                    <a:pt x="288" y="232"/>
                    <a:pt x="289" y="232"/>
                    <a:pt x="289" y="232"/>
                  </a:cubicBezTo>
                  <a:cubicBezTo>
                    <a:pt x="288" y="233"/>
                    <a:pt x="288" y="233"/>
                    <a:pt x="288" y="235"/>
                  </a:cubicBezTo>
                  <a:cubicBezTo>
                    <a:pt x="288" y="235"/>
                    <a:pt x="288" y="236"/>
                    <a:pt x="288" y="236"/>
                  </a:cubicBezTo>
                  <a:cubicBezTo>
                    <a:pt x="288" y="237"/>
                    <a:pt x="288" y="237"/>
                    <a:pt x="288" y="237"/>
                  </a:cubicBezTo>
                  <a:cubicBezTo>
                    <a:pt x="288" y="238"/>
                    <a:pt x="288" y="239"/>
                    <a:pt x="288" y="239"/>
                  </a:cubicBezTo>
                  <a:cubicBezTo>
                    <a:pt x="289" y="240"/>
                    <a:pt x="289" y="240"/>
                    <a:pt x="290" y="240"/>
                  </a:cubicBezTo>
                  <a:cubicBezTo>
                    <a:pt x="290" y="240"/>
                    <a:pt x="290" y="240"/>
                    <a:pt x="290" y="240"/>
                  </a:cubicBezTo>
                  <a:cubicBezTo>
                    <a:pt x="290" y="241"/>
                    <a:pt x="290" y="241"/>
                    <a:pt x="290" y="242"/>
                  </a:cubicBezTo>
                  <a:cubicBezTo>
                    <a:pt x="290" y="242"/>
                    <a:pt x="290" y="244"/>
                    <a:pt x="289" y="246"/>
                  </a:cubicBezTo>
                  <a:cubicBezTo>
                    <a:pt x="289" y="248"/>
                    <a:pt x="289" y="249"/>
                    <a:pt x="289" y="250"/>
                  </a:cubicBezTo>
                  <a:cubicBezTo>
                    <a:pt x="290" y="250"/>
                    <a:pt x="290" y="251"/>
                    <a:pt x="291" y="251"/>
                  </a:cubicBezTo>
                  <a:cubicBezTo>
                    <a:pt x="291" y="251"/>
                    <a:pt x="291" y="251"/>
                    <a:pt x="291" y="251"/>
                  </a:cubicBezTo>
                  <a:cubicBezTo>
                    <a:pt x="291" y="255"/>
                    <a:pt x="292" y="256"/>
                    <a:pt x="292" y="257"/>
                  </a:cubicBezTo>
                  <a:cubicBezTo>
                    <a:pt x="292" y="257"/>
                    <a:pt x="293" y="257"/>
                    <a:pt x="293" y="258"/>
                  </a:cubicBezTo>
                  <a:cubicBezTo>
                    <a:pt x="293" y="258"/>
                    <a:pt x="293" y="258"/>
                    <a:pt x="293" y="258"/>
                  </a:cubicBezTo>
                  <a:cubicBezTo>
                    <a:pt x="292" y="258"/>
                    <a:pt x="292" y="259"/>
                    <a:pt x="292" y="259"/>
                  </a:cubicBezTo>
                  <a:cubicBezTo>
                    <a:pt x="292" y="259"/>
                    <a:pt x="292" y="259"/>
                    <a:pt x="292" y="259"/>
                  </a:cubicBezTo>
                  <a:cubicBezTo>
                    <a:pt x="291" y="259"/>
                    <a:pt x="291" y="260"/>
                    <a:pt x="290" y="260"/>
                  </a:cubicBezTo>
                  <a:cubicBezTo>
                    <a:pt x="290" y="260"/>
                    <a:pt x="290" y="261"/>
                    <a:pt x="290" y="261"/>
                  </a:cubicBezTo>
                  <a:cubicBezTo>
                    <a:pt x="290" y="261"/>
                    <a:pt x="290" y="261"/>
                    <a:pt x="290" y="261"/>
                  </a:cubicBezTo>
                  <a:cubicBezTo>
                    <a:pt x="290" y="261"/>
                    <a:pt x="290" y="261"/>
                    <a:pt x="290" y="261"/>
                  </a:cubicBezTo>
                  <a:cubicBezTo>
                    <a:pt x="288" y="261"/>
                    <a:pt x="288" y="262"/>
                    <a:pt x="287" y="263"/>
                  </a:cubicBezTo>
                  <a:cubicBezTo>
                    <a:pt x="287" y="263"/>
                    <a:pt x="287" y="263"/>
                    <a:pt x="287" y="263"/>
                  </a:cubicBezTo>
                  <a:cubicBezTo>
                    <a:pt x="287" y="263"/>
                    <a:pt x="287" y="263"/>
                    <a:pt x="286" y="264"/>
                  </a:cubicBezTo>
                  <a:cubicBezTo>
                    <a:pt x="286" y="264"/>
                    <a:pt x="286" y="264"/>
                    <a:pt x="286" y="264"/>
                  </a:cubicBezTo>
                  <a:cubicBezTo>
                    <a:pt x="286" y="264"/>
                    <a:pt x="286" y="264"/>
                    <a:pt x="286" y="264"/>
                  </a:cubicBezTo>
                  <a:cubicBezTo>
                    <a:pt x="286" y="263"/>
                    <a:pt x="286" y="263"/>
                    <a:pt x="286" y="263"/>
                  </a:cubicBezTo>
                  <a:cubicBezTo>
                    <a:pt x="284" y="263"/>
                    <a:pt x="284" y="263"/>
                    <a:pt x="284" y="263"/>
                  </a:cubicBezTo>
                  <a:cubicBezTo>
                    <a:pt x="283" y="263"/>
                    <a:pt x="283" y="264"/>
                    <a:pt x="282" y="265"/>
                  </a:cubicBezTo>
                  <a:cubicBezTo>
                    <a:pt x="281" y="265"/>
                    <a:pt x="281" y="265"/>
                    <a:pt x="281" y="265"/>
                  </a:cubicBezTo>
                  <a:cubicBezTo>
                    <a:pt x="281" y="265"/>
                    <a:pt x="281" y="265"/>
                    <a:pt x="281" y="265"/>
                  </a:cubicBezTo>
                  <a:cubicBezTo>
                    <a:pt x="281" y="264"/>
                    <a:pt x="280" y="264"/>
                    <a:pt x="280" y="264"/>
                  </a:cubicBezTo>
                  <a:cubicBezTo>
                    <a:pt x="280" y="264"/>
                    <a:pt x="280" y="264"/>
                    <a:pt x="280" y="264"/>
                  </a:cubicBezTo>
                  <a:cubicBezTo>
                    <a:pt x="280" y="263"/>
                    <a:pt x="280" y="263"/>
                    <a:pt x="280" y="263"/>
                  </a:cubicBezTo>
                  <a:cubicBezTo>
                    <a:pt x="280" y="263"/>
                    <a:pt x="280" y="263"/>
                    <a:pt x="280" y="263"/>
                  </a:cubicBezTo>
                  <a:cubicBezTo>
                    <a:pt x="282" y="263"/>
                    <a:pt x="283" y="261"/>
                    <a:pt x="283" y="259"/>
                  </a:cubicBezTo>
                  <a:cubicBezTo>
                    <a:pt x="283" y="258"/>
                    <a:pt x="283" y="258"/>
                    <a:pt x="283" y="257"/>
                  </a:cubicBezTo>
                  <a:cubicBezTo>
                    <a:pt x="282" y="256"/>
                    <a:pt x="281" y="256"/>
                    <a:pt x="280" y="257"/>
                  </a:cubicBezTo>
                  <a:cubicBezTo>
                    <a:pt x="280" y="257"/>
                    <a:pt x="280" y="257"/>
                    <a:pt x="280" y="257"/>
                  </a:cubicBezTo>
                  <a:cubicBezTo>
                    <a:pt x="281" y="256"/>
                    <a:pt x="281" y="255"/>
                    <a:pt x="281" y="254"/>
                  </a:cubicBezTo>
                  <a:cubicBezTo>
                    <a:pt x="281" y="254"/>
                    <a:pt x="281" y="253"/>
                    <a:pt x="281" y="253"/>
                  </a:cubicBezTo>
                  <a:cubicBezTo>
                    <a:pt x="281" y="253"/>
                    <a:pt x="281" y="253"/>
                    <a:pt x="281" y="253"/>
                  </a:cubicBezTo>
                  <a:cubicBezTo>
                    <a:pt x="281" y="253"/>
                    <a:pt x="281" y="252"/>
                    <a:pt x="282" y="252"/>
                  </a:cubicBezTo>
                  <a:cubicBezTo>
                    <a:pt x="284" y="251"/>
                    <a:pt x="283" y="249"/>
                    <a:pt x="283" y="248"/>
                  </a:cubicBezTo>
                  <a:cubicBezTo>
                    <a:pt x="283" y="247"/>
                    <a:pt x="283" y="247"/>
                    <a:pt x="284" y="247"/>
                  </a:cubicBezTo>
                  <a:cubicBezTo>
                    <a:pt x="284" y="246"/>
                    <a:pt x="284" y="246"/>
                    <a:pt x="284" y="245"/>
                  </a:cubicBezTo>
                  <a:cubicBezTo>
                    <a:pt x="284" y="244"/>
                    <a:pt x="284" y="244"/>
                    <a:pt x="284" y="244"/>
                  </a:cubicBezTo>
                  <a:cubicBezTo>
                    <a:pt x="283" y="243"/>
                    <a:pt x="283" y="243"/>
                    <a:pt x="282" y="243"/>
                  </a:cubicBezTo>
                  <a:cubicBezTo>
                    <a:pt x="281" y="243"/>
                    <a:pt x="280" y="244"/>
                    <a:pt x="280" y="245"/>
                  </a:cubicBezTo>
                  <a:cubicBezTo>
                    <a:pt x="280" y="245"/>
                    <a:pt x="280" y="245"/>
                    <a:pt x="280" y="245"/>
                  </a:cubicBezTo>
                  <a:cubicBezTo>
                    <a:pt x="279" y="245"/>
                    <a:pt x="279" y="245"/>
                    <a:pt x="279" y="245"/>
                  </a:cubicBezTo>
                  <a:cubicBezTo>
                    <a:pt x="277" y="246"/>
                    <a:pt x="275" y="247"/>
                    <a:pt x="274" y="248"/>
                  </a:cubicBezTo>
                  <a:cubicBezTo>
                    <a:pt x="274" y="248"/>
                    <a:pt x="274" y="248"/>
                    <a:pt x="273" y="248"/>
                  </a:cubicBezTo>
                  <a:cubicBezTo>
                    <a:pt x="273" y="249"/>
                    <a:pt x="272" y="249"/>
                    <a:pt x="272" y="249"/>
                  </a:cubicBezTo>
                  <a:cubicBezTo>
                    <a:pt x="271" y="250"/>
                    <a:pt x="271" y="250"/>
                    <a:pt x="270" y="250"/>
                  </a:cubicBezTo>
                  <a:cubicBezTo>
                    <a:pt x="268" y="250"/>
                    <a:pt x="267" y="251"/>
                    <a:pt x="266" y="252"/>
                  </a:cubicBezTo>
                  <a:cubicBezTo>
                    <a:pt x="266" y="252"/>
                    <a:pt x="266" y="252"/>
                    <a:pt x="266" y="252"/>
                  </a:cubicBezTo>
                  <a:cubicBezTo>
                    <a:pt x="265" y="253"/>
                    <a:pt x="265" y="254"/>
                    <a:pt x="265" y="254"/>
                  </a:cubicBezTo>
                  <a:cubicBezTo>
                    <a:pt x="265" y="255"/>
                    <a:pt x="265" y="255"/>
                    <a:pt x="265" y="255"/>
                  </a:cubicBezTo>
                  <a:cubicBezTo>
                    <a:pt x="264" y="255"/>
                    <a:pt x="264" y="256"/>
                    <a:pt x="264" y="256"/>
                  </a:cubicBezTo>
                  <a:cubicBezTo>
                    <a:pt x="263" y="257"/>
                    <a:pt x="263" y="258"/>
                    <a:pt x="263" y="259"/>
                  </a:cubicBezTo>
                  <a:cubicBezTo>
                    <a:pt x="263" y="259"/>
                    <a:pt x="263" y="259"/>
                    <a:pt x="262" y="260"/>
                  </a:cubicBezTo>
                  <a:cubicBezTo>
                    <a:pt x="262" y="261"/>
                    <a:pt x="262" y="261"/>
                    <a:pt x="262" y="261"/>
                  </a:cubicBezTo>
                  <a:cubicBezTo>
                    <a:pt x="261" y="262"/>
                    <a:pt x="262" y="263"/>
                    <a:pt x="262" y="264"/>
                  </a:cubicBezTo>
                  <a:cubicBezTo>
                    <a:pt x="261" y="264"/>
                    <a:pt x="261" y="265"/>
                    <a:pt x="261" y="266"/>
                  </a:cubicBezTo>
                  <a:cubicBezTo>
                    <a:pt x="261" y="267"/>
                    <a:pt x="261" y="267"/>
                    <a:pt x="261" y="268"/>
                  </a:cubicBezTo>
                  <a:cubicBezTo>
                    <a:pt x="261" y="268"/>
                    <a:pt x="261" y="269"/>
                    <a:pt x="261" y="270"/>
                  </a:cubicBezTo>
                  <a:cubicBezTo>
                    <a:pt x="262" y="270"/>
                    <a:pt x="262" y="270"/>
                    <a:pt x="263" y="270"/>
                  </a:cubicBezTo>
                  <a:cubicBezTo>
                    <a:pt x="263" y="270"/>
                    <a:pt x="263" y="270"/>
                    <a:pt x="263" y="270"/>
                  </a:cubicBezTo>
                  <a:cubicBezTo>
                    <a:pt x="263" y="270"/>
                    <a:pt x="264" y="271"/>
                    <a:pt x="264" y="271"/>
                  </a:cubicBezTo>
                  <a:cubicBezTo>
                    <a:pt x="264" y="271"/>
                    <a:pt x="264" y="271"/>
                    <a:pt x="264" y="271"/>
                  </a:cubicBezTo>
                  <a:cubicBezTo>
                    <a:pt x="264" y="272"/>
                    <a:pt x="264" y="272"/>
                    <a:pt x="264" y="272"/>
                  </a:cubicBezTo>
                  <a:cubicBezTo>
                    <a:pt x="263" y="273"/>
                    <a:pt x="263" y="273"/>
                    <a:pt x="263" y="274"/>
                  </a:cubicBezTo>
                  <a:cubicBezTo>
                    <a:pt x="263" y="274"/>
                    <a:pt x="263" y="274"/>
                    <a:pt x="263" y="274"/>
                  </a:cubicBezTo>
                  <a:cubicBezTo>
                    <a:pt x="263" y="275"/>
                    <a:pt x="263" y="275"/>
                    <a:pt x="263" y="275"/>
                  </a:cubicBezTo>
                  <a:cubicBezTo>
                    <a:pt x="263" y="275"/>
                    <a:pt x="263" y="275"/>
                    <a:pt x="263" y="275"/>
                  </a:cubicBezTo>
                  <a:cubicBezTo>
                    <a:pt x="263" y="276"/>
                    <a:pt x="263" y="277"/>
                    <a:pt x="263" y="278"/>
                  </a:cubicBezTo>
                  <a:cubicBezTo>
                    <a:pt x="261" y="278"/>
                    <a:pt x="261" y="281"/>
                    <a:pt x="261" y="282"/>
                  </a:cubicBezTo>
                  <a:cubicBezTo>
                    <a:pt x="261" y="283"/>
                    <a:pt x="262" y="284"/>
                    <a:pt x="263" y="284"/>
                  </a:cubicBezTo>
                  <a:cubicBezTo>
                    <a:pt x="263" y="284"/>
                    <a:pt x="263" y="285"/>
                    <a:pt x="263" y="285"/>
                  </a:cubicBezTo>
                  <a:cubicBezTo>
                    <a:pt x="263" y="285"/>
                    <a:pt x="263" y="285"/>
                    <a:pt x="262" y="285"/>
                  </a:cubicBezTo>
                  <a:cubicBezTo>
                    <a:pt x="261" y="285"/>
                    <a:pt x="260" y="287"/>
                    <a:pt x="259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258" y="288"/>
                    <a:pt x="258" y="287"/>
                    <a:pt x="257" y="287"/>
                  </a:cubicBezTo>
                  <a:cubicBezTo>
                    <a:pt x="257" y="287"/>
                    <a:pt x="257" y="287"/>
                    <a:pt x="256" y="287"/>
                  </a:cubicBezTo>
                  <a:cubicBezTo>
                    <a:pt x="255" y="287"/>
                    <a:pt x="253" y="287"/>
                    <a:pt x="252" y="287"/>
                  </a:cubicBezTo>
                  <a:cubicBezTo>
                    <a:pt x="251" y="287"/>
                    <a:pt x="250" y="288"/>
                    <a:pt x="250" y="289"/>
                  </a:cubicBezTo>
                  <a:cubicBezTo>
                    <a:pt x="250" y="289"/>
                    <a:pt x="250" y="289"/>
                    <a:pt x="250" y="289"/>
                  </a:cubicBezTo>
                  <a:cubicBezTo>
                    <a:pt x="249" y="289"/>
                    <a:pt x="249" y="290"/>
                    <a:pt x="249" y="290"/>
                  </a:cubicBezTo>
                  <a:cubicBezTo>
                    <a:pt x="249" y="290"/>
                    <a:pt x="249" y="290"/>
                    <a:pt x="249" y="290"/>
                  </a:cubicBezTo>
                  <a:cubicBezTo>
                    <a:pt x="248" y="289"/>
                    <a:pt x="247" y="289"/>
                    <a:pt x="246" y="290"/>
                  </a:cubicBezTo>
                  <a:cubicBezTo>
                    <a:pt x="245" y="290"/>
                    <a:pt x="245" y="290"/>
                    <a:pt x="244" y="290"/>
                  </a:cubicBezTo>
                  <a:cubicBezTo>
                    <a:pt x="243" y="290"/>
                    <a:pt x="242" y="291"/>
                    <a:pt x="242" y="291"/>
                  </a:cubicBezTo>
                  <a:cubicBezTo>
                    <a:pt x="242" y="292"/>
                    <a:pt x="241" y="292"/>
                    <a:pt x="241" y="292"/>
                  </a:cubicBezTo>
                  <a:cubicBezTo>
                    <a:pt x="240" y="292"/>
                    <a:pt x="240" y="292"/>
                    <a:pt x="240" y="292"/>
                  </a:cubicBezTo>
                  <a:cubicBezTo>
                    <a:pt x="238" y="293"/>
                    <a:pt x="238" y="294"/>
                    <a:pt x="238" y="295"/>
                  </a:cubicBezTo>
                  <a:cubicBezTo>
                    <a:pt x="239" y="295"/>
                    <a:pt x="239" y="295"/>
                    <a:pt x="239" y="295"/>
                  </a:cubicBezTo>
                  <a:cubicBezTo>
                    <a:pt x="238" y="296"/>
                    <a:pt x="239" y="296"/>
                    <a:pt x="239" y="297"/>
                  </a:cubicBezTo>
                  <a:cubicBezTo>
                    <a:pt x="238" y="296"/>
                    <a:pt x="238" y="295"/>
                    <a:pt x="237" y="295"/>
                  </a:cubicBezTo>
                  <a:cubicBezTo>
                    <a:pt x="237" y="295"/>
                    <a:pt x="237" y="295"/>
                    <a:pt x="237" y="295"/>
                  </a:cubicBezTo>
                  <a:cubicBezTo>
                    <a:pt x="237" y="295"/>
                    <a:pt x="237" y="295"/>
                    <a:pt x="237" y="295"/>
                  </a:cubicBezTo>
                  <a:cubicBezTo>
                    <a:pt x="236" y="295"/>
                    <a:pt x="236" y="295"/>
                    <a:pt x="236" y="295"/>
                  </a:cubicBezTo>
                  <a:cubicBezTo>
                    <a:pt x="235" y="295"/>
                    <a:pt x="233" y="296"/>
                    <a:pt x="233" y="297"/>
                  </a:cubicBezTo>
                  <a:cubicBezTo>
                    <a:pt x="233" y="298"/>
                    <a:pt x="232" y="298"/>
                    <a:pt x="232" y="299"/>
                  </a:cubicBezTo>
                  <a:cubicBezTo>
                    <a:pt x="231" y="300"/>
                    <a:pt x="231" y="301"/>
                    <a:pt x="231" y="302"/>
                  </a:cubicBezTo>
                  <a:cubicBezTo>
                    <a:pt x="231" y="302"/>
                    <a:pt x="231" y="302"/>
                    <a:pt x="231" y="302"/>
                  </a:cubicBezTo>
                  <a:cubicBezTo>
                    <a:pt x="230" y="302"/>
                    <a:pt x="230" y="303"/>
                    <a:pt x="230" y="303"/>
                  </a:cubicBezTo>
                  <a:cubicBezTo>
                    <a:pt x="230" y="304"/>
                    <a:pt x="230" y="304"/>
                    <a:pt x="229" y="304"/>
                  </a:cubicBezTo>
                  <a:cubicBezTo>
                    <a:pt x="229" y="305"/>
                    <a:pt x="229" y="305"/>
                    <a:pt x="228" y="305"/>
                  </a:cubicBezTo>
                  <a:cubicBezTo>
                    <a:pt x="228" y="305"/>
                    <a:pt x="227" y="306"/>
                    <a:pt x="227" y="307"/>
                  </a:cubicBezTo>
                  <a:cubicBezTo>
                    <a:pt x="227" y="308"/>
                    <a:pt x="228" y="309"/>
                    <a:pt x="228" y="309"/>
                  </a:cubicBezTo>
                  <a:cubicBezTo>
                    <a:pt x="228" y="309"/>
                    <a:pt x="228" y="310"/>
                    <a:pt x="228" y="310"/>
                  </a:cubicBezTo>
                  <a:cubicBezTo>
                    <a:pt x="228" y="310"/>
                    <a:pt x="228" y="310"/>
                    <a:pt x="227" y="310"/>
                  </a:cubicBezTo>
                  <a:cubicBezTo>
                    <a:pt x="227" y="310"/>
                    <a:pt x="227" y="310"/>
                    <a:pt x="226" y="310"/>
                  </a:cubicBezTo>
                  <a:cubicBezTo>
                    <a:pt x="225" y="310"/>
                    <a:pt x="224" y="310"/>
                    <a:pt x="224" y="311"/>
                  </a:cubicBezTo>
                  <a:cubicBezTo>
                    <a:pt x="223" y="311"/>
                    <a:pt x="223" y="311"/>
                    <a:pt x="223" y="312"/>
                  </a:cubicBezTo>
                  <a:cubicBezTo>
                    <a:pt x="223" y="312"/>
                    <a:pt x="222" y="312"/>
                    <a:pt x="222" y="313"/>
                  </a:cubicBezTo>
                  <a:cubicBezTo>
                    <a:pt x="222" y="313"/>
                    <a:pt x="222" y="313"/>
                    <a:pt x="222" y="313"/>
                  </a:cubicBezTo>
                  <a:cubicBezTo>
                    <a:pt x="221" y="313"/>
                    <a:pt x="221" y="313"/>
                    <a:pt x="220" y="313"/>
                  </a:cubicBezTo>
                  <a:cubicBezTo>
                    <a:pt x="219" y="313"/>
                    <a:pt x="217" y="314"/>
                    <a:pt x="216" y="314"/>
                  </a:cubicBezTo>
                  <a:cubicBezTo>
                    <a:pt x="216" y="314"/>
                    <a:pt x="216" y="314"/>
                    <a:pt x="216" y="314"/>
                  </a:cubicBezTo>
                  <a:cubicBezTo>
                    <a:pt x="215" y="315"/>
                    <a:pt x="215" y="315"/>
                    <a:pt x="215" y="315"/>
                  </a:cubicBezTo>
                  <a:cubicBezTo>
                    <a:pt x="215" y="315"/>
                    <a:pt x="215" y="315"/>
                    <a:pt x="215" y="315"/>
                  </a:cubicBezTo>
                  <a:cubicBezTo>
                    <a:pt x="215" y="315"/>
                    <a:pt x="215" y="315"/>
                    <a:pt x="215" y="315"/>
                  </a:cubicBezTo>
                  <a:cubicBezTo>
                    <a:pt x="214" y="315"/>
                    <a:pt x="214" y="315"/>
                    <a:pt x="214" y="315"/>
                  </a:cubicBezTo>
                  <a:cubicBezTo>
                    <a:pt x="212" y="316"/>
                    <a:pt x="211" y="317"/>
                    <a:pt x="210" y="317"/>
                  </a:cubicBezTo>
                  <a:cubicBezTo>
                    <a:pt x="210" y="317"/>
                    <a:pt x="209" y="317"/>
                    <a:pt x="209" y="317"/>
                  </a:cubicBezTo>
                  <a:cubicBezTo>
                    <a:pt x="207" y="318"/>
                    <a:pt x="207" y="319"/>
                    <a:pt x="207" y="320"/>
                  </a:cubicBezTo>
                  <a:cubicBezTo>
                    <a:pt x="207" y="321"/>
                    <a:pt x="207" y="321"/>
                    <a:pt x="207" y="321"/>
                  </a:cubicBezTo>
                  <a:cubicBezTo>
                    <a:pt x="207" y="321"/>
                    <a:pt x="207" y="321"/>
                    <a:pt x="207" y="321"/>
                  </a:cubicBezTo>
                  <a:cubicBezTo>
                    <a:pt x="207" y="322"/>
                    <a:pt x="207" y="322"/>
                    <a:pt x="207" y="324"/>
                  </a:cubicBezTo>
                  <a:cubicBezTo>
                    <a:pt x="207" y="325"/>
                    <a:pt x="207" y="325"/>
                    <a:pt x="207" y="325"/>
                  </a:cubicBezTo>
                  <a:cubicBezTo>
                    <a:pt x="207" y="325"/>
                    <a:pt x="206" y="325"/>
                    <a:pt x="206" y="325"/>
                  </a:cubicBezTo>
                  <a:cubicBezTo>
                    <a:pt x="206" y="325"/>
                    <a:pt x="205" y="325"/>
                    <a:pt x="205" y="326"/>
                  </a:cubicBezTo>
                  <a:cubicBezTo>
                    <a:pt x="204" y="326"/>
                    <a:pt x="202" y="327"/>
                    <a:pt x="201" y="327"/>
                  </a:cubicBezTo>
                  <a:cubicBezTo>
                    <a:pt x="201" y="327"/>
                    <a:pt x="200" y="327"/>
                    <a:pt x="199" y="327"/>
                  </a:cubicBezTo>
                  <a:cubicBezTo>
                    <a:pt x="198" y="328"/>
                    <a:pt x="197" y="329"/>
                    <a:pt x="196" y="330"/>
                  </a:cubicBezTo>
                  <a:cubicBezTo>
                    <a:pt x="195" y="331"/>
                    <a:pt x="195" y="332"/>
                    <a:pt x="194" y="332"/>
                  </a:cubicBezTo>
                  <a:cubicBezTo>
                    <a:pt x="194" y="333"/>
                    <a:pt x="193" y="333"/>
                    <a:pt x="192" y="333"/>
                  </a:cubicBezTo>
                  <a:cubicBezTo>
                    <a:pt x="191" y="332"/>
                    <a:pt x="190" y="332"/>
                    <a:pt x="189" y="332"/>
                  </a:cubicBezTo>
                  <a:cubicBezTo>
                    <a:pt x="189" y="332"/>
                    <a:pt x="188" y="332"/>
                    <a:pt x="188" y="332"/>
                  </a:cubicBezTo>
                  <a:cubicBezTo>
                    <a:pt x="188" y="332"/>
                    <a:pt x="188" y="332"/>
                    <a:pt x="188" y="332"/>
                  </a:cubicBezTo>
                  <a:cubicBezTo>
                    <a:pt x="188" y="331"/>
                    <a:pt x="189" y="330"/>
                    <a:pt x="188" y="329"/>
                  </a:cubicBezTo>
                  <a:cubicBezTo>
                    <a:pt x="188" y="328"/>
                    <a:pt x="186" y="328"/>
                    <a:pt x="184" y="329"/>
                  </a:cubicBezTo>
                  <a:cubicBezTo>
                    <a:pt x="184" y="329"/>
                    <a:pt x="184" y="329"/>
                    <a:pt x="184" y="329"/>
                  </a:cubicBezTo>
                  <a:cubicBezTo>
                    <a:pt x="184" y="328"/>
                    <a:pt x="182" y="328"/>
                    <a:pt x="182" y="329"/>
                  </a:cubicBezTo>
                  <a:cubicBezTo>
                    <a:pt x="181" y="330"/>
                    <a:pt x="181" y="331"/>
                    <a:pt x="182" y="332"/>
                  </a:cubicBezTo>
                  <a:cubicBezTo>
                    <a:pt x="182" y="333"/>
                    <a:pt x="182" y="334"/>
                    <a:pt x="182" y="334"/>
                  </a:cubicBezTo>
                  <a:cubicBezTo>
                    <a:pt x="182" y="335"/>
                    <a:pt x="182" y="335"/>
                    <a:pt x="183" y="336"/>
                  </a:cubicBezTo>
                  <a:cubicBezTo>
                    <a:pt x="183" y="336"/>
                    <a:pt x="182" y="336"/>
                    <a:pt x="182" y="336"/>
                  </a:cubicBezTo>
                  <a:cubicBezTo>
                    <a:pt x="182" y="337"/>
                    <a:pt x="182" y="337"/>
                    <a:pt x="182" y="337"/>
                  </a:cubicBezTo>
                  <a:cubicBezTo>
                    <a:pt x="181" y="338"/>
                    <a:pt x="181" y="339"/>
                    <a:pt x="181" y="340"/>
                  </a:cubicBezTo>
                  <a:cubicBezTo>
                    <a:pt x="181" y="340"/>
                    <a:pt x="181" y="340"/>
                    <a:pt x="181" y="340"/>
                  </a:cubicBezTo>
                  <a:cubicBezTo>
                    <a:pt x="181" y="340"/>
                    <a:pt x="181" y="339"/>
                    <a:pt x="180" y="339"/>
                  </a:cubicBezTo>
                  <a:cubicBezTo>
                    <a:pt x="179" y="339"/>
                    <a:pt x="178" y="339"/>
                    <a:pt x="178" y="340"/>
                  </a:cubicBezTo>
                  <a:cubicBezTo>
                    <a:pt x="178" y="340"/>
                    <a:pt x="178" y="340"/>
                    <a:pt x="178" y="340"/>
                  </a:cubicBezTo>
                  <a:cubicBezTo>
                    <a:pt x="177" y="339"/>
                    <a:pt x="176" y="339"/>
                    <a:pt x="175" y="340"/>
                  </a:cubicBezTo>
                  <a:cubicBezTo>
                    <a:pt x="174" y="338"/>
                    <a:pt x="173" y="337"/>
                    <a:pt x="172" y="337"/>
                  </a:cubicBezTo>
                  <a:cubicBezTo>
                    <a:pt x="171" y="337"/>
                    <a:pt x="170" y="338"/>
                    <a:pt x="170" y="338"/>
                  </a:cubicBezTo>
                  <a:cubicBezTo>
                    <a:pt x="169" y="338"/>
                    <a:pt x="169" y="338"/>
                    <a:pt x="168" y="339"/>
                  </a:cubicBezTo>
                  <a:cubicBezTo>
                    <a:pt x="167" y="339"/>
                    <a:pt x="165" y="339"/>
                    <a:pt x="163" y="339"/>
                  </a:cubicBezTo>
                  <a:cubicBezTo>
                    <a:pt x="162" y="339"/>
                    <a:pt x="162" y="340"/>
                    <a:pt x="161" y="340"/>
                  </a:cubicBezTo>
                  <a:cubicBezTo>
                    <a:pt x="161" y="340"/>
                    <a:pt x="161" y="341"/>
                    <a:pt x="161" y="342"/>
                  </a:cubicBezTo>
                  <a:cubicBezTo>
                    <a:pt x="161" y="342"/>
                    <a:pt x="160" y="342"/>
                    <a:pt x="159" y="342"/>
                  </a:cubicBezTo>
                  <a:cubicBezTo>
                    <a:pt x="159" y="342"/>
                    <a:pt x="159" y="342"/>
                    <a:pt x="159" y="343"/>
                  </a:cubicBezTo>
                  <a:cubicBezTo>
                    <a:pt x="158" y="343"/>
                    <a:pt x="158" y="343"/>
                    <a:pt x="158" y="344"/>
                  </a:cubicBezTo>
                  <a:cubicBezTo>
                    <a:pt x="158" y="345"/>
                    <a:pt x="159" y="346"/>
                    <a:pt x="160" y="346"/>
                  </a:cubicBezTo>
                  <a:cubicBezTo>
                    <a:pt x="160" y="346"/>
                    <a:pt x="160" y="346"/>
                    <a:pt x="160" y="346"/>
                  </a:cubicBezTo>
                  <a:cubicBezTo>
                    <a:pt x="160" y="346"/>
                    <a:pt x="159" y="347"/>
                    <a:pt x="159" y="347"/>
                  </a:cubicBezTo>
                  <a:cubicBezTo>
                    <a:pt x="159" y="348"/>
                    <a:pt x="159" y="348"/>
                    <a:pt x="160" y="349"/>
                  </a:cubicBezTo>
                  <a:cubicBezTo>
                    <a:pt x="160" y="349"/>
                    <a:pt x="160" y="349"/>
                    <a:pt x="160" y="349"/>
                  </a:cubicBezTo>
                  <a:cubicBezTo>
                    <a:pt x="160" y="350"/>
                    <a:pt x="160" y="351"/>
                    <a:pt x="160" y="351"/>
                  </a:cubicBezTo>
                  <a:cubicBezTo>
                    <a:pt x="161" y="352"/>
                    <a:pt x="162" y="352"/>
                    <a:pt x="163" y="351"/>
                  </a:cubicBezTo>
                  <a:cubicBezTo>
                    <a:pt x="163" y="351"/>
                    <a:pt x="163" y="351"/>
                    <a:pt x="163" y="351"/>
                  </a:cubicBezTo>
                  <a:cubicBezTo>
                    <a:pt x="164" y="353"/>
                    <a:pt x="166" y="353"/>
                    <a:pt x="166" y="353"/>
                  </a:cubicBezTo>
                  <a:cubicBezTo>
                    <a:pt x="167" y="353"/>
                    <a:pt x="167" y="353"/>
                    <a:pt x="167" y="353"/>
                  </a:cubicBezTo>
                  <a:cubicBezTo>
                    <a:pt x="167" y="353"/>
                    <a:pt x="168" y="353"/>
                    <a:pt x="168" y="353"/>
                  </a:cubicBezTo>
                  <a:cubicBezTo>
                    <a:pt x="168" y="354"/>
                    <a:pt x="169" y="354"/>
                    <a:pt x="171" y="354"/>
                  </a:cubicBezTo>
                  <a:cubicBezTo>
                    <a:pt x="171" y="354"/>
                    <a:pt x="171" y="354"/>
                    <a:pt x="171" y="354"/>
                  </a:cubicBezTo>
                  <a:cubicBezTo>
                    <a:pt x="171" y="354"/>
                    <a:pt x="171" y="355"/>
                    <a:pt x="171" y="356"/>
                  </a:cubicBezTo>
                  <a:cubicBezTo>
                    <a:pt x="172" y="356"/>
                    <a:pt x="172" y="357"/>
                    <a:pt x="172" y="358"/>
                  </a:cubicBezTo>
                  <a:cubicBezTo>
                    <a:pt x="173" y="358"/>
                    <a:pt x="173" y="358"/>
                    <a:pt x="174" y="358"/>
                  </a:cubicBezTo>
                  <a:cubicBezTo>
                    <a:pt x="174" y="359"/>
                    <a:pt x="174" y="359"/>
                    <a:pt x="174" y="359"/>
                  </a:cubicBezTo>
                  <a:cubicBezTo>
                    <a:pt x="174" y="359"/>
                    <a:pt x="174" y="360"/>
                    <a:pt x="174" y="360"/>
                  </a:cubicBezTo>
                  <a:cubicBezTo>
                    <a:pt x="174" y="360"/>
                    <a:pt x="174" y="360"/>
                    <a:pt x="174" y="360"/>
                  </a:cubicBezTo>
                  <a:cubicBezTo>
                    <a:pt x="173" y="361"/>
                    <a:pt x="173" y="361"/>
                    <a:pt x="173" y="362"/>
                  </a:cubicBezTo>
                  <a:cubicBezTo>
                    <a:pt x="173" y="363"/>
                    <a:pt x="174" y="363"/>
                    <a:pt x="174" y="364"/>
                  </a:cubicBezTo>
                  <a:cubicBezTo>
                    <a:pt x="174" y="364"/>
                    <a:pt x="174" y="364"/>
                    <a:pt x="174" y="364"/>
                  </a:cubicBezTo>
                  <a:cubicBezTo>
                    <a:pt x="175" y="365"/>
                    <a:pt x="177" y="367"/>
                    <a:pt x="178" y="368"/>
                  </a:cubicBezTo>
                  <a:cubicBezTo>
                    <a:pt x="178" y="369"/>
                    <a:pt x="177" y="371"/>
                    <a:pt x="177" y="372"/>
                  </a:cubicBezTo>
                  <a:cubicBezTo>
                    <a:pt x="177" y="372"/>
                    <a:pt x="177" y="373"/>
                    <a:pt x="177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5" y="375"/>
                    <a:pt x="175" y="376"/>
                    <a:pt x="175" y="377"/>
                  </a:cubicBezTo>
                  <a:cubicBezTo>
                    <a:pt x="175" y="377"/>
                    <a:pt x="175" y="377"/>
                    <a:pt x="175" y="377"/>
                  </a:cubicBezTo>
                  <a:cubicBezTo>
                    <a:pt x="175" y="378"/>
                    <a:pt x="175" y="378"/>
                    <a:pt x="175" y="378"/>
                  </a:cubicBezTo>
                  <a:cubicBezTo>
                    <a:pt x="175" y="379"/>
                    <a:pt x="175" y="380"/>
                    <a:pt x="175" y="380"/>
                  </a:cubicBezTo>
                  <a:cubicBezTo>
                    <a:pt x="175" y="380"/>
                    <a:pt x="175" y="380"/>
                    <a:pt x="175" y="380"/>
                  </a:cubicBezTo>
                  <a:cubicBezTo>
                    <a:pt x="174" y="381"/>
                    <a:pt x="174" y="381"/>
                    <a:pt x="174" y="381"/>
                  </a:cubicBezTo>
                  <a:cubicBezTo>
                    <a:pt x="173" y="382"/>
                    <a:pt x="173" y="383"/>
                    <a:pt x="173" y="383"/>
                  </a:cubicBezTo>
                  <a:cubicBezTo>
                    <a:pt x="173" y="384"/>
                    <a:pt x="174" y="384"/>
                    <a:pt x="174" y="384"/>
                  </a:cubicBezTo>
                  <a:cubicBezTo>
                    <a:pt x="174" y="384"/>
                    <a:pt x="174" y="385"/>
                    <a:pt x="174" y="385"/>
                  </a:cubicBezTo>
                  <a:cubicBezTo>
                    <a:pt x="174" y="386"/>
                    <a:pt x="173" y="386"/>
                    <a:pt x="173" y="386"/>
                  </a:cubicBezTo>
                  <a:cubicBezTo>
                    <a:pt x="173" y="387"/>
                    <a:pt x="169" y="393"/>
                    <a:pt x="169" y="394"/>
                  </a:cubicBezTo>
                  <a:cubicBezTo>
                    <a:pt x="169" y="394"/>
                    <a:pt x="168" y="394"/>
                    <a:pt x="168" y="394"/>
                  </a:cubicBezTo>
                  <a:cubicBezTo>
                    <a:pt x="168" y="394"/>
                    <a:pt x="168" y="395"/>
                    <a:pt x="168" y="395"/>
                  </a:cubicBezTo>
                  <a:cubicBezTo>
                    <a:pt x="167" y="395"/>
                    <a:pt x="167" y="395"/>
                    <a:pt x="166" y="395"/>
                  </a:cubicBezTo>
                  <a:cubicBezTo>
                    <a:pt x="166" y="395"/>
                    <a:pt x="166" y="395"/>
                    <a:pt x="166" y="395"/>
                  </a:cubicBezTo>
                  <a:cubicBezTo>
                    <a:pt x="166" y="396"/>
                    <a:pt x="166" y="396"/>
                    <a:pt x="166" y="396"/>
                  </a:cubicBezTo>
                  <a:cubicBezTo>
                    <a:pt x="166" y="396"/>
                    <a:pt x="166" y="396"/>
                    <a:pt x="166" y="396"/>
                  </a:cubicBezTo>
                  <a:cubicBezTo>
                    <a:pt x="165" y="397"/>
                    <a:pt x="165" y="397"/>
                    <a:pt x="165" y="397"/>
                  </a:cubicBezTo>
                  <a:cubicBezTo>
                    <a:pt x="165" y="397"/>
                    <a:pt x="164" y="396"/>
                    <a:pt x="164" y="396"/>
                  </a:cubicBezTo>
                  <a:cubicBezTo>
                    <a:pt x="164" y="396"/>
                    <a:pt x="163" y="396"/>
                    <a:pt x="163" y="395"/>
                  </a:cubicBezTo>
                  <a:cubicBezTo>
                    <a:pt x="161" y="394"/>
                    <a:pt x="159" y="395"/>
                    <a:pt x="158" y="395"/>
                  </a:cubicBezTo>
                  <a:cubicBezTo>
                    <a:pt x="158" y="395"/>
                    <a:pt x="157" y="394"/>
                    <a:pt x="155" y="394"/>
                  </a:cubicBezTo>
                  <a:cubicBezTo>
                    <a:pt x="155" y="394"/>
                    <a:pt x="155" y="394"/>
                    <a:pt x="155" y="394"/>
                  </a:cubicBezTo>
                  <a:cubicBezTo>
                    <a:pt x="155" y="394"/>
                    <a:pt x="154" y="394"/>
                    <a:pt x="151" y="395"/>
                  </a:cubicBezTo>
                  <a:cubicBezTo>
                    <a:pt x="151" y="395"/>
                    <a:pt x="151" y="394"/>
                    <a:pt x="151" y="394"/>
                  </a:cubicBezTo>
                  <a:cubicBezTo>
                    <a:pt x="150" y="394"/>
                    <a:pt x="150" y="394"/>
                    <a:pt x="149" y="394"/>
                  </a:cubicBezTo>
                  <a:cubicBezTo>
                    <a:pt x="149" y="394"/>
                    <a:pt x="148" y="394"/>
                    <a:pt x="147" y="394"/>
                  </a:cubicBezTo>
                  <a:cubicBezTo>
                    <a:pt x="147" y="393"/>
                    <a:pt x="147" y="393"/>
                    <a:pt x="147" y="393"/>
                  </a:cubicBezTo>
                  <a:cubicBezTo>
                    <a:pt x="146" y="393"/>
                    <a:pt x="145" y="392"/>
                    <a:pt x="144" y="393"/>
                  </a:cubicBezTo>
                  <a:cubicBezTo>
                    <a:pt x="143" y="393"/>
                    <a:pt x="142" y="393"/>
                    <a:pt x="142" y="392"/>
                  </a:cubicBezTo>
                  <a:cubicBezTo>
                    <a:pt x="141" y="391"/>
                    <a:pt x="139" y="391"/>
                    <a:pt x="138" y="392"/>
                  </a:cubicBezTo>
                  <a:cubicBezTo>
                    <a:pt x="137" y="392"/>
                    <a:pt x="135" y="392"/>
                    <a:pt x="135" y="392"/>
                  </a:cubicBezTo>
                  <a:cubicBezTo>
                    <a:pt x="134" y="392"/>
                    <a:pt x="133" y="392"/>
                    <a:pt x="131" y="392"/>
                  </a:cubicBezTo>
                  <a:cubicBezTo>
                    <a:pt x="131" y="392"/>
                    <a:pt x="131" y="392"/>
                    <a:pt x="131" y="392"/>
                  </a:cubicBezTo>
                  <a:cubicBezTo>
                    <a:pt x="130" y="391"/>
                    <a:pt x="129" y="391"/>
                    <a:pt x="128" y="391"/>
                  </a:cubicBezTo>
                  <a:cubicBezTo>
                    <a:pt x="128" y="391"/>
                    <a:pt x="127" y="391"/>
                    <a:pt x="127" y="391"/>
                  </a:cubicBezTo>
                  <a:cubicBezTo>
                    <a:pt x="126" y="391"/>
                    <a:pt x="126" y="391"/>
                    <a:pt x="126" y="391"/>
                  </a:cubicBezTo>
                  <a:cubicBezTo>
                    <a:pt x="124" y="390"/>
                    <a:pt x="123" y="391"/>
                    <a:pt x="120" y="394"/>
                  </a:cubicBezTo>
                  <a:cubicBezTo>
                    <a:pt x="120" y="395"/>
                    <a:pt x="119" y="395"/>
                    <a:pt x="118" y="395"/>
                  </a:cubicBezTo>
                  <a:cubicBezTo>
                    <a:pt x="117" y="395"/>
                    <a:pt x="117" y="395"/>
                    <a:pt x="116" y="396"/>
                  </a:cubicBezTo>
                  <a:cubicBezTo>
                    <a:pt x="115" y="396"/>
                    <a:pt x="114" y="398"/>
                    <a:pt x="114" y="399"/>
                  </a:cubicBezTo>
                  <a:cubicBezTo>
                    <a:pt x="114" y="400"/>
                    <a:pt x="114" y="400"/>
                    <a:pt x="114" y="400"/>
                  </a:cubicBezTo>
                  <a:cubicBezTo>
                    <a:pt x="113" y="400"/>
                    <a:pt x="113" y="401"/>
                    <a:pt x="114" y="402"/>
                  </a:cubicBezTo>
                  <a:cubicBezTo>
                    <a:pt x="114" y="402"/>
                    <a:pt x="114" y="402"/>
                    <a:pt x="114" y="403"/>
                  </a:cubicBezTo>
                  <a:cubicBezTo>
                    <a:pt x="114" y="403"/>
                    <a:pt x="114" y="403"/>
                    <a:pt x="114" y="403"/>
                  </a:cubicBezTo>
                  <a:cubicBezTo>
                    <a:pt x="114" y="403"/>
                    <a:pt x="114" y="404"/>
                    <a:pt x="114" y="404"/>
                  </a:cubicBezTo>
                  <a:cubicBezTo>
                    <a:pt x="114" y="404"/>
                    <a:pt x="114" y="405"/>
                    <a:pt x="115" y="405"/>
                  </a:cubicBezTo>
                  <a:cubicBezTo>
                    <a:pt x="115" y="405"/>
                    <a:pt x="115" y="406"/>
                    <a:pt x="115" y="406"/>
                  </a:cubicBezTo>
                  <a:cubicBezTo>
                    <a:pt x="115" y="407"/>
                    <a:pt x="115" y="407"/>
                    <a:pt x="115" y="407"/>
                  </a:cubicBezTo>
                  <a:cubicBezTo>
                    <a:pt x="115" y="408"/>
                    <a:pt x="114" y="409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4" y="410"/>
                    <a:pt x="114" y="410"/>
                    <a:pt x="114" y="410"/>
                  </a:cubicBezTo>
                  <a:cubicBezTo>
                    <a:pt x="113" y="411"/>
                    <a:pt x="113" y="411"/>
                    <a:pt x="113" y="412"/>
                  </a:cubicBezTo>
                  <a:cubicBezTo>
                    <a:pt x="113" y="412"/>
                    <a:pt x="113" y="412"/>
                    <a:pt x="113" y="413"/>
                  </a:cubicBezTo>
                  <a:cubicBezTo>
                    <a:pt x="113" y="414"/>
                    <a:pt x="113" y="415"/>
                    <a:pt x="113" y="417"/>
                  </a:cubicBezTo>
                  <a:cubicBezTo>
                    <a:pt x="113" y="419"/>
                    <a:pt x="112" y="421"/>
                    <a:pt x="112" y="422"/>
                  </a:cubicBezTo>
                  <a:cubicBezTo>
                    <a:pt x="111" y="422"/>
                    <a:pt x="111" y="423"/>
                    <a:pt x="112" y="424"/>
                  </a:cubicBezTo>
                  <a:cubicBezTo>
                    <a:pt x="112" y="424"/>
                    <a:pt x="111" y="425"/>
                    <a:pt x="110" y="426"/>
                  </a:cubicBezTo>
                  <a:cubicBezTo>
                    <a:pt x="108" y="427"/>
                    <a:pt x="108" y="429"/>
                    <a:pt x="109" y="430"/>
                  </a:cubicBezTo>
                  <a:cubicBezTo>
                    <a:pt x="110" y="430"/>
                    <a:pt x="110" y="430"/>
                    <a:pt x="110" y="430"/>
                  </a:cubicBezTo>
                  <a:cubicBezTo>
                    <a:pt x="110" y="430"/>
                    <a:pt x="110" y="430"/>
                    <a:pt x="110" y="430"/>
                  </a:cubicBezTo>
                  <a:cubicBezTo>
                    <a:pt x="109" y="430"/>
                    <a:pt x="109" y="430"/>
                    <a:pt x="109" y="430"/>
                  </a:cubicBezTo>
                  <a:cubicBezTo>
                    <a:pt x="108" y="431"/>
                    <a:pt x="108" y="431"/>
                    <a:pt x="106" y="434"/>
                  </a:cubicBezTo>
                  <a:cubicBezTo>
                    <a:pt x="107" y="435"/>
                    <a:pt x="107" y="435"/>
                    <a:pt x="107" y="435"/>
                  </a:cubicBezTo>
                  <a:cubicBezTo>
                    <a:pt x="107" y="435"/>
                    <a:pt x="107" y="435"/>
                    <a:pt x="107" y="435"/>
                  </a:cubicBezTo>
                  <a:cubicBezTo>
                    <a:pt x="106" y="434"/>
                    <a:pt x="106" y="434"/>
                    <a:pt x="106" y="434"/>
                  </a:cubicBezTo>
                  <a:cubicBezTo>
                    <a:pt x="106" y="434"/>
                    <a:pt x="105" y="435"/>
                    <a:pt x="105" y="436"/>
                  </a:cubicBezTo>
                  <a:cubicBezTo>
                    <a:pt x="105" y="436"/>
                    <a:pt x="105" y="436"/>
                    <a:pt x="105" y="436"/>
                  </a:cubicBezTo>
                  <a:cubicBezTo>
                    <a:pt x="105" y="436"/>
                    <a:pt x="104" y="436"/>
                    <a:pt x="104" y="436"/>
                  </a:cubicBezTo>
                  <a:cubicBezTo>
                    <a:pt x="103" y="436"/>
                    <a:pt x="102" y="437"/>
                    <a:pt x="103" y="440"/>
                  </a:cubicBezTo>
                  <a:cubicBezTo>
                    <a:pt x="103" y="440"/>
                    <a:pt x="103" y="440"/>
                    <a:pt x="103" y="440"/>
                  </a:cubicBezTo>
                  <a:cubicBezTo>
                    <a:pt x="103" y="441"/>
                    <a:pt x="103" y="441"/>
                    <a:pt x="103" y="441"/>
                  </a:cubicBezTo>
                  <a:cubicBezTo>
                    <a:pt x="102" y="441"/>
                    <a:pt x="102" y="442"/>
                    <a:pt x="102" y="443"/>
                  </a:cubicBezTo>
                  <a:cubicBezTo>
                    <a:pt x="102" y="444"/>
                    <a:pt x="104" y="444"/>
                    <a:pt x="105" y="444"/>
                  </a:cubicBezTo>
                  <a:cubicBezTo>
                    <a:pt x="105" y="444"/>
                    <a:pt x="105" y="444"/>
                    <a:pt x="105" y="444"/>
                  </a:cubicBezTo>
                  <a:cubicBezTo>
                    <a:pt x="105" y="444"/>
                    <a:pt x="105" y="444"/>
                    <a:pt x="105" y="445"/>
                  </a:cubicBezTo>
                  <a:cubicBezTo>
                    <a:pt x="104" y="445"/>
                    <a:pt x="103" y="446"/>
                    <a:pt x="103" y="447"/>
                  </a:cubicBezTo>
                  <a:cubicBezTo>
                    <a:pt x="103" y="448"/>
                    <a:pt x="103" y="449"/>
                    <a:pt x="104" y="449"/>
                  </a:cubicBezTo>
                  <a:cubicBezTo>
                    <a:pt x="104" y="449"/>
                    <a:pt x="104" y="449"/>
                    <a:pt x="105" y="449"/>
                  </a:cubicBezTo>
                  <a:cubicBezTo>
                    <a:pt x="105" y="449"/>
                    <a:pt x="105" y="450"/>
                    <a:pt x="105" y="450"/>
                  </a:cubicBezTo>
                  <a:cubicBezTo>
                    <a:pt x="105" y="450"/>
                    <a:pt x="105" y="451"/>
                    <a:pt x="105" y="451"/>
                  </a:cubicBezTo>
                  <a:cubicBezTo>
                    <a:pt x="105" y="453"/>
                    <a:pt x="104" y="454"/>
                    <a:pt x="104" y="455"/>
                  </a:cubicBezTo>
                  <a:cubicBezTo>
                    <a:pt x="104" y="456"/>
                    <a:pt x="103" y="459"/>
                    <a:pt x="103" y="459"/>
                  </a:cubicBezTo>
                  <a:cubicBezTo>
                    <a:pt x="102" y="460"/>
                    <a:pt x="102" y="461"/>
                    <a:pt x="102" y="462"/>
                  </a:cubicBezTo>
                  <a:cubicBezTo>
                    <a:pt x="102" y="463"/>
                    <a:pt x="103" y="463"/>
                    <a:pt x="105" y="463"/>
                  </a:cubicBezTo>
                  <a:cubicBezTo>
                    <a:pt x="105" y="463"/>
                    <a:pt x="106" y="463"/>
                    <a:pt x="106" y="462"/>
                  </a:cubicBezTo>
                  <a:cubicBezTo>
                    <a:pt x="106" y="462"/>
                    <a:pt x="107" y="462"/>
                    <a:pt x="108" y="463"/>
                  </a:cubicBezTo>
                  <a:cubicBezTo>
                    <a:pt x="109" y="464"/>
                    <a:pt x="110" y="465"/>
                    <a:pt x="112" y="465"/>
                  </a:cubicBezTo>
                  <a:cubicBezTo>
                    <a:pt x="113" y="465"/>
                    <a:pt x="115" y="464"/>
                    <a:pt x="117" y="463"/>
                  </a:cubicBezTo>
                  <a:cubicBezTo>
                    <a:pt x="117" y="463"/>
                    <a:pt x="117" y="463"/>
                    <a:pt x="117" y="463"/>
                  </a:cubicBezTo>
                  <a:cubicBezTo>
                    <a:pt x="118" y="463"/>
                    <a:pt x="118" y="463"/>
                    <a:pt x="118" y="463"/>
                  </a:cubicBezTo>
                  <a:cubicBezTo>
                    <a:pt x="118" y="463"/>
                    <a:pt x="120" y="464"/>
                    <a:pt x="120" y="465"/>
                  </a:cubicBezTo>
                  <a:cubicBezTo>
                    <a:pt x="120" y="465"/>
                    <a:pt x="120" y="465"/>
                    <a:pt x="120" y="466"/>
                  </a:cubicBezTo>
                  <a:cubicBezTo>
                    <a:pt x="120" y="466"/>
                    <a:pt x="120" y="467"/>
                    <a:pt x="120" y="468"/>
                  </a:cubicBezTo>
                  <a:cubicBezTo>
                    <a:pt x="120" y="468"/>
                    <a:pt x="121" y="468"/>
                    <a:pt x="121" y="469"/>
                  </a:cubicBezTo>
                  <a:cubicBezTo>
                    <a:pt x="121" y="470"/>
                    <a:pt x="122" y="472"/>
                    <a:pt x="123" y="473"/>
                  </a:cubicBezTo>
                  <a:cubicBezTo>
                    <a:pt x="124" y="473"/>
                    <a:pt x="124" y="473"/>
                    <a:pt x="124" y="473"/>
                  </a:cubicBezTo>
                  <a:cubicBezTo>
                    <a:pt x="124" y="473"/>
                    <a:pt x="123" y="474"/>
                    <a:pt x="124" y="474"/>
                  </a:cubicBezTo>
                  <a:cubicBezTo>
                    <a:pt x="124" y="475"/>
                    <a:pt x="124" y="475"/>
                    <a:pt x="125" y="475"/>
                  </a:cubicBezTo>
                  <a:cubicBezTo>
                    <a:pt x="124" y="475"/>
                    <a:pt x="123" y="475"/>
                    <a:pt x="123" y="476"/>
                  </a:cubicBezTo>
                  <a:cubicBezTo>
                    <a:pt x="122" y="477"/>
                    <a:pt x="121" y="478"/>
                    <a:pt x="120" y="479"/>
                  </a:cubicBezTo>
                  <a:cubicBezTo>
                    <a:pt x="120" y="480"/>
                    <a:pt x="119" y="481"/>
                    <a:pt x="118" y="482"/>
                  </a:cubicBezTo>
                  <a:cubicBezTo>
                    <a:pt x="118" y="483"/>
                    <a:pt x="117" y="484"/>
                    <a:pt x="116" y="486"/>
                  </a:cubicBezTo>
                  <a:cubicBezTo>
                    <a:pt x="116" y="486"/>
                    <a:pt x="116" y="486"/>
                    <a:pt x="116" y="487"/>
                  </a:cubicBezTo>
                  <a:cubicBezTo>
                    <a:pt x="116" y="488"/>
                    <a:pt x="116" y="488"/>
                    <a:pt x="115" y="489"/>
                  </a:cubicBezTo>
                  <a:cubicBezTo>
                    <a:pt x="115" y="490"/>
                    <a:pt x="114" y="490"/>
                    <a:pt x="114" y="491"/>
                  </a:cubicBezTo>
                  <a:cubicBezTo>
                    <a:pt x="113" y="491"/>
                    <a:pt x="113" y="491"/>
                    <a:pt x="113" y="491"/>
                  </a:cubicBezTo>
                  <a:cubicBezTo>
                    <a:pt x="112" y="492"/>
                    <a:pt x="112" y="492"/>
                    <a:pt x="111" y="493"/>
                  </a:cubicBezTo>
                  <a:cubicBezTo>
                    <a:pt x="111" y="493"/>
                    <a:pt x="111" y="493"/>
                    <a:pt x="111" y="493"/>
                  </a:cubicBezTo>
                  <a:cubicBezTo>
                    <a:pt x="111" y="493"/>
                    <a:pt x="110" y="493"/>
                    <a:pt x="110" y="493"/>
                  </a:cubicBezTo>
                  <a:cubicBezTo>
                    <a:pt x="109" y="494"/>
                    <a:pt x="109" y="494"/>
                    <a:pt x="108" y="494"/>
                  </a:cubicBezTo>
                  <a:cubicBezTo>
                    <a:pt x="108" y="494"/>
                    <a:pt x="108" y="495"/>
                    <a:pt x="107" y="495"/>
                  </a:cubicBezTo>
                  <a:cubicBezTo>
                    <a:pt x="107" y="495"/>
                    <a:pt x="106" y="495"/>
                    <a:pt x="105" y="496"/>
                  </a:cubicBezTo>
                  <a:cubicBezTo>
                    <a:pt x="105" y="496"/>
                    <a:pt x="105" y="496"/>
                    <a:pt x="104" y="497"/>
                  </a:cubicBezTo>
                  <a:cubicBezTo>
                    <a:pt x="104" y="497"/>
                    <a:pt x="104" y="497"/>
                    <a:pt x="103" y="497"/>
                  </a:cubicBezTo>
                  <a:cubicBezTo>
                    <a:pt x="102" y="498"/>
                    <a:pt x="101" y="498"/>
                    <a:pt x="100" y="499"/>
                  </a:cubicBezTo>
                  <a:cubicBezTo>
                    <a:pt x="100" y="499"/>
                    <a:pt x="100" y="499"/>
                    <a:pt x="99" y="500"/>
                  </a:cubicBezTo>
                  <a:cubicBezTo>
                    <a:pt x="99" y="500"/>
                    <a:pt x="98" y="500"/>
                    <a:pt x="98" y="500"/>
                  </a:cubicBezTo>
                  <a:cubicBezTo>
                    <a:pt x="96" y="501"/>
                    <a:pt x="96" y="502"/>
                    <a:pt x="95" y="504"/>
                  </a:cubicBezTo>
                  <a:cubicBezTo>
                    <a:pt x="95" y="504"/>
                    <a:pt x="95" y="504"/>
                    <a:pt x="94" y="504"/>
                  </a:cubicBezTo>
                  <a:cubicBezTo>
                    <a:pt x="94" y="505"/>
                    <a:pt x="94" y="505"/>
                    <a:pt x="94" y="505"/>
                  </a:cubicBezTo>
                  <a:cubicBezTo>
                    <a:pt x="93" y="505"/>
                    <a:pt x="92" y="505"/>
                    <a:pt x="91" y="506"/>
                  </a:cubicBezTo>
                  <a:cubicBezTo>
                    <a:pt x="91" y="507"/>
                    <a:pt x="91" y="508"/>
                    <a:pt x="90" y="509"/>
                  </a:cubicBezTo>
                  <a:cubicBezTo>
                    <a:pt x="90" y="509"/>
                    <a:pt x="90" y="509"/>
                    <a:pt x="90" y="509"/>
                  </a:cubicBezTo>
                  <a:cubicBezTo>
                    <a:pt x="90" y="510"/>
                    <a:pt x="90" y="512"/>
                    <a:pt x="89" y="512"/>
                  </a:cubicBezTo>
                  <a:cubicBezTo>
                    <a:pt x="89" y="512"/>
                    <a:pt x="89" y="512"/>
                    <a:pt x="89" y="512"/>
                  </a:cubicBezTo>
                  <a:cubicBezTo>
                    <a:pt x="89" y="512"/>
                    <a:pt x="89" y="513"/>
                    <a:pt x="88" y="513"/>
                  </a:cubicBezTo>
                  <a:cubicBezTo>
                    <a:pt x="88" y="513"/>
                    <a:pt x="88" y="513"/>
                    <a:pt x="88" y="514"/>
                  </a:cubicBezTo>
                  <a:cubicBezTo>
                    <a:pt x="88" y="514"/>
                    <a:pt x="87" y="514"/>
                    <a:pt x="87" y="514"/>
                  </a:cubicBezTo>
                  <a:cubicBezTo>
                    <a:pt x="87" y="515"/>
                    <a:pt x="86" y="516"/>
                    <a:pt x="86" y="516"/>
                  </a:cubicBezTo>
                  <a:cubicBezTo>
                    <a:pt x="86" y="517"/>
                    <a:pt x="86" y="517"/>
                    <a:pt x="86" y="517"/>
                  </a:cubicBezTo>
                  <a:cubicBezTo>
                    <a:pt x="86" y="517"/>
                    <a:pt x="85" y="518"/>
                    <a:pt x="85" y="518"/>
                  </a:cubicBezTo>
                  <a:cubicBezTo>
                    <a:pt x="85" y="518"/>
                    <a:pt x="84" y="519"/>
                    <a:pt x="84" y="520"/>
                  </a:cubicBezTo>
                  <a:cubicBezTo>
                    <a:pt x="84" y="521"/>
                    <a:pt x="84" y="522"/>
                    <a:pt x="84" y="523"/>
                  </a:cubicBezTo>
                  <a:cubicBezTo>
                    <a:pt x="83" y="524"/>
                    <a:pt x="83" y="524"/>
                    <a:pt x="83" y="525"/>
                  </a:cubicBezTo>
                  <a:cubicBezTo>
                    <a:pt x="83" y="525"/>
                    <a:pt x="83" y="525"/>
                    <a:pt x="83" y="526"/>
                  </a:cubicBezTo>
                  <a:cubicBezTo>
                    <a:pt x="83" y="526"/>
                    <a:pt x="82" y="526"/>
                    <a:pt x="82" y="526"/>
                  </a:cubicBezTo>
                  <a:cubicBezTo>
                    <a:pt x="82" y="527"/>
                    <a:pt x="81" y="528"/>
                    <a:pt x="81" y="529"/>
                  </a:cubicBezTo>
                  <a:cubicBezTo>
                    <a:pt x="81" y="530"/>
                    <a:pt x="82" y="530"/>
                    <a:pt x="83" y="531"/>
                  </a:cubicBezTo>
                  <a:cubicBezTo>
                    <a:pt x="83" y="531"/>
                    <a:pt x="83" y="531"/>
                    <a:pt x="83" y="531"/>
                  </a:cubicBezTo>
                  <a:cubicBezTo>
                    <a:pt x="83" y="531"/>
                    <a:pt x="83" y="533"/>
                    <a:pt x="83" y="533"/>
                  </a:cubicBezTo>
                  <a:cubicBezTo>
                    <a:pt x="82" y="534"/>
                    <a:pt x="82" y="534"/>
                    <a:pt x="82" y="534"/>
                  </a:cubicBezTo>
                  <a:cubicBezTo>
                    <a:pt x="82" y="534"/>
                    <a:pt x="82" y="535"/>
                    <a:pt x="81" y="535"/>
                  </a:cubicBezTo>
                  <a:cubicBezTo>
                    <a:pt x="80" y="536"/>
                    <a:pt x="79" y="537"/>
                    <a:pt x="79" y="538"/>
                  </a:cubicBezTo>
                  <a:cubicBezTo>
                    <a:pt x="78" y="538"/>
                    <a:pt x="77" y="539"/>
                    <a:pt x="77" y="539"/>
                  </a:cubicBezTo>
                  <a:cubicBezTo>
                    <a:pt x="76" y="540"/>
                    <a:pt x="75" y="541"/>
                    <a:pt x="75" y="541"/>
                  </a:cubicBezTo>
                  <a:cubicBezTo>
                    <a:pt x="74" y="542"/>
                    <a:pt x="74" y="542"/>
                    <a:pt x="74" y="542"/>
                  </a:cubicBezTo>
                  <a:cubicBezTo>
                    <a:pt x="74" y="542"/>
                    <a:pt x="73" y="543"/>
                    <a:pt x="73" y="543"/>
                  </a:cubicBezTo>
                  <a:cubicBezTo>
                    <a:pt x="73" y="543"/>
                    <a:pt x="72" y="543"/>
                    <a:pt x="72" y="543"/>
                  </a:cubicBezTo>
                  <a:cubicBezTo>
                    <a:pt x="72" y="543"/>
                    <a:pt x="72" y="543"/>
                    <a:pt x="72" y="543"/>
                  </a:cubicBezTo>
                  <a:cubicBezTo>
                    <a:pt x="71" y="544"/>
                    <a:pt x="70" y="544"/>
                    <a:pt x="69" y="545"/>
                  </a:cubicBezTo>
                  <a:cubicBezTo>
                    <a:pt x="69" y="546"/>
                    <a:pt x="69" y="546"/>
                    <a:pt x="69" y="546"/>
                  </a:cubicBezTo>
                  <a:cubicBezTo>
                    <a:pt x="69" y="546"/>
                    <a:pt x="69" y="547"/>
                    <a:pt x="68" y="547"/>
                  </a:cubicBezTo>
                  <a:cubicBezTo>
                    <a:pt x="68" y="547"/>
                    <a:pt x="68" y="547"/>
                    <a:pt x="68" y="547"/>
                  </a:cubicBezTo>
                  <a:cubicBezTo>
                    <a:pt x="67" y="548"/>
                    <a:pt x="67" y="548"/>
                    <a:pt x="67" y="548"/>
                  </a:cubicBezTo>
                  <a:cubicBezTo>
                    <a:pt x="67" y="548"/>
                    <a:pt x="66" y="549"/>
                    <a:pt x="66" y="549"/>
                  </a:cubicBezTo>
                  <a:cubicBezTo>
                    <a:pt x="66" y="549"/>
                    <a:pt x="66" y="549"/>
                    <a:pt x="65" y="549"/>
                  </a:cubicBezTo>
                  <a:cubicBezTo>
                    <a:pt x="65" y="549"/>
                    <a:pt x="65" y="549"/>
                    <a:pt x="64" y="550"/>
                  </a:cubicBezTo>
                  <a:cubicBezTo>
                    <a:pt x="64" y="550"/>
                    <a:pt x="64" y="550"/>
                    <a:pt x="64" y="550"/>
                  </a:cubicBezTo>
                  <a:cubicBezTo>
                    <a:pt x="63" y="550"/>
                    <a:pt x="63" y="550"/>
                    <a:pt x="62" y="551"/>
                  </a:cubicBezTo>
                  <a:cubicBezTo>
                    <a:pt x="62" y="551"/>
                    <a:pt x="62" y="551"/>
                    <a:pt x="62" y="551"/>
                  </a:cubicBezTo>
                  <a:cubicBezTo>
                    <a:pt x="62" y="551"/>
                    <a:pt x="62" y="551"/>
                    <a:pt x="61" y="551"/>
                  </a:cubicBezTo>
                  <a:cubicBezTo>
                    <a:pt x="61" y="551"/>
                    <a:pt x="61" y="551"/>
                    <a:pt x="61" y="551"/>
                  </a:cubicBezTo>
                  <a:cubicBezTo>
                    <a:pt x="61" y="551"/>
                    <a:pt x="61" y="551"/>
                    <a:pt x="61" y="551"/>
                  </a:cubicBezTo>
                  <a:cubicBezTo>
                    <a:pt x="61" y="551"/>
                    <a:pt x="60" y="551"/>
                    <a:pt x="60" y="551"/>
                  </a:cubicBezTo>
                  <a:cubicBezTo>
                    <a:pt x="58" y="551"/>
                    <a:pt x="57" y="551"/>
                    <a:pt x="56" y="552"/>
                  </a:cubicBezTo>
                  <a:cubicBezTo>
                    <a:pt x="56" y="552"/>
                    <a:pt x="56" y="552"/>
                    <a:pt x="56" y="552"/>
                  </a:cubicBezTo>
                  <a:cubicBezTo>
                    <a:pt x="55" y="552"/>
                    <a:pt x="55" y="553"/>
                    <a:pt x="54" y="553"/>
                  </a:cubicBezTo>
                  <a:cubicBezTo>
                    <a:pt x="53" y="554"/>
                    <a:pt x="53" y="555"/>
                    <a:pt x="53" y="556"/>
                  </a:cubicBezTo>
                  <a:cubicBezTo>
                    <a:pt x="53" y="556"/>
                    <a:pt x="53" y="556"/>
                    <a:pt x="53" y="556"/>
                  </a:cubicBezTo>
                  <a:cubicBezTo>
                    <a:pt x="53" y="556"/>
                    <a:pt x="53" y="557"/>
                    <a:pt x="52" y="557"/>
                  </a:cubicBezTo>
                  <a:cubicBezTo>
                    <a:pt x="52" y="557"/>
                    <a:pt x="52" y="557"/>
                    <a:pt x="52" y="558"/>
                  </a:cubicBezTo>
                  <a:cubicBezTo>
                    <a:pt x="51" y="558"/>
                    <a:pt x="50" y="559"/>
                    <a:pt x="50" y="560"/>
                  </a:cubicBezTo>
                  <a:cubicBezTo>
                    <a:pt x="49" y="561"/>
                    <a:pt x="49" y="563"/>
                    <a:pt x="48" y="564"/>
                  </a:cubicBezTo>
                  <a:cubicBezTo>
                    <a:pt x="48" y="565"/>
                    <a:pt x="48" y="565"/>
                    <a:pt x="47" y="565"/>
                  </a:cubicBezTo>
                  <a:cubicBezTo>
                    <a:pt x="47" y="566"/>
                    <a:pt x="47" y="567"/>
                    <a:pt x="46" y="567"/>
                  </a:cubicBezTo>
                  <a:cubicBezTo>
                    <a:pt x="46" y="567"/>
                    <a:pt x="46" y="568"/>
                    <a:pt x="45" y="568"/>
                  </a:cubicBezTo>
                  <a:cubicBezTo>
                    <a:pt x="46" y="569"/>
                    <a:pt x="46" y="569"/>
                    <a:pt x="46" y="569"/>
                  </a:cubicBezTo>
                  <a:cubicBezTo>
                    <a:pt x="45" y="568"/>
                    <a:pt x="45" y="568"/>
                    <a:pt x="45" y="568"/>
                  </a:cubicBezTo>
                  <a:cubicBezTo>
                    <a:pt x="45" y="568"/>
                    <a:pt x="45" y="568"/>
                    <a:pt x="45" y="568"/>
                  </a:cubicBezTo>
                  <a:cubicBezTo>
                    <a:pt x="44" y="568"/>
                    <a:pt x="42" y="569"/>
                    <a:pt x="41" y="570"/>
                  </a:cubicBezTo>
                  <a:cubicBezTo>
                    <a:pt x="41" y="571"/>
                    <a:pt x="41" y="571"/>
                    <a:pt x="41" y="572"/>
                  </a:cubicBezTo>
                  <a:cubicBezTo>
                    <a:pt x="40" y="573"/>
                    <a:pt x="40" y="573"/>
                    <a:pt x="40" y="573"/>
                  </a:cubicBezTo>
                  <a:cubicBezTo>
                    <a:pt x="40" y="574"/>
                    <a:pt x="40" y="574"/>
                    <a:pt x="40" y="575"/>
                  </a:cubicBezTo>
                  <a:cubicBezTo>
                    <a:pt x="39" y="575"/>
                    <a:pt x="39" y="576"/>
                    <a:pt x="38" y="577"/>
                  </a:cubicBezTo>
                  <a:cubicBezTo>
                    <a:pt x="38" y="577"/>
                    <a:pt x="38" y="577"/>
                    <a:pt x="38" y="577"/>
                  </a:cubicBezTo>
                  <a:cubicBezTo>
                    <a:pt x="37" y="578"/>
                    <a:pt x="37" y="579"/>
                    <a:pt x="36" y="581"/>
                  </a:cubicBezTo>
                  <a:cubicBezTo>
                    <a:pt x="36" y="581"/>
                    <a:pt x="36" y="582"/>
                    <a:pt x="36" y="582"/>
                  </a:cubicBezTo>
                  <a:cubicBezTo>
                    <a:pt x="36" y="583"/>
                    <a:pt x="36" y="583"/>
                    <a:pt x="36" y="584"/>
                  </a:cubicBezTo>
                  <a:cubicBezTo>
                    <a:pt x="36" y="585"/>
                    <a:pt x="35" y="585"/>
                    <a:pt x="34" y="586"/>
                  </a:cubicBezTo>
                  <a:cubicBezTo>
                    <a:pt x="34" y="587"/>
                    <a:pt x="33" y="587"/>
                    <a:pt x="32" y="588"/>
                  </a:cubicBezTo>
                  <a:cubicBezTo>
                    <a:pt x="31" y="589"/>
                    <a:pt x="31" y="589"/>
                    <a:pt x="31" y="589"/>
                  </a:cubicBezTo>
                  <a:cubicBezTo>
                    <a:pt x="30" y="590"/>
                    <a:pt x="30" y="590"/>
                    <a:pt x="30" y="590"/>
                  </a:cubicBezTo>
                  <a:cubicBezTo>
                    <a:pt x="29" y="590"/>
                    <a:pt x="29" y="590"/>
                    <a:pt x="29" y="590"/>
                  </a:cubicBezTo>
                  <a:cubicBezTo>
                    <a:pt x="29" y="591"/>
                    <a:pt x="29" y="591"/>
                    <a:pt x="29" y="591"/>
                  </a:cubicBezTo>
                  <a:cubicBezTo>
                    <a:pt x="29" y="591"/>
                    <a:pt x="29" y="591"/>
                    <a:pt x="28" y="591"/>
                  </a:cubicBezTo>
                  <a:cubicBezTo>
                    <a:pt x="28" y="591"/>
                    <a:pt x="28" y="591"/>
                    <a:pt x="27" y="592"/>
                  </a:cubicBezTo>
                  <a:cubicBezTo>
                    <a:pt x="26" y="592"/>
                    <a:pt x="26" y="593"/>
                    <a:pt x="25" y="594"/>
                  </a:cubicBezTo>
                  <a:cubicBezTo>
                    <a:pt x="25" y="595"/>
                    <a:pt x="25" y="595"/>
                    <a:pt x="25" y="596"/>
                  </a:cubicBezTo>
                  <a:cubicBezTo>
                    <a:pt x="25" y="596"/>
                    <a:pt x="25" y="597"/>
                    <a:pt x="24" y="597"/>
                  </a:cubicBezTo>
                  <a:cubicBezTo>
                    <a:pt x="24" y="597"/>
                    <a:pt x="24" y="598"/>
                    <a:pt x="23" y="598"/>
                  </a:cubicBezTo>
                  <a:cubicBezTo>
                    <a:pt x="23" y="599"/>
                    <a:pt x="23" y="599"/>
                    <a:pt x="22" y="599"/>
                  </a:cubicBezTo>
                  <a:cubicBezTo>
                    <a:pt x="22" y="600"/>
                    <a:pt x="22" y="601"/>
                    <a:pt x="21" y="601"/>
                  </a:cubicBezTo>
                  <a:cubicBezTo>
                    <a:pt x="21" y="602"/>
                    <a:pt x="21" y="602"/>
                    <a:pt x="21" y="602"/>
                  </a:cubicBezTo>
                  <a:cubicBezTo>
                    <a:pt x="21" y="602"/>
                    <a:pt x="20" y="603"/>
                    <a:pt x="20" y="603"/>
                  </a:cubicBezTo>
                  <a:cubicBezTo>
                    <a:pt x="20" y="603"/>
                    <a:pt x="19" y="603"/>
                    <a:pt x="19" y="604"/>
                  </a:cubicBezTo>
                  <a:cubicBezTo>
                    <a:pt x="18" y="604"/>
                    <a:pt x="19" y="605"/>
                    <a:pt x="19" y="606"/>
                  </a:cubicBezTo>
                  <a:cubicBezTo>
                    <a:pt x="19" y="606"/>
                    <a:pt x="19" y="606"/>
                    <a:pt x="18" y="607"/>
                  </a:cubicBezTo>
                  <a:cubicBezTo>
                    <a:pt x="18" y="607"/>
                    <a:pt x="18" y="607"/>
                    <a:pt x="18" y="607"/>
                  </a:cubicBezTo>
                  <a:cubicBezTo>
                    <a:pt x="17" y="608"/>
                    <a:pt x="17" y="609"/>
                    <a:pt x="17" y="609"/>
                  </a:cubicBezTo>
                  <a:cubicBezTo>
                    <a:pt x="17" y="610"/>
                    <a:pt x="17" y="610"/>
                    <a:pt x="17" y="610"/>
                  </a:cubicBezTo>
                  <a:cubicBezTo>
                    <a:pt x="17" y="610"/>
                    <a:pt x="17" y="610"/>
                    <a:pt x="16" y="611"/>
                  </a:cubicBezTo>
                  <a:cubicBezTo>
                    <a:pt x="16" y="611"/>
                    <a:pt x="16" y="611"/>
                    <a:pt x="16" y="611"/>
                  </a:cubicBezTo>
                  <a:cubicBezTo>
                    <a:pt x="14" y="611"/>
                    <a:pt x="14" y="612"/>
                    <a:pt x="13" y="613"/>
                  </a:cubicBezTo>
                  <a:cubicBezTo>
                    <a:pt x="13" y="614"/>
                    <a:pt x="13" y="614"/>
                    <a:pt x="13" y="614"/>
                  </a:cubicBezTo>
                  <a:cubicBezTo>
                    <a:pt x="13" y="615"/>
                    <a:pt x="12" y="615"/>
                    <a:pt x="12" y="616"/>
                  </a:cubicBezTo>
                  <a:cubicBezTo>
                    <a:pt x="12" y="617"/>
                    <a:pt x="12" y="617"/>
                    <a:pt x="12" y="617"/>
                  </a:cubicBezTo>
                  <a:cubicBezTo>
                    <a:pt x="12" y="618"/>
                    <a:pt x="12" y="618"/>
                    <a:pt x="12" y="619"/>
                  </a:cubicBezTo>
                  <a:cubicBezTo>
                    <a:pt x="12" y="619"/>
                    <a:pt x="12" y="620"/>
                    <a:pt x="11" y="620"/>
                  </a:cubicBezTo>
                  <a:cubicBezTo>
                    <a:pt x="11" y="621"/>
                    <a:pt x="11" y="621"/>
                    <a:pt x="11" y="621"/>
                  </a:cubicBezTo>
                  <a:cubicBezTo>
                    <a:pt x="10" y="622"/>
                    <a:pt x="10" y="623"/>
                    <a:pt x="10" y="625"/>
                  </a:cubicBezTo>
                  <a:cubicBezTo>
                    <a:pt x="10" y="625"/>
                    <a:pt x="10" y="626"/>
                    <a:pt x="10" y="626"/>
                  </a:cubicBezTo>
                  <a:cubicBezTo>
                    <a:pt x="9" y="627"/>
                    <a:pt x="9" y="628"/>
                    <a:pt x="10" y="629"/>
                  </a:cubicBezTo>
                  <a:cubicBezTo>
                    <a:pt x="11" y="631"/>
                    <a:pt x="11" y="631"/>
                    <a:pt x="11" y="631"/>
                  </a:cubicBezTo>
                  <a:cubicBezTo>
                    <a:pt x="12" y="629"/>
                    <a:pt x="12" y="629"/>
                    <a:pt x="12" y="629"/>
                  </a:cubicBezTo>
                  <a:cubicBezTo>
                    <a:pt x="12" y="629"/>
                    <a:pt x="13" y="629"/>
                    <a:pt x="13" y="628"/>
                  </a:cubicBezTo>
                  <a:cubicBezTo>
                    <a:pt x="13" y="629"/>
                    <a:pt x="14" y="629"/>
                    <a:pt x="14" y="630"/>
                  </a:cubicBezTo>
                  <a:cubicBezTo>
                    <a:pt x="14" y="630"/>
                    <a:pt x="15" y="630"/>
                    <a:pt x="15" y="630"/>
                  </a:cubicBezTo>
                  <a:cubicBezTo>
                    <a:pt x="15" y="630"/>
                    <a:pt x="15" y="630"/>
                    <a:pt x="15" y="631"/>
                  </a:cubicBezTo>
                  <a:cubicBezTo>
                    <a:pt x="15" y="631"/>
                    <a:pt x="15" y="631"/>
                    <a:pt x="15" y="631"/>
                  </a:cubicBezTo>
                  <a:cubicBezTo>
                    <a:pt x="15" y="632"/>
                    <a:pt x="15" y="633"/>
                    <a:pt x="15" y="633"/>
                  </a:cubicBezTo>
                  <a:cubicBezTo>
                    <a:pt x="15" y="634"/>
                    <a:pt x="15" y="634"/>
                    <a:pt x="15" y="635"/>
                  </a:cubicBezTo>
                  <a:cubicBezTo>
                    <a:pt x="15" y="635"/>
                    <a:pt x="14" y="637"/>
                    <a:pt x="14" y="637"/>
                  </a:cubicBezTo>
                  <a:cubicBezTo>
                    <a:pt x="14" y="638"/>
                    <a:pt x="14" y="638"/>
                    <a:pt x="14" y="638"/>
                  </a:cubicBezTo>
                  <a:cubicBezTo>
                    <a:pt x="13" y="638"/>
                    <a:pt x="12" y="639"/>
                    <a:pt x="13" y="641"/>
                  </a:cubicBezTo>
                  <a:cubicBezTo>
                    <a:pt x="13" y="641"/>
                    <a:pt x="13" y="641"/>
                    <a:pt x="14" y="641"/>
                  </a:cubicBezTo>
                  <a:cubicBezTo>
                    <a:pt x="13" y="642"/>
                    <a:pt x="14" y="644"/>
                    <a:pt x="14" y="644"/>
                  </a:cubicBezTo>
                  <a:cubicBezTo>
                    <a:pt x="15" y="644"/>
                    <a:pt x="15" y="644"/>
                    <a:pt x="15" y="644"/>
                  </a:cubicBezTo>
                  <a:cubicBezTo>
                    <a:pt x="14" y="645"/>
                    <a:pt x="14" y="645"/>
                    <a:pt x="14" y="645"/>
                  </a:cubicBezTo>
                  <a:cubicBezTo>
                    <a:pt x="14" y="645"/>
                    <a:pt x="14" y="645"/>
                    <a:pt x="14" y="645"/>
                  </a:cubicBezTo>
                  <a:cubicBezTo>
                    <a:pt x="14" y="646"/>
                    <a:pt x="15" y="647"/>
                    <a:pt x="15" y="647"/>
                  </a:cubicBezTo>
                  <a:cubicBezTo>
                    <a:pt x="15" y="648"/>
                    <a:pt x="15" y="648"/>
                    <a:pt x="15" y="648"/>
                  </a:cubicBezTo>
                  <a:cubicBezTo>
                    <a:pt x="15" y="649"/>
                    <a:pt x="15" y="649"/>
                    <a:pt x="15" y="650"/>
                  </a:cubicBezTo>
                  <a:cubicBezTo>
                    <a:pt x="15" y="651"/>
                    <a:pt x="15" y="651"/>
                    <a:pt x="15" y="651"/>
                  </a:cubicBezTo>
                  <a:cubicBezTo>
                    <a:pt x="15" y="651"/>
                    <a:pt x="15" y="652"/>
                    <a:pt x="15" y="653"/>
                  </a:cubicBezTo>
                  <a:cubicBezTo>
                    <a:pt x="15" y="653"/>
                    <a:pt x="15" y="654"/>
                    <a:pt x="14" y="655"/>
                  </a:cubicBezTo>
                  <a:cubicBezTo>
                    <a:pt x="14" y="655"/>
                    <a:pt x="14" y="656"/>
                    <a:pt x="14" y="656"/>
                  </a:cubicBezTo>
                  <a:cubicBezTo>
                    <a:pt x="14" y="656"/>
                    <a:pt x="14" y="656"/>
                    <a:pt x="14" y="657"/>
                  </a:cubicBezTo>
                  <a:cubicBezTo>
                    <a:pt x="13" y="657"/>
                    <a:pt x="13" y="658"/>
                    <a:pt x="13" y="658"/>
                  </a:cubicBezTo>
                  <a:cubicBezTo>
                    <a:pt x="13" y="659"/>
                    <a:pt x="13" y="659"/>
                    <a:pt x="13" y="660"/>
                  </a:cubicBezTo>
                  <a:cubicBezTo>
                    <a:pt x="12" y="661"/>
                    <a:pt x="12" y="661"/>
                    <a:pt x="12" y="662"/>
                  </a:cubicBezTo>
                  <a:cubicBezTo>
                    <a:pt x="12" y="663"/>
                    <a:pt x="12" y="663"/>
                    <a:pt x="11" y="664"/>
                  </a:cubicBezTo>
                  <a:cubicBezTo>
                    <a:pt x="11" y="664"/>
                    <a:pt x="11" y="664"/>
                    <a:pt x="11" y="664"/>
                  </a:cubicBezTo>
                  <a:cubicBezTo>
                    <a:pt x="11" y="665"/>
                    <a:pt x="10" y="665"/>
                    <a:pt x="10" y="666"/>
                  </a:cubicBezTo>
                  <a:cubicBezTo>
                    <a:pt x="10" y="666"/>
                    <a:pt x="10" y="666"/>
                    <a:pt x="10" y="666"/>
                  </a:cubicBezTo>
                  <a:cubicBezTo>
                    <a:pt x="10" y="666"/>
                    <a:pt x="10" y="667"/>
                    <a:pt x="10" y="667"/>
                  </a:cubicBezTo>
                  <a:cubicBezTo>
                    <a:pt x="10" y="667"/>
                    <a:pt x="9" y="668"/>
                    <a:pt x="9" y="668"/>
                  </a:cubicBezTo>
                  <a:cubicBezTo>
                    <a:pt x="9" y="668"/>
                    <a:pt x="9" y="669"/>
                    <a:pt x="9" y="669"/>
                  </a:cubicBezTo>
                  <a:cubicBezTo>
                    <a:pt x="9" y="669"/>
                    <a:pt x="9" y="670"/>
                    <a:pt x="8" y="670"/>
                  </a:cubicBezTo>
                  <a:cubicBezTo>
                    <a:pt x="8" y="671"/>
                    <a:pt x="8" y="671"/>
                    <a:pt x="8" y="672"/>
                  </a:cubicBezTo>
                  <a:cubicBezTo>
                    <a:pt x="8" y="672"/>
                    <a:pt x="8" y="673"/>
                    <a:pt x="8" y="673"/>
                  </a:cubicBezTo>
                  <a:cubicBezTo>
                    <a:pt x="8" y="673"/>
                    <a:pt x="8" y="673"/>
                    <a:pt x="8" y="673"/>
                  </a:cubicBezTo>
                  <a:cubicBezTo>
                    <a:pt x="8" y="673"/>
                    <a:pt x="8" y="673"/>
                    <a:pt x="8" y="674"/>
                  </a:cubicBezTo>
                  <a:cubicBezTo>
                    <a:pt x="7" y="674"/>
                    <a:pt x="7" y="675"/>
                    <a:pt x="7" y="676"/>
                  </a:cubicBezTo>
                  <a:cubicBezTo>
                    <a:pt x="7" y="677"/>
                    <a:pt x="7" y="677"/>
                    <a:pt x="7" y="677"/>
                  </a:cubicBezTo>
                  <a:cubicBezTo>
                    <a:pt x="7" y="677"/>
                    <a:pt x="7" y="677"/>
                    <a:pt x="7" y="677"/>
                  </a:cubicBezTo>
                  <a:cubicBezTo>
                    <a:pt x="7" y="677"/>
                    <a:pt x="7" y="677"/>
                    <a:pt x="7" y="677"/>
                  </a:cubicBezTo>
                  <a:cubicBezTo>
                    <a:pt x="7" y="678"/>
                    <a:pt x="7" y="678"/>
                    <a:pt x="6" y="679"/>
                  </a:cubicBezTo>
                  <a:cubicBezTo>
                    <a:pt x="6" y="679"/>
                    <a:pt x="6" y="679"/>
                    <a:pt x="6" y="679"/>
                  </a:cubicBezTo>
                  <a:cubicBezTo>
                    <a:pt x="5" y="680"/>
                    <a:pt x="5" y="680"/>
                    <a:pt x="5" y="681"/>
                  </a:cubicBezTo>
                  <a:cubicBezTo>
                    <a:pt x="4" y="682"/>
                    <a:pt x="4" y="683"/>
                    <a:pt x="3" y="684"/>
                  </a:cubicBezTo>
                  <a:cubicBezTo>
                    <a:pt x="3" y="684"/>
                    <a:pt x="3" y="684"/>
                    <a:pt x="2" y="684"/>
                  </a:cubicBezTo>
                  <a:cubicBezTo>
                    <a:pt x="2" y="684"/>
                    <a:pt x="1" y="685"/>
                    <a:pt x="1" y="685"/>
                  </a:cubicBezTo>
                  <a:cubicBezTo>
                    <a:pt x="0" y="687"/>
                    <a:pt x="0" y="689"/>
                    <a:pt x="1" y="691"/>
                  </a:cubicBezTo>
                  <a:cubicBezTo>
                    <a:pt x="2" y="692"/>
                    <a:pt x="2" y="692"/>
                    <a:pt x="2" y="692"/>
                  </a:cubicBezTo>
                  <a:cubicBezTo>
                    <a:pt x="2" y="692"/>
                    <a:pt x="3" y="693"/>
                    <a:pt x="3" y="693"/>
                  </a:cubicBezTo>
                  <a:cubicBezTo>
                    <a:pt x="3" y="693"/>
                    <a:pt x="3" y="694"/>
                    <a:pt x="3" y="695"/>
                  </a:cubicBezTo>
                  <a:cubicBezTo>
                    <a:pt x="3" y="696"/>
                    <a:pt x="3" y="696"/>
                    <a:pt x="4" y="697"/>
                  </a:cubicBezTo>
                  <a:cubicBezTo>
                    <a:pt x="4" y="697"/>
                    <a:pt x="3" y="699"/>
                    <a:pt x="4" y="700"/>
                  </a:cubicBezTo>
                  <a:cubicBezTo>
                    <a:pt x="5" y="701"/>
                    <a:pt x="5" y="701"/>
                    <a:pt x="5" y="701"/>
                  </a:cubicBezTo>
                  <a:cubicBezTo>
                    <a:pt x="5" y="701"/>
                    <a:pt x="5" y="701"/>
                    <a:pt x="5" y="701"/>
                  </a:cubicBezTo>
                  <a:cubicBezTo>
                    <a:pt x="5" y="702"/>
                    <a:pt x="5" y="702"/>
                    <a:pt x="5" y="702"/>
                  </a:cubicBezTo>
                  <a:cubicBezTo>
                    <a:pt x="4" y="703"/>
                    <a:pt x="4" y="703"/>
                    <a:pt x="3" y="704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5"/>
                  </a:cubicBezTo>
                  <a:cubicBezTo>
                    <a:pt x="3" y="705"/>
                    <a:pt x="3" y="705"/>
                    <a:pt x="3" y="706"/>
                  </a:cubicBezTo>
                  <a:cubicBezTo>
                    <a:pt x="3" y="707"/>
                    <a:pt x="3" y="707"/>
                    <a:pt x="3" y="707"/>
                  </a:cubicBezTo>
                  <a:cubicBezTo>
                    <a:pt x="3" y="707"/>
                    <a:pt x="3" y="707"/>
                    <a:pt x="3" y="707"/>
                  </a:cubicBezTo>
                  <a:cubicBezTo>
                    <a:pt x="3" y="708"/>
                    <a:pt x="3" y="708"/>
                    <a:pt x="3" y="708"/>
                  </a:cubicBezTo>
                  <a:cubicBezTo>
                    <a:pt x="2" y="709"/>
                    <a:pt x="2" y="710"/>
                    <a:pt x="3" y="711"/>
                  </a:cubicBezTo>
                  <a:cubicBezTo>
                    <a:pt x="3" y="712"/>
                    <a:pt x="3" y="712"/>
                    <a:pt x="3" y="712"/>
                  </a:cubicBezTo>
                  <a:cubicBezTo>
                    <a:pt x="3" y="712"/>
                    <a:pt x="3" y="712"/>
                    <a:pt x="3" y="712"/>
                  </a:cubicBezTo>
                  <a:cubicBezTo>
                    <a:pt x="3" y="712"/>
                    <a:pt x="3" y="712"/>
                    <a:pt x="3" y="712"/>
                  </a:cubicBezTo>
                  <a:cubicBezTo>
                    <a:pt x="3" y="713"/>
                    <a:pt x="3" y="713"/>
                    <a:pt x="3" y="713"/>
                  </a:cubicBezTo>
                  <a:cubicBezTo>
                    <a:pt x="3" y="713"/>
                    <a:pt x="3" y="713"/>
                    <a:pt x="3" y="713"/>
                  </a:cubicBezTo>
                  <a:cubicBezTo>
                    <a:pt x="3" y="713"/>
                    <a:pt x="3" y="713"/>
                    <a:pt x="3" y="713"/>
                  </a:cubicBezTo>
                  <a:cubicBezTo>
                    <a:pt x="2" y="715"/>
                    <a:pt x="2" y="715"/>
                    <a:pt x="2" y="715"/>
                  </a:cubicBezTo>
                  <a:cubicBezTo>
                    <a:pt x="3" y="715"/>
                    <a:pt x="3" y="715"/>
                    <a:pt x="3" y="715"/>
                  </a:cubicBezTo>
                  <a:cubicBezTo>
                    <a:pt x="3" y="715"/>
                    <a:pt x="3" y="715"/>
                    <a:pt x="3" y="715"/>
                  </a:cubicBezTo>
                  <a:cubicBezTo>
                    <a:pt x="4" y="716"/>
                    <a:pt x="5" y="716"/>
                    <a:pt x="5" y="716"/>
                  </a:cubicBezTo>
                  <a:cubicBezTo>
                    <a:pt x="5" y="716"/>
                    <a:pt x="5" y="716"/>
                    <a:pt x="5" y="716"/>
                  </a:cubicBezTo>
                  <a:cubicBezTo>
                    <a:pt x="5" y="717"/>
                    <a:pt x="6" y="718"/>
                    <a:pt x="8" y="718"/>
                  </a:cubicBezTo>
                  <a:cubicBezTo>
                    <a:pt x="8" y="718"/>
                    <a:pt x="9" y="718"/>
                    <a:pt x="9" y="718"/>
                  </a:cubicBezTo>
                  <a:cubicBezTo>
                    <a:pt x="9" y="719"/>
                    <a:pt x="10" y="720"/>
                    <a:pt x="12" y="719"/>
                  </a:cubicBezTo>
                  <a:cubicBezTo>
                    <a:pt x="12" y="720"/>
                    <a:pt x="12" y="720"/>
                    <a:pt x="12" y="721"/>
                  </a:cubicBezTo>
                  <a:cubicBezTo>
                    <a:pt x="12" y="721"/>
                    <a:pt x="12" y="721"/>
                    <a:pt x="12" y="721"/>
                  </a:cubicBezTo>
                  <a:cubicBezTo>
                    <a:pt x="12" y="721"/>
                    <a:pt x="12" y="722"/>
                    <a:pt x="12" y="722"/>
                  </a:cubicBezTo>
                  <a:cubicBezTo>
                    <a:pt x="12" y="722"/>
                    <a:pt x="13" y="723"/>
                    <a:pt x="13" y="723"/>
                  </a:cubicBezTo>
                  <a:cubicBezTo>
                    <a:pt x="13" y="723"/>
                    <a:pt x="13" y="724"/>
                    <a:pt x="14" y="725"/>
                  </a:cubicBezTo>
                  <a:cubicBezTo>
                    <a:pt x="14" y="725"/>
                    <a:pt x="14" y="725"/>
                    <a:pt x="14" y="725"/>
                  </a:cubicBezTo>
                  <a:cubicBezTo>
                    <a:pt x="14" y="726"/>
                    <a:pt x="13" y="726"/>
                    <a:pt x="14" y="727"/>
                  </a:cubicBezTo>
                  <a:cubicBezTo>
                    <a:pt x="14" y="728"/>
                    <a:pt x="15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6" y="728"/>
                    <a:pt x="16" y="728"/>
                    <a:pt x="16" y="728"/>
                  </a:cubicBezTo>
                  <a:cubicBezTo>
                    <a:pt x="17" y="728"/>
                    <a:pt x="17" y="728"/>
                    <a:pt x="17" y="728"/>
                  </a:cubicBezTo>
                  <a:cubicBezTo>
                    <a:pt x="17" y="728"/>
                    <a:pt x="17" y="728"/>
                    <a:pt x="17" y="728"/>
                  </a:cubicBezTo>
                  <a:cubicBezTo>
                    <a:pt x="17" y="729"/>
                    <a:pt x="17" y="729"/>
                    <a:pt x="17" y="729"/>
                  </a:cubicBezTo>
                  <a:cubicBezTo>
                    <a:pt x="17" y="729"/>
                    <a:pt x="18" y="729"/>
                    <a:pt x="18" y="729"/>
                  </a:cubicBezTo>
                  <a:cubicBezTo>
                    <a:pt x="17" y="730"/>
                    <a:pt x="17" y="731"/>
                    <a:pt x="18" y="732"/>
                  </a:cubicBezTo>
                  <a:cubicBezTo>
                    <a:pt x="18" y="732"/>
                    <a:pt x="18" y="732"/>
                    <a:pt x="18" y="733"/>
                  </a:cubicBezTo>
                  <a:cubicBezTo>
                    <a:pt x="18" y="733"/>
                    <a:pt x="18" y="734"/>
                    <a:pt x="18" y="735"/>
                  </a:cubicBezTo>
                  <a:cubicBezTo>
                    <a:pt x="19" y="736"/>
                    <a:pt x="20" y="736"/>
                    <a:pt x="20" y="736"/>
                  </a:cubicBezTo>
                  <a:cubicBezTo>
                    <a:pt x="21" y="736"/>
                    <a:pt x="21" y="736"/>
                    <a:pt x="22" y="736"/>
                  </a:cubicBezTo>
                  <a:cubicBezTo>
                    <a:pt x="22" y="736"/>
                    <a:pt x="22" y="737"/>
                    <a:pt x="22" y="737"/>
                  </a:cubicBezTo>
                  <a:cubicBezTo>
                    <a:pt x="23" y="737"/>
                    <a:pt x="23" y="737"/>
                    <a:pt x="23" y="737"/>
                  </a:cubicBezTo>
                  <a:cubicBezTo>
                    <a:pt x="23" y="738"/>
                    <a:pt x="23" y="738"/>
                    <a:pt x="23" y="738"/>
                  </a:cubicBezTo>
                  <a:cubicBezTo>
                    <a:pt x="24" y="739"/>
                    <a:pt x="24" y="739"/>
                    <a:pt x="25" y="739"/>
                  </a:cubicBezTo>
                  <a:cubicBezTo>
                    <a:pt x="25" y="739"/>
                    <a:pt x="25" y="740"/>
                    <a:pt x="26" y="740"/>
                  </a:cubicBezTo>
                  <a:cubicBezTo>
                    <a:pt x="25" y="740"/>
                    <a:pt x="26" y="741"/>
                    <a:pt x="26" y="742"/>
                  </a:cubicBezTo>
                  <a:cubicBezTo>
                    <a:pt x="26" y="742"/>
                    <a:pt x="26" y="742"/>
                    <a:pt x="26" y="742"/>
                  </a:cubicBezTo>
                  <a:cubicBezTo>
                    <a:pt x="26" y="743"/>
                    <a:pt x="27" y="745"/>
                    <a:pt x="28" y="745"/>
                  </a:cubicBezTo>
                  <a:cubicBezTo>
                    <a:pt x="28" y="745"/>
                    <a:pt x="28" y="745"/>
                    <a:pt x="28" y="746"/>
                  </a:cubicBezTo>
                  <a:cubicBezTo>
                    <a:pt x="27" y="746"/>
                    <a:pt x="27" y="746"/>
                    <a:pt x="27" y="746"/>
                  </a:cubicBezTo>
                  <a:cubicBezTo>
                    <a:pt x="29" y="747"/>
                    <a:pt x="29" y="747"/>
                    <a:pt x="29" y="747"/>
                  </a:cubicBezTo>
                  <a:cubicBezTo>
                    <a:pt x="29" y="747"/>
                    <a:pt x="29" y="747"/>
                    <a:pt x="29" y="747"/>
                  </a:cubicBezTo>
                  <a:cubicBezTo>
                    <a:pt x="29" y="748"/>
                    <a:pt x="29" y="748"/>
                    <a:pt x="29" y="748"/>
                  </a:cubicBezTo>
                  <a:cubicBezTo>
                    <a:pt x="29" y="748"/>
                    <a:pt x="28" y="749"/>
                    <a:pt x="29" y="750"/>
                  </a:cubicBezTo>
                  <a:cubicBezTo>
                    <a:pt x="29" y="751"/>
                    <a:pt x="30" y="751"/>
                    <a:pt x="31" y="752"/>
                  </a:cubicBezTo>
                  <a:cubicBezTo>
                    <a:pt x="31" y="752"/>
                    <a:pt x="31" y="752"/>
                    <a:pt x="31" y="752"/>
                  </a:cubicBezTo>
                  <a:cubicBezTo>
                    <a:pt x="30" y="753"/>
                    <a:pt x="31" y="754"/>
                    <a:pt x="31" y="755"/>
                  </a:cubicBezTo>
                  <a:cubicBezTo>
                    <a:pt x="31" y="755"/>
                    <a:pt x="31" y="756"/>
                    <a:pt x="31" y="756"/>
                  </a:cubicBezTo>
                  <a:cubicBezTo>
                    <a:pt x="31" y="756"/>
                    <a:pt x="31" y="756"/>
                    <a:pt x="31" y="757"/>
                  </a:cubicBezTo>
                  <a:cubicBezTo>
                    <a:pt x="31" y="757"/>
                    <a:pt x="31" y="758"/>
                    <a:pt x="32" y="759"/>
                  </a:cubicBezTo>
                  <a:cubicBezTo>
                    <a:pt x="32" y="759"/>
                    <a:pt x="32" y="759"/>
                    <a:pt x="33" y="759"/>
                  </a:cubicBezTo>
                  <a:cubicBezTo>
                    <a:pt x="33" y="760"/>
                    <a:pt x="33" y="760"/>
                    <a:pt x="33" y="760"/>
                  </a:cubicBezTo>
                  <a:cubicBezTo>
                    <a:pt x="33" y="760"/>
                    <a:pt x="34" y="761"/>
                    <a:pt x="35" y="761"/>
                  </a:cubicBezTo>
                  <a:cubicBezTo>
                    <a:pt x="35" y="761"/>
                    <a:pt x="35" y="761"/>
                    <a:pt x="35" y="762"/>
                  </a:cubicBezTo>
                  <a:cubicBezTo>
                    <a:pt x="36" y="762"/>
                    <a:pt x="36" y="762"/>
                    <a:pt x="36" y="762"/>
                  </a:cubicBezTo>
                  <a:cubicBezTo>
                    <a:pt x="36" y="762"/>
                    <a:pt x="36" y="762"/>
                    <a:pt x="36" y="762"/>
                  </a:cubicBezTo>
                  <a:cubicBezTo>
                    <a:pt x="36" y="763"/>
                    <a:pt x="36" y="763"/>
                    <a:pt x="36" y="763"/>
                  </a:cubicBezTo>
                  <a:cubicBezTo>
                    <a:pt x="36" y="763"/>
                    <a:pt x="36" y="763"/>
                    <a:pt x="35" y="764"/>
                  </a:cubicBezTo>
                  <a:cubicBezTo>
                    <a:pt x="35" y="764"/>
                    <a:pt x="35" y="765"/>
                    <a:pt x="36" y="766"/>
                  </a:cubicBezTo>
                  <a:cubicBezTo>
                    <a:pt x="36" y="766"/>
                    <a:pt x="37" y="766"/>
                    <a:pt x="37" y="766"/>
                  </a:cubicBezTo>
                  <a:cubicBezTo>
                    <a:pt x="37" y="766"/>
                    <a:pt x="37" y="766"/>
                    <a:pt x="37" y="766"/>
                  </a:cubicBezTo>
                  <a:cubicBezTo>
                    <a:pt x="38" y="767"/>
                    <a:pt x="40" y="768"/>
                    <a:pt x="41" y="768"/>
                  </a:cubicBezTo>
                  <a:cubicBezTo>
                    <a:pt x="41" y="768"/>
                    <a:pt x="41" y="768"/>
                    <a:pt x="41" y="768"/>
                  </a:cubicBezTo>
                  <a:cubicBezTo>
                    <a:pt x="41" y="768"/>
                    <a:pt x="41" y="768"/>
                    <a:pt x="41" y="768"/>
                  </a:cubicBezTo>
                  <a:cubicBezTo>
                    <a:pt x="41" y="768"/>
                    <a:pt x="41" y="768"/>
                    <a:pt x="41" y="768"/>
                  </a:cubicBezTo>
                  <a:cubicBezTo>
                    <a:pt x="42" y="769"/>
                    <a:pt x="42" y="769"/>
                    <a:pt x="42" y="769"/>
                  </a:cubicBezTo>
                  <a:cubicBezTo>
                    <a:pt x="43" y="769"/>
                    <a:pt x="43" y="769"/>
                    <a:pt x="43" y="769"/>
                  </a:cubicBezTo>
                  <a:cubicBezTo>
                    <a:pt x="43" y="769"/>
                    <a:pt x="44" y="770"/>
                    <a:pt x="45" y="770"/>
                  </a:cubicBezTo>
                  <a:cubicBezTo>
                    <a:pt x="45" y="770"/>
                    <a:pt x="45" y="770"/>
                    <a:pt x="45" y="771"/>
                  </a:cubicBezTo>
                  <a:cubicBezTo>
                    <a:pt x="45" y="772"/>
                    <a:pt x="47" y="773"/>
                    <a:pt x="48" y="774"/>
                  </a:cubicBezTo>
                  <a:cubicBezTo>
                    <a:pt x="48" y="773"/>
                    <a:pt x="48" y="773"/>
                    <a:pt x="48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8" y="774"/>
                    <a:pt x="49" y="774"/>
                    <a:pt x="49" y="775"/>
                  </a:cubicBezTo>
                  <a:cubicBezTo>
                    <a:pt x="49" y="775"/>
                    <a:pt x="49" y="775"/>
                    <a:pt x="50" y="775"/>
                  </a:cubicBezTo>
                  <a:cubicBezTo>
                    <a:pt x="50" y="776"/>
                    <a:pt x="50" y="776"/>
                    <a:pt x="51" y="776"/>
                  </a:cubicBezTo>
                  <a:cubicBezTo>
                    <a:pt x="51" y="776"/>
                    <a:pt x="51" y="776"/>
                    <a:pt x="51" y="776"/>
                  </a:cubicBezTo>
                  <a:cubicBezTo>
                    <a:pt x="52" y="777"/>
                    <a:pt x="53" y="778"/>
                    <a:pt x="54" y="779"/>
                  </a:cubicBezTo>
                  <a:cubicBezTo>
                    <a:pt x="54" y="779"/>
                    <a:pt x="54" y="779"/>
                    <a:pt x="54" y="779"/>
                  </a:cubicBezTo>
                  <a:cubicBezTo>
                    <a:pt x="55" y="779"/>
                    <a:pt x="55" y="780"/>
                    <a:pt x="55" y="780"/>
                  </a:cubicBezTo>
                  <a:cubicBezTo>
                    <a:pt x="56" y="781"/>
                    <a:pt x="57" y="781"/>
                    <a:pt x="58" y="782"/>
                  </a:cubicBezTo>
                  <a:cubicBezTo>
                    <a:pt x="58" y="783"/>
                    <a:pt x="58" y="783"/>
                    <a:pt x="58" y="783"/>
                  </a:cubicBezTo>
                  <a:cubicBezTo>
                    <a:pt x="59" y="785"/>
                    <a:pt x="60" y="786"/>
                    <a:pt x="62" y="788"/>
                  </a:cubicBezTo>
                  <a:cubicBezTo>
                    <a:pt x="63" y="789"/>
                    <a:pt x="64" y="790"/>
                    <a:pt x="66" y="791"/>
                  </a:cubicBezTo>
                  <a:cubicBezTo>
                    <a:pt x="66" y="791"/>
                    <a:pt x="67" y="791"/>
                    <a:pt x="67" y="791"/>
                  </a:cubicBezTo>
                  <a:cubicBezTo>
                    <a:pt x="68" y="792"/>
                    <a:pt x="68" y="792"/>
                    <a:pt x="69" y="792"/>
                  </a:cubicBezTo>
                  <a:cubicBezTo>
                    <a:pt x="70" y="793"/>
                    <a:pt x="70" y="793"/>
                    <a:pt x="70" y="793"/>
                  </a:cubicBezTo>
                  <a:cubicBezTo>
                    <a:pt x="71" y="793"/>
                    <a:pt x="71" y="793"/>
                    <a:pt x="71" y="793"/>
                  </a:cubicBezTo>
                  <a:cubicBezTo>
                    <a:pt x="72" y="793"/>
                    <a:pt x="72" y="793"/>
                    <a:pt x="72" y="793"/>
                  </a:cubicBezTo>
                  <a:cubicBezTo>
                    <a:pt x="72" y="794"/>
                    <a:pt x="73" y="794"/>
                    <a:pt x="73" y="794"/>
                  </a:cubicBezTo>
                  <a:cubicBezTo>
                    <a:pt x="73" y="794"/>
                    <a:pt x="74" y="794"/>
                    <a:pt x="74" y="794"/>
                  </a:cubicBezTo>
                  <a:cubicBezTo>
                    <a:pt x="74" y="794"/>
                    <a:pt x="74" y="794"/>
                    <a:pt x="74" y="794"/>
                  </a:cubicBezTo>
                  <a:cubicBezTo>
                    <a:pt x="76" y="794"/>
                    <a:pt x="76" y="794"/>
                    <a:pt x="76" y="794"/>
                  </a:cubicBezTo>
                  <a:cubicBezTo>
                    <a:pt x="76" y="794"/>
                    <a:pt x="77" y="794"/>
                    <a:pt x="77" y="794"/>
                  </a:cubicBezTo>
                  <a:cubicBezTo>
                    <a:pt x="78" y="794"/>
                    <a:pt x="78" y="794"/>
                    <a:pt x="79" y="794"/>
                  </a:cubicBezTo>
                  <a:cubicBezTo>
                    <a:pt x="79" y="793"/>
                    <a:pt x="80" y="793"/>
                    <a:pt x="80" y="793"/>
                  </a:cubicBezTo>
                  <a:cubicBezTo>
                    <a:pt x="80" y="793"/>
                    <a:pt x="80" y="793"/>
                    <a:pt x="80" y="793"/>
                  </a:cubicBezTo>
                  <a:cubicBezTo>
                    <a:pt x="81" y="793"/>
                    <a:pt x="81" y="793"/>
                    <a:pt x="82" y="793"/>
                  </a:cubicBezTo>
                  <a:cubicBezTo>
                    <a:pt x="83" y="793"/>
                    <a:pt x="85" y="792"/>
                    <a:pt x="86" y="791"/>
                  </a:cubicBezTo>
                  <a:cubicBezTo>
                    <a:pt x="86" y="791"/>
                    <a:pt x="87" y="791"/>
                    <a:pt x="87" y="790"/>
                  </a:cubicBezTo>
                  <a:cubicBezTo>
                    <a:pt x="87" y="790"/>
                    <a:pt x="87" y="789"/>
                    <a:pt x="88" y="789"/>
                  </a:cubicBezTo>
                  <a:cubicBezTo>
                    <a:pt x="88" y="789"/>
                    <a:pt x="89" y="789"/>
                    <a:pt x="89" y="788"/>
                  </a:cubicBezTo>
                  <a:cubicBezTo>
                    <a:pt x="90" y="788"/>
                    <a:pt x="91" y="788"/>
                    <a:pt x="92" y="788"/>
                  </a:cubicBezTo>
                  <a:cubicBezTo>
                    <a:pt x="94" y="788"/>
                    <a:pt x="94" y="788"/>
                    <a:pt x="94" y="788"/>
                  </a:cubicBezTo>
                  <a:cubicBezTo>
                    <a:pt x="95" y="787"/>
                    <a:pt x="95" y="787"/>
                    <a:pt x="96" y="787"/>
                  </a:cubicBezTo>
                  <a:cubicBezTo>
                    <a:pt x="97" y="787"/>
                    <a:pt x="98" y="787"/>
                    <a:pt x="98" y="788"/>
                  </a:cubicBezTo>
                  <a:cubicBezTo>
                    <a:pt x="99" y="788"/>
                    <a:pt x="101" y="788"/>
                    <a:pt x="102" y="788"/>
                  </a:cubicBezTo>
                  <a:cubicBezTo>
                    <a:pt x="103" y="788"/>
                    <a:pt x="104" y="787"/>
                    <a:pt x="104" y="786"/>
                  </a:cubicBezTo>
                  <a:cubicBezTo>
                    <a:pt x="104" y="786"/>
                    <a:pt x="104" y="785"/>
                    <a:pt x="104" y="785"/>
                  </a:cubicBezTo>
                  <a:cubicBezTo>
                    <a:pt x="104" y="785"/>
                    <a:pt x="104" y="785"/>
                    <a:pt x="104" y="785"/>
                  </a:cubicBezTo>
                  <a:cubicBezTo>
                    <a:pt x="104" y="785"/>
                    <a:pt x="105" y="784"/>
                    <a:pt x="105" y="784"/>
                  </a:cubicBezTo>
                  <a:cubicBezTo>
                    <a:pt x="105" y="784"/>
                    <a:pt x="105" y="785"/>
                    <a:pt x="105" y="785"/>
                  </a:cubicBezTo>
                  <a:cubicBezTo>
                    <a:pt x="105" y="785"/>
                    <a:pt x="106" y="786"/>
                    <a:pt x="106" y="786"/>
                  </a:cubicBezTo>
                  <a:cubicBezTo>
                    <a:pt x="107" y="787"/>
                    <a:pt x="108" y="787"/>
                    <a:pt x="109" y="787"/>
                  </a:cubicBezTo>
                  <a:cubicBezTo>
                    <a:pt x="110" y="788"/>
                    <a:pt x="110" y="788"/>
                    <a:pt x="112" y="788"/>
                  </a:cubicBezTo>
                  <a:cubicBezTo>
                    <a:pt x="112" y="788"/>
                    <a:pt x="112" y="788"/>
                    <a:pt x="112" y="788"/>
                  </a:cubicBezTo>
                  <a:cubicBezTo>
                    <a:pt x="112" y="787"/>
                    <a:pt x="112" y="787"/>
                    <a:pt x="112" y="787"/>
                  </a:cubicBezTo>
                  <a:cubicBezTo>
                    <a:pt x="113" y="788"/>
                    <a:pt x="113" y="788"/>
                    <a:pt x="113" y="788"/>
                  </a:cubicBezTo>
                  <a:cubicBezTo>
                    <a:pt x="113" y="788"/>
                    <a:pt x="114" y="788"/>
                    <a:pt x="114" y="788"/>
                  </a:cubicBezTo>
                  <a:cubicBezTo>
                    <a:pt x="115" y="789"/>
                    <a:pt x="115" y="789"/>
                    <a:pt x="115" y="789"/>
                  </a:cubicBezTo>
                  <a:cubicBezTo>
                    <a:pt x="115" y="789"/>
                    <a:pt x="116" y="789"/>
                    <a:pt x="117" y="790"/>
                  </a:cubicBezTo>
                  <a:cubicBezTo>
                    <a:pt x="117" y="790"/>
                    <a:pt x="117" y="790"/>
                    <a:pt x="117" y="790"/>
                  </a:cubicBezTo>
                  <a:cubicBezTo>
                    <a:pt x="117" y="790"/>
                    <a:pt x="117" y="790"/>
                    <a:pt x="118" y="790"/>
                  </a:cubicBezTo>
                  <a:cubicBezTo>
                    <a:pt x="118" y="790"/>
                    <a:pt x="118" y="790"/>
                    <a:pt x="118" y="791"/>
                  </a:cubicBezTo>
                  <a:cubicBezTo>
                    <a:pt x="118" y="791"/>
                    <a:pt x="119" y="791"/>
                    <a:pt x="119" y="791"/>
                  </a:cubicBezTo>
                  <a:cubicBezTo>
                    <a:pt x="119" y="792"/>
                    <a:pt x="120" y="792"/>
                    <a:pt x="120" y="792"/>
                  </a:cubicBezTo>
                  <a:cubicBezTo>
                    <a:pt x="121" y="792"/>
                    <a:pt x="122" y="791"/>
                    <a:pt x="122" y="791"/>
                  </a:cubicBezTo>
                  <a:cubicBezTo>
                    <a:pt x="122" y="790"/>
                    <a:pt x="122" y="790"/>
                    <a:pt x="122" y="790"/>
                  </a:cubicBezTo>
                  <a:cubicBezTo>
                    <a:pt x="123" y="790"/>
                    <a:pt x="123" y="790"/>
                    <a:pt x="124" y="789"/>
                  </a:cubicBezTo>
                  <a:cubicBezTo>
                    <a:pt x="124" y="789"/>
                    <a:pt x="124" y="789"/>
                    <a:pt x="124" y="789"/>
                  </a:cubicBezTo>
                  <a:cubicBezTo>
                    <a:pt x="124" y="788"/>
                    <a:pt x="124" y="788"/>
                    <a:pt x="124" y="788"/>
                  </a:cubicBezTo>
                  <a:cubicBezTo>
                    <a:pt x="124" y="789"/>
                    <a:pt x="124" y="789"/>
                    <a:pt x="124" y="789"/>
                  </a:cubicBezTo>
                  <a:cubicBezTo>
                    <a:pt x="125" y="789"/>
                    <a:pt x="125" y="789"/>
                    <a:pt x="125" y="789"/>
                  </a:cubicBezTo>
                  <a:cubicBezTo>
                    <a:pt x="125" y="789"/>
                    <a:pt x="125" y="789"/>
                    <a:pt x="126" y="789"/>
                  </a:cubicBezTo>
                  <a:cubicBezTo>
                    <a:pt x="126" y="788"/>
                    <a:pt x="127" y="788"/>
                    <a:pt x="127" y="787"/>
                  </a:cubicBezTo>
                  <a:cubicBezTo>
                    <a:pt x="128" y="787"/>
                    <a:pt x="128" y="787"/>
                    <a:pt x="128" y="787"/>
                  </a:cubicBezTo>
                  <a:cubicBezTo>
                    <a:pt x="128" y="787"/>
                    <a:pt x="129" y="786"/>
                    <a:pt x="129" y="786"/>
                  </a:cubicBezTo>
                  <a:cubicBezTo>
                    <a:pt x="129" y="786"/>
                    <a:pt x="130" y="787"/>
                    <a:pt x="130" y="787"/>
                  </a:cubicBezTo>
                  <a:cubicBezTo>
                    <a:pt x="131" y="787"/>
                    <a:pt x="131" y="787"/>
                    <a:pt x="131" y="787"/>
                  </a:cubicBezTo>
                  <a:cubicBezTo>
                    <a:pt x="131" y="786"/>
                    <a:pt x="132" y="786"/>
                    <a:pt x="132" y="786"/>
                  </a:cubicBezTo>
                  <a:cubicBezTo>
                    <a:pt x="132" y="785"/>
                    <a:pt x="132" y="785"/>
                    <a:pt x="132" y="785"/>
                  </a:cubicBezTo>
                  <a:cubicBezTo>
                    <a:pt x="133" y="785"/>
                    <a:pt x="133" y="785"/>
                    <a:pt x="133" y="785"/>
                  </a:cubicBezTo>
                  <a:cubicBezTo>
                    <a:pt x="134" y="785"/>
                    <a:pt x="134" y="785"/>
                    <a:pt x="135" y="784"/>
                  </a:cubicBezTo>
                  <a:cubicBezTo>
                    <a:pt x="136" y="784"/>
                    <a:pt x="137" y="783"/>
                    <a:pt x="138" y="783"/>
                  </a:cubicBezTo>
                  <a:cubicBezTo>
                    <a:pt x="138" y="783"/>
                    <a:pt x="138" y="783"/>
                    <a:pt x="138" y="783"/>
                  </a:cubicBezTo>
                  <a:cubicBezTo>
                    <a:pt x="139" y="782"/>
                    <a:pt x="139" y="782"/>
                    <a:pt x="140" y="782"/>
                  </a:cubicBezTo>
                  <a:cubicBezTo>
                    <a:pt x="140" y="782"/>
                    <a:pt x="141" y="782"/>
                    <a:pt x="142" y="782"/>
                  </a:cubicBezTo>
                  <a:cubicBezTo>
                    <a:pt x="143" y="782"/>
                    <a:pt x="144" y="781"/>
                    <a:pt x="145" y="781"/>
                  </a:cubicBezTo>
                  <a:cubicBezTo>
                    <a:pt x="146" y="781"/>
                    <a:pt x="146" y="780"/>
                    <a:pt x="146" y="780"/>
                  </a:cubicBezTo>
                  <a:cubicBezTo>
                    <a:pt x="146" y="780"/>
                    <a:pt x="146" y="780"/>
                    <a:pt x="146" y="780"/>
                  </a:cubicBezTo>
                  <a:cubicBezTo>
                    <a:pt x="148" y="779"/>
                    <a:pt x="148" y="779"/>
                    <a:pt x="148" y="779"/>
                  </a:cubicBezTo>
                  <a:cubicBezTo>
                    <a:pt x="148" y="779"/>
                    <a:pt x="148" y="779"/>
                    <a:pt x="148" y="779"/>
                  </a:cubicBezTo>
                  <a:cubicBezTo>
                    <a:pt x="148" y="779"/>
                    <a:pt x="148" y="779"/>
                    <a:pt x="148" y="779"/>
                  </a:cubicBezTo>
                  <a:cubicBezTo>
                    <a:pt x="149" y="778"/>
                    <a:pt x="149" y="778"/>
                    <a:pt x="149" y="778"/>
                  </a:cubicBezTo>
                  <a:cubicBezTo>
                    <a:pt x="148" y="778"/>
                    <a:pt x="148" y="778"/>
                    <a:pt x="148" y="778"/>
                  </a:cubicBezTo>
                  <a:cubicBezTo>
                    <a:pt x="149" y="778"/>
                    <a:pt x="149" y="778"/>
                    <a:pt x="149" y="778"/>
                  </a:cubicBezTo>
                  <a:cubicBezTo>
                    <a:pt x="149" y="777"/>
                    <a:pt x="149" y="777"/>
                    <a:pt x="149" y="777"/>
                  </a:cubicBezTo>
                  <a:cubicBezTo>
                    <a:pt x="149" y="777"/>
                    <a:pt x="149" y="777"/>
                    <a:pt x="149" y="777"/>
                  </a:cubicBezTo>
                  <a:cubicBezTo>
                    <a:pt x="150" y="777"/>
                    <a:pt x="150" y="777"/>
                    <a:pt x="150" y="777"/>
                  </a:cubicBezTo>
                  <a:cubicBezTo>
                    <a:pt x="150" y="777"/>
                    <a:pt x="150" y="777"/>
                    <a:pt x="150" y="777"/>
                  </a:cubicBezTo>
                  <a:cubicBezTo>
                    <a:pt x="150" y="777"/>
                    <a:pt x="150" y="777"/>
                    <a:pt x="150" y="777"/>
                  </a:cubicBezTo>
                  <a:cubicBezTo>
                    <a:pt x="152" y="777"/>
                    <a:pt x="152" y="777"/>
                    <a:pt x="152" y="777"/>
                  </a:cubicBezTo>
                  <a:cubicBezTo>
                    <a:pt x="153" y="776"/>
                    <a:pt x="154" y="776"/>
                    <a:pt x="156" y="776"/>
                  </a:cubicBezTo>
                  <a:cubicBezTo>
                    <a:pt x="156" y="776"/>
                    <a:pt x="157" y="776"/>
                    <a:pt x="157" y="776"/>
                  </a:cubicBezTo>
                  <a:cubicBezTo>
                    <a:pt x="158" y="776"/>
                    <a:pt x="158" y="776"/>
                    <a:pt x="158" y="776"/>
                  </a:cubicBezTo>
                  <a:cubicBezTo>
                    <a:pt x="158" y="776"/>
                    <a:pt x="158" y="776"/>
                    <a:pt x="159" y="776"/>
                  </a:cubicBezTo>
                  <a:cubicBezTo>
                    <a:pt x="160" y="776"/>
                    <a:pt x="160" y="776"/>
                    <a:pt x="161" y="776"/>
                  </a:cubicBezTo>
                  <a:cubicBezTo>
                    <a:pt x="161" y="776"/>
                    <a:pt x="161" y="776"/>
                    <a:pt x="161" y="776"/>
                  </a:cubicBezTo>
                  <a:cubicBezTo>
                    <a:pt x="162" y="776"/>
                    <a:pt x="162" y="776"/>
                    <a:pt x="162" y="776"/>
                  </a:cubicBezTo>
                  <a:cubicBezTo>
                    <a:pt x="162" y="776"/>
                    <a:pt x="163" y="776"/>
                    <a:pt x="163" y="776"/>
                  </a:cubicBezTo>
                  <a:cubicBezTo>
                    <a:pt x="164" y="776"/>
                    <a:pt x="165" y="776"/>
                    <a:pt x="166" y="776"/>
                  </a:cubicBezTo>
                  <a:cubicBezTo>
                    <a:pt x="166" y="776"/>
                    <a:pt x="167" y="776"/>
                    <a:pt x="167" y="776"/>
                  </a:cubicBezTo>
                  <a:cubicBezTo>
                    <a:pt x="168" y="776"/>
                    <a:pt x="168" y="776"/>
                    <a:pt x="168" y="776"/>
                  </a:cubicBezTo>
                  <a:cubicBezTo>
                    <a:pt x="169" y="776"/>
                    <a:pt x="170" y="776"/>
                    <a:pt x="170" y="776"/>
                  </a:cubicBezTo>
                  <a:cubicBezTo>
                    <a:pt x="171" y="776"/>
                    <a:pt x="171" y="776"/>
                    <a:pt x="171" y="776"/>
                  </a:cubicBezTo>
                  <a:cubicBezTo>
                    <a:pt x="172" y="776"/>
                    <a:pt x="173" y="776"/>
                    <a:pt x="173" y="777"/>
                  </a:cubicBezTo>
                  <a:cubicBezTo>
                    <a:pt x="174" y="777"/>
                    <a:pt x="174" y="777"/>
                    <a:pt x="174" y="778"/>
                  </a:cubicBezTo>
                  <a:cubicBezTo>
                    <a:pt x="175" y="778"/>
                    <a:pt x="175" y="779"/>
                    <a:pt x="175" y="779"/>
                  </a:cubicBezTo>
                  <a:cubicBezTo>
                    <a:pt x="176" y="780"/>
                    <a:pt x="177" y="780"/>
                    <a:pt x="178" y="780"/>
                  </a:cubicBezTo>
                  <a:cubicBezTo>
                    <a:pt x="178" y="780"/>
                    <a:pt x="178" y="780"/>
                    <a:pt x="178" y="780"/>
                  </a:cubicBezTo>
                  <a:cubicBezTo>
                    <a:pt x="178" y="780"/>
                    <a:pt x="178" y="781"/>
                    <a:pt x="178" y="781"/>
                  </a:cubicBezTo>
                  <a:cubicBezTo>
                    <a:pt x="178" y="781"/>
                    <a:pt x="178" y="781"/>
                    <a:pt x="178" y="781"/>
                  </a:cubicBezTo>
                  <a:cubicBezTo>
                    <a:pt x="178" y="782"/>
                    <a:pt x="178" y="782"/>
                    <a:pt x="178" y="783"/>
                  </a:cubicBezTo>
                  <a:cubicBezTo>
                    <a:pt x="178" y="783"/>
                    <a:pt x="178" y="784"/>
                    <a:pt x="179" y="785"/>
                  </a:cubicBezTo>
                  <a:cubicBezTo>
                    <a:pt x="179" y="785"/>
                    <a:pt x="179" y="785"/>
                    <a:pt x="179" y="785"/>
                  </a:cubicBezTo>
                  <a:cubicBezTo>
                    <a:pt x="178" y="786"/>
                    <a:pt x="179" y="787"/>
                    <a:pt x="180" y="788"/>
                  </a:cubicBezTo>
                  <a:cubicBezTo>
                    <a:pt x="180" y="789"/>
                    <a:pt x="180" y="790"/>
                    <a:pt x="180" y="790"/>
                  </a:cubicBezTo>
                  <a:cubicBezTo>
                    <a:pt x="181" y="791"/>
                    <a:pt x="181" y="791"/>
                    <a:pt x="181" y="791"/>
                  </a:cubicBezTo>
                  <a:cubicBezTo>
                    <a:pt x="181" y="791"/>
                    <a:pt x="181" y="791"/>
                    <a:pt x="181" y="791"/>
                  </a:cubicBezTo>
                  <a:cubicBezTo>
                    <a:pt x="181" y="792"/>
                    <a:pt x="181" y="793"/>
                    <a:pt x="182" y="794"/>
                  </a:cubicBezTo>
                  <a:cubicBezTo>
                    <a:pt x="183" y="795"/>
                    <a:pt x="183" y="796"/>
                    <a:pt x="184" y="796"/>
                  </a:cubicBezTo>
                  <a:cubicBezTo>
                    <a:pt x="185" y="797"/>
                    <a:pt x="186" y="797"/>
                    <a:pt x="187" y="797"/>
                  </a:cubicBezTo>
                  <a:cubicBezTo>
                    <a:pt x="187" y="797"/>
                    <a:pt x="187" y="797"/>
                    <a:pt x="187" y="797"/>
                  </a:cubicBezTo>
                  <a:cubicBezTo>
                    <a:pt x="188" y="797"/>
                    <a:pt x="189" y="797"/>
                    <a:pt x="189" y="797"/>
                  </a:cubicBezTo>
                  <a:cubicBezTo>
                    <a:pt x="189" y="796"/>
                    <a:pt x="189" y="796"/>
                    <a:pt x="189" y="796"/>
                  </a:cubicBezTo>
                  <a:cubicBezTo>
                    <a:pt x="189" y="797"/>
                    <a:pt x="189" y="797"/>
                    <a:pt x="189" y="797"/>
                  </a:cubicBezTo>
                  <a:cubicBezTo>
                    <a:pt x="189" y="797"/>
                    <a:pt x="190" y="797"/>
                    <a:pt x="190" y="797"/>
                  </a:cubicBezTo>
                  <a:cubicBezTo>
                    <a:pt x="190" y="797"/>
                    <a:pt x="190" y="797"/>
                    <a:pt x="190" y="797"/>
                  </a:cubicBezTo>
                  <a:cubicBezTo>
                    <a:pt x="191" y="797"/>
                    <a:pt x="191" y="797"/>
                    <a:pt x="191" y="797"/>
                  </a:cubicBezTo>
                  <a:cubicBezTo>
                    <a:pt x="192" y="797"/>
                    <a:pt x="192" y="796"/>
                    <a:pt x="192" y="796"/>
                  </a:cubicBezTo>
                  <a:cubicBezTo>
                    <a:pt x="192" y="797"/>
                    <a:pt x="192" y="797"/>
                    <a:pt x="192" y="797"/>
                  </a:cubicBezTo>
                  <a:cubicBezTo>
                    <a:pt x="193" y="797"/>
                    <a:pt x="194" y="797"/>
                    <a:pt x="194" y="797"/>
                  </a:cubicBezTo>
                  <a:cubicBezTo>
                    <a:pt x="195" y="797"/>
                    <a:pt x="195" y="797"/>
                    <a:pt x="195" y="797"/>
                  </a:cubicBezTo>
                  <a:cubicBezTo>
                    <a:pt x="196" y="797"/>
                    <a:pt x="196" y="797"/>
                    <a:pt x="196" y="796"/>
                  </a:cubicBezTo>
                  <a:cubicBezTo>
                    <a:pt x="197" y="796"/>
                    <a:pt x="197" y="797"/>
                    <a:pt x="197" y="797"/>
                  </a:cubicBezTo>
                  <a:cubicBezTo>
                    <a:pt x="198" y="797"/>
                    <a:pt x="198" y="797"/>
                    <a:pt x="198" y="797"/>
                  </a:cubicBezTo>
                  <a:cubicBezTo>
                    <a:pt x="198" y="797"/>
                    <a:pt x="199" y="796"/>
                    <a:pt x="199" y="796"/>
                  </a:cubicBezTo>
                  <a:cubicBezTo>
                    <a:pt x="200" y="796"/>
                    <a:pt x="200" y="795"/>
                    <a:pt x="201" y="795"/>
                  </a:cubicBezTo>
                  <a:cubicBezTo>
                    <a:pt x="201" y="795"/>
                    <a:pt x="202" y="795"/>
                    <a:pt x="202" y="795"/>
                  </a:cubicBezTo>
                  <a:cubicBezTo>
                    <a:pt x="203" y="795"/>
                    <a:pt x="204" y="795"/>
                    <a:pt x="204" y="795"/>
                  </a:cubicBezTo>
                  <a:cubicBezTo>
                    <a:pt x="205" y="794"/>
                    <a:pt x="205" y="794"/>
                    <a:pt x="206" y="794"/>
                  </a:cubicBezTo>
                  <a:cubicBezTo>
                    <a:pt x="206" y="794"/>
                    <a:pt x="206" y="794"/>
                    <a:pt x="206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7" y="794"/>
                    <a:pt x="207" y="794"/>
                    <a:pt x="207" y="794"/>
                  </a:cubicBezTo>
                  <a:cubicBezTo>
                    <a:pt x="208" y="794"/>
                    <a:pt x="208" y="794"/>
                    <a:pt x="209" y="794"/>
                  </a:cubicBezTo>
                  <a:cubicBezTo>
                    <a:pt x="209" y="794"/>
                    <a:pt x="209" y="794"/>
                    <a:pt x="209" y="794"/>
                  </a:cubicBezTo>
                  <a:cubicBezTo>
                    <a:pt x="209" y="794"/>
                    <a:pt x="210" y="794"/>
                    <a:pt x="210" y="794"/>
                  </a:cubicBezTo>
                  <a:cubicBezTo>
                    <a:pt x="210" y="794"/>
                    <a:pt x="210" y="795"/>
                    <a:pt x="210" y="795"/>
                  </a:cubicBezTo>
                  <a:cubicBezTo>
                    <a:pt x="210" y="796"/>
                    <a:pt x="210" y="796"/>
                    <a:pt x="210" y="797"/>
                  </a:cubicBezTo>
                  <a:cubicBezTo>
                    <a:pt x="210" y="797"/>
                    <a:pt x="210" y="798"/>
                    <a:pt x="210" y="799"/>
                  </a:cubicBezTo>
                  <a:cubicBezTo>
                    <a:pt x="211" y="799"/>
                    <a:pt x="211" y="799"/>
                    <a:pt x="212" y="800"/>
                  </a:cubicBezTo>
                  <a:cubicBezTo>
                    <a:pt x="212" y="800"/>
                    <a:pt x="213" y="800"/>
                    <a:pt x="213" y="800"/>
                  </a:cubicBezTo>
                  <a:cubicBezTo>
                    <a:pt x="214" y="800"/>
                    <a:pt x="215" y="799"/>
                    <a:pt x="215" y="799"/>
                  </a:cubicBezTo>
                  <a:cubicBezTo>
                    <a:pt x="215" y="799"/>
                    <a:pt x="215" y="799"/>
                    <a:pt x="215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6" y="799"/>
                  </a:cubicBezTo>
                  <a:cubicBezTo>
                    <a:pt x="216" y="799"/>
                    <a:pt x="216" y="799"/>
                    <a:pt x="215" y="799"/>
                  </a:cubicBezTo>
                  <a:cubicBezTo>
                    <a:pt x="214" y="800"/>
                    <a:pt x="215" y="802"/>
                    <a:pt x="215" y="802"/>
                  </a:cubicBezTo>
                  <a:cubicBezTo>
                    <a:pt x="215" y="802"/>
                    <a:pt x="215" y="802"/>
                    <a:pt x="215" y="803"/>
                  </a:cubicBezTo>
                  <a:cubicBezTo>
                    <a:pt x="215" y="803"/>
                    <a:pt x="215" y="803"/>
                    <a:pt x="216" y="804"/>
                  </a:cubicBezTo>
                  <a:cubicBezTo>
                    <a:pt x="216" y="804"/>
                    <a:pt x="216" y="804"/>
                    <a:pt x="216" y="805"/>
                  </a:cubicBezTo>
                  <a:cubicBezTo>
                    <a:pt x="217" y="804"/>
                    <a:pt x="217" y="804"/>
                    <a:pt x="217" y="804"/>
                  </a:cubicBezTo>
                  <a:cubicBezTo>
                    <a:pt x="217" y="804"/>
                    <a:pt x="217" y="804"/>
                    <a:pt x="217" y="804"/>
                  </a:cubicBezTo>
                  <a:cubicBezTo>
                    <a:pt x="216" y="805"/>
                    <a:pt x="216" y="805"/>
                    <a:pt x="216" y="805"/>
                  </a:cubicBezTo>
                  <a:cubicBezTo>
                    <a:pt x="216" y="805"/>
                    <a:pt x="217" y="806"/>
                    <a:pt x="217" y="806"/>
                  </a:cubicBezTo>
                  <a:cubicBezTo>
                    <a:pt x="217" y="806"/>
                    <a:pt x="217" y="807"/>
                    <a:pt x="217" y="807"/>
                  </a:cubicBezTo>
                  <a:cubicBezTo>
                    <a:pt x="217" y="807"/>
                    <a:pt x="217" y="807"/>
                    <a:pt x="217" y="808"/>
                  </a:cubicBezTo>
                  <a:cubicBezTo>
                    <a:pt x="217" y="808"/>
                    <a:pt x="217" y="808"/>
                    <a:pt x="217" y="809"/>
                  </a:cubicBezTo>
                  <a:cubicBezTo>
                    <a:pt x="218" y="810"/>
                    <a:pt x="218" y="810"/>
                    <a:pt x="218" y="811"/>
                  </a:cubicBezTo>
                  <a:cubicBezTo>
                    <a:pt x="218" y="812"/>
                    <a:pt x="218" y="812"/>
                    <a:pt x="218" y="812"/>
                  </a:cubicBezTo>
                  <a:cubicBezTo>
                    <a:pt x="217" y="812"/>
                    <a:pt x="217" y="813"/>
                    <a:pt x="217" y="814"/>
                  </a:cubicBezTo>
                  <a:cubicBezTo>
                    <a:pt x="217" y="814"/>
                    <a:pt x="217" y="814"/>
                    <a:pt x="217" y="814"/>
                  </a:cubicBezTo>
                  <a:cubicBezTo>
                    <a:pt x="217" y="814"/>
                    <a:pt x="217" y="814"/>
                    <a:pt x="217" y="814"/>
                  </a:cubicBezTo>
                  <a:cubicBezTo>
                    <a:pt x="217" y="815"/>
                    <a:pt x="217" y="815"/>
                    <a:pt x="217" y="815"/>
                  </a:cubicBezTo>
                  <a:cubicBezTo>
                    <a:pt x="217" y="815"/>
                    <a:pt x="217" y="815"/>
                    <a:pt x="217" y="815"/>
                  </a:cubicBezTo>
                  <a:cubicBezTo>
                    <a:pt x="217" y="815"/>
                    <a:pt x="217" y="815"/>
                    <a:pt x="217" y="815"/>
                  </a:cubicBezTo>
                  <a:cubicBezTo>
                    <a:pt x="216" y="817"/>
                    <a:pt x="216" y="817"/>
                    <a:pt x="216" y="817"/>
                  </a:cubicBezTo>
                  <a:cubicBezTo>
                    <a:pt x="216" y="817"/>
                    <a:pt x="216" y="817"/>
                    <a:pt x="216" y="817"/>
                  </a:cubicBezTo>
                  <a:cubicBezTo>
                    <a:pt x="216" y="817"/>
                    <a:pt x="216" y="817"/>
                    <a:pt x="216" y="817"/>
                  </a:cubicBezTo>
                  <a:cubicBezTo>
                    <a:pt x="216" y="818"/>
                    <a:pt x="216" y="818"/>
                    <a:pt x="216" y="819"/>
                  </a:cubicBezTo>
                  <a:cubicBezTo>
                    <a:pt x="216" y="819"/>
                    <a:pt x="216" y="819"/>
                    <a:pt x="216" y="820"/>
                  </a:cubicBezTo>
                  <a:cubicBezTo>
                    <a:pt x="215" y="820"/>
                    <a:pt x="215" y="820"/>
                    <a:pt x="215" y="821"/>
                  </a:cubicBezTo>
                  <a:cubicBezTo>
                    <a:pt x="214" y="822"/>
                    <a:pt x="213" y="824"/>
                    <a:pt x="214" y="825"/>
                  </a:cubicBezTo>
                  <a:cubicBezTo>
                    <a:pt x="214" y="826"/>
                    <a:pt x="214" y="826"/>
                    <a:pt x="215" y="827"/>
                  </a:cubicBezTo>
                  <a:cubicBezTo>
                    <a:pt x="215" y="827"/>
                    <a:pt x="215" y="827"/>
                    <a:pt x="216" y="827"/>
                  </a:cubicBezTo>
                  <a:cubicBezTo>
                    <a:pt x="215" y="827"/>
                    <a:pt x="215" y="828"/>
                    <a:pt x="215" y="829"/>
                  </a:cubicBezTo>
                  <a:cubicBezTo>
                    <a:pt x="215" y="829"/>
                    <a:pt x="215" y="829"/>
                    <a:pt x="215" y="829"/>
                  </a:cubicBezTo>
                  <a:cubicBezTo>
                    <a:pt x="215" y="829"/>
                    <a:pt x="215" y="829"/>
                    <a:pt x="215" y="829"/>
                  </a:cubicBezTo>
                  <a:cubicBezTo>
                    <a:pt x="215" y="829"/>
                    <a:pt x="215" y="829"/>
                    <a:pt x="215" y="829"/>
                  </a:cubicBezTo>
                  <a:cubicBezTo>
                    <a:pt x="215" y="829"/>
                    <a:pt x="214" y="829"/>
                    <a:pt x="214" y="830"/>
                  </a:cubicBezTo>
                  <a:cubicBezTo>
                    <a:pt x="214" y="831"/>
                    <a:pt x="214" y="832"/>
                    <a:pt x="214" y="832"/>
                  </a:cubicBezTo>
                  <a:cubicBezTo>
                    <a:pt x="214" y="832"/>
                    <a:pt x="214" y="832"/>
                    <a:pt x="214" y="832"/>
                  </a:cubicBezTo>
                  <a:cubicBezTo>
                    <a:pt x="212" y="830"/>
                    <a:pt x="212" y="830"/>
                    <a:pt x="212" y="830"/>
                  </a:cubicBezTo>
                  <a:cubicBezTo>
                    <a:pt x="212" y="834"/>
                    <a:pt x="212" y="834"/>
                    <a:pt x="212" y="834"/>
                  </a:cubicBezTo>
                  <a:cubicBezTo>
                    <a:pt x="212" y="835"/>
                    <a:pt x="212" y="835"/>
                    <a:pt x="212" y="836"/>
                  </a:cubicBezTo>
                  <a:cubicBezTo>
                    <a:pt x="212" y="836"/>
                    <a:pt x="213" y="836"/>
                    <a:pt x="213" y="837"/>
                  </a:cubicBezTo>
                  <a:cubicBezTo>
                    <a:pt x="213" y="837"/>
                    <a:pt x="213" y="838"/>
                    <a:pt x="213" y="838"/>
                  </a:cubicBezTo>
                  <a:cubicBezTo>
                    <a:pt x="213" y="838"/>
                    <a:pt x="213" y="839"/>
                    <a:pt x="213" y="839"/>
                  </a:cubicBezTo>
                  <a:cubicBezTo>
                    <a:pt x="213" y="839"/>
                    <a:pt x="213" y="840"/>
                    <a:pt x="213" y="840"/>
                  </a:cubicBezTo>
                  <a:cubicBezTo>
                    <a:pt x="213" y="841"/>
                    <a:pt x="213" y="841"/>
                    <a:pt x="213" y="841"/>
                  </a:cubicBezTo>
                  <a:cubicBezTo>
                    <a:pt x="213" y="841"/>
                    <a:pt x="213" y="841"/>
                    <a:pt x="213" y="841"/>
                  </a:cubicBezTo>
                  <a:cubicBezTo>
                    <a:pt x="212" y="841"/>
                    <a:pt x="212" y="841"/>
                    <a:pt x="211" y="841"/>
                  </a:cubicBezTo>
                  <a:cubicBezTo>
                    <a:pt x="211" y="841"/>
                    <a:pt x="211" y="841"/>
                    <a:pt x="211" y="841"/>
                  </a:cubicBezTo>
                  <a:cubicBezTo>
                    <a:pt x="211" y="841"/>
                    <a:pt x="211" y="841"/>
                    <a:pt x="211" y="841"/>
                  </a:cubicBezTo>
                  <a:cubicBezTo>
                    <a:pt x="211" y="839"/>
                    <a:pt x="209" y="839"/>
                    <a:pt x="208" y="840"/>
                  </a:cubicBezTo>
                  <a:cubicBezTo>
                    <a:pt x="207" y="841"/>
                    <a:pt x="207" y="842"/>
                    <a:pt x="207" y="842"/>
                  </a:cubicBezTo>
                  <a:cubicBezTo>
                    <a:pt x="207" y="843"/>
                    <a:pt x="207" y="844"/>
                    <a:pt x="207" y="844"/>
                  </a:cubicBezTo>
                  <a:cubicBezTo>
                    <a:pt x="208" y="845"/>
                    <a:pt x="208" y="845"/>
                    <a:pt x="209" y="846"/>
                  </a:cubicBezTo>
                  <a:cubicBezTo>
                    <a:pt x="209" y="846"/>
                    <a:pt x="209" y="846"/>
                    <a:pt x="209" y="847"/>
                  </a:cubicBezTo>
                  <a:cubicBezTo>
                    <a:pt x="210" y="847"/>
                    <a:pt x="210" y="848"/>
                    <a:pt x="211" y="848"/>
                  </a:cubicBezTo>
                  <a:cubicBezTo>
                    <a:pt x="211" y="848"/>
                    <a:pt x="211" y="848"/>
                    <a:pt x="211" y="849"/>
                  </a:cubicBezTo>
                  <a:cubicBezTo>
                    <a:pt x="211" y="849"/>
                    <a:pt x="211" y="849"/>
                    <a:pt x="211" y="849"/>
                  </a:cubicBezTo>
                  <a:cubicBezTo>
                    <a:pt x="211" y="850"/>
                    <a:pt x="211" y="850"/>
                    <a:pt x="212" y="851"/>
                  </a:cubicBezTo>
                  <a:cubicBezTo>
                    <a:pt x="212" y="851"/>
                    <a:pt x="212" y="851"/>
                    <a:pt x="213" y="851"/>
                  </a:cubicBezTo>
                  <a:cubicBezTo>
                    <a:pt x="212" y="851"/>
                    <a:pt x="212" y="852"/>
                    <a:pt x="212" y="852"/>
                  </a:cubicBezTo>
                  <a:cubicBezTo>
                    <a:pt x="212" y="852"/>
                    <a:pt x="212" y="852"/>
                    <a:pt x="212" y="852"/>
                  </a:cubicBezTo>
                  <a:cubicBezTo>
                    <a:pt x="211" y="853"/>
                    <a:pt x="212" y="854"/>
                    <a:pt x="212" y="855"/>
                  </a:cubicBezTo>
                  <a:cubicBezTo>
                    <a:pt x="213" y="856"/>
                    <a:pt x="213" y="856"/>
                    <a:pt x="214" y="856"/>
                  </a:cubicBezTo>
                  <a:cubicBezTo>
                    <a:pt x="214" y="856"/>
                    <a:pt x="214" y="856"/>
                    <a:pt x="214" y="856"/>
                  </a:cubicBezTo>
                  <a:cubicBezTo>
                    <a:pt x="213" y="857"/>
                    <a:pt x="214" y="858"/>
                    <a:pt x="214" y="859"/>
                  </a:cubicBezTo>
                  <a:cubicBezTo>
                    <a:pt x="214" y="859"/>
                    <a:pt x="215" y="859"/>
                    <a:pt x="215" y="860"/>
                  </a:cubicBezTo>
                  <a:cubicBezTo>
                    <a:pt x="215" y="860"/>
                    <a:pt x="215" y="860"/>
                    <a:pt x="215" y="860"/>
                  </a:cubicBezTo>
                  <a:cubicBezTo>
                    <a:pt x="215" y="860"/>
                    <a:pt x="215" y="860"/>
                    <a:pt x="216" y="860"/>
                  </a:cubicBezTo>
                  <a:cubicBezTo>
                    <a:pt x="216" y="860"/>
                    <a:pt x="216" y="861"/>
                    <a:pt x="216" y="861"/>
                  </a:cubicBezTo>
                  <a:cubicBezTo>
                    <a:pt x="216" y="861"/>
                    <a:pt x="216" y="861"/>
                    <a:pt x="216" y="861"/>
                  </a:cubicBezTo>
                  <a:cubicBezTo>
                    <a:pt x="215" y="863"/>
                    <a:pt x="218" y="864"/>
                    <a:pt x="218" y="864"/>
                  </a:cubicBezTo>
                  <a:cubicBezTo>
                    <a:pt x="218" y="865"/>
                    <a:pt x="219" y="865"/>
                    <a:pt x="219" y="865"/>
                  </a:cubicBezTo>
                  <a:cubicBezTo>
                    <a:pt x="219" y="865"/>
                    <a:pt x="220" y="865"/>
                    <a:pt x="220" y="865"/>
                  </a:cubicBezTo>
                  <a:cubicBezTo>
                    <a:pt x="220" y="866"/>
                    <a:pt x="220" y="866"/>
                    <a:pt x="220" y="866"/>
                  </a:cubicBezTo>
                  <a:cubicBezTo>
                    <a:pt x="220" y="866"/>
                    <a:pt x="221" y="867"/>
                    <a:pt x="221" y="867"/>
                  </a:cubicBezTo>
                  <a:cubicBezTo>
                    <a:pt x="222" y="867"/>
                    <a:pt x="222" y="868"/>
                    <a:pt x="222" y="868"/>
                  </a:cubicBezTo>
                  <a:cubicBezTo>
                    <a:pt x="222" y="868"/>
                    <a:pt x="223" y="869"/>
                    <a:pt x="223" y="870"/>
                  </a:cubicBezTo>
                  <a:cubicBezTo>
                    <a:pt x="224" y="870"/>
                    <a:pt x="224" y="870"/>
                    <a:pt x="224" y="870"/>
                  </a:cubicBezTo>
                  <a:cubicBezTo>
                    <a:pt x="224" y="870"/>
                    <a:pt x="224" y="871"/>
                    <a:pt x="224" y="872"/>
                  </a:cubicBezTo>
                  <a:cubicBezTo>
                    <a:pt x="225" y="872"/>
                    <a:pt x="225" y="873"/>
                    <a:pt x="226" y="873"/>
                  </a:cubicBezTo>
                  <a:cubicBezTo>
                    <a:pt x="226" y="873"/>
                    <a:pt x="226" y="873"/>
                    <a:pt x="226" y="873"/>
                  </a:cubicBezTo>
                  <a:cubicBezTo>
                    <a:pt x="227" y="873"/>
                    <a:pt x="227" y="874"/>
                    <a:pt x="227" y="874"/>
                  </a:cubicBezTo>
                  <a:cubicBezTo>
                    <a:pt x="227" y="874"/>
                    <a:pt x="227" y="875"/>
                    <a:pt x="228" y="875"/>
                  </a:cubicBezTo>
                  <a:cubicBezTo>
                    <a:pt x="228" y="875"/>
                    <a:pt x="228" y="876"/>
                    <a:pt x="228" y="876"/>
                  </a:cubicBezTo>
                  <a:cubicBezTo>
                    <a:pt x="228" y="876"/>
                    <a:pt x="228" y="876"/>
                    <a:pt x="229" y="876"/>
                  </a:cubicBezTo>
                  <a:cubicBezTo>
                    <a:pt x="229" y="876"/>
                    <a:pt x="229" y="876"/>
                    <a:pt x="229" y="876"/>
                  </a:cubicBezTo>
                  <a:cubicBezTo>
                    <a:pt x="229" y="876"/>
                    <a:pt x="229" y="876"/>
                    <a:pt x="229" y="876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29" y="877"/>
                    <a:pt x="229" y="877"/>
                  </a:cubicBezTo>
                  <a:cubicBezTo>
                    <a:pt x="229" y="877"/>
                    <a:pt x="230" y="877"/>
                    <a:pt x="230" y="877"/>
                  </a:cubicBezTo>
                  <a:cubicBezTo>
                    <a:pt x="230" y="878"/>
                    <a:pt x="231" y="879"/>
                    <a:pt x="231" y="880"/>
                  </a:cubicBezTo>
                  <a:cubicBezTo>
                    <a:pt x="232" y="880"/>
                    <a:pt x="232" y="880"/>
                    <a:pt x="232" y="881"/>
                  </a:cubicBezTo>
                  <a:cubicBezTo>
                    <a:pt x="233" y="881"/>
                    <a:pt x="233" y="882"/>
                    <a:pt x="233" y="882"/>
                  </a:cubicBezTo>
                  <a:cubicBezTo>
                    <a:pt x="233" y="882"/>
                    <a:pt x="233" y="883"/>
                    <a:pt x="233" y="884"/>
                  </a:cubicBezTo>
                  <a:cubicBezTo>
                    <a:pt x="233" y="885"/>
                    <a:pt x="234" y="886"/>
                    <a:pt x="235" y="887"/>
                  </a:cubicBezTo>
                  <a:cubicBezTo>
                    <a:pt x="235" y="887"/>
                    <a:pt x="236" y="888"/>
                    <a:pt x="236" y="888"/>
                  </a:cubicBezTo>
                  <a:cubicBezTo>
                    <a:pt x="236" y="888"/>
                    <a:pt x="236" y="888"/>
                    <a:pt x="237" y="889"/>
                  </a:cubicBezTo>
                  <a:cubicBezTo>
                    <a:pt x="237" y="889"/>
                    <a:pt x="237" y="889"/>
                    <a:pt x="237" y="889"/>
                  </a:cubicBezTo>
                  <a:cubicBezTo>
                    <a:pt x="237" y="889"/>
                    <a:pt x="237" y="889"/>
                    <a:pt x="237" y="889"/>
                  </a:cubicBezTo>
                  <a:cubicBezTo>
                    <a:pt x="237" y="889"/>
                    <a:pt x="237" y="889"/>
                    <a:pt x="237" y="889"/>
                  </a:cubicBezTo>
                  <a:cubicBezTo>
                    <a:pt x="237" y="890"/>
                    <a:pt x="236" y="890"/>
                    <a:pt x="236" y="891"/>
                  </a:cubicBezTo>
                  <a:cubicBezTo>
                    <a:pt x="236" y="892"/>
                    <a:pt x="236" y="892"/>
                    <a:pt x="236" y="893"/>
                  </a:cubicBezTo>
                  <a:cubicBezTo>
                    <a:pt x="235" y="893"/>
                    <a:pt x="235" y="893"/>
                    <a:pt x="235" y="893"/>
                  </a:cubicBezTo>
                  <a:cubicBezTo>
                    <a:pt x="238" y="895"/>
                    <a:pt x="238" y="895"/>
                    <a:pt x="238" y="895"/>
                  </a:cubicBezTo>
                  <a:cubicBezTo>
                    <a:pt x="238" y="895"/>
                    <a:pt x="238" y="895"/>
                    <a:pt x="238" y="895"/>
                  </a:cubicBezTo>
                  <a:cubicBezTo>
                    <a:pt x="238" y="895"/>
                    <a:pt x="238" y="895"/>
                    <a:pt x="238" y="895"/>
                  </a:cubicBezTo>
                  <a:cubicBezTo>
                    <a:pt x="238" y="895"/>
                    <a:pt x="239" y="895"/>
                    <a:pt x="239" y="895"/>
                  </a:cubicBezTo>
                  <a:cubicBezTo>
                    <a:pt x="239" y="895"/>
                    <a:pt x="239" y="896"/>
                    <a:pt x="238" y="896"/>
                  </a:cubicBezTo>
                  <a:cubicBezTo>
                    <a:pt x="238" y="897"/>
                    <a:pt x="238" y="897"/>
                    <a:pt x="239" y="898"/>
                  </a:cubicBezTo>
                  <a:cubicBezTo>
                    <a:pt x="239" y="899"/>
                    <a:pt x="240" y="900"/>
                    <a:pt x="240" y="900"/>
                  </a:cubicBezTo>
                  <a:cubicBezTo>
                    <a:pt x="241" y="901"/>
                    <a:pt x="241" y="902"/>
                    <a:pt x="242" y="903"/>
                  </a:cubicBezTo>
                  <a:cubicBezTo>
                    <a:pt x="242" y="903"/>
                    <a:pt x="242" y="903"/>
                    <a:pt x="242" y="903"/>
                  </a:cubicBezTo>
                  <a:cubicBezTo>
                    <a:pt x="242" y="903"/>
                    <a:pt x="242" y="903"/>
                    <a:pt x="242" y="903"/>
                  </a:cubicBezTo>
                  <a:cubicBezTo>
                    <a:pt x="242" y="904"/>
                    <a:pt x="242" y="904"/>
                    <a:pt x="242" y="904"/>
                  </a:cubicBezTo>
                  <a:cubicBezTo>
                    <a:pt x="242" y="905"/>
                    <a:pt x="242" y="905"/>
                    <a:pt x="242" y="905"/>
                  </a:cubicBezTo>
                  <a:cubicBezTo>
                    <a:pt x="243" y="905"/>
                    <a:pt x="243" y="905"/>
                    <a:pt x="243" y="906"/>
                  </a:cubicBezTo>
                  <a:cubicBezTo>
                    <a:pt x="243" y="906"/>
                    <a:pt x="243" y="906"/>
                    <a:pt x="243" y="906"/>
                  </a:cubicBezTo>
                  <a:cubicBezTo>
                    <a:pt x="243" y="907"/>
                    <a:pt x="243" y="907"/>
                    <a:pt x="243" y="908"/>
                  </a:cubicBezTo>
                  <a:cubicBezTo>
                    <a:pt x="243" y="909"/>
                    <a:pt x="243" y="910"/>
                    <a:pt x="243" y="911"/>
                  </a:cubicBezTo>
                  <a:cubicBezTo>
                    <a:pt x="244" y="912"/>
                    <a:pt x="244" y="913"/>
                    <a:pt x="245" y="914"/>
                  </a:cubicBezTo>
                  <a:cubicBezTo>
                    <a:pt x="245" y="914"/>
                    <a:pt x="245" y="914"/>
                    <a:pt x="245" y="914"/>
                  </a:cubicBezTo>
                  <a:cubicBezTo>
                    <a:pt x="245" y="915"/>
                    <a:pt x="245" y="915"/>
                    <a:pt x="246" y="915"/>
                  </a:cubicBezTo>
                  <a:cubicBezTo>
                    <a:pt x="246" y="915"/>
                    <a:pt x="246" y="916"/>
                    <a:pt x="246" y="916"/>
                  </a:cubicBezTo>
                  <a:cubicBezTo>
                    <a:pt x="246" y="917"/>
                    <a:pt x="246" y="917"/>
                    <a:pt x="246" y="917"/>
                  </a:cubicBezTo>
                  <a:cubicBezTo>
                    <a:pt x="246" y="918"/>
                    <a:pt x="246" y="918"/>
                    <a:pt x="247" y="919"/>
                  </a:cubicBezTo>
                  <a:cubicBezTo>
                    <a:pt x="247" y="920"/>
                    <a:pt x="247" y="920"/>
                    <a:pt x="247" y="920"/>
                  </a:cubicBezTo>
                  <a:cubicBezTo>
                    <a:pt x="247" y="921"/>
                    <a:pt x="248" y="922"/>
                    <a:pt x="248" y="922"/>
                  </a:cubicBezTo>
                  <a:cubicBezTo>
                    <a:pt x="248" y="922"/>
                    <a:pt x="247" y="922"/>
                    <a:pt x="247" y="922"/>
                  </a:cubicBezTo>
                  <a:cubicBezTo>
                    <a:pt x="247" y="922"/>
                    <a:pt x="245" y="921"/>
                    <a:pt x="245" y="922"/>
                  </a:cubicBezTo>
                  <a:cubicBezTo>
                    <a:pt x="244" y="923"/>
                    <a:pt x="244" y="925"/>
                    <a:pt x="244" y="926"/>
                  </a:cubicBezTo>
                  <a:cubicBezTo>
                    <a:pt x="245" y="928"/>
                    <a:pt x="245" y="929"/>
                    <a:pt x="246" y="930"/>
                  </a:cubicBezTo>
                  <a:cubicBezTo>
                    <a:pt x="247" y="931"/>
                    <a:pt x="248" y="933"/>
                    <a:pt x="248" y="934"/>
                  </a:cubicBezTo>
                  <a:cubicBezTo>
                    <a:pt x="248" y="934"/>
                    <a:pt x="248" y="935"/>
                    <a:pt x="248" y="935"/>
                  </a:cubicBezTo>
                  <a:cubicBezTo>
                    <a:pt x="248" y="936"/>
                    <a:pt x="248" y="936"/>
                    <a:pt x="248" y="937"/>
                  </a:cubicBezTo>
                  <a:cubicBezTo>
                    <a:pt x="249" y="938"/>
                    <a:pt x="249" y="939"/>
                    <a:pt x="249" y="939"/>
                  </a:cubicBezTo>
                  <a:cubicBezTo>
                    <a:pt x="250" y="940"/>
                    <a:pt x="250" y="940"/>
                    <a:pt x="250" y="940"/>
                  </a:cubicBezTo>
                  <a:cubicBezTo>
                    <a:pt x="250" y="941"/>
                    <a:pt x="250" y="941"/>
                    <a:pt x="250" y="942"/>
                  </a:cubicBezTo>
                  <a:cubicBezTo>
                    <a:pt x="250" y="943"/>
                    <a:pt x="250" y="943"/>
                    <a:pt x="250" y="943"/>
                  </a:cubicBezTo>
                  <a:cubicBezTo>
                    <a:pt x="251" y="944"/>
                    <a:pt x="251" y="945"/>
                    <a:pt x="252" y="946"/>
                  </a:cubicBezTo>
                  <a:cubicBezTo>
                    <a:pt x="252" y="948"/>
                    <a:pt x="252" y="949"/>
                    <a:pt x="252" y="950"/>
                  </a:cubicBezTo>
                  <a:cubicBezTo>
                    <a:pt x="252" y="951"/>
                    <a:pt x="252" y="952"/>
                    <a:pt x="252" y="952"/>
                  </a:cubicBezTo>
                  <a:cubicBezTo>
                    <a:pt x="252" y="953"/>
                    <a:pt x="252" y="953"/>
                    <a:pt x="252" y="954"/>
                  </a:cubicBezTo>
                  <a:cubicBezTo>
                    <a:pt x="252" y="954"/>
                    <a:pt x="252" y="955"/>
                    <a:pt x="252" y="955"/>
                  </a:cubicBezTo>
                  <a:cubicBezTo>
                    <a:pt x="252" y="956"/>
                    <a:pt x="252" y="956"/>
                    <a:pt x="251" y="956"/>
                  </a:cubicBezTo>
                  <a:cubicBezTo>
                    <a:pt x="251" y="956"/>
                    <a:pt x="251" y="957"/>
                    <a:pt x="250" y="957"/>
                  </a:cubicBezTo>
                  <a:cubicBezTo>
                    <a:pt x="249" y="958"/>
                    <a:pt x="248" y="960"/>
                    <a:pt x="247" y="961"/>
                  </a:cubicBezTo>
                  <a:cubicBezTo>
                    <a:pt x="246" y="962"/>
                    <a:pt x="245" y="965"/>
                    <a:pt x="243" y="967"/>
                  </a:cubicBezTo>
                  <a:cubicBezTo>
                    <a:pt x="243" y="968"/>
                    <a:pt x="243" y="969"/>
                    <a:pt x="242" y="970"/>
                  </a:cubicBezTo>
                  <a:cubicBezTo>
                    <a:pt x="242" y="971"/>
                    <a:pt x="242" y="971"/>
                    <a:pt x="242" y="972"/>
                  </a:cubicBezTo>
                  <a:cubicBezTo>
                    <a:pt x="242" y="972"/>
                    <a:pt x="242" y="973"/>
                    <a:pt x="242" y="973"/>
                  </a:cubicBezTo>
                  <a:cubicBezTo>
                    <a:pt x="242" y="973"/>
                    <a:pt x="242" y="973"/>
                    <a:pt x="242" y="974"/>
                  </a:cubicBezTo>
                  <a:cubicBezTo>
                    <a:pt x="242" y="974"/>
                    <a:pt x="242" y="975"/>
                    <a:pt x="242" y="976"/>
                  </a:cubicBezTo>
                  <a:cubicBezTo>
                    <a:pt x="242" y="977"/>
                    <a:pt x="242" y="977"/>
                    <a:pt x="242" y="978"/>
                  </a:cubicBezTo>
                  <a:cubicBezTo>
                    <a:pt x="242" y="979"/>
                    <a:pt x="242" y="980"/>
                    <a:pt x="242" y="981"/>
                  </a:cubicBezTo>
                  <a:cubicBezTo>
                    <a:pt x="241" y="982"/>
                    <a:pt x="241" y="983"/>
                    <a:pt x="241" y="984"/>
                  </a:cubicBezTo>
                  <a:cubicBezTo>
                    <a:pt x="240" y="986"/>
                    <a:pt x="240" y="987"/>
                    <a:pt x="239" y="989"/>
                  </a:cubicBezTo>
                  <a:cubicBezTo>
                    <a:pt x="239" y="989"/>
                    <a:pt x="238" y="990"/>
                    <a:pt x="238" y="990"/>
                  </a:cubicBezTo>
                  <a:cubicBezTo>
                    <a:pt x="238" y="990"/>
                    <a:pt x="237" y="991"/>
                    <a:pt x="238" y="995"/>
                  </a:cubicBezTo>
                  <a:cubicBezTo>
                    <a:pt x="238" y="995"/>
                    <a:pt x="238" y="995"/>
                    <a:pt x="238" y="996"/>
                  </a:cubicBezTo>
                  <a:cubicBezTo>
                    <a:pt x="238" y="996"/>
                    <a:pt x="238" y="996"/>
                    <a:pt x="238" y="996"/>
                  </a:cubicBezTo>
                  <a:cubicBezTo>
                    <a:pt x="238" y="997"/>
                    <a:pt x="238" y="998"/>
                    <a:pt x="238" y="1000"/>
                  </a:cubicBezTo>
                  <a:cubicBezTo>
                    <a:pt x="238" y="1000"/>
                    <a:pt x="238" y="1000"/>
                    <a:pt x="238" y="1000"/>
                  </a:cubicBezTo>
                  <a:cubicBezTo>
                    <a:pt x="238" y="1000"/>
                    <a:pt x="237" y="1000"/>
                    <a:pt x="237" y="1000"/>
                  </a:cubicBezTo>
                  <a:cubicBezTo>
                    <a:pt x="236" y="1001"/>
                    <a:pt x="237" y="1003"/>
                    <a:pt x="237" y="1005"/>
                  </a:cubicBezTo>
                  <a:cubicBezTo>
                    <a:pt x="237" y="1005"/>
                    <a:pt x="237" y="1005"/>
                    <a:pt x="237" y="1005"/>
                  </a:cubicBezTo>
                  <a:cubicBezTo>
                    <a:pt x="238" y="1007"/>
                    <a:pt x="238" y="1008"/>
                    <a:pt x="238" y="1010"/>
                  </a:cubicBezTo>
                  <a:cubicBezTo>
                    <a:pt x="238" y="1010"/>
                    <a:pt x="238" y="1010"/>
                    <a:pt x="238" y="1010"/>
                  </a:cubicBezTo>
                  <a:cubicBezTo>
                    <a:pt x="238" y="1010"/>
                    <a:pt x="238" y="1011"/>
                    <a:pt x="238" y="1011"/>
                  </a:cubicBezTo>
                  <a:cubicBezTo>
                    <a:pt x="238" y="1012"/>
                    <a:pt x="238" y="1013"/>
                    <a:pt x="238" y="1015"/>
                  </a:cubicBezTo>
                  <a:cubicBezTo>
                    <a:pt x="239" y="1015"/>
                    <a:pt x="239" y="1016"/>
                    <a:pt x="240" y="1016"/>
                  </a:cubicBezTo>
                  <a:cubicBezTo>
                    <a:pt x="240" y="1017"/>
                    <a:pt x="240" y="1017"/>
                    <a:pt x="240" y="1017"/>
                  </a:cubicBezTo>
                  <a:cubicBezTo>
                    <a:pt x="240" y="1017"/>
                    <a:pt x="240" y="1017"/>
                    <a:pt x="240" y="1018"/>
                  </a:cubicBezTo>
                  <a:cubicBezTo>
                    <a:pt x="240" y="1018"/>
                    <a:pt x="240" y="1019"/>
                    <a:pt x="240" y="1020"/>
                  </a:cubicBezTo>
                  <a:cubicBezTo>
                    <a:pt x="241" y="1020"/>
                    <a:pt x="241" y="1021"/>
                    <a:pt x="242" y="1021"/>
                  </a:cubicBezTo>
                  <a:cubicBezTo>
                    <a:pt x="242" y="1021"/>
                    <a:pt x="242" y="1021"/>
                    <a:pt x="242" y="1021"/>
                  </a:cubicBezTo>
                  <a:cubicBezTo>
                    <a:pt x="242" y="1022"/>
                    <a:pt x="243" y="1022"/>
                    <a:pt x="243" y="1023"/>
                  </a:cubicBezTo>
                  <a:cubicBezTo>
                    <a:pt x="243" y="1023"/>
                    <a:pt x="244" y="1024"/>
                    <a:pt x="244" y="1024"/>
                  </a:cubicBezTo>
                  <a:cubicBezTo>
                    <a:pt x="245" y="1026"/>
                    <a:pt x="246" y="1028"/>
                    <a:pt x="246" y="1030"/>
                  </a:cubicBezTo>
                  <a:cubicBezTo>
                    <a:pt x="247" y="1032"/>
                    <a:pt x="248" y="1033"/>
                    <a:pt x="249" y="1034"/>
                  </a:cubicBezTo>
                  <a:cubicBezTo>
                    <a:pt x="250" y="1035"/>
                    <a:pt x="250" y="1035"/>
                    <a:pt x="250" y="1035"/>
                  </a:cubicBezTo>
                  <a:cubicBezTo>
                    <a:pt x="252" y="1037"/>
                    <a:pt x="253" y="1038"/>
                    <a:pt x="253" y="1040"/>
                  </a:cubicBezTo>
                  <a:cubicBezTo>
                    <a:pt x="254" y="1043"/>
                    <a:pt x="255" y="1045"/>
                    <a:pt x="256" y="1047"/>
                  </a:cubicBezTo>
                  <a:cubicBezTo>
                    <a:pt x="257" y="1048"/>
                    <a:pt x="257" y="1049"/>
                    <a:pt x="258" y="1050"/>
                  </a:cubicBezTo>
                  <a:cubicBezTo>
                    <a:pt x="258" y="1051"/>
                    <a:pt x="259" y="1053"/>
                    <a:pt x="259" y="1054"/>
                  </a:cubicBezTo>
                  <a:cubicBezTo>
                    <a:pt x="260" y="1055"/>
                    <a:pt x="261" y="1057"/>
                    <a:pt x="263" y="1059"/>
                  </a:cubicBezTo>
                  <a:cubicBezTo>
                    <a:pt x="264" y="1061"/>
                    <a:pt x="264" y="1062"/>
                    <a:pt x="263" y="1064"/>
                  </a:cubicBezTo>
                  <a:cubicBezTo>
                    <a:pt x="263" y="1065"/>
                    <a:pt x="263" y="1065"/>
                    <a:pt x="263" y="1066"/>
                  </a:cubicBezTo>
                  <a:cubicBezTo>
                    <a:pt x="264" y="1066"/>
                    <a:pt x="264" y="1066"/>
                    <a:pt x="264" y="1067"/>
                  </a:cubicBezTo>
                  <a:cubicBezTo>
                    <a:pt x="263" y="1067"/>
                    <a:pt x="263" y="1067"/>
                    <a:pt x="263" y="1067"/>
                  </a:cubicBezTo>
                  <a:cubicBezTo>
                    <a:pt x="262" y="1069"/>
                    <a:pt x="263" y="1070"/>
                    <a:pt x="263" y="1070"/>
                  </a:cubicBezTo>
                  <a:cubicBezTo>
                    <a:pt x="263" y="1070"/>
                    <a:pt x="263" y="1070"/>
                    <a:pt x="263" y="1071"/>
                  </a:cubicBezTo>
                  <a:cubicBezTo>
                    <a:pt x="264" y="1071"/>
                    <a:pt x="264" y="1072"/>
                    <a:pt x="264" y="1073"/>
                  </a:cubicBezTo>
                  <a:cubicBezTo>
                    <a:pt x="264" y="1074"/>
                    <a:pt x="264" y="1074"/>
                    <a:pt x="264" y="1074"/>
                  </a:cubicBezTo>
                  <a:cubicBezTo>
                    <a:pt x="264" y="1075"/>
                    <a:pt x="264" y="1076"/>
                    <a:pt x="265" y="1076"/>
                  </a:cubicBezTo>
                  <a:cubicBezTo>
                    <a:pt x="266" y="1077"/>
                    <a:pt x="266" y="1077"/>
                    <a:pt x="266" y="1077"/>
                  </a:cubicBezTo>
                  <a:cubicBezTo>
                    <a:pt x="266" y="1078"/>
                    <a:pt x="266" y="1078"/>
                    <a:pt x="266" y="1079"/>
                  </a:cubicBezTo>
                  <a:cubicBezTo>
                    <a:pt x="267" y="1079"/>
                    <a:pt x="267" y="1079"/>
                    <a:pt x="267" y="1080"/>
                  </a:cubicBezTo>
                  <a:cubicBezTo>
                    <a:pt x="267" y="1080"/>
                    <a:pt x="267" y="1081"/>
                    <a:pt x="268" y="1082"/>
                  </a:cubicBezTo>
                  <a:cubicBezTo>
                    <a:pt x="268" y="1082"/>
                    <a:pt x="268" y="1083"/>
                    <a:pt x="269" y="1083"/>
                  </a:cubicBezTo>
                  <a:cubicBezTo>
                    <a:pt x="269" y="1084"/>
                    <a:pt x="269" y="1084"/>
                    <a:pt x="268" y="1085"/>
                  </a:cubicBezTo>
                  <a:cubicBezTo>
                    <a:pt x="268" y="1085"/>
                    <a:pt x="268" y="1085"/>
                    <a:pt x="268" y="1085"/>
                  </a:cubicBezTo>
                  <a:cubicBezTo>
                    <a:pt x="268" y="1086"/>
                    <a:pt x="268" y="1087"/>
                    <a:pt x="268" y="1088"/>
                  </a:cubicBezTo>
                  <a:cubicBezTo>
                    <a:pt x="268" y="1088"/>
                    <a:pt x="268" y="1088"/>
                    <a:pt x="268" y="1088"/>
                  </a:cubicBezTo>
                  <a:cubicBezTo>
                    <a:pt x="268" y="1089"/>
                    <a:pt x="268" y="1090"/>
                    <a:pt x="269" y="1091"/>
                  </a:cubicBezTo>
                  <a:cubicBezTo>
                    <a:pt x="269" y="1092"/>
                    <a:pt x="269" y="1093"/>
                    <a:pt x="269" y="1093"/>
                  </a:cubicBezTo>
                  <a:cubicBezTo>
                    <a:pt x="269" y="1093"/>
                    <a:pt x="269" y="1094"/>
                    <a:pt x="269" y="1094"/>
                  </a:cubicBezTo>
                  <a:cubicBezTo>
                    <a:pt x="269" y="1094"/>
                    <a:pt x="269" y="1095"/>
                    <a:pt x="269" y="1095"/>
                  </a:cubicBezTo>
                  <a:cubicBezTo>
                    <a:pt x="269" y="1096"/>
                    <a:pt x="269" y="1097"/>
                    <a:pt x="270" y="1098"/>
                  </a:cubicBezTo>
                  <a:cubicBezTo>
                    <a:pt x="270" y="1098"/>
                    <a:pt x="270" y="1099"/>
                    <a:pt x="271" y="1099"/>
                  </a:cubicBezTo>
                  <a:cubicBezTo>
                    <a:pt x="271" y="1099"/>
                    <a:pt x="271" y="1100"/>
                    <a:pt x="271" y="1100"/>
                  </a:cubicBezTo>
                  <a:cubicBezTo>
                    <a:pt x="271" y="1100"/>
                    <a:pt x="271" y="1100"/>
                    <a:pt x="271" y="1100"/>
                  </a:cubicBezTo>
                  <a:cubicBezTo>
                    <a:pt x="271" y="1101"/>
                    <a:pt x="269" y="1102"/>
                    <a:pt x="271" y="1104"/>
                  </a:cubicBezTo>
                  <a:cubicBezTo>
                    <a:pt x="271" y="1105"/>
                    <a:pt x="271" y="1105"/>
                    <a:pt x="272" y="1106"/>
                  </a:cubicBezTo>
                  <a:cubicBezTo>
                    <a:pt x="272" y="1106"/>
                    <a:pt x="272" y="1106"/>
                    <a:pt x="272" y="1107"/>
                  </a:cubicBezTo>
                  <a:cubicBezTo>
                    <a:pt x="272" y="1107"/>
                    <a:pt x="272" y="1108"/>
                    <a:pt x="272" y="1108"/>
                  </a:cubicBezTo>
                  <a:cubicBezTo>
                    <a:pt x="272" y="1108"/>
                    <a:pt x="273" y="1110"/>
                    <a:pt x="273" y="1110"/>
                  </a:cubicBezTo>
                  <a:cubicBezTo>
                    <a:pt x="274" y="1111"/>
                    <a:pt x="275" y="1111"/>
                    <a:pt x="275" y="1112"/>
                  </a:cubicBezTo>
                  <a:cubicBezTo>
                    <a:pt x="276" y="1112"/>
                    <a:pt x="276" y="1113"/>
                    <a:pt x="277" y="1113"/>
                  </a:cubicBezTo>
                  <a:cubicBezTo>
                    <a:pt x="277" y="1114"/>
                    <a:pt x="277" y="1114"/>
                    <a:pt x="277" y="1114"/>
                  </a:cubicBezTo>
                  <a:cubicBezTo>
                    <a:pt x="277" y="1114"/>
                    <a:pt x="277" y="1115"/>
                    <a:pt x="277" y="1115"/>
                  </a:cubicBezTo>
                  <a:cubicBezTo>
                    <a:pt x="277" y="1115"/>
                    <a:pt x="278" y="1116"/>
                    <a:pt x="278" y="1116"/>
                  </a:cubicBezTo>
                  <a:cubicBezTo>
                    <a:pt x="278" y="1116"/>
                    <a:pt x="278" y="1116"/>
                    <a:pt x="278" y="1116"/>
                  </a:cubicBezTo>
                  <a:cubicBezTo>
                    <a:pt x="279" y="1117"/>
                    <a:pt x="279" y="1119"/>
                    <a:pt x="280" y="1120"/>
                  </a:cubicBezTo>
                  <a:cubicBezTo>
                    <a:pt x="281" y="1120"/>
                    <a:pt x="281" y="1120"/>
                    <a:pt x="281" y="1120"/>
                  </a:cubicBezTo>
                  <a:cubicBezTo>
                    <a:pt x="281" y="1120"/>
                    <a:pt x="281" y="1120"/>
                    <a:pt x="281" y="1121"/>
                  </a:cubicBezTo>
                  <a:cubicBezTo>
                    <a:pt x="281" y="1121"/>
                    <a:pt x="281" y="1121"/>
                    <a:pt x="281" y="1121"/>
                  </a:cubicBezTo>
                  <a:cubicBezTo>
                    <a:pt x="282" y="1122"/>
                    <a:pt x="282" y="1122"/>
                    <a:pt x="282" y="1122"/>
                  </a:cubicBezTo>
                  <a:cubicBezTo>
                    <a:pt x="282" y="1122"/>
                    <a:pt x="282" y="1122"/>
                    <a:pt x="282" y="1122"/>
                  </a:cubicBezTo>
                  <a:cubicBezTo>
                    <a:pt x="283" y="1123"/>
                    <a:pt x="283" y="1123"/>
                    <a:pt x="283" y="1123"/>
                  </a:cubicBezTo>
                  <a:cubicBezTo>
                    <a:pt x="283" y="1123"/>
                    <a:pt x="283" y="1123"/>
                    <a:pt x="283" y="1123"/>
                  </a:cubicBezTo>
                  <a:cubicBezTo>
                    <a:pt x="283" y="1123"/>
                    <a:pt x="283" y="1123"/>
                    <a:pt x="283" y="1123"/>
                  </a:cubicBezTo>
                  <a:cubicBezTo>
                    <a:pt x="283" y="1123"/>
                    <a:pt x="283" y="1124"/>
                    <a:pt x="283" y="1124"/>
                  </a:cubicBezTo>
                  <a:cubicBezTo>
                    <a:pt x="283" y="1125"/>
                    <a:pt x="283" y="1125"/>
                    <a:pt x="284" y="1125"/>
                  </a:cubicBezTo>
                  <a:cubicBezTo>
                    <a:pt x="284" y="1127"/>
                    <a:pt x="285" y="1128"/>
                    <a:pt x="286" y="1129"/>
                  </a:cubicBezTo>
                  <a:cubicBezTo>
                    <a:pt x="286" y="1129"/>
                    <a:pt x="287" y="1130"/>
                    <a:pt x="287" y="1131"/>
                  </a:cubicBezTo>
                  <a:cubicBezTo>
                    <a:pt x="287" y="1131"/>
                    <a:pt x="288" y="1132"/>
                    <a:pt x="288" y="1132"/>
                  </a:cubicBezTo>
                  <a:cubicBezTo>
                    <a:pt x="289" y="1132"/>
                    <a:pt x="289" y="1132"/>
                    <a:pt x="289" y="1132"/>
                  </a:cubicBezTo>
                  <a:cubicBezTo>
                    <a:pt x="288" y="1133"/>
                    <a:pt x="288" y="1133"/>
                    <a:pt x="288" y="1133"/>
                  </a:cubicBezTo>
                  <a:cubicBezTo>
                    <a:pt x="288" y="1133"/>
                    <a:pt x="288" y="1133"/>
                    <a:pt x="288" y="1133"/>
                  </a:cubicBezTo>
                  <a:cubicBezTo>
                    <a:pt x="288" y="1134"/>
                    <a:pt x="288" y="1134"/>
                    <a:pt x="288" y="1134"/>
                  </a:cubicBezTo>
                  <a:cubicBezTo>
                    <a:pt x="289" y="1134"/>
                    <a:pt x="289" y="1135"/>
                    <a:pt x="289" y="1136"/>
                  </a:cubicBezTo>
                  <a:cubicBezTo>
                    <a:pt x="289" y="1136"/>
                    <a:pt x="289" y="1136"/>
                    <a:pt x="289" y="1137"/>
                  </a:cubicBezTo>
                  <a:cubicBezTo>
                    <a:pt x="290" y="1137"/>
                    <a:pt x="290" y="1137"/>
                    <a:pt x="290" y="1137"/>
                  </a:cubicBezTo>
                  <a:cubicBezTo>
                    <a:pt x="290" y="1138"/>
                    <a:pt x="290" y="1138"/>
                    <a:pt x="290" y="1138"/>
                  </a:cubicBezTo>
                  <a:cubicBezTo>
                    <a:pt x="291" y="1138"/>
                    <a:pt x="291" y="1138"/>
                    <a:pt x="291" y="1138"/>
                  </a:cubicBezTo>
                  <a:cubicBezTo>
                    <a:pt x="291" y="1138"/>
                    <a:pt x="291" y="1139"/>
                    <a:pt x="292" y="1140"/>
                  </a:cubicBezTo>
                  <a:cubicBezTo>
                    <a:pt x="292" y="1140"/>
                    <a:pt x="292" y="1140"/>
                    <a:pt x="292" y="1141"/>
                  </a:cubicBezTo>
                  <a:cubicBezTo>
                    <a:pt x="292" y="1141"/>
                    <a:pt x="293" y="1141"/>
                    <a:pt x="293" y="1141"/>
                  </a:cubicBezTo>
                  <a:cubicBezTo>
                    <a:pt x="293" y="1141"/>
                    <a:pt x="293" y="1142"/>
                    <a:pt x="293" y="1142"/>
                  </a:cubicBezTo>
                  <a:cubicBezTo>
                    <a:pt x="293" y="1142"/>
                    <a:pt x="293" y="1142"/>
                    <a:pt x="293" y="1143"/>
                  </a:cubicBezTo>
                  <a:cubicBezTo>
                    <a:pt x="294" y="1143"/>
                    <a:pt x="294" y="1143"/>
                    <a:pt x="294" y="1144"/>
                  </a:cubicBezTo>
                  <a:cubicBezTo>
                    <a:pt x="295" y="1144"/>
                    <a:pt x="295" y="1145"/>
                    <a:pt x="296" y="1146"/>
                  </a:cubicBezTo>
                  <a:cubicBezTo>
                    <a:pt x="296" y="1146"/>
                    <a:pt x="296" y="1147"/>
                    <a:pt x="296" y="1147"/>
                  </a:cubicBezTo>
                  <a:cubicBezTo>
                    <a:pt x="296" y="1148"/>
                    <a:pt x="297" y="1148"/>
                    <a:pt x="297" y="1149"/>
                  </a:cubicBezTo>
                  <a:cubicBezTo>
                    <a:pt x="297" y="1149"/>
                    <a:pt x="297" y="1149"/>
                    <a:pt x="297" y="1149"/>
                  </a:cubicBezTo>
                  <a:cubicBezTo>
                    <a:pt x="298" y="1149"/>
                    <a:pt x="298" y="1150"/>
                    <a:pt x="298" y="1150"/>
                  </a:cubicBezTo>
                  <a:cubicBezTo>
                    <a:pt x="298" y="1150"/>
                    <a:pt x="298" y="1150"/>
                    <a:pt x="298" y="1151"/>
                  </a:cubicBezTo>
                  <a:cubicBezTo>
                    <a:pt x="299" y="1151"/>
                    <a:pt x="299" y="1151"/>
                    <a:pt x="299" y="1151"/>
                  </a:cubicBezTo>
                  <a:cubicBezTo>
                    <a:pt x="299" y="1152"/>
                    <a:pt x="299" y="1152"/>
                    <a:pt x="299" y="1152"/>
                  </a:cubicBezTo>
                  <a:cubicBezTo>
                    <a:pt x="299" y="1152"/>
                    <a:pt x="299" y="1152"/>
                    <a:pt x="300" y="1152"/>
                  </a:cubicBezTo>
                  <a:cubicBezTo>
                    <a:pt x="300" y="1152"/>
                    <a:pt x="300" y="1153"/>
                    <a:pt x="299" y="1153"/>
                  </a:cubicBezTo>
                  <a:cubicBezTo>
                    <a:pt x="299" y="1153"/>
                    <a:pt x="299" y="1154"/>
                    <a:pt x="300" y="1154"/>
                  </a:cubicBezTo>
                  <a:cubicBezTo>
                    <a:pt x="300" y="1154"/>
                    <a:pt x="300" y="1155"/>
                    <a:pt x="300" y="1155"/>
                  </a:cubicBezTo>
                  <a:cubicBezTo>
                    <a:pt x="300" y="1155"/>
                    <a:pt x="300" y="1156"/>
                    <a:pt x="300" y="1156"/>
                  </a:cubicBezTo>
                  <a:cubicBezTo>
                    <a:pt x="300" y="1156"/>
                    <a:pt x="300" y="1156"/>
                    <a:pt x="300" y="1156"/>
                  </a:cubicBezTo>
                  <a:cubicBezTo>
                    <a:pt x="300" y="1156"/>
                    <a:pt x="300" y="1157"/>
                    <a:pt x="300" y="1157"/>
                  </a:cubicBezTo>
                  <a:cubicBezTo>
                    <a:pt x="299" y="1158"/>
                    <a:pt x="300" y="1159"/>
                    <a:pt x="300" y="1159"/>
                  </a:cubicBezTo>
                  <a:cubicBezTo>
                    <a:pt x="300" y="1160"/>
                    <a:pt x="300" y="1160"/>
                    <a:pt x="300" y="1160"/>
                  </a:cubicBezTo>
                  <a:cubicBezTo>
                    <a:pt x="299" y="1161"/>
                    <a:pt x="297" y="1161"/>
                    <a:pt x="298" y="1164"/>
                  </a:cubicBezTo>
                  <a:cubicBezTo>
                    <a:pt x="298" y="1165"/>
                    <a:pt x="298" y="1165"/>
                    <a:pt x="299" y="1166"/>
                  </a:cubicBezTo>
                  <a:cubicBezTo>
                    <a:pt x="299" y="1167"/>
                    <a:pt x="299" y="1167"/>
                    <a:pt x="299" y="1167"/>
                  </a:cubicBezTo>
                  <a:cubicBezTo>
                    <a:pt x="299" y="1168"/>
                    <a:pt x="300" y="1169"/>
                    <a:pt x="301" y="1169"/>
                  </a:cubicBezTo>
                  <a:cubicBezTo>
                    <a:pt x="301" y="1169"/>
                    <a:pt x="301" y="1169"/>
                    <a:pt x="302" y="1170"/>
                  </a:cubicBezTo>
                  <a:cubicBezTo>
                    <a:pt x="302" y="1170"/>
                    <a:pt x="302" y="1172"/>
                    <a:pt x="302" y="1173"/>
                  </a:cubicBezTo>
                  <a:cubicBezTo>
                    <a:pt x="302" y="1174"/>
                    <a:pt x="302" y="1175"/>
                    <a:pt x="302" y="1175"/>
                  </a:cubicBezTo>
                  <a:cubicBezTo>
                    <a:pt x="302" y="1176"/>
                    <a:pt x="303" y="1178"/>
                    <a:pt x="303" y="1179"/>
                  </a:cubicBezTo>
                  <a:cubicBezTo>
                    <a:pt x="304" y="1180"/>
                    <a:pt x="304" y="1180"/>
                    <a:pt x="305" y="1180"/>
                  </a:cubicBezTo>
                  <a:cubicBezTo>
                    <a:pt x="306" y="1180"/>
                    <a:pt x="306" y="1180"/>
                    <a:pt x="306" y="1179"/>
                  </a:cubicBezTo>
                  <a:cubicBezTo>
                    <a:pt x="306" y="1181"/>
                    <a:pt x="306" y="1181"/>
                    <a:pt x="306" y="1181"/>
                  </a:cubicBezTo>
                  <a:cubicBezTo>
                    <a:pt x="309" y="1180"/>
                    <a:pt x="309" y="1180"/>
                    <a:pt x="309" y="1180"/>
                  </a:cubicBezTo>
                  <a:cubicBezTo>
                    <a:pt x="309" y="1180"/>
                    <a:pt x="309" y="1179"/>
                    <a:pt x="309" y="1179"/>
                  </a:cubicBezTo>
                  <a:cubicBezTo>
                    <a:pt x="309" y="1179"/>
                    <a:pt x="309" y="1179"/>
                    <a:pt x="310" y="1179"/>
                  </a:cubicBezTo>
                  <a:cubicBezTo>
                    <a:pt x="310" y="1179"/>
                    <a:pt x="311" y="1180"/>
                    <a:pt x="311" y="1179"/>
                  </a:cubicBezTo>
                  <a:cubicBezTo>
                    <a:pt x="311" y="1180"/>
                    <a:pt x="310" y="1181"/>
                    <a:pt x="311" y="1182"/>
                  </a:cubicBezTo>
                  <a:cubicBezTo>
                    <a:pt x="311" y="1183"/>
                    <a:pt x="312" y="1183"/>
                    <a:pt x="312" y="1183"/>
                  </a:cubicBezTo>
                  <a:cubicBezTo>
                    <a:pt x="312" y="1183"/>
                    <a:pt x="313" y="1183"/>
                    <a:pt x="313" y="1183"/>
                  </a:cubicBezTo>
                  <a:cubicBezTo>
                    <a:pt x="313" y="1184"/>
                    <a:pt x="314" y="1184"/>
                    <a:pt x="315" y="1184"/>
                  </a:cubicBezTo>
                  <a:cubicBezTo>
                    <a:pt x="316" y="1184"/>
                    <a:pt x="316" y="1184"/>
                    <a:pt x="316" y="1184"/>
                  </a:cubicBezTo>
                  <a:cubicBezTo>
                    <a:pt x="316" y="1184"/>
                    <a:pt x="316" y="1184"/>
                    <a:pt x="316" y="1184"/>
                  </a:cubicBezTo>
                  <a:cubicBezTo>
                    <a:pt x="316" y="1184"/>
                    <a:pt x="317" y="1184"/>
                    <a:pt x="317" y="1184"/>
                  </a:cubicBezTo>
                  <a:cubicBezTo>
                    <a:pt x="317" y="1184"/>
                    <a:pt x="318" y="1184"/>
                    <a:pt x="318" y="1184"/>
                  </a:cubicBezTo>
                  <a:cubicBezTo>
                    <a:pt x="319" y="1184"/>
                    <a:pt x="320" y="1183"/>
                    <a:pt x="320" y="1182"/>
                  </a:cubicBezTo>
                  <a:cubicBezTo>
                    <a:pt x="320" y="1182"/>
                    <a:pt x="320" y="1182"/>
                    <a:pt x="320" y="1182"/>
                  </a:cubicBezTo>
                  <a:cubicBezTo>
                    <a:pt x="320" y="1181"/>
                    <a:pt x="321" y="1181"/>
                    <a:pt x="321" y="1181"/>
                  </a:cubicBezTo>
                  <a:cubicBezTo>
                    <a:pt x="321" y="1181"/>
                    <a:pt x="321" y="1181"/>
                    <a:pt x="321" y="1181"/>
                  </a:cubicBezTo>
                  <a:cubicBezTo>
                    <a:pt x="322" y="1180"/>
                    <a:pt x="323" y="1180"/>
                    <a:pt x="324" y="1180"/>
                  </a:cubicBezTo>
                  <a:cubicBezTo>
                    <a:pt x="325" y="1180"/>
                    <a:pt x="325" y="1180"/>
                    <a:pt x="325" y="1180"/>
                  </a:cubicBezTo>
                  <a:cubicBezTo>
                    <a:pt x="325" y="1180"/>
                    <a:pt x="326" y="1180"/>
                    <a:pt x="327" y="1180"/>
                  </a:cubicBezTo>
                  <a:cubicBezTo>
                    <a:pt x="327" y="1180"/>
                    <a:pt x="328" y="1180"/>
                    <a:pt x="329" y="1180"/>
                  </a:cubicBezTo>
                  <a:cubicBezTo>
                    <a:pt x="331" y="1180"/>
                    <a:pt x="333" y="1179"/>
                    <a:pt x="334" y="1177"/>
                  </a:cubicBezTo>
                  <a:cubicBezTo>
                    <a:pt x="334" y="1176"/>
                    <a:pt x="334" y="1176"/>
                    <a:pt x="334" y="1176"/>
                  </a:cubicBezTo>
                  <a:cubicBezTo>
                    <a:pt x="335" y="1176"/>
                    <a:pt x="335" y="1176"/>
                    <a:pt x="335" y="1176"/>
                  </a:cubicBezTo>
                  <a:cubicBezTo>
                    <a:pt x="336" y="1177"/>
                    <a:pt x="336" y="1177"/>
                    <a:pt x="336" y="1177"/>
                  </a:cubicBezTo>
                  <a:cubicBezTo>
                    <a:pt x="336" y="1177"/>
                    <a:pt x="336" y="1177"/>
                    <a:pt x="337" y="1177"/>
                  </a:cubicBezTo>
                  <a:cubicBezTo>
                    <a:pt x="337" y="1177"/>
                    <a:pt x="337" y="1177"/>
                    <a:pt x="338" y="1177"/>
                  </a:cubicBezTo>
                  <a:cubicBezTo>
                    <a:pt x="338" y="1177"/>
                    <a:pt x="338" y="1177"/>
                    <a:pt x="338" y="1177"/>
                  </a:cubicBezTo>
                  <a:cubicBezTo>
                    <a:pt x="338" y="1177"/>
                    <a:pt x="339" y="1178"/>
                    <a:pt x="340" y="1178"/>
                  </a:cubicBezTo>
                  <a:cubicBezTo>
                    <a:pt x="341" y="1178"/>
                    <a:pt x="342" y="1177"/>
                    <a:pt x="343" y="1177"/>
                  </a:cubicBezTo>
                  <a:cubicBezTo>
                    <a:pt x="343" y="1177"/>
                    <a:pt x="343" y="1176"/>
                    <a:pt x="343" y="1175"/>
                  </a:cubicBezTo>
                  <a:cubicBezTo>
                    <a:pt x="345" y="1175"/>
                    <a:pt x="346" y="1175"/>
                    <a:pt x="346" y="1175"/>
                  </a:cubicBezTo>
                  <a:cubicBezTo>
                    <a:pt x="346" y="1176"/>
                    <a:pt x="347" y="1177"/>
                    <a:pt x="348" y="1177"/>
                  </a:cubicBezTo>
                  <a:cubicBezTo>
                    <a:pt x="348" y="1178"/>
                    <a:pt x="349" y="1177"/>
                    <a:pt x="350" y="1177"/>
                  </a:cubicBezTo>
                  <a:cubicBezTo>
                    <a:pt x="350" y="1177"/>
                    <a:pt x="350" y="1177"/>
                    <a:pt x="351" y="1177"/>
                  </a:cubicBezTo>
                  <a:cubicBezTo>
                    <a:pt x="352" y="1177"/>
                    <a:pt x="354" y="1177"/>
                    <a:pt x="354" y="1175"/>
                  </a:cubicBezTo>
                  <a:cubicBezTo>
                    <a:pt x="355" y="1175"/>
                    <a:pt x="356" y="1175"/>
                    <a:pt x="357" y="1176"/>
                  </a:cubicBezTo>
                  <a:cubicBezTo>
                    <a:pt x="358" y="1175"/>
                    <a:pt x="358" y="1175"/>
                    <a:pt x="358" y="1175"/>
                  </a:cubicBezTo>
                  <a:cubicBezTo>
                    <a:pt x="357" y="1176"/>
                    <a:pt x="357" y="1176"/>
                    <a:pt x="357" y="1176"/>
                  </a:cubicBezTo>
                  <a:cubicBezTo>
                    <a:pt x="358" y="1176"/>
                    <a:pt x="358" y="1177"/>
                    <a:pt x="359" y="1177"/>
                  </a:cubicBezTo>
                  <a:cubicBezTo>
                    <a:pt x="359" y="1177"/>
                    <a:pt x="360" y="1176"/>
                    <a:pt x="361" y="1175"/>
                  </a:cubicBezTo>
                  <a:cubicBezTo>
                    <a:pt x="361" y="1174"/>
                    <a:pt x="361" y="1174"/>
                    <a:pt x="361" y="1174"/>
                  </a:cubicBezTo>
                  <a:cubicBezTo>
                    <a:pt x="361" y="1172"/>
                    <a:pt x="361" y="1172"/>
                    <a:pt x="362" y="1172"/>
                  </a:cubicBezTo>
                  <a:cubicBezTo>
                    <a:pt x="363" y="1172"/>
                    <a:pt x="363" y="1172"/>
                    <a:pt x="364" y="1173"/>
                  </a:cubicBezTo>
                  <a:cubicBezTo>
                    <a:pt x="365" y="1173"/>
                    <a:pt x="366" y="1173"/>
                    <a:pt x="367" y="1173"/>
                  </a:cubicBezTo>
                  <a:cubicBezTo>
                    <a:pt x="367" y="1173"/>
                    <a:pt x="367" y="1173"/>
                    <a:pt x="367" y="1173"/>
                  </a:cubicBezTo>
                  <a:cubicBezTo>
                    <a:pt x="369" y="1173"/>
                    <a:pt x="370" y="1171"/>
                    <a:pt x="371" y="1170"/>
                  </a:cubicBezTo>
                  <a:cubicBezTo>
                    <a:pt x="371" y="1170"/>
                    <a:pt x="372" y="1170"/>
                    <a:pt x="372" y="1169"/>
                  </a:cubicBezTo>
                  <a:cubicBezTo>
                    <a:pt x="373" y="1169"/>
                    <a:pt x="373" y="1168"/>
                    <a:pt x="374" y="1168"/>
                  </a:cubicBezTo>
                  <a:cubicBezTo>
                    <a:pt x="375" y="1167"/>
                    <a:pt x="376" y="1166"/>
                    <a:pt x="376" y="1166"/>
                  </a:cubicBezTo>
                  <a:cubicBezTo>
                    <a:pt x="377" y="1165"/>
                    <a:pt x="377" y="1164"/>
                    <a:pt x="378" y="1163"/>
                  </a:cubicBezTo>
                  <a:cubicBezTo>
                    <a:pt x="378" y="1163"/>
                    <a:pt x="378" y="1162"/>
                    <a:pt x="379" y="1162"/>
                  </a:cubicBezTo>
                  <a:cubicBezTo>
                    <a:pt x="379" y="1162"/>
                    <a:pt x="380" y="1162"/>
                    <a:pt x="380" y="1161"/>
                  </a:cubicBezTo>
                  <a:cubicBezTo>
                    <a:pt x="381" y="1161"/>
                    <a:pt x="382" y="1160"/>
                    <a:pt x="383" y="1159"/>
                  </a:cubicBezTo>
                  <a:cubicBezTo>
                    <a:pt x="384" y="1157"/>
                    <a:pt x="384" y="1157"/>
                    <a:pt x="384" y="1157"/>
                  </a:cubicBezTo>
                  <a:cubicBezTo>
                    <a:pt x="384" y="1156"/>
                    <a:pt x="385" y="1155"/>
                    <a:pt x="385" y="1155"/>
                  </a:cubicBezTo>
                  <a:cubicBezTo>
                    <a:pt x="386" y="1154"/>
                    <a:pt x="386" y="1154"/>
                    <a:pt x="386" y="1153"/>
                  </a:cubicBezTo>
                  <a:cubicBezTo>
                    <a:pt x="387" y="1152"/>
                    <a:pt x="387" y="1152"/>
                    <a:pt x="387" y="1151"/>
                  </a:cubicBezTo>
                  <a:cubicBezTo>
                    <a:pt x="388" y="1151"/>
                    <a:pt x="388" y="1151"/>
                    <a:pt x="388" y="1151"/>
                  </a:cubicBezTo>
                  <a:cubicBezTo>
                    <a:pt x="389" y="1150"/>
                    <a:pt x="389" y="1150"/>
                    <a:pt x="390" y="1149"/>
                  </a:cubicBezTo>
                  <a:cubicBezTo>
                    <a:pt x="390" y="1149"/>
                    <a:pt x="390" y="1149"/>
                    <a:pt x="390" y="1149"/>
                  </a:cubicBezTo>
                  <a:cubicBezTo>
                    <a:pt x="391" y="1148"/>
                    <a:pt x="391" y="1148"/>
                    <a:pt x="391" y="1147"/>
                  </a:cubicBezTo>
                  <a:cubicBezTo>
                    <a:pt x="392" y="1147"/>
                    <a:pt x="392" y="1147"/>
                    <a:pt x="392" y="1146"/>
                  </a:cubicBezTo>
                  <a:cubicBezTo>
                    <a:pt x="392" y="1146"/>
                    <a:pt x="392" y="1145"/>
                    <a:pt x="393" y="1145"/>
                  </a:cubicBezTo>
                  <a:cubicBezTo>
                    <a:pt x="393" y="1144"/>
                    <a:pt x="393" y="1144"/>
                    <a:pt x="394" y="1143"/>
                  </a:cubicBezTo>
                  <a:cubicBezTo>
                    <a:pt x="395" y="1142"/>
                    <a:pt x="396" y="1141"/>
                    <a:pt x="396" y="1140"/>
                  </a:cubicBezTo>
                  <a:cubicBezTo>
                    <a:pt x="397" y="1140"/>
                    <a:pt x="397" y="1139"/>
                    <a:pt x="397" y="1139"/>
                  </a:cubicBezTo>
                  <a:cubicBezTo>
                    <a:pt x="397" y="1138"/>
                    <a:pt x="397" y="1138"/>
                    <a:pt x="397" y="1137"/>
                  </a:cubicBezTo>
                  <a:cubicBezTo>
                    <a:pt x="398" y="1136"/>
                    <a:pt x="398" y="1135"/>
                    <a:pt x="398" y="1134"/>
                  </a:cubicBezTo>
                  <a:cubicBezTo>
                    <a:pt x="399" y="1133"/>
                    <a:pt x="399" y="1131"/>
                    <a:pt x="400" y="1130"/>
                  </a:cubicBezTo>
                  <a:cubicBezTo>
                    <a:pt x="400" y="1130"/>
                    <a:pt x="400" y="1130"/>
                    <a:pt x="400" y="1130"/>
                  </a:cubicBezTo>
                  <a:cubicBezTo>
                    <a:pt x="401" y="1128"/>
                    <a:pt x="402" y="1127"/>
                    <a:pt x="403" y="1126"/>
                  </a:cubicBezTo>
                  <a:cubicBezTo>
                    <a:pt x="404" y="1125"/>
                    <a:pt x="405" y="1124"/>
                    <a:pt x="406" y="1122"/>
                  </a:cubicBezTo>
                  <a:cubicBezTo>
                    <a:pt x="406" y="1122"/>
                    <a:pt x="407" y="1121"/>
                    <a:pt x="407" y="1120"/>
                  </a:cubicBezTo>
                  <a:cubicBezTo>
                    <a:pt x="408" y="1119"/>
                    <a:pt x="409" y="1118"/>
                    <a:pt x="409" y="1116"/>
                  </a:cubicBezTo>
                  <a:cubicBezTo>
                    <a:pt x="410" y="1114"/>
                    <a:pt x="410" y="1114"/>
                    <a:pt x="410" y="1114"/>
                  </a:cubicBezTo>
                  <a:cubicBezTo>
                    <a:pt x="410" y="1112"/>
                    <a:pt x="410" y="1110"/>
                    <a:pt x="411" y="1108"/>
                  </a:cubicBezTo>
                  <a:cubicBezTo>
                    <a:pt x="411" y="1108"/>
                    <a:pt x="411" y="1107"/>
                    <a:pt x="412" y="1107"/>
                  </a:cubicBezTo>
                  <a:cubicBezTo>
                    <a:pt x="412" y="1106"/>
                    <a:pt x="413" y="1105"/>
                    <a:pt x="413" y="1104"/>
                  </a:cubicBezTo>
                  <a:cubicBezTo>
                    <a:pt x="413" y="1103"/>
                    <a:pt x="412" y="1102"/>
                    <a:pt x="412" y="1102"/>
                  </a:cubicBezTo>
                  <a:cubicBezTo>
                    <a:pt x="412" y="1102"/>
                    <a:pt x="412" y="1102"/>
                    <a:pt x="412" y="1101"/>
                  </a:cubicBezTo>
                  <a:cubicBezTo>
                    <a:pt x="412" y="1101"/>
                    <a:pt x="412" y="1101"/>
                    <a:pt x="412" y="1101"/>
                  </a:cubicBezTo>
                  <a:cubicBezTo>
                    <a:pt x="412" y="1101"/>
                    <a:pt x="412" y="1101"/>
                    <a:pt x="412" y="1100"/>
                  </a:cubicBezTo>
                  <a:cubicBezTo>
                    <a:pt x="413" y="1100"/>
                    <a:pt x="413" y="1099"/>
                    <a:pt x="413" y="1097"/>
                  </a:cubicBezTo>
                  <a:cubicBezTo>
                    <a:pt x="413" y="1097"/>
                    <a:pt x="413" y="1096"/>
                    <a:pt x="413" y="1095"/>
                  </a:cubicBezTo>
                  <a:cubicBezTo>
                    <a:pt x="413" y="1094"/>
                    <a:pt x="412" y="1093"/>
                    <a:pt x="411" y="1093"/>
                  </a:cubicBezTo>
                  <a:cubicBezTo>
                    <a:pt x="410" y="1093"/>
                    <a:pt x="410" y="1092"/>
                    <a:pt x="411" y="1091"/>
                  </a:cubicBezTo>
                  <a:cubicBezTo>
                    <a:pt x="411" y="1090"/>
                    <a:pt x="412" y="1089"/>
                    <a:pt x="412" y="1089"/>
                  </a:cubicBezTo>
                  <a:cubicBezTo>
                    <a:pt x="414" y="1087"/>
                    <a:pt x="416" y="1086"/>
                    <a:pt x="418" y="1086"/>
                  </a:cubicBezTo>
                  <a:cubicBezTo>
                    <a:pt x="418" y="1085"/>
                    <a:pt x="419" y="1085"/>
                    <a:pt x="420" y="1085"/>
                  </a:cubicBezTo>
                  <a:cubicBezTo>
                    <a:pt x="420" y="1085"/>
                    <a:pt x="421" y="1084"/>
                    <a:pt x="422" y="1084"/>
                  </a:cubicBezTo>
                  <a:cubicBezTo>
                    <a:pt x="424" y="1084"/>
                    <a:pt x="426" y="1083"/>
                    <a:pt x="427" y="1081"/>
                  </a:cubicBezTo>
                  <a:cubicBezTo>
                    <a:pt x="429" y="1080"/>
                    <a:pt x="432" y="1077"/>
                    <a:pt x="431" y="1073"/>
                  </a:cubicBezTo>
                  <a:cubicBezTo>
                    <a:pt x="431" y="1071"/>
                    <a:pt x="431" y="1071"/>
                    <a:pt x="431" y="1069"/>
                  </a:cubicBezTo>
                  <a:cubicBezTo>
                    <a:pt x="431" y="1068"/>
                    <a:pt x="431" y="1068"/>
                    <a:pt x="431" y="1068"/>
                  </a:cubicBezTo>
                  <a:cubicBezTo>
                    <a:pt x="431" y="1067"/>
                    <a:pt x="432" y="1065"/>
                    <a:pt x="432" y="1064"/>
                  </a:cubicBezTo>
                  <a:cubicBezTo>
                    <a:pt x="433" y="1062"/>
                    <a:pt x="433" y="1062"/>
                    <a:pt x="432" y="1061"/>
                  </a:cubicBezTo>
                  <a:cubicBezTo>
                    <a:pt x="431" y="1061"/>
                    <a:pt x="431" y="1061"/>
                    <a:pt x="431" y="1061"/>
                  </a:cubicBezTo>
                  <a:cubicBezTo>
                    <a:pt x="432" y="1061"/>
                    <a:pt x="432" y="1061"/>
                    <a:pt x="432" y="1061"/>
                  </a:cubicBezTo>
                  <a:cubicBezTo>
                    <a:pt x="432" y="1060"/>
                    <a:pt x="432" y="1060"/>
                    <a:pt x="433" y="1059"/>
                  </a:cubicBezTo>
                  <a:cubicBezTo>
                    <a:pt x="433" y="1059"/>
                    <a:pt x="433" y="1059"/>
                    <a:pt x="433" y="1059"/>
                  </a:cubicBezTo>
                  <a:cubicBezTo>
                    <a:pt x="433" y="1057"/>
                    <a:pt x="433" y="1056"/>
                    <a:pt x="433" y="1055"/>
                  </a:cubicBezTo>
                  <a:cubicBezTo>
                    <a:pt x="433" y="1054"/>
                    <a:pt x="432" y="1053"/>
                    <a:pt x="430" y="1053"/>
                  </a:cubicBezTo>
                  <a:cubicBezTo>
                    <a:pt x="430" y="1053"/>
                    <a:pt x="430" y="1053"/>
                    <a:pt x="430" y="1053"/>
                  </a:cubicBezTo>
                  <a:cubicBezTo>
                    <a:pt x="430" y="1052"/>
                    <a:pt x="430" y="1052"/>
                    <a:pt x="430" y="1052"/>
                  </a:cubicBezTo>
                  <a:cubicBezTo>
                    <a:pt x="430" y="1051"/>
                    <a:pt x="430" y="1050"/>
                    <a:pt x="430" y="1049"/>
                  </a:cubicBezTo>
                  <a:cubicBezTo>
                    <a:pt x="429" y="1049"/>
                    <a:pt x="429" y="1049"/>
                    <a:pt x="429" y="1049"/>
                  </a:cubicBezTo>
                  <a:cubicBezTo>
                    <a:pt x="429" y="1049"/>
                    <a:pt x="429" y="1048"/>
                    <a:pt x="430" y="1048"/>
                  </a:cubicBezTo>
                  <a:cubicBezTo>
                    <a:pt x="430" y="1047"/>
                    <a:pt x="430" y="1047"/>
                    <a:pt x="430" y="1046"/>
                  </a:cubicBezTo>
                  <a:cubicBezTo>
                    <a:pt x="430" y="1045"/>
                    <a:pt x="430" y="1045"/>
                    <a:pt x="429" y="1044"/>
                  </a:cubicBezTo>
                  <a:cubicBezTo>
                    <a:pt x="429" y="1044"/>
                    <a:pt x="429" y="1043"/>
                    <a:pt x="428" y="1043"/>
                  </a:cubicBezTo>
                  <a:cubicBezTo>
                    <a:pt x="428" y="1043"/>
                    <a:pt x="428" y="1042"/>
                    <a:pt x="428" y="1041"/>
                  </a:cubicBezTo>
                  <a:cubicBezTo>
                    <a:pt x="428" y="1040"/>
                    <a:pt x="427" y="1039"/>
                    <a:pt x="426" y="1038"/>
                  </a:cubicBezTo>
                  <a:cubicBezTo>
                    <a:pt x="425" y="1038"/>
                    <a:pt x="425" y="1037"/>
                    <a:pt x="425" y="1037"/>
                  </a:cubicBezTo>
                  <a:cubicBezTo>
                    <a:pt x="425" y="1036"/>
                    <a:pt x="425" y="1035"/>
                    <a:pt x="425" y="1035"/>
                  </a:cubicBezTo>
                  <a:cubicBezTo>
                    <a:pt x="425" y="1034"/>
                    <a:pt x="425" y="1033"/>
                    <a:pt x="425" y="1032"/>
                  </a:cubicBezTo>
                  <a:cubicBezTo>
                    <a:pt x="425" y="1032"/>
                    <a:pt x="426" y="1032"/>
                    <a:pt x="427" y="1031"/>
                  </a:cubicBezTo>
                  <a:cubicBezTo>
                    <a:pt x="427" y="1031"/>
                    <a:pt x="428" y="1030"/>
                    <a:pt x="428" y="1030"/>
                  </a:cubicBezTo>
                  <a:cubicBezTo>
                    <a:pt x="428" y="1029"/>
                    <a:pt x="428" y="1029"/>
                    <a:pt x="429" y="1029"/>
                  </a:cubicBezTo>
                  <a:cubicBezTo>
                    <a:pt x="429" y="1029"/>
                    <a:pt x="429" y="1028"/>
                    <a:pt x="430" y="1028"/>
                  </a:cubicBezTo>
                  <a:cubicBezTo>
                    <a:pt x="430" y="1028"/>
                    <a:pt x="431" y="1027"/>
                    <a:pt x="431" y="1027"/>
                  </a:cubicBezTo>
                  <a:cubicBezTo>
                    <a:pt x="431" y="1027"/>
                    <a:pt x="432" y="1026"/>
                    <a:pt x="432" y="1026"/>
                  </a:cubicBezTo>
                  <a:cubicBezTo>
                    <a:pt x="432" y="1025"/>
                    <a:pt x="432" y="1025"/>
                    <a:pt x="433" y="1025"/>
                  </a:cubicBezTo>
                  <a:cubicBezTo>
                    <a:pt x="433" y="1024"/>
                    <a:pt x="434" y="1024"/>
                    <a:pt x="435" y="1023"/>
                  </a:cubicBezTo>
                  <a:cubicBezTo>
                    <a:pt x="436" y="1023"/>
                    <a:pt x="436" y="1023"/>
                    <a:pt x="437" y="1022"/>
                  </a:cubicBezTo>
                  <a:cubicBezTo>
                    <a:pt x="439" y="1021"/>
                    <a:pt x="440" y="1020"/>
                    <a:pt x="441" y="1017"/>
                  </a:cubicBezTo>
                  <a:cubicBezTo>
                    <a:pt x="441" y="1016"/>
                    <a:pt x="442" y="1015"/>
                    <a:pt x="442" y="1015"/>
                  </a:cubicBezTo>
                  <a:cubicBezTo>
                    <a:pt x="443" y="1014"/>
                    <a:pt x="443" y="1014"/>
                    <a:pt x="444" y="1013"/>
                  </a:cubicBezTo>
                  <a:cubicBezTo>
                    <a:pt x="444" y="1013"/>
                    <a:pt x="445" y="1012"/>
                    <a:pt x="445" y="1012"/>
                  </a:cubicBezTo>
                  <a:cubicBezTo>
                    <a:pt x="445" y="1011"/>
                    <a:pt x="446" y="1010"/>
                    <a:pt x="447" y="1010"/>
                  </a:cubicBezTo>
                  <a:cubicBezTo>
                    <a:pt x="448" y="1009"/>
                    <a:pt x="450" y="1007"/>
                    <a:pt x="452" y="1007"/>
                  </a:cubicBezTo>
                  <a:cubicBezTo>
                    <a:pt x="454" y="1006"/>
                    <a:pt x="455" y="1005"/>
                    <a:pt x="456" y="1005"/>
                  </a:cubicBezTo>
                  <a:cubicBezTo>
                    <a:pt x="456" y="1004"/>
                    <a:pt x="456" y="1004"/>
                    <a:pt x="456" y="1004"/>
                  </a:cubicBezTo>
                  <a:cubicBezTo>
                    <a:pt x="457" y="1004"/>
                    <a:pt x="457" y="1004"/>
                    <a:pt x="458" y="1003"/>
                  </a:cubicBezTo>
                  <a:cubicBezTo>
                    <a:pt x="458" y="1003"/>
                    <a:pt x="459" y="1003"/>
                    <a:pt x="460" y="1002"/>
                  </a:cubicBezTo>
                  <a:cubicBezTo>
                    <a:pt x="461" y="1001"/>
                    <a:pt x="462" y="1000"/>
                    <a:pt x="463" y="999"/>
                  </a:cubicBezTo>
                  <a:cubicBezTo>
                    <a:pt x="463" y="998"/>
                    <a:pt x="463" y="998"/>
                    <a:pt x="463" y="997"/>
                  </a:cubicBezTo>
                  <a:cubicBezTo>
                    <a:pt x="464" y="996"/>
                    <a:pt x="464" y="995"/>
                    <a:pt x="465" y="994"/>
                  </a:cubicBezTo>
                  <a:cubicBezTo>
                    <a:pt x="465" y="994"/>
                    <a:pt x="466" y="994"/>
                    <a:pt x="466" y="993"/>
                  </a:cubicBezTo>
                  <a:cubicBezTo>
                    <a:pt x="468" y="993"/>
                    <a:pt x="469" y="992"/>
                    <a:pt x="470" y="990"/>
                  </a:cubicBezTo>
                  <a:cubicBezTo>
                    <a:pt x="470" y="989"/>
                    <a:pt x="470" y="989"/>
                    <a:pt x="470" y="989"/>
                  </a:cubicBezTo>
                  <a:cubicBezTo>
                    <a:pt x="470" y="987"/>
                    <a:pt x="471" y="986"/>
                    <a:pt x="471" y="984"/>
                  </a:cubicBezTo>
                  <a:cubicBezTo>
                    <a:pt x="471" y="983"/>
                    <a:pt x="472" y="983"/>
                    <a:pt x="472" y="982"/>
                  </a:cubicBezTo>
                  <a:cubicBezTo>
                    <a:pt x="473" y="981"/>
                    <a:pt x="474" y="980"/>
                    <a:pt x="474" y="978"/>
                  </a:cubicBezTo>
                  <a:cubicBezTo>
                    <a:pt x="474" y="976"/>
                    <a:pt x="473" y="976"/>
                    <a:pt x="472" y="975"/>
                  </a:cubicBezTo>
                  <a:cubicBezTo>
                    <a:pt x="472" y="975"/>
                    <a:pt x="472" y="975"/>
                    <a:pt x="472" y="975"/>
                  </a:cubicBezTo>
                  <a:cubicBezTo>
                    <a:pt x="471" y="975"/>
                    <a:pt x="471" y="975"/>
                    <a:pt x="471" y="974"/>
                  </a:cubicBezTo>
                  <a:cubicBezTo>
                    <a:pt x="472" y="973"/>
                    <a:pt x="471" y="971"/>
                    <a:pt x="471" y="970"/>
                  </a:cubicBezTo>
                  <a:cubicBezTo>
                    <a:pt x="471" y="969"/>
                    <a:pt x="471" y="968"/>
                    <a:pt x="471" y="967"/>
                  </a:cubicBezTo>
                  <a:cubicBezTo>
                    <a:pt x="471" y="966"/>
                    <a:pt x="471" y="965"/>
                    <a:pt x="471" y="963"/>
                  </a:cubicBezTo>
                  <a:cubicBezTo>
                    <a:pt x="470" y="962"/>
                    <a:pt x="470" y="961"/>
                    <a:pt x="470" y="961"/>
                  </a:cubicBezTo>
                  <a:cubicBezTo>
                    <a:pt x="470" y="960"/>
                    <a:pt x="471" y="960"/>
                    <a:pt x="471" y="960"/>
                  </a:cubicBezTo>
                  <a:cubicBezTo>
                    <a:pt x="471" y="959"/>
                    <a:pt x="472" y="959"/>
                    <a:pt x="472" y="958"/>
                  </a:cubicBezTo>
                  <a:cubicBezTo>
                    <a:pt x="472" y="956"/>
                    <a:pt x="472" y="955"/>
                    <a:pt x="471" y="954"/>
                  </a:cubicBezTo>
                  <a:cubicBezTo>
                    <a:pt x="471" y="954"/>
                    <a:pt x="471" y="954"/>
                    <a:pt x="471" y="954"/>
                  </a:cubicBezTo>
                  <a:cubicBezTo>
                    <a:pt x="471" y="953"/>
                    <a:pt x="471" y="952"/>
                    <a:pt x="471" y="950"/>
                  </a:cubicBezTo>
                  <a:cubicBezTo>
                    <a:pt x="471" y="949"/>
                    <a:pt x="471" y="949"/>
                    <a:pt x="471" y="949"/>
                  </a:cubicBezTo>
                  <a:cubicBezTo>
                    <a:pt x="471" y="949"/>
                    <a:pt x="470" y="949"/>
                    <a:pt x="470" y="948"/>
                  </a:cubicBezTo>
                  <a:cubicBezTo>
                    <a:pt x="470" y="948"/>
                    <a:pt x="470" y="947"/>
                    <a:pt x="470" y="946"/>
                  </a:cubicBezTo>
                  <a:cubicBezTo>
                    <a:pt x="470" y="946"/>
                    <a:pt x="470" y="946"/>
                    <a:pt x="470" y="946"/>
                  </a:cubicBezTo>
                  <a:cubicBezTo>
                    <a:pt x="471" y="945"/>
                    <a:pt x="471" y="944"/>
                    <a:pt x="471" y="943"/>
                  </a:cubicBezTo>
                  <a:cubicBezTo>
                    <a:pt x="471" y="943"/>
                    <a:pt x="471" y="942"/>
                    <a:pt x="471" y="942"/>
                  </a:cubicBezTo>
                  <a:cubicBezTo>
                    <a:pt x="471" y="942"/>
                    <a:pt x="471" y="942"/>
                    <a:pt x="471" y="942"/>
                  </a:cubicBezTo>
                  <a:cubicBezTo>
                    <a:pt x="471" y="941"/>
                    <a:pt x="472" y="940"/>
                    <a:pt x="471" y="939"/>
                  </a:cubicBezTo>
                  <a:cubicBezTo>
                    <a:pt x="471" y="938"/>
                    <a:pt x="471" y="938"/>
                    <a:pt x="471" y="938"/>
                  </a:cubicBezTo>
                  <a:cubicBezTo>
                    <a:pt x="471" y="938"/>
                    <a:pt x="471" y="938"/>
                    <a:pt x="471" y="938"/>
                  </a:cubicBezTo>
                  <a:cubicBezTo>
                    <a:pt x="470" y="938"/>
                    <a:pt x="470" y="938"/>
                    <a:pt x="470" y="938"/>
                  </a:cubicBezTo>
                  <a:cubicBezTo>
                    <a:pt x="470" y="937"/>
                    <a:pt x="470" y="937"/>
                    <a:pt x="469" y="937"/>
                  </a:cubicBezTo>
                  <a:cubicBezTo>
                    <a:pt x="469" y="936"/>
                    <a:pt x="468" y="934"/>
                    <a:pt x="467" y="933"/>
                  </a:cubicBezTo>
                  <a:cubicBezTo>
                    <a:pt x="466" y="933"/>
                    <a:pt x="466" y="933"/>
                    <a:pt x="466" y="932"/>
                  </a:cubicBezTo>
                  <a:cubicBezTo>
                    <a:pt x="465" y="932"/>
                    <a:pt x="465" y="932"/>
                    <a:pt x="465" y="932"/>
                  </a:cubicBezTo>
                  <a:cubicBezTo>
                    <a:pt x="465" y="932"/>
                    <a:pt x="465" y="931"/>
                    <a:pt x="465" y="931"/>
                  </a:cubicBezTo>
                  <a:cubicBezTo>
                    <a:pt x="465" y="931"/>
                    <a:pt x="466" y="930"/>
                    <a:pt x="465" y="929"/>
                  </a:cubicBezTo>
                  <a:cubicBezTo>
                    <a:pt x="465" y="928"/>
                    <a:pt x="464" y="928"/>
                    <a:pt x="464" y="928"/>
                  </a:cubicBezTo>
                  <a:cubicBezTo>
                    <a:pt x="464" y="927"/>
                    <a:pt x="464" y="927"/>
                    <a:pt x="464" y="927"/>
                  </a:cubicBezTo>
                  <a:cubicBezTo>
                    <a:pt x="464" y="927"/>
                    <a:pt x="464" y="926"/>
                    <a:pt x="464" y="925"/>
                  </a:cubicBezTo>
                  <a:cubicBezTo>
                    <a:pt x="464" y="925"/>
                    <a:pt x="464" y="924"/>
                    <a:pt x="463" y="923"/>
                  </a:cubicBezTo>
                  <a:cubicBezTo>
                    <a:pt x="463" y="923"/>
                    <a:pt x="463" y="922"/>
                    <a:pt x="463" y="922"/>
                  </a:cubicBezTo>
                  <a:cubicBezTo>
                    <a:pt x="463" y="922"/>
                    <a:pt x="463" y="922"/>
                    <a:pt x="463" y="922"/>
                  </a:cubicBezTo>
                  <a:cubicBezTo>
                    <a:pt x="463" y="921"/>
                    <a:pt x="463" y="921"/>
                    <a:pt x="463" y="921"/>
                  </a:cubicBezTo>
                  <a:cubicBezTo>
                    <a:pt x="463" y="920"/>
                    <a:pt x="462" y="919"/>
                    <a:pt x="462" y="919"/>
                  </a:cubicBezTo>
                  <a:cubicBezTo>
                    <a:pt x="461" y="918"/>
                    <a:pt x="461" y="918"/>
                    <a:pt x="461" y="918"/>
                  </a:cubicBezTo>
                  <a:cubicBezTo>
                    <a:pt x="461" y="918"/>
                    <a:pt x="461" y="917"/>
                    <a:pt x="461" y="915"/>
                  </a:cubicBezTo>
                  <a:cubicBezTo>
                    <a:pt x="461" y="915"/>
                    <a:pt x="461" y="914"/>
                    <a:pt x="461" y="914"/>
                  </a:cubicBezTo>
                  <a:cubicBezTo>
                    <a:pt x="461" y="913"/>
                    <a:pt x="462" y="912"/>
                    <a:pt x="461" y="912"/>
                  </a:cubicBezTo>
                  <a:cubicBezTo>
                    <a:pt x="461" y="911"/>
                    <a:pt x="461" y="910"/>
                    <a:pt x="462" y="909"/>
                  </a:cubicBezTo>
                  <a:cubicBezTo>
                    <a:pt x="462" y="908"/>
                    <a:pt x="462" y="908"/>
                    <a:pt x="462" y="907"/>
                  </a:cubicBezTo>
                  <a:cubicBezTo>
                    <a:pt x="462" y="906"/>
                    <a:pt x="462" y="906"/>
                    <a:pt x="462" y="906"/>
                  </a:cubicBezTo>
                  <a:cubicBezTo>
                    <a:pt x="462" y="905"/>
                    <a:pt x="462" y="905"/>
                    <a:pt x="462" y="905"/>
                  </a:cubicBezTo>
                  <a:cubicBezTo>
                    <a:pt x="462" y="904"/>
                    <a:pt x="463" y="903"/>
                    <a:pt x="462" y="902"/>
                  </a:cubicBezTo>
                  <a:cubicBezTo>
                    <a:pt x="462" y="901"/>
                    <a:pt x="462" y="900"/>
                    <a:pt x="461" y="899"/>
                  </a:cubicBezTo>
                  <a:cubicBezTo>
                    <a:pt x="460" y="898"/>
                    <a:pt x="459" y="898"/>
                    <a:pt x="459" y="897"/>
                  </a:cubicBezTo>
                  <a:cubicBezTo>
                    <a:pt x="458" y="896"/>
                    <a:pt x="458" y="892"/>
                    <a:pt x="459" y="890"/>
                  </a:cubicBezTo>
                  <a:cubicBezTo>
                    <a:pt x="459" y="890"/>
                    <a:pt x="459" y="890"/>
                    <a:pt x="459" y="890"/>
                  </a:cubicBezTo>
                  <a:cubicBezTo>
                    <a:pt x="459" y="889"/>
                    <a:pt x="460" y="889"/>
                    <a:pt x="460" y="888"/>
                  </a:cubicBezTo>
                  <a:cubicBezTo>
                    <a:pt x="460" y="887"/>
                    <a:pt x="460" y="885"/>
                    <a:pt x="460" y="884"/>
                  </a:cubicBezTo>
                  <a:cubicBezTo>
                    <a:pt x="460" y="884"/>
                    <a:pt x="460" y="884"/>
                    <a:pt x="460" y="884"/>
                  </a:cubicBezTo>
                  <a:cubicBezTo>
                    <a:pt x="460" y="884"/>
                    <a:pt x="460" y="884"/>
                    <a:pt x="460" y="884"/>
                  </a:cubicBezTo>
                  <a:cubicBezTo>
                    <a:pt x="461" y="883"/>
                    <a:pt x="461" y="883"/>
                    <a:pt x="461" y="883"/>
                  </a:cubicBezTo>
                  <a:cubicBezTo>
                    <a:pt x="462" y="882"/>
                    <a:pt x="462" y="882"/>
                    <a:pt x="462" y="881"/>
                  </a:cubicBezTo>
                  <a:cubicBezTo>
                    <a:pt x="462" y="881"/>
                    <a:pt x="462" y="881"/>
                    <a:pt x="462" y="881"/>
                  </a:cubicBezTo>
                  <a:cubicBezTo>
                    <a:pt x="464" y="880"/>
                    <a:pt x="464" y="878"/>
                    <a:pt x="465" y="877"/>
                  </a:cubicBezTo>
                  <a:cubicBezTo>
                    <a:pt x="463" y="877"/>
                    <a:pt x="463" y="877"/>
                    <a:pt x="463" y="877"/>
                  </a:cubicBezTo>
                  <a:cubicBezTo>
                    <a:pt x="463" y="877"/>
                    <a:pt x="463" y="877"/>
                    <a:pt x="463" y="877"/>
                  </a:cubicBezTo>
                  <a:cubicBezTo>
                    <a:pt x="463" y="877"/>
                    <a:pt x="463" y="877"/>
                    <a:pt x="463" y="877"/>
                  </a:cubicBezTo>
                  <a:cubicBezTo>
                    <a:pt x="465" y="877"/>
                    <a:pt x="465" y="877"/>
                    <a:pt x="465" y="877"/>
                  </a:cubicBezTo>
                  <a:cubicBezTo>
                    <a:pt x="465" y="875"/>
                    <a:pt x="465" y="874"/>
                    <a:pt x="465" y="872"/>
                  </a:cubicBezTo>
                  <a:cubicBezTo>
                    <a:pt x="465" y="872"/>
                    <a:pt x="465" y="871"/>
                    <a:pt x="465" y="870"/>
                  </a:cubicBezTo>
                  <a:cubicBezTo>
                    <a:pt x="465" y="870"/>
                    <a:pt x="465" y="870"/>
                    <a:pt x="465" y="870"/>
                  </a:cubicBezTo>
                  <a:cubicBezTo>
                    <a:pt x="466" y="870"/>
                    <a:pt x="466" y="870"/>
                    <a:pt x="466" y="869"/>
                  </a:cubicBezTo>
                  <a:cubicBezTo>
                    <a:pt x="467" y="869"/>
                    <a:pt x="468" y="867"/>
                    <a:pt x="468" y="866"/>
                  </a:cubicBezTo>
                  <a:cubicBezTo>
                    <a:pt x="468" y="865"/>
                    <a:pt x="468" y="865"/>
                    <a:pt x="468" y="864"/>
                  </a:cubicBezTo>
                  <a:cubicBezTo>
                    <a:pt x="468" y="864"/>
                    <a:pt x="468" y="864"/>
                    <a:pt x="468" y="864"/>
                  </a:cubicBezTo>
                  <a:cubicBezTo>
                    <a:pt x="468" y="863"/>
                    <a:pt x="469" y="863"/>
                    <a:pt x="470" y="862"/>
                  </a:cubicBezTo>
                  <a:cubicBezTo>
                    <a:pt x="470" y="862"/>
                    <a:pt x="470" y="862"/>
                    <a:pt x="471" y="862"/>
                  </a:cubicBezTo>
                  <a:cubicBezTo>
                    <a:pt x="471" y="861"/>
                    <a:pt x="472" y="861"/>
                    <a:pt x="473" y="860"/>
                  </a:cubicBezTo>
                  <a:cubicBezTo>
                    <a:pt x="473" y="859"/>
                    <a:pt x="473" y="859"/>
                    <a:pt x="474" y="858"/>
                  </a:cubicBezTo>
                  <a:cubicBezTo>
                    <a:pt x="474" y="857"/>
                    <a:pt x="474" y="856"/>
                    <a:pt x="474" y="856"/>
                  </a:cubicBezTo>
                  <a:cubicBezTo>
                    <a:pt x="475" y="856"/>
                    <a:pt x="475" y="856"/>
                    <a:pt x="475" y="856"/>
                  </a:cubicBezTo>
                  <a:cubicBezTo>
                    <a:pt x="476" y="856"/>
                    <a:pt x="476" y="856"/>
                    <a:pt x="476" y="856"/>
                  </a:cubicBezTo>
                  <a:cubicBezTo>
                    <a:pt x="477" y="856"/>
                    <a:pt x="478" y="856"/>
                    <a:pt x="479" y="855"/>
                  </a:cubicBezTo>
                  <a:cubicBezTo>
                    <a:pt x="479" y="855"/>
                    <a:pt x="479" y="854"/>
                    <a:pt x="479" y="854"/>
                  </a:cubicBezTo>
                  <a:cubicBezTo>
                    <a:pt x="479" y="854"/>
                    <a:pt x="479" y="854"/>
                    <a:pt x="479" y="854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0" y="853"/>
                    <a:pt x="480" y="853"/>
                    <a:pt x="480" y="853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0" y="852"/>
                    <a:pt x="480" y="852"/>
                    <a:pt x="480" y="852"/>
                  </a:cubicBezTo>
                  <a:cubicBezTo>
                    <a:pt x="481" y="851"/>
                    <a:pt x="481" y="851"/>
                    <a:pt x="481" y="850"/>
                  </a:cubicBezTo>
                  <a:cubicBezTo>
                    <a:pt x="481" y="849"/>
                    <a:pt x="482" y="848"/>
                    <a:pt x="482" y="847"/>
                  </a:cubicBezTo>
                  <a:cubicBezTo>
                    <a:pt x="483" y="846"/>
                    <a:pt x="484" y="845"/>
                    <a:pt x="485" y="844"/>
                  </a:cubicBezTo>
                  <a:cubicBezTo>
                    <a:pt x="486" y="843"/>
                    <a:pt x="486" y="843"/>
                    <a:pt x="486" y="843"/>
                  </a:cubicBezTo>
                  <a:cubicBezTo>
                    <a:pt x="487" y="842"/>
                    <a:pt x="488" y="841"/>
                    <a:pt x="489" y="840"/>
                  </a:cubicBezTo>
                  <a:cubicBezTo>
                    <a:pt x="489" y="839"/>
                    <a:pt x="489" y="839"/>
                    <a:pt x="489" y="839"/>
                  </a:cubicBezTo>
                  <a:cubicBezTo>
                    <a:pt x="490" y="837"/>
                    <a:pt x="491" y="837"/>
                    <a:pt x="492" y="836"/>
                  </a:cubicBezTo>
                  <a:cubicBezTo>
                    <a:pt x="492" y="835"/>
                    <a:pt x="493" y="835"/>
                    <a:pt x="493" y="834"/>
                  </a:cubicBezTo>
                  <a:cubicBezTo>
                    <a:pt x="494" y="833"/>
                    <a:pt x="495" y="832"/>
                    <a:pt x="496" y="830"/>
                  </a:cubicBezTo>
                  <a:cubicBezTo>
                    <a:pt x="496" y="830"/>
                    <a:pt x="496" y="830"/>
                    <a:pt x="497" y="829"/>
                  </a:cubicBezTo>
                  <a:cubicBezTo>
                    <a:pt x="497" y="828"/>
                    <a:pt x="497" y="828"/>
                    <a:pt x="498" y="827"/>
                  </a:cubicBezTo>
                  <a:cubicBezTo>
                    <a:pt x="499" y="826"/>
                    <a:pt x="500" y="825"/>
                    <a:pt x="502" y="824"/>
                  </a:cubicBezTo>
                  <a:cubicBezTo>
                    <a:pt x="502" y="823"/>
                    <a:pt x="503" y="822"/>
                    <a:pt x="504" y="821"/>
                  </a:cubicBezTo>
                  <a:cubicBezTo>
                    <a:pt x="505" y="821"/>
                    <a:pt x="505" y="821"/>
                    <a:pt x="505" y="821"/>
                  </a:cubicBezTo>
                  <a:cubicBezTo>
                    <a:pt x="505" y="820"/>
                    <a:pt x="506" y="820"/>
                    <a:pt x="507" y="819"/>
                  </a:cubicBezTo>
                  <a:cubicBezTo>
                    <a:pt x="509" y="818"/>
                    <a:pt x="511" y="816"/>
                    <a:pt x="513" y="815"/>
                  </a:cubicBezTo>
                  <a:cubicBezTo>
                    <a:pt x="513" y="814"/>
                    <a:pt x="513" y="814"/>
                    <a:pt x="513" y="814"/>
                  </a:cubicBezTo>
                  <a:cubicBezTo>
                    <a:pt x="514" y="813"/>
                    <a:pt x="515" y="813"/>
                    <a:pt x="515" y="812"/>
                  </a:cubicBezTo>
                  <a:cubicBezTo>
                    <a:pt x="517" y="811"/>
                    <a:pt x="519" y="810"/>
                    <a:pt x="520" y="808"/>
                  </a:cubicBezTo>
                  <a:cubicBezTo>
                    <a:pt x="520" y="807"/>
                    <a:pt x="520" y="807"/>
                    <a:pt x="520" y="807"/>
                  </a:cubicBezTo>
                  <a:cubicBezTo>
                    <a:pt x="521" y="805"/>
                    <a:pt x="522" y="804"/>
                    <a:pt x="524" y="802"/>
                  </a:cubicBezTo>
                  <a:cubicBezTo>
                    <a:pt x="525" y="801"/>
                    <a:pt x="526" y="799"/>
                    <a:pt x="527" y="798"/>
                  </a:cubicBezTo>
                  <a:cubicBezTo>
                    <a:pt x="528" y="797"/>
                    <a:pt x="528" y="796"/>
                    <a:pt x="528" y="796"/>
                  </a:cubicBezTo>
                  <a:cubicBezTo>
                    <a:pt x="530" y="794"/>
                    <a:pt x="531" y="792"/>
                    <a:pt x="532" y="790"/>
                  </a:cubicBezTo>
                  <a:cubicBezTo>
                    <a:pt x="532" y="789"/>
                    <a:pt x="533" y="788"/>
                    <a:pt x="533" y="787"/>
                  </a:cubicBezTo>
                  <a:cubicBezTo>
                    <a:pt x="534" y="786"/>
                    <a:pt x="534" y="786"/>
                    <a:pt x="534" y="786"/>
                  </a:cubicBezTo>
                  <a:cubicBezTo>
                    <a:pt x="535" y="784"/>
                    <a:pt x="536" y="783"/>
                    <a:pt x="537" y="780"/>
                  </a:cubicBezTo>
                  <a:cubicBezTo>
                    <a:pt x="537" y="779"/>
                    <a:pt x="538" y="778"/>
                    <a:pt x="538" y="777"/>
                  </a:cubicBezTo>
                  <a:cubicBezTo>
                    <a:pt x="539" y="775"/>
                    <a:pt x="539" y="774"/>
                    <a:pt x="539" y="772"/>
                  </a:cubicBezTo>
                  <a:cubicBezTo>
                    <a:pt x="540" y="771"/>
                    <a:pt x="541" y="769"/>
                    <a:pt x="542" y="767"/>
                  </a:cubicBezTo>
                  <a:cubicBezTo>
                    <a:pt x="543" y="766"/>
                    <a:pt x="543" y="765"/>
                    <a:pt x="544" y="765"/>
                  </a:cubicBezTo>
                  <a:cubicBezTo>
                    <a:pt x="544" y="764"/>
                    <a:pt x="544" y="764"/>
                    <a:pt x="544" y="764"/>
                  </a:cubicBezTo>
                  <a:cubicBezTo>
                    <a:pt x="544" y="763"/>
                    <a:pt x="545" y="762"/>
                    <a:pt x="545" y="761"/>
                  </a:cubicBezTo>
                  <a:cubicBezTo>
                    <a:pt x="545" y="760"/>
                    <a:pt x="545" y="760"/>
                    <a:pt x="545" y="759"/>
                  </a:cubicBezTo>
                  <a:cubicBezTo>
                    <a:pt x="545" y="758"/>
                    <a:pt x="545" y="758"/>
                    <a:pt x="545" y="758"/>
                  </a:cubicBezTo>
                  <a:cubicBezTo>
                    <a:pt x="545" y="758"/>
                    <a:pt x="546" y="758"/>
                    <a:pt x="546" y="758"/>
                  </a:cubicBezTo>
                  <a:cubicBezTo>
                    <a:pt x="547" y="757"/>
                    <a:pt x="547" y="757"/>
                    <a:pt x="548" y="756"/>
                  </a:cubicBezTo>
                  <a:cubicBezTo>
                    <a:pt x="549" y="755"/>
                    <a:pt x="549" y="754"/>
                    <a:pt x="549" y="753"/>
                  </a:cubicBezTo>
                  <a:cubicBezTo>
                    <a:pt x="549" y="753"/>
                    <a:pt x="549" y="753"/>
                    <a:pt x="549" y="752"/>
                  </a:cubicBezTo>
                  <a:cubicBezTo>
                    <a:pt x="550" y="752"/>
                    <a:pt x="550" y="751"/>
                    <a:pt x="551" y="750"/>
                  </a:cubicBezTo>
                  <a:cubicBezTo>
                    <a:pt x="552" y="748"/>
                    <a:pt x="554" y="745"/>
                    <a:pt x="553" y="743"/>
                  </a:cubicBezTo>
                  <a:cubicBezTo>
                    <a:pt x="553" y="742"/>
                    <a:pt x="553" y="742"/>
                    <a:pt x="554" y="741"/>
                  </a:cubicBezTo>
                  <a:cubicBezTo>
                    <a:pt x="554" y="740"/>
                    <a:pt x="554" y="739"/>
                    <a:pt x="554" y="737"/>
                  </a:cubicBezTo>
                  <a:cubicBezTo>
                    <a:pt x="555" y="737"/>
                    <a:pt x="557" y="736"/>
                    <a:pt x="557" y="734"/>
                  </a:cubicBezTo>
                  <a:cubicBezTo>
                    <a:pt x="556" y="733"/>
                    <a:pt x="556" y="733"/>
                    <a:pt x="555" y="733"/>
                  </a:cubicBezTo>
                  <a:cubicBezTo>
                    <a:pt x="555" y="732"/>
                    <a:pt x="555" y="732"/>
                    <a:pt x="555" y="732"/>
                  </a:cubicBezTo>
                  <a:cubicBezTo>
                    <a:pt x="555" y="732"/>
                    <a:pt x="556" y="732"/>
                    <a:pt x="556" y="731"/>
                  </a:cubicBezTo>
                  <a:cubicBezTo>
                    <a:pt x="556" y="730"/>
                    <a:pt x="556" y="730"/>
                    <a:pt x="556" y="729"/>
                  </a:cubicBezTo>
                  <a:cubicBezTo>
                    <a:pt x="556" y="729"/>
                    <a:pt x="556" y="729"/>
                    <a:pt x="556" y="729"/>
                  </a:cubicBezTo>
                  <a:cubicBezTo>
                    <a:pt x="556" y="728"/>
                    <a:pt x="555" y="727"/>
                    <a:pt x="555" y="725"/>
                  </a:cubicBezTo>
                  <a:cubicBezTo>
                    <a:pt x="555" y="725"/>
                    <a:pt x="555" y="724"/>
                    <a:pt x="555" y="724"/>
                  </a:cubicBezTo>
                  <a:cubicBezTo>
                    <a:pt x="555" y="724"/>
                    <a:pt x="555" y="724"/>
                    <a:pt x="555" y="724"/>
                  </a:cubicBezTo>
                  <a:cubicBezTo>
                    <a:pt x="555" y="723"/>
                    <a:pt x="556" y="723"/>
                    <a:pt x="556" y="722"/>
                  </a:cubicBezTo>
                  <a:cubicBezTo>
                    <a:pt x="556" y="720"/>
                    <a:pt x="554" y="720"/>
                    <a:pt x="553" y="719"/>
                  </a:cubicBezTo>
                  <a:cubicBezTo>
                    <a:pt x="552" y="719"/>
                    <a:pt x="552" y="719"/>
                    <a:pt x="552" y="719"/>
                  </a:cubicBezTo>
                  <a:cubicBezTo>
                    <a:pt x="551" y="719"/>
                    <a:pt x="551" y="719"/>
                    <a:pt x="550" y="719"/>
                  </a:cubicBezTo>
                  <a:cubicBezTo>
                    <a:pt x="549" y="719"/>
                    <a:pt x="548" y="720"/>
                    <a:pt x="546" y="721"/>
                  </a:cubicBezTo>
                  <a:cubicBezTo>
                    <a:pt x="546" y="721"/>
                    <a:pt x="546" y="721"/>
                    <a:pt x="545" y="722"/>
                  </a:cubicBezTo>
                  <a:cubicBezTo>
                    <a:pt x="544" y="722"/>
                    <a:pt x="543" y="722"/>
                    <a:pt x="542" y="723"/>
                  </a:cubicBezTo>
                  <a:cubicBezTo>
                    <a:pt x="542" y="723"/>
                    <a:pt x="541" y="723"/>
                    <a:pt x="539" y="724"/>
                  </a:cubicBezTo>
                  <a:cubicBezTo>
                    <a:pt x="538" y="725"/>
                    <a:pt x="537" y="725"/>
                    <a:pt x="536" y="725"/>
                  </a:cubicBezTo>
                  <a:cubicBezTo>
                    <a:pt x="535" y="725"/>
                    <a:pt x="535" y="725"/>
                    <a:pt x="535" y="725"/>
                  </a:cubicBezTo>
                  <a:cubicBezTo>
                    <a:pt x="534" y="725"/>
                    <a:pt x="534" y="725"/>
                    <a:pt x="534" y="725"/>
                  </a:cubicBezTo>
                  <a:cubicBezTo>
                    <a:pt x="533" y="725"/>
                    <a:pt x="532" y="725"/>
                    <a:pt x="531" y="725"/>
                  </a:cubicBezTo>
                  <a:cubicBezTo>
                    <a:pt x="531" y="725"/>
                    <a:pt x="530" y="725"/>
                    <a:pt x="530" y="725"/>
                  </a:cubicBezTo>
                  <a:cubicBezTo>
                    <a:pt x="530" y="725"/>
                    <a:pt x="529" y="725"/>
                    <a:pt x="529" y="726"/>
                  </a:cubicBezTo>
                  <a:cubicBezTo>
                    <a:pt x="528" y="726"/>
                    <a:pt x="528" y="726"/>
                    <a:pt x="528" y="726"/>
                  </a:cubicBezTo>
                  <a:cubicBezTo>
                    <a:pt x="528" y="726"/>
                    <a:pt x="527" y="726"/>
                    <a:pt x="527" y="726"/>
                  </a:cubicBezTo>
                  <a:cubicBezTo>
                    <a:pt x="527" y="726"/>
                    <a:pt x="527" y="726"/>
                    <a:pt x="527" y="726"/>
                  </a:cubicBezTo>
                  <a:cubicBezTo>
                    <a:pt x="526" y="726"/>
                    <a:pt x="526" y="726"/>
                    <a:pt x="525" y="726"/>
                  </a:cubicBezTo>
                  <a:cubicBezTo>
                    <a:pt x="525" y="726"/>
                    <a:pt x="525" y="726"/>
                    <a:pt x="525" y="726"/>
                  </a:cubicBezTo>
                  <a:cubicBezTo>
                    <a:pt x="523" y="726"/>
                    <a:pt x="522" y="727"/>
                    <a:pt x="521" y="727"/>
                  </a:cubicBezTo>
                  <a:cubicBezTo>
                    <a:pt x="521" y="728"/>
                    <a:pt x="521" y="728"/>
                    <a:pt x="521" y="728"/>
                  </a:cubicBezTo>
                  <a:cubicBezTo>
                    <a:pt x="521" y="728"/>
                    <a:pt x="521" y="728"/>
                    <a:pt x="520" y="728"/>
                  </a:cubicBezTo>
                  <a:cubicBezTo>
                    <a:pt x="520" y="728"/>
                    <a:pt x="520" y="729"/>
                    <a:pt x="520" y="729"/>
                  </a:cubicBezTo>
                  <a:cubicBezTo>
                    <a:pt x="520" y="729"/>
                    <a:pt x="520" y="729"/>
                    <a:pt x="519" y="729"/>
                  </a:cubicBezTo>
                  <a:cubicBezTo>
                    <a:pt x="519" y="729"/>
                    <a:pt x="519" y="729"/>
                    <a:pt x="518" y="729"/>
                  </a:cubicBezTo>
                  <a:cubicBezTo>
                    <a:pt x="518" y="729"/>
                    <a:pt x="517" y="729"/>
                    <a:pt x="517" y="729"/>
                  </a:cubicBezTo>
                  <a:cubicBezTo>
                    <a:pt x="517" y="730"/>
                    <a:pt x="516" y="730"/>
                    <a:pt x="516" y="730"/>
                  </a:cubicBezTo>
                  <a:cubicBezTo>
                    <a:pt x="515" y="730"/>
                    <a:pt x="514" y="730"/>
                    <a:pt x="513" y="729"/>
                  </a:cubicBezTo>
                  <a:cubicBezTo>
                    <a:pt x="511" y="728"/>
                    <a:pt x="509" y="729"/>
                    <a:pt x="508" y="730"/>
                  </a:cubicBezTo>
                  <a:cubicBezTo>
                    <a:pt x="508" y="730"/>
                    <a:pt x="507" y="731"/>
                    <a:pt x="506" y="731"/>
                  </a:cubicBezTo>
                  <a:cubicBezTo>
                    <a:pt x="506" y="731"/>
                    <a:pt x="506" y="731"/>
                    <a:pt x="506" y="731"/>
                  </a:cubicBezTo>
                  <a:cubicBezTo>
                    <a:pt x="505" y="731"/>
                    <a:pt x="504" y="731"/>
                    <a:pt x="503" y="732"/>
                  </a:cubicBezTo>
                  <a:cubicBezTo>
                    <a:pt x="502" y="733"/>
                    <a:pt x="502" y="733"/>
                    <a:pt x="502" y="733"/>
                  </a:cubicBezTo>
                  <a:cubicBezTo>
                    <a:pt x="502" y="733"/>
                    <a:pt x="501" y="733"/>
                    <a:pt x="501" y="733"/>
                  </a:cubicBezTo>
                  <a:cubicBezTo>
                    <a:pt x="501" y="733"/>
                    <a:pt x="501" y="733"/>
                    <a:pt x="501" y="733"/>
                  </a:cubicBezTo>
                  <a:cubicBezTo>
                    <a:pt x="500" y="733"/>
                    <a:pt x="499" y="732"/>
                    <a:pt x="499" y="732"/>
                  </a:cubicBezTo>
                  <a:cubicBezTo>
                    <a:pt x="499" y="732"/>
                    <a:pt x="499" y="732"/>
                    <a:pt x="499" y="732"/>
                  </a:cubicBezTo>
                  <a:cubicBezTo>
                    <a:pt x="499" y="731"/>
                    <a:pt x="499" y="731"/>
                    <a:pt x="499" y="731"/>
                  </a:cubicBezTo>
                  <a:cubicBezTo>
                    <a:pt x="498" y="731"/>
                    <a:pt x="498" y="731"/>
                    <a:pt x="498" y="730"/>
                  </a:cubicBezTo>
                  <a:cubicBezTo>
                    <a:pt x="498" y="730"/>
                    <a:pt x="497" y="730"/>
                    <a:pt x="497" y="729"/>
                  </a:cubicBezTo>
                  <a:cubicBezTo>
                    <a:pt x="497" y="729"/>
                    <a:pt x="496" y="728"/>
                    <a:pt x="495" y="728"/>
                  </a:cubicBezTo>
                  <a:cubicBezTo>
                    <a:pt x="495" y="727"/>
                    <a:pt x="494" y="727"/>
                    <a:pt x="494" y="726"/>
                  </a:cubicBezTo>
                  <a:cubicBezTo>
                    <a:pt x="500" y="727"/>
                    <a:pt x="500" y="727"/>
                    <a:pt x="500" y="727"/>
                  </a:cubicBezTo>
                  <a:cubicBezTo>
                    <a:pt x="494" y="725"/>
                    <a:pt x="494" y="725"/>
                    <a:pt x="494" y="725"/>
                  </a:cubicBezTo>
                  <a:cubicBezTo>
                    <a:pt x="493" y="724"/>
                    <a:pt x="493" y="724"/>
                    <a:pt x="493" y="724"/>
                  </a:cubicBezTo>
                  <a:cubicBezTo>
                    <a:pt x="493" y="723"/>
                    <a:pt x="493" y="723"/>
                    <a:pt x="493" y="723"/>
                  </a:cubicBezTo>
                  <a:cubicBezTo>
                    <a:pt x="490" y="723"/>
                    <a:pt x="490" y="723"/>
                    <a:pt x="490" y="723"/>
                  </a:cubicBezTo>
                  <a:cubicBezTo>
                    <a:pt x="490" y="723"/>
                    <a:pt x="489" y="723"/>
                    <a:pt x="488" y="723"/>
                  </a:cubicBezTo>
                  <a:cubicBezTo>
                    <a:pt x="488" y="723"/>
                    <a:pt x="488" y="723"/>
                    <a:pt x="487" y="723"/>
                  </a:cubicBezTo>
                  <a:cubicBezTo>
                    <a:pt x="487" y="723"/>
                    <a:pt x="487" y="723"/>
                    <a:pt x="487" y="723"/>
                  </a:cubicBezTo>
                  <a:cubicBezTo>
                    <a:pt x="487" y="723"/>
                    <a:pt x="487" y="723"/>
                    <a:pt x="488" y="722"/>
                  </a:cubicBezTo>
                  <a:cubicBezTo>
                    <a:pt x="488" y="722"/>
                    <a:pt x="488" y="722"/>
                    <a:pt x="489" y="722"/>
                  </a:cubicBezTo>
                  <a:cubicBezTo>
                    <a:pt x="490" y="722"/>
                    <a:pt x="491" y="721"/>
                    <a:pt x="492" y="720"/>
                  </a:cubicBezTo>
                  <a:cubicBezTo>
                    <a:pt x="493" y="719"/>
                    <a:pt x="493" y="718"/>
                    <a:pt x="492" y="717"/>
                  </a:cubicBezTo>
                  <a:cubicBezTo>
                    <a:pt x="492" y="716"/>
                    <a:pt x="492" y="716"/>
                    <a:pt x="492" y="716"/>
                  </a:cubicBezTo>
                  <a:cubicBezTo>
                    <a:pt x="492" y="716"/>
                    <a:pt x="492" y="716"/>
                    <a:pt x="492" y="715"/>
                  </a:cubicBezTo>
                  <a:cubicBezTo>
                    <a:pt x="492" y="715"/>
                    <a:pt x="492" y="714"/>
                    <a:pt x="492" y="713"/>
                  </a:cubicBezTo>
                  <a:cubicBezTo>
                    <a:pt x="492" y="713"/>
                    <a:pt x="492" y="713"/>
                    <a:pt x="492" y="713"/>
                  </a:cubicBezTo>
                  <a:cubicBezTo>
                    <a:pt x="492" y="713"/>
                    <a:pt x="492" y="713"/>
                    <a:pt x="493" y="713"/>
                  </a:cubicBezTo>
                  <a:cubicBezTo>
                    <a:pt x="493" y="713"/>
                    <a:pt x="494" y="713"/>
                    <a:pt x="494" y="713"/>
                  </a:cubicBezTo>
                  <a:cubicBezTo>
                    <a:pt x="495" y="713"/>
                    <a:pt x="495" y="713"/>
                    <a:pt x="495" y="713"/>
                  </a:cubicBezTo>
                  <a:cubicBezTo>
                    <a:pt x="495" y="713"/>
                    <a:pt x="495" y="713"/>
                    <a:pt x="495" y="713"/>
                  </a:cubicBezTo>
                  <a:cubicBezTo>
                    <a:pt x="495" y="714"/>
                    <a:pt x="495" y="714"/>
                    <a:pt x="495" y="714"/>
                  </a:cubicBezTo>
                  <a:cubicBezTo>
                    <a:pt x="496" y="714"/>
                    <a:pt x="496" y="715"/>
                    <a:pt x="497" y="715"/>
                  </a:cubicBezTo>
                  <a:cubicBezTo>
                    <a:pt x="498" y="715"/>
                    <a:pt x="499" y="714"/>
                    <a:pt x="500" y="713"/>
                  </a:cubicBezTo>
                  <a:cubicBezTo>
                    <a:pt x="500" y="713"/>
                    <a:pt x="501" y="712"/>
                    <a:pt x="501" y="712"/>
                  </a:cubicBezTo>
                  <a:cubicBezTo>
                    <a:pt x="502" y="712"/>
                    <a:pt x="502" y="712"/>
                    <a:pt x="503" y="712"/>
                  </a:cubicBezTo>
                  <a:cubicBezTo>
                    <a:pt x="505" y="713"/>
                    <a:pt x="507" y="711"/>
                    <a:pt x="508" y="709"/>
                  </a:cubicBezTo>
                  <a:cubicBezTo>
                    <a:pt x="508" y="709"/>
                    <a:pt x="509" y="709"/>
                    <a:pt x="509" y="708"/>
                  </a:cubicBezTo>
                  <a:cubicBezTo>
                    <a:pt x="509" y="708"/>
                    <a:pt x="509" y="708"/>
                    <a:pt x="509" y="708"/>
                  </a:cubicBezTo>
                  <a:cubicBezTo>
                    <a:pt x="510" y="708"/>
                    <a:pt x="511" y="707"/>
                    <a:pt x="511" y="707"/>
                  </a:cubicBezTo>
                  <a:cubicBezTo>
                    <a:pt x="512" y="707"/>
                    <a:pt x="512" y="707"/>
                    <a:pt x="513" y="707"/>
                  </a:cubicBezTo>
                  <a:cubicBezTo>
                    <a:pt x="514" y="707"/>
                    <a:pt x="515" y="707"/>
                    <a:pt x="516" y="707"/>
                  </a:cubicBezTo>
                  <a:cubicBezTo>
                    <a:pt x="516" y="706"/>
                    <a:pt x="518" y="706"/>
                    <a:pt x="520" y="706"/>
                  </a:cubicBezTo>
                  <a:cubicBezTo>
                    <a:pt x="521" y="706"/>
                    <a:pt x="523" y="704"/>
                    <a:pt x="524" y="703"/>
                  </a:cubicBezTo>
                  <a:cubicBezTo>
                    <a:pt x="525" y="703"/>
                    <a:pt x="525" y="702"/>
                    <a:pt x="526" y="702"/>
                  </a:cubicBezTo>
                  <a:cubicBezTo>
                    <a:pt x="527" y="702"/>
                    <a:pt x="528" y="702"/>
                    <a:pt x="528" y="702"/>
                  </a:cubicBezTo>
                  <a:cubicBezTo>
                    <a:pt x="529" y="702"/>
                    <a:pt x="529" y="702"/>
                    <a:pt x="529" y="702"/>
                  </a:cubicBezTo>
                  <a:cubicBezTo>
                    <a:pt x="530" y="702"/>
                    <a:pt x="530" y="701"/>
                    <a:pt x="531" y="701"/>
                  </a:cubicBezTo>
                  <a:cubicBezTo>
                    <a:pt x="531" y="701"/>
                    <a:pt x="531" y="701"/>
                    <a:pt x="532" y="701"/>
                  </a:cubicBezTo>
                  <a:cubicBezTo>
                    <a:pt x="535" y="701"/>
                    <a:pt x="537" y="698"/>
                    <a:pt x="539" y="696"/>
                  </a:cubicBezTo>
                  <a:cubicBezTo>
                    <a:pt x="539" y="696"/>
                    <a:pt x="539" y="696"/>
                    <a:pt x="539" y="696"/>
                  </a:cubicBezTo>
                  <a:cubicBezTo>
                    <a:pt x="540" y="695"/>
                    <a:pt x="546" y="692"/>
                    <a:pt x="548" y="691"/>
                  </a:cubicBezTo>
                  <a:cubicBezTo>
                    <a:pt x="549" y="691"/>
                    <a:pt x="556" y="688"/>
                    <a:pt x="557" y="688"/>
                  </a:cubicBezTo>
                  <a:cubicBezTo>
                    <a:pt x="557" y="687"/>
                    <a:pt x="558" y="687"/>
                    <a:pt x="558" y="687"/>
                  </a:cubicBezTo>
                  <a:cubicBezTo>
                    <a:pt x="559" y="687"/>
                    <a:pt x="560" y="686"/>
                    <a:pt x="562" y="685"/>
                  </a:cubicBezTo>
                  <a:cubicBezTo>
                    <a:pt x="564" y="683"/>
                    <a:pt x="564" y="682"/>
                    <a:pt x="563" y="680"/>
                  </a:cubicBezTo>
                  <a:cubicBezTo>
                    <a:pt x="563" y="680"/>
                    <a:pt x="563" y="680"/>
                    <a:pt x="563" y="679"/>
                  </a:cubicBezTo>
                  <a:cubicBezTo>
                    <a:pt x="563" y="679"/>
                    <a:pt x="565" y="677"/>
                    <a:pt x="567" y="676"/>
                  </a:cubicBezTo>
                  <a:cubicBezTo>
                    <a:pt x="568" y="676"/>
                    <a:pt x="568" y="676"/>
                    <a:pt x="568" y="676"/>
                  </a:cubicBezTo>
                  <a:cubicBezTo>
                    <a:pt x="568" y="676"/>
                    <a:pt x="568" y="675"/>
                    <a:pt x="570" y="674"/>
                  </a:cubicBezTo>
                  <a:cubicBezTo>
                    <a:pt x="571" y="674"/>
                    <a:pt x="571" y="674"/>
                    <a:pt x="571" y="674"/>
                  </a:cubicBezTo>
                  <a:cubicBezTo>
                    <a:pt x="574" y="674"/>
                    <a:pt x="575" y="672"/>
                    <a:pt x="576" y="671"/>
                  </a:cubicBezTo>
                  <a:cubicBezTo>
                    <a:pt x="576" y="671"/>
                    <a:pt x="576" y="671"/>
                    <a:pt x="576" y="671"/>
                  </a:cubicBezTo>
                  <a:cubicBezTo>
                    <a:pt x="577" y="671"/>
                    <a:pt x="578" y="671"/>
                    <a:pt x="578" y="671"/>
                  </a:cubicBezTo>
                  <a:cubicBezTo>
                    <a:pt x="579" y="672"/>
                    <a:pt x="579" y="672"/>
                    <a:pt x="580" y="672"/>
                  </a:cubicBezTo>
                  <a:cubicBezTo>
                    <a:pt x="581" y="673"/>
                    <a:pt x="582" y="671"/>
                    <a:pt x="582" y="671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670"/>
                    <a:pt x="583" y="670"/>
                    <a:pt x="584" y="670"/>
                  </a:cubicBezTo>
                  <a:cubicBezTo>
                    <a:pt x="585" y="669"/>
                    <a:pt x="586" y="668"/>
                    <a:pt x="586" y="665"/>
                  </a:cubicBezTo>
                  <a:cubicBezTo>
                    <a:pt x="586" y="665"/>
                    <a:pt x="586" y="664"/>
                    <a:pt x="586" y="664"/>
                  </a:cubicBezTo>
                  <a:cubicBezTo>
                    <a:pt x="587" y="663"/>
                    <a:pt x="588" y="663"/>
                    <a:pt x="588" y="663"/>
                  </a:cubicBezTo>
                  <a:cubicBezTo>
                    <a:pt x="589" y="663"/>
                    <a:pt x="591" y="662"/>
                    <a:pt x="592" y="662"/>
                  </a:cubicBezTo>
                  <a:cubicBezTo>
                    <a:pt x="592" y="662"/>
                    <a:pt x="592" y="662"/>
                    <a:pt x="592" y="662"/>
                  </a:cubicBezTo>
                  <a:cubicBezTo>
                    <a:pt x="592" y="662"/>
                    <a:pt x="592" y="663"/>
                    <a:pt x="593" y="663"/>
                  </a:cubicBezTo>
                  <a:cubicBezTo>
                    <a:pt x="593" y="663"/>
                    <a:pt x="593" y="663"/>
                    <a:pt x="593" y="663"/>
                  </a:cubicBezTo>
                  <a:cubicBezTo>
                    <a:pt x="593" y="663"/>
                    <a:pt x="593" y="663"/>
                    <a:pt x="593" y="663"/>
                  </a:cubicBezTo>
                  <a:cubicBezTo>
                    <a:pt x="595" y="663"/>
                    <a:pt x="595" y="662"/>
                    <a:pt x="596" y="661"/>
                  </a:cubicBezTo>
                  <a:cubicBezTo>
                    <a:pt x="596" y="661"/>
                    <a:pt x="596" y="661"/>
                    <a:pt x="596" y="660"/>
                  </a:cubicBezTo>
                  <a:cubicBezTo>
                    <a:pt x="597" y="659"/>
                    <a:pt x="597" y="659"/>
                    <a:pt x="597" y="658"/>
                  </a:cubicBezTo>
                  <a:cubicBezTo>
                    <a:pt x="597" y="657"/>
                    <a:pt x="597" y="657"/>
                    <a:pt x="597" y="657"/>
                  </a:cubicBezTo>
                  <a:cubicBezTo>
                    <a:pt x="597" y="657"/>
                    <a:pt x="597" y="656"/>
                    <a:pt x="599" y="654"/>
                  </a:cubicBezTo>
                  <a:cubicBezTo>
                    <a:pt x="600" y="652"/>
                    <a:pt x="603" y="652"/>
                    <a:pt x="604" y="652"/>
                  </a:cubicBezTo>
                  <a:cubicBezTo>
                    <a:pt x="604" y="652"/>
                    <a:pt x="604" y="652"/>
                    <a:pt x="604" y="652"/>
                  </a:cubicBezTo>
                  <a:cubicBezTo>
                    <a:pt x="605" y="652"/>
                    <a:pt x="605" y="652"/>
                    <a:pt x="605" y="652"/>
                  </a:cubicBezTo>
                  <a:cubicBezTo>
                    <a:pt x="606" y="651"/>
                    <a:pt x="606" y="651"/>
                    <a:pt x="606" y="651"/>
                  </a:cubicBezTo>
                  <a:cubicBezTo>
                    <a:pt x="607" y="650"/>
                    <a:pt x="606" y="643"/>
                    <a:pt x="605" y="643"/>
                  </a:cubicBezTo>
                  <a:cubicBezTo>
                    <a:pt x="605" y="642"/>
                    <a:pt x="607" y="639"/>
                    <a:pt x="607" y="638"/>
                  </a:cubicBezTo>
                  <a:cubicBezTo>
                    <a:pt x="608" y="637"/>
                    <a:pt x="608" y="637"/>
                    <a:pt x="608" y="636"/>
                  </a:cubicBezTo>
                  <a:cubicBezTo>
                    <a:pt x="608" y="636"/>
                    <a:pt x="608" y="636"/>
                    <a:pt x="608" y="636"/>
                  </a:cubicBezTo>
                  <a:cubicBezTo>
                    <a:pt x="608" y="636"/>
                    <a:pt x="609" y="637"/>
                    <a:pt x="610" y="637"/>
                  </a:cubicBezTo>
                  <a:cubicBezTo>
                    <a:pt x="610" y="637"/>
                    <a:pt x="611" y="636"/>
                    <a:pt x="611" y="636"/>
                  </a:cubicBezTo>
                  <a:cubicBezTo>
                    <a:pt x="612" y="635"/>
                    <a:pt x="613" y="632"/>
                    <a:pt x="614" y="630"/>
                  </a:cubicBezTo>
                  <a:cubicBezTo>
                    <a:pt x="614" y="629"/>
                    <a:pt x="614" y="629"/>
                    <a:pt x="615" y="628"/>
                  </a:cubicBezTo>
                  <a:cubicBezTo>
                    <a:pt x="617" y="626"/>
                    <a:pt x="621" y="616"/>
                    <a:pt x="621" y="616"/>
                  </a:cubicBezTo>
                  <a:cubicBezTo>
                    <a:pt x="621" y="615"/>
                    <a:pt x="621" y="614"/>
                    <a:pt x="621" y="613"/>
                  </a:cubicBezTo>
                  <a:cubicBezTo>
                    <a:pt x="620" y="613"/>
                    <a:pt x="619" y="613"/>
                    <a:pt x="619" y="613"/>
                  </a:cubicBezTo>
                  <a:cubicBezTo>
                    <a:pt x="618" y="611"/>
                    <a:pt x="615" y="609"/>
                    <a:pt x="614" y="608"/>
                  </a:cubicBezTo>
                  <a:cubicBezTo>
                    <a:pt x="614" y="608"/>
                    <a:pt x="613" y="607"/>
                    <a:pt x="613" y="605"/>
                  </a:cubicBezTo>
                  <a:cubicBezTo>
                    <a:pt x="612" y="604"/>
                    <a:pt x="612" y="604"/>
                    <a:pt x="612" y="604"/>
                  </a:cubicBezTo>
                  <a:cubicBezTo>
                    <a:pt x="611" y="602"/>
                    <a:pt x="610" y="602"/>
                    <a:pt x="608" y="602"/>
                  </a:cubicBezTo>
                  <a:cubicBezTo>
                    <a:pt x="607" y="602"/>
                    <a:pt x="607" y="602"/>
                    <a:pt x="606" y="602"/>
                  </a:cubicBezTo>
                  <a:cubicBezTo>
                    <a:pt x="606" y="602"/>
                    <a:pt x="606" y="602"/>
                    <a:pt x="606" y="602"/>
                  </a:cubicBezTo>
                  <a:cubicBezTo>
                    <a:pt x="606" y="602"/>
                    <a:pt x="606" y="602"/>
                    <a:pt x="606" y="602"/>
                  </a:cubicBezTo>
                  <a:cubicBezTo>
                    <a:pt x="605" y="601"/>
                    <a:pt x="604" y="601"/>
                    <a:pt x="601" y="600"/>
                  </a:cubicBezTo>
                  <a:cubicBezTo>
                    <a:pt x="601" y="599"/>
                    <a:pt x="600" y="599"/>
                    <a:pt x="600" y="599"/>
                  </a:cubicBezTo>
                  <a:cubicBezTo>
                    <a:pt x="599" y="599"/>
                    <a:pt x="598" y="598"/>
                    <a:pt x="597" y="597"/>
                  </a:cubicBezTo>
                  <a:cubicBezTo>
                    <a:pt x="596" y="596"/>
                    <a:pt x="596" y="595"/>
                    <a:pt x="595" y="595"/>
                  </a:cubicBezTo>
                  <a:cubicBezTo>
                    <a:pt x="595" y="595"/>
                    <a:pt x="595" y="594"/>
                    <a:pt x="595" y="594"/>
                  </a:cubicBezTo>
                  <a:cubicBezTo>
                    <a:pt x="595" y="593"/>
                    <a:pt x="594" y="593"/>
                    <a:pt x="594" y="593"/>
                  </a:cubicBezTo>
                  <a:cubicBezTo>
                    <a:pt x="594" y="592"/>
                    <a:pt x="593" y="591"/>
                    <a:pt x="593" y="590"/>
                  </a:cubicBezTo>
                  <a:cubicBezTo>
                    <a:pt x="593" y="590"/>
                    <a:pt x="593" y="590"/>
                    <a:pt x="593" y="590"/>
                  </a:cubicBezTo>
                  <a:cubicBezTo>
                    <a:pt x="593" y="589"/>
                    <a:pt x="593" y="589"/>
                    <a:pt x="593" y="589"/>
                  </a:cubicBezTo>
                  <a:cubicBezTo>
                    <a:pt x="593" y="587"/>
                    <a:pt x="593" y="585"/>
                    <a:pt x="593" y="584"/>
                  </a:cubicBezTo>
                  <a:cubicBezTo>
                    <a:pt x="592" y="584"/>
                    <a:pt x="592" y="583"/>
                    <a:pt x="592" y="583"/>
                  </a:cubicBezTo>
                  <a:cubicBezTo>
                    <a:pt x="592" y="583"/>
                    <a:pt x="593" y="583"/>
                    <a:pt x="593" y="582"/>
                  </a:cubicBezTo>
                  <a:cubicBezTo>
                    <a:pt x="593" y="582"/>
                    <a:pt x="593" y="580"/>
                    <a:pt x="593" y="579"/>
                  </a:cubicBezTo>
                  <a:cubicBezTo>
                    <a:pt x="593" y="579"/>
                    <a:pt x="593" y="579"/>
                    <a:pt x="593" y="579"/>
                  </a:cubicBezTo>
                  <a:cubicBezTo>
                    <a:pt x="593" y="579"/>
                    <a:pt x="593" y="578"/>
                    <a:pt x="593" y="578"/>
                  </a:cubicBezTo>
                  <a:cubicBezTo>
                    <a:pt x="594" y="578"/>
                    <a:pt x="594" y="577"/>
                    <a:pt x="594" y="576"/>
                  </a:cubicBezTo>
                  <a:cubicBezTo>
                    <a:pt x="593" y="575"/>
                    <a:pt x="592" y="575"/>
                    <a:pt x="591" y="575"/>
                  </a:cubicBezTo>
                  <a:cubicBezTo>
                    <a:pt x="590" y="575"/>
                    <a:pt x="590" y="575"/>
                    <a:pt x="590" y="575"/>
                  </a:cubicBezTo>
                  <a:cubicBezTo>
                    <a:pt x="590" y="575"/>
                    <a:pt x="590" y="575"/>
                    <a:pt x="590" y="575"/>
                  </a:cubicBezTo>
                  <a:cubicBezTo>
                    <a:pt x="590" y="576"/>
                    <a:pt x="590" y="576"/>
                    <a:pt x="590" y="576"/>
                  </a:cubicBezTo>
                  <a:cubicBezTo>
                    <a:pt x="589" y="576"/>
                    <a:pt x="589" y="576"/>
                    <a:pt x="589" y="576"/>
                  </a:cubicBezTo>
                  <a:cubicBezTo>
                    <a:pt x="588" y="577"/>
                    <a:pt x="588" y="577"/>
                    <a:pt x="588" y="577"/>
                  </a:cubicBezTo>
                  <a:cubicBezTo>
                    <a:pt x="588" y="577"/>
                    <a:pt x="588" y="577"/>
                    <a:pt x="588" y="577"/>
                  </a:cubicBezTo>
                  <a:cubicBezTo>
                    <a:pt x="588" y="577"/>
                    <a:pt x="588" y="577"/>
                    <a:pt x="588" y="577"/>
                  </a:cubicBezTo>
                  <a:cubicBezTo>
                    <a:pt x="588" y="578"/>
                    <a:pt x="588" y="578"/>
                    <a:pt x="588" y="578"/>
                  </a:cubicBezTo>
                  <a:cubicBezTo>
                    <a:pt x="588" y="578"/>
                    <a:pt x="588" y="578"/>
                    <a:pt x="588" y="578"/>
                  </a:cubicBezTo>
                  <a:cubicBezTo>
                    <a:pt x="587" y="579"/>
                    <a:pt x="587" y="580"/>
                    <a:pt x="586" y="581"/>
                  </a:cubicBezTo>
                  <a:cubicBezTo>
                    <a:pt x="586" y="581"/>
                    <a:pt x="586" y="582"/>
                    <a:pt x="586" y="582"/>
                  </a:cubicBezTo>
                  <a:cubicBezTo>
                    <a:pt x="585" y="584"/>
                    <a:pt x="585" y="584"/>
                    <a:pt x="584" y="584"/>
                  </a:cubicBezTo>
                  <a:cubicBezTo>
                    <a:pt x="584" y="584"/>
                    <a:pt x="584" y="585"/>
                    <a:pt x="584" y="585"/>
                  </a:cubicBezTo>
                  <a:cubicBezTo>
                    <a:pt x="583" y="585"/>
                    <a:pt x="583" y="585"/>
                    <a:pt x="583" y="585"/>
                  </a:cubicBezTo>
                  <a:cubicBezTo>
                    <a:pt x="581" y="587"/>
                    <a:pt x="580" y="588"/>
                    <a:pt x="580" y="589"/>
                  </a:cubicBezTo>
                  <a:cubicBezTo>
                    <a:pt x="579" y="589"/>
                    <a:pt x="579" y="589"/>
                    <a:pt x="579" y="589"/>
                  </a:cubicBezTo>
                  <a:cubicBezTo>
                    <a:pt x="579" y="589"/>
                    <a:pt x="579" y="589"/>
                    <a:pt x="579" y="590"/>
                  </a:cubicBezTo>
                  <a:cubicBezTo>
                    <a:pt x="577" y="591"/>
                    <a:pt x="577" y="592"/>
                    <a:pt x="577" y="593"/>
                  </a:cubicBezTo>
                  <a:cubicBezTo>
                    <a:pt x="577" y="594"/>
                    <a:pt x="577" y="594"/>
                    <a:pt x="577" y="594"/>
                  </a:cubicBezTo>
                  <a:cubicBezTo>
                    <a:pt x="577" y="594"/>
                    <a:pt x="575" y="596"/>
                    <a:pt x="575" y="597"/>
                  </a:cubicBezTo>
                  <a:cubicBezTo>
                    <a:pt x="574" y="598"/>
                    <a:pt x="574" y="598"/>
                    <a:pt x="574" y="598"/>
                  </a:cubicBezTo>
                  <a:cubicBezTo>
                    <a:pt x="574" y="598"/>
                    <a:pt x="573" y="598"/>
                    <a:pt x="572" y="598"/>
                  </a:cubicBezTo>
                  <a:cubicBezTo>
                    <a:pt x="569" y="598"/>
                    <a:pt x="565" y="597"/>
                    <a:pt x="564" y="597"/>
                  </a:cubicBezTo>
                  <a:cubicBezTo>
                    <a:pt x="564" y="597"/>
                    <a:pt x="564" y="597"/>
                    <a:pt x="563" y="597"/>
                  </a:cubicBezTo>
                  <a:cubicBezTo>
                    <a:pt x="563" y="597"/>
                    <a:pt x="561" y="597"/>
                    <a:pt x="560" y="599"/>
                  </a:cubicBezTo>
                  <a:cubicBezTo>
                    <a:pt x="559" y="599"/>
                    <a:pt x="559" y="599"/>
                    <a:pt x="558" y="599"/>
                  </a:cubicBezTo>
                  <a:cubicBezTo>
                    <a:pt x="558" y="599"/>
                    <a:pt x="558" y="599"/>
                    <a:pt x="558" y="599"/>
                  </a:cubicBezTo>
                  <a:cubicBezTo>
                    <a:pt x="558" y="598"/>
                    <a:pt x="557" y="597"/>
                    <a:pt x="556" y="597"/>
                  </a:cubicBezTo>
                  <a:cubicBezTo>
                    <a:pt x="556" y="597"/>
                    <a:pt x="556" y="597"/>
                    <a:pt x="556" y="597"/>
                  </a:cubicBezTo>
                  <a:cubicBezTo>
                    <a:pt x="556" y="597"/>
                    <a:pt x="556" y="597"/>
                    <a:pt x="556" y="597"/>
                  </a:cubicBezTo>
                  <a:cubicBezTo>
                    <a:pt x="556" y="597"/>
                    <a:pt x="556" y="597"/>
                    <a:pt x="556" y="597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55" y="597"/>
                    <a:pt x="555" y="597"/>
                    <a:pt x="555" y="597"/>
                  </a:cubicBezTo>
                  <a:cubicBezTo>
                    <a:pt x="554" y="596"/>
                    <a:pt x="554" y="596"/>
                    <a:pt x="554" y="596"/>
                  </a:cubicBezTo>
                  <a:cubicBezTo>
                    <a:pt x="556" y="594"/>
                    <a:pt x="556" y="594"/>
                    <a:pt x="556" y="594"/>
                  </a:cubicBezTo>
                  <a:cubicBezTo>
                    <a:pt x="555" y="594"/>
                    <a:pt x="555" y="594"/>
                    <a:pt x="555" y="594"/>
                  </a:cubicBezTo>
                  <a:cubicBezTo>
                    <a:pt x="555" y="594"/>
                    <a:pt x="555" y="594"/>
                    <a:pt x="554" y="594"/>
                  </a:cubicBezTo>
                  <a:cubicBezTo>
                    <a:pt x="555" y="594"/>
                    <a:pt x="555" y="593"/>
                    <a:pt x="555" y="593"/>
                  </a:cubicBezTo>
                  <a:cubicBezTo>
                    <a:pt x="556" y="592"/>
                    <a:pt x="556" y="591"/>
                    <a:pt x="557" y="591"/>
                  </a:cubicBezTo>
                  <a:cubicBezTo>
                    <a:pt x="557" y="590"/>
                    <a:pt x="557" y="588"/>
                    <a:pt x="557" y="587"/>
                  </a:cubicBezTo>
                  <a:cubicBezTo>
                    <a:pt x="556" y="586"/>
                    <a:pt x="556" y="586"/>
                    <a:pt x="555" y="585"/>
                  </a:cubicBezTo>
                  <a:cubicBezTo>
                    <a:pt x="555" y="585"/>
                    <a:pt x="555" y="583"/>
                    <a:pt x="555" y="583"/>
                  </a:cubicBezTo>
                  <a:cubicBezTo>
                    <a:pt x="555" y="582"/>
                    <a:pt x="555" y="581"/>
                    <a:pt x="555" y="581"/>
                  </a:cubicBezTo>
                  <a:cubicBezTo>
                    <a:pt x="555" y="579"/>
                    <a:pt x="554" y="579"/>
                    <a:pt x="553" y="579"/>
                  </a:cubicBezTo>
                  <a:cubicBezTo>
                    <a:pt x="552" y="578"/>
                    <a:pt x="551" y="577"/>
                    <a:pt x="550" y="578"/>
                  </a:cubicBezTo>
                  <a:cubicBezTo>
                    <a:pt x="549" y="579"/>
                    <a:pt x="548" y="580"/>
                    <a:pt x="548" y="581"/>
                  </a:cubicBezTo>
                  <a:cubicBezTo>
                    <a:pt x="548" y="581"/>
                    <a:pt x="548" y="581"/>
                    <a:pt x="548" y="581"/>
                  </a:cubicBezTo>
                  <a:cubicBezTo>
                    <a:pt x="548" y="582"/>
                    <a:pt x="548" y="582"/>
                    <a:pt x="547" y="582"/>
                  </a:cubicBezTo>
                  <a:cubicBezTo>
                    <a:pt x="547" y="583"/>
                    <a:pt x="546" y="585"/>
                    <a:pt x="546" y="586"/>
                  </a:cubicBezTo>
                  <a:cubicBezTo>
                    <a:pt x="546" y="586"/>
                    <a:pt x="546" y="586"/>
                    <a:pt x="546" y="586"/>
                  </a:cubicBezTo>
                  <a:cubicBezTo>
                    <a:pt x="546" y="585"/>
                    <a:pt x="545" y="585"/>
                    <a:pt x="545" y="585"/>
                  </a:cubicBezTo>
                  <a:cubicBezTo>
                    <a:pt x="544" y="585"/>
                    <a:pt x="544" y="584"/>
                    <a:pt x="544" y="584"/>
                  </a:cubicBezTo>
                  <a:cubicBezTo>
                    <a:pt x="544" y="583"/>
                    <a:pt x="544" y="582"/>
                    <a:pt x="544" y="581"/>
                  </a:cubicBezTo>
                  <a:cubicBezTo>
                    <a:pt x="544" y="581"/>
                    <a:pt x="543" y="581"/>
                    <a:pt x="543" y="581"/>
                  </a:cubicBezTo>
                  <a:cubicBezTo>
                    <a:pt x="543" y="580"/>
                    <a:pt x="543" y="579"/>
                    <a:pt x="543" y="578"/>
                  </a:cubicBezTo>
                  <a:cubicBezTo>
                    <a:pt x="542" y="578"/>
                    <a:pt x="542" y="577"/>
                    <a:pt x="543" y="574"/>
                  </a:cubicBezTo>
                  <a:cubicBezTo>
                    <a:pt x="543" y="574"/>
                    <a:pt x="543" y="573"/>
                    <a:pt x="543" y="573"/>
                  </a:cubicBezTo>
                  <a:cubicBezTo>
                    <a:pt x="543" y="572"/>
                    <a:pt x="542" y="571"/>
                    <a:pt x="541" y="571"/>
                  </a:cubicBezTo>
                  <a:cubicBezTo>
                    <a:pt x="541" y="570"/>
                    <a:pt x="540" y="570"/>
                    <a:pt x="540" y="569"/>
                  </a:cubicBezTo>
                  <a:cubicBezTo>
                    <a:pt x="539" y="568"/>
                    <a:pt x="538" y="568"/>
                    <a:pt x="537" y="568"/>
                  </a:cubicBezTo>
                  <a:cubicBezTo>
                    <a:pt x="537" y="568"/>
                    <a:pt x="536" y="568"/>
                    <a:pt x="536" y="568"/>
                  </a:cubicBezTo>
                  <a:cubicBezTo>
                    <a:pt x="536" y="568"/>
                    <a:pt x="536" y="567"/>
                    <a:pt x="536" y="567"/>
                  </a:cubicBezTo>
                  <a:cubicBezTo>
                    <a:pt x="536" y="566"/>
                    <a:pt x="536" y="566"/>
                    <a:pt x="536" y="565"/>
                  </a:cubicBezTo>
                  <a:cubicBezTo>
                    <a:pt x="536" y="565"/>
                    <a:pt x="535" y="565"/>
                    <a:pt x="535" y="565"/>
                  </a:cubicBezTo>
                  <a:cubicBezTo>
                    <a:pt x="534" y="565"/>
                    <a:pt x="534" y="565"/>
                    <a:pt x="534" y="565"/>
                  </a:cubicBezTo>
                  <a:cubicBezTo>
                    <a:pt x="534" y="564"/>
                    <a:pt x="534" y="564"/>
                    <a:pt x="532" y="563"/>
                  </a:cubicBezTo>
                  <a:cubicBezTo>
                    <a:pt x="532" y="563"/>
                    <a:pt x="532" y="563"/>
                    <a:pt x="532" y="562"/>
                  </a:cubicBezTo>
                  <a:cubicBezTo>
                    <a:pt x="533" y="560"/>
                    <a:pt x="532" y="559"/>
                    <a:pt x="531" y="559"/>
                  </a:cubicBezTo>
                  <a:cubicBezTo>
                    <a:pt x="531" y="558"/>
                    <a:pt x="531" y="557"/>
                    <a:pt x="531" y="557"/>
                  </a:cubicBezTo>
                  <a:cubicBezTo>
                    <a:pt x="531" y="557"/>
                    <a:pt x="531" y="557"/>
                    <a:pt x="531" y="556"/>
                  </a:cubicBezTo>
                  <a:cubicBezTo>
                    <a:pt x="531" y="556"/>
                    <a:pt x="531" y="556"/>
                    <a:pt x="531" y="556"/>
                  </a:cubicBezTo>
                  <a:cubicBezTo>
                    <a:pt x="531" y="555"/>
                    <a:pt x="531" y="555"/>
                    <a:pt x="531" y="555"/>
                  </a:cubicBezTo>
                  <a:cubicBezTo>
                    <a:pt x="531" y="555"/>
                    <a:pt x="531" y="555"/>
                    <a:pt x="531" y="555"/>
                  </a:cubicBezTo>
                  <a:cubicBezTo>
                    <a:pt x="531" y="555"/>
                    <a:pt x="531" y="555"/>
                    <a:pt x="531" y="555"/>
                  </a:cubicBezTo>
                  <a:cubicBezTo>
                    <a:pt x="530" y="554"/>
                    <a:pt x="530" y="554"/>
                    <a:pt x="530" y="554"/>
                  </a:cubicBezTo>
                  <a:cubicBezTo>
                    <a:pt x="530" y="554"/>
                    <a:pt x="530" y="553"/>
                    <a:pt x="529" y="552"/>
                  </a:cubicBezTo>
                  <a:cubicBezTo>
                    <a:pt x="529" y="552"/>
                    <a:pt x="529" y="552"/>
                    <a:pt x="529" y="552"/>
                  </a:cubicBezTo>
                  <a:cubicBezTo>
                    <a:pt x="529" y="550"/>
                    <a:pt x="529" y="549"/>
                    <a:pt x="526" y="548"/>
                  </a:cubicBezTo>
                  <a:cubicBezTo>
                    <a:pt x="525" y="548"/>
                    <a:pt x="524" y="547"/>
                    <a:pt x="524" y="546"/>
                  </a:cubicBezTo>
                  <a:cubicBezTo>
                    <a:pt x="525" y="546"/>
                    <a:pt x="525" y="546"/>
                    <a:pt x="525" y="546"/>
                  </a:cubicBezTo>
                  <a:cubicBezTo>
                    <a:pt x="525" y="546"/>
                    <a:pt x="525" y="546"/>
                    <a:pt x="525" y="546"/>
                  </a:cubicBezTo>
                  <a:cubicBezTo>
                    <a:pt x="526" y="546"/>
                    <a:pt x="527" y="545"/>
                    <a:pt x="527" y="545"/>
                  </a:cubicBezTo>
                  <a:cubicBezTo>
                    <a:pt x="528" y="545"/>
                    <a:pt x="528" y="545"/>
                    <a:pt x="528" y="545"/>
                  </a:cubicBezTo>
                  <a:cubicBezTo>
                    <a:pt x="527" y="544"/>
                    <a:pt x="527" y="544"/>
                    <a:pt x="527" y="544"/>
                  </a:cubicBezTo>
                  <a:cubicBezTo>
                    <a:pt x="527" y="544"/>
                    <a:pt x="527" y="543"/>
                    <a:pt x="526" y="542"/>
                  </a:cubicBezTo>
                  <a:cubicBezTo>
                    <a:pt x="526" y="542"/>
                    <a:pt x="526" y="542"/>
                    <a:pt x="526" y="542"/>
                  </a:cubicBezTo>
                  <a:cubicBezTo>
                    <a:pt x="526" y="542"/>
                    <a:pt x="526" y="542"/>
                    <a:pt x="526" y="542"/>
                  </a:cubicBezTo>
                  <a:cubicBezTo>
                    <a:pt x="526" y="541"/>
                    <a:pt x="526" y="541"/>
                    <a:pt x="526" y="541"/>
                  </a:cubicBezTo>
                  <a:cubicBezTo>
                    <a:pt x="526" y="541"/>
                    <a:pt x="526" y="541"/>
                    <a:pt x="526" y="541"/>
                  </a:cubicBezTo>
                  <a:cubicBezTo>
                    <a:pt x="527" y="541"/>
                    <a:pt x="527" y="541"/>
                    <a:pt x="527" y="541"/>
                  </a:cubicBezTo>
                  <a:cubicBezTo>
                    <a:pt x="527" y="541"/>
                    <a:pt x="527" y="541"/>
                    <a:pt x="527" y="541"/>
                  </a:cubicBezTo>
                  <a:cubicBezTo>
                    <a:pt x="527" y="542"/>
                    <a:pt x="527" y="543"/>
                    <a:pt x="528" y="543"/>
                  </a:cubicBezTo>
                  <a:cubicBezTo>
                    <a:pt x="528" y="543"/>
                    <a:pt x="528" y="543"/>
                    <a:pt x="529" y="543"/>
                  </a:cubicBezTo>
                  <a:cubicBezTo>
                    <a:pt x="530" y="543"/>
                    <a:pt x="530" y="543"/>
                    <a:pt x="531" y="542"/>
                  </a:cubicBezTo>
                  <a:cubicBezTo>
                    <a:pt x="531" y="542"/>
                    <a:pt x="531" y="542"/>
                    <a:pt x="531" y="542"/>
                  </a:cubicBezTo>
                  <a:cubicBezTo>
                    <a:pt x="532" y="542"/>
                    <a:pt x="532" y="542"/>
                    <a:pt x="532" y="541"/>
                  </a:cubicBezTo>
                  <a:cubicBezTo>
                    <a:pt x="533" y="541"/>
                    <a:pt x="533" y="541"/>
                    <a:pt x="533" y="541"/>
                  </a:cubicBezTo>
                  <a:cubicBezTo>
                    <a:pt x="534" y="540"/>
                    <a:pt x="534" y="539"/>
                    <a:pt x="534" y="539"/>
                  </a:cubicBezTo>
                  <a:cubicBezTo>
                    <a:pt x="535" y="539"/>
                    <a:pt x="535" y="539"/>
                    <a:pt x="536" y="539"/>
                  </a:cubicBezTo>
                  <a:cubicBezTo>
                    <a:pt x="536" y="539"/>
                    <a:pt x="536" y="539"/>
                    <a:pt x="536" y="539"/>
                  </a:cubicBezTo>
                  <a:cubicBezTo>
                    <a:pt x="537" y="540"/>
                    <a:pt x="537" y="541"/>
                    <a:pt x="538" y="541"/>
                  </a:cubicBezTo>
                  <a:cubicBezTo>
                    <a:pt x="539" y="542"/>
                    <a:pt x="540" y="541"/>
                    <a:pt x="540" y="541"/>
                  </a:cubicBezTo>
                  <a:cubicBezTo>
                    <a:pt x="540" y="543"/>
                    <a:pt x="541" y="544"/>
                    <a:pt x="542" y="545"/>
                  </a:cubicBezTo>
                  <a:cubicBezTo>
                    <a:pt x="543" y="546"/>
                    <a:pt x="544" y="546"/>
                    <a:pt x="544" y="547"/>
                  </a:cubicBezTo>
                  <a:cubicBezTo>
                    <a:pt x="544" y="549"/>
                    <a:pt x="545" y="550"/>
                    <a:pt x="546" y="550"/>
                  </a:cubicBezTo>
                  <a:cubicBezTo>
                    <a:pt x="545" y="551"/>
                    <a:pt x="546" y="554"/>
                    <a:pt x="548" y="556"/>
                  </a:cubicBezTo>
                  <a:cubicBezTo>
                    <a:pt x="549" y="557"/>
                    <a:pt x="549" y="557"/>
                    <a:pt x="549" y="557"/>
                  </a:cubicBezTo>
                  <a:cubicBezTo>
                    <a:pt x="549" y="557"/>
                    <a:pt x="549" y="557"/>
                    <a:pt x="549" y="558"/>
                  </a:cubicBezTo>
                  <a:cubicBezTo>
                    <a:pt x="549" y="559"/>
                    <a:pt x="549" y="560"/>
                    <a:pt x="550" y="561"/>
                  </a:cubicBezTo>
                  <a:cubicBezTo>
                    <a:pt x="551" y="563"/>
                    <a:pt x="553" y="563"/>
                    <a:pt x="554" y="563"/>
                  </a:cubicBezTo>
                  <a:cubicBezTo>
                    <a:pt x="554" y="563"/>
                    <a:pt x="554" y="563"/>
                    <a:pt x="555" y="563"/>
                  </a:cubicBezTo>
                  <a:cubicBezTo>
                    <a:pt x="555" y="563"/>
                    <a:pt x="555" y="563"/>
                    <a:pt x="555" y="563"/>
                  </a:cubicBezTo>
                  <a:cubicBezTo>
                    <a:pt x="556" y="563"/>
                    <a:pt x="557" y="564"/>
                    <a:pt x="559" y="566"/>
                  </a:cubicBezTo>
                  <a:cubicBezTo>
                    <a:pt x="559" y="566"/>
                    <a:pt x="559" y="566"/>
                    <a:pt x="559" y="566"/>
                  </a:cubicBezTo>
                  <a:cubicBezTo>
                    <a:pt x="559" y="566"/>
                    <a:pt x="559" y="566"/>
                    <a:pt x="559" y="567"/>
                  </a:cubicBezTo>
                  <a:cubicBezTo>
                    <a:pt x="559" y="568"/>
                    <a:pt x="561" y="569"/>
                    <a:pt x="561" y="569"/>
                  </a:cubicBezTo>
                  <a:cubicBezTo>
                    <a:pt x="562" y="569"/>
                    <a:pt x="562" y="569"/>
                    <a:pt x="562" y="570"/>
                  </a:cubicBezTo>
                  <a:cubicBezTo>
                    <a:pt x="562" y="570"/>
                    <a:pt x="562" y="570"/>
                    <a:pt x="563" y="570"/>
                  </a:cubicBezTo>
                  <a:cubicBezTo>
                    <a:pt x="564" y="572"/>
                    <a:pt x="565" y="572"/>
                    <a:pt x="565" y="572"/>
                  </a:cubicBezTo>
                  <a:cubicBezTo>
                    <a:pt x="566" y="572"/>
                    <a:pt x="566" y="572"/>
                    <a:pt x="567" y="571"/>
                  </a:cubicBezTo>
                  <a:cubicBezTo>
                    <a:pt x="567" y="572"/>
                    <a:pt x="568" y="573"/>
                    <a:pt x="568" y="573"/>
                  </a:cubicBezTo>
                  <a:cubicBezTo>
                    <a:pt x="568" y="573"/>
                    <a:pt x="568" y="573"/>
                    <a:pt x="569" y="574"/>
                  </a:cubicBezTo>
                  <a:cubicBezTo>
                    <a:pt x="569" y="574"/>
                    <a:pt x="569" y="574"/>
                    <a:pt x="570" y="574"/>
                  </a:cubicBezTo>
                  <a:cubicBezTo>
                    <a:pt x="571" y="574"/>
                    <a:pt x="571" y="574"/>
                    <a:pt x="572" y="574"/>
                  </a:cubicBezTo>
                  <a:cubicBezTo>
                    <a:pt x="572" y="574"/>
                    <a:pt x="572" y="574"/>
                    <a:pt x="572" y="574"/>
                  </a:cubicBezTo>
                  <a:cubicBezTo>
                    <a:pt x="572" y="574"/>
                    <a:pt x="573" y="574"/>
                    <a:pt x="573" y="574"/>
                  </a:cubicBezTo>
                  <a:cubicBezTo>
                    <a:pt x="574" y="574"/>
                    <a:pt x="574" y="574"/>
                    <a:pt x="574" y="574"/>
                  </a:cubicBezTo>
                  <a:cubicBezTo>
                    <a:pt x="574" y="574"/>
                    <a:pt x="574" y="574"/>
                    <a:pt x="574" y="574"/>
                  </a:cubicBezTo>
                  <a:cubicBezTo>
                    <a:pt x="574" y="575"/>
                    <a:pt x="575" y="575"/>
                    <a:pt x="575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6" y="576"/>
                    <a:pt x="576" y="576"/>
                    <a:pt x="576" y="576"/>
                  </a:cubicBezTo>
                  <a:cubicBezTo>
                    <a:pt x="577" y="576"/>
                    <a:pt x="577" y="577"/>
                    <a:pt x="578" y="577"/>
                  </a:cubicBezTo>
                  <a:cubicBezTo>
                    <a:pt x="578" y="577"/>
                    <a:pt x="579" y="577"/>
                    <a:pt x="580" y="575"/>
                  </a:cubicBezTo>
                  <a:cubicBezTo>
                    <a:pt x="580" y="575"/>
                    <a:pt x="580" y="575"/>
                    <a:pt x="581" y="574"/>
                  </a:cubicBezTo>
                  <a:cubicBezTo>
                    <a:pt x="581" y="574"/>
                    <a:pt x="581" y="575"/>
                    <a:pt x="581" y="575"/>
                  </a:cubicBezTo>
                  <a:cubicBezTo>
                    <a:pt x="581" y="575"/>
                    <a:pt x="582" y="576"/>
                    <a:pt x="583" y="576"/>
                  </a:cubicBezTo>
                  <a:cubicBezTo>
                    <a:pt x="583" y="576"/>
                    <a:pt x="584" y="575"/>
                    <a:pt x="585" y="575"/>
                  </a:cubicBezTo>
                  <a:cubicBezTo>
                    <a:pt x="585" y="575"/>
                    <a:pt x="586" y="575"/>
                    <a:pt x="586" y="574"/>
                  </a:cubicBezTo>
                  <a:cubicBezTo>
                    <a:pt x="587" y="574"/>
                    <a:pt x="587" y="574"/>
                    <a:pt x="587" y="574"/>
                  </a:cubicBezTo>
                  <a:cubicBezTo>
                    <a:pt x="587" y="574"/>
                    <a:pt x="587" y="574"/>
                    <a:pt x="587" y="574"/>
                  </a:cubicBezTo>
                  <a:cubicBezTo>
                    <a:pt x="589" y="574"/>
                    <a:pt x="589" y="573"/>
                    <a:pt x="590" y="572"/>
                  </a:cubicBezTo>
                  <a:cubicBezTo>
                    <a:pt x="590" y="572"/>
                    <a:pt x="590" y="572"/>
                    <a:pt x="590" y="571"/>
                  </a:cubicBezTo>
                  <a:cubicBezTo>
                    <a:pt x="591" y="571"/>
                    <a:pt x="591" y="571"/>
                    <a:pt x="591" y="571"/>
                  </a:cubicBezTo>
                  <a:cubicBezTo>
                    <a:pt x="591" y="570"/>
                    <a:pt x="591" y="570"/>
                    <a:pt x="591" y="570"/>
                  </a:cubicBezTo>
                  <a:cubicBezTo>
                    <a:pt x="592" y="570"/>
                    <a:pt x="592" y="570"/>
                    <a:pt x="593" y="570"/>
                  </a:cubicBezTo>
                  <a:cubicBezTo>
                    <a:pt x="594" y="570"/>
                    <a:pt x="594" y="570"/>
                    <a:pt x="594" y="570"/>
                  </a:cubicBezTo>
                  <a:cubicBezTo>
                    <a:pt x="594" y="570"/>
                    <a:pt x="595" y="576"/>
                    <a:pt x="595" y="579"/>
                  </a:cubicBezTo>
                  <a:cubicBezTo>
                    <a:pt x="596" y="581"/>
                    <a:pt x="597" y="582"/>
                    <a:pt x="600" y="582"/>
                  </a:cubicBezTo>
                  <a:cubicBezTo>
                    <a:pt x="600" y="582"/>
                    <a:pt x="600" y="582"/>
                    <a:pt x="600" y="582"/>
                  </a:cubicBezTo>
                  <a:cubicBezTo>
                    <a:pt x="600" y="582"/>
                    <a:pt x="600" y="582"/>
                    <a:pt x="600" y="582"/>
                  </a:cubicBezTo>
                  <a:cubicBezTo>
                    <a:pt x="601" y="583"/>
                    <a:pt x="601" y="584"/>
                    <a:pt x="602" y="584"/>
                  </a:cubicBezTo>
                  <a:cubicBezTo>
                    <a:pt x="602" y="584"/>
                    <a:pt x="603" y="584"/>
                    <a:pt x="603" y="584"/>
                  </a:cubicBezTo>
                  <a:cubicBezTo>
                    <a:pt x="603" y="584"/>
                    <a:pt x="603" y="585"/>
                    <a:pt x="604" y="585"/>
                  </a:cubicBezTo>
                  <a:cubicBezTo>
                    <a:pt x="605" y="585"/>
                    <a:pt x="606" y="585"/>
                    <a:pt x="607" y="585"/>
                  </a:cubicBezTo>
                  <a:cubicBezTo>
                    <a:pt x="607" y="585"/>
                    <a:pt x="607" y="585"/>
                    <a:pt x="607" y="585"/>
                  </a:cubicBezTo>
                  <a:cubicBezTo>
                    <a:pt x="608" y="585"/>
                    <a:pt x="609" y="585"/>
                    <a:pt x="609" y="585"/>
                  </a:cubicBezTo>
                  <a:cubicBezTo>
                    <a:pt x="609" y="586"/>
                    <a:pt x="611" y="587"/>
                    <a:pt x="612" y="587"/>
                  </a:cubicBezTo>
                  <a:cubicBezTo>
                    <a:pt x="613" y="587"/>
                    <a:pt x="614" y="586"/>
                    <a:pt x="614" y="586"/>
                  </a:cubicBezTo>
                  <a:cubicBezTo>
                    <a:pt x="615" y="586"/>
                    <a:pt x="615" y="586"/>
                    <a:pt x="616" y="587"/>
                  </a:cubicBezTo>
                  <a:cubicBezTo>
                    <a:pt x="616" y="587"/>
                    <a:pt x="617" y="587"/>
                    <a:pt x="618" y="587"/>
                  </a:cubicBezTo>
                  <a:cubicBezTo>
                    <a:pt x="618" y="587"/>
                    <a:pt x="618" y="587"/>
                    <a:pt x="619" y="587"/>
                  </a:cubicBezTo>
                  <a:cubicBezTo>
                    <a:pt x="619" y="587"/>
                    <a:pt x="619" y="587"/>
                    <a:pt x="619" y="587"/>
                  </a:cubicBezTo>
                  <a:cubicBezTo>
                    <a:pt x="620" y="588"/>
                    <a:pt x="622" y="588"/>
                    <a:pt x="623" y="587"/>
                  </a:cubicBezTo>
                  <a:cubicBezTo>
                    <a:pt x="623" y="587"/>
                    <a:pt x="623" y="587"/>
                    <a:pt x="623" y="587"/>
                  </a:cubicBezTo>
                  <a:cubicBezTo>
                    <a:pt x="624" y="588"/>
                    <a:pt x="624" y="588"/>
                    <a:pt x="625" y="588"/>
                  </a:cubicBezTo>
                  <a:cubicBezTo>
                    <a:pt x="626" y="589"/>
                    <a:pt x="626" y="589"/>
                    <a:pt x="626" y="589"/>
                  </a:cubicBezTo>
                  <a:cubicBezTo>
                    <a:pt x="627" y="589"/>
                    <a:pt x="627" y="589"/>
                    <a:pt x="628" y="590"/>
                  </a:cubicBezTo>
                  <a:cubicBezTo>
                    <a:pt x="629" y="590"/>
                    <a:pt x="630" y="591"/>
                    <a:pt x="631" y="591"/>
                  </a:cubicBezTo>
                  <a:cubicBezTo>
                    <a:pt x="631" y="591"/>
                    <a:pt x="632" y="591"/>
                    <a:pt x="632" y="590"/>
                  </a:cubicBezTo>
                  <a:cubicBezTo>
                    <a:pt x="632" y="591"/>
                    <a:pt x="633" y="591"/>
                    <a:pt x="633" y="591"/>
                  </a:cubicBezTo>
                  <a:cubicBezTo>
                    <a:pt x="635" y="591"/>
                    <a:pt x="637" y="589"/>
                    <a:pt x="638" y="588"/>
                  </a:cubicBezTo>
                  <a:cubicBezTo>
                    <a:pt x="638" y="588"/>
                    <a:pt x="638" y="588"/>
                    <a:pt x="639" y="588"/>
                  </a:cubicBezTo>
                  <a:cubicBezTo>
                    <a:pt x="639" y="588"/>
                    <a:pt x="640" y="588"/>
                    <a:pt x="640" y="588"/>
                  </a:cubicBezTo>
                  <a:cubicBezTo>
                    <a:pt x="641" y="589"/>
                    <a:pt x="643" y="589"/>
                    <a:pt x="644" y="589"/>
                  </a:cubicBezTo>
                  <a:cubicBezTo>
                    <a:pt x="645" y="589"/>
                    <a:pt x="645" y="589"/>
                    <a:pt x="645" y="589"/>
                  </a:cubicBezTo>
                  <a:cubicBezTo>
                    <a:pt x="646" y="589"/>
                    <a:pt x="647" y="589"/>
                    <a:pt x="648" y="587"/>
                  </a:cubicBezTo>
                  <a:cubicBezTo>
                    <a:pt x="648" y="587"/>
                    <a:pt x="648" y="587"/>
                    <a:pt x="648" y="587"/>
                  </a:cubicBezTo>
                  <a:cubicBezTo>
                    <a:pt x="649" y="587"/>
                    <a:pt x="650" y="587"/>
                    <a:pt x="651" y="587"/>
                  </a:cubicBezTo>
                  <a:cubicBezTo>
                    <a:pt x="651" y="587"/>
                    <a:pt x="651" y="587"/>
                    <a:pt x="651" y="587"/>
                  </a:cubicBezTo>
                  <a:cubicBezTo>
                    <a:pt x="652" y="587"/>
                    <a:pt x="652" y="588"/>
                    <a:pt x="652" y="588"/>
                  </a:cubicBezTo>
                  <a:cubicBezTo>
                    <a:pt x="652" y="588"/>
                    <a:pt x="653" y="588"/>
                    <a:pt x="655" y="588"/>
                  </a:cubicBezTo>
                  <a:cubicBezTo>
                    <a:pt x="655" y="588"/>
                    <a:pt x="656" y="588"/>
                    <a:pt x="657" y="588"/>
                  </a:cubicBezTo>
                  <a:cubicBezTo>
                    <a:pt x="657" y="587"/>
                    <a:pt x="658" y="587"/>
                    <a:pt x="658" y="587"/>
                  </a:cubicBezTo>
                  <a:cubicBezTo>
                    <a:pt x="659" y="587"/>
                    <a:pt x="659" y="587"/>
                    <a:pt x="659" y="587"/>
                  </a:cubicBezTo>
                  <a:cubicBezTo>
                    <a:pt x="660" y="587"/>
                    <a:pt x="662" y="587"/>
                    <a:pt x="664" y="586"/>
                  </a:cubicBezTo>
                  <a:cubicBezTo>
                    <a:pt x="665" y="586"/>
                    <a:pt x="668" y="586"/>
                    <a:pt x="669" y="586"/>
                  </a:cubicBezTo>
                  <a:cubicBezTo>
                    <a:pt x="670" y="586"/>
                    <a:pt x="670" y="586"/>
                    <a:pt x="670" y="586"/>
                  </a:cubicBezTo>
                  <a:cubicBezTo>
                    <a:pt x="670" y="586"/>
                    <a:pt x="670" y="586"/>
                    <a:pt x="670" y="586"/>
                  </a:cubicBezTo>
                  <a:cubicBezTo>
                    <a:pt x="670" y="587"/>
                    <a:pt x="670" y="587"/>
                    <a:pt x="671" y="588"/>
                  </a:cubicBezTo>
                  <a:cubicBezTo>
                    <a:pt x="671" y="588"/>
                    <a:pt x="671" y="588"/>
                    <a:pt x="671" y="589"/>
                  </a:cubicBezTo>
                  <a:cubicBezTo>
                    <a:pt x="671" y="589"/>
                    <a:pt x="670" y="589"/>
                    <a:pt x="670" y="589"/>
                  </a:cubicBezTo>
                  <a:cubicBezTo>
                    <a:pt x="670" y="590"/>
                    <a:pt x="670" y="591"/>
                    <a:pt x="670" y="591"/>
                  </a:cubicBezTo>
                  <a:cubicBezTo>
                    <a:pt x="671" y="592"/>
                    <a:pt x="672" y="592"/>
                    <a:pt x="672" y="592"/>
                  </a:cubicBezTo>
                  <a:cubicBezTo>
                    <a:pt x="673" y="592"/>
                    <a:pt x="673" y="592"/>
                    <a:pt x="673" y="592"/>
                  </a:cubicBezTo>
                  <a:cubicBezTo>
                    <a:pt x="675" y="592"/>
                    <a:pt x="676" y="592"/>
                    <a:pt x="677" y="593"/>
                  </a:cubicBezTo>
                  <a:cubicBezTo>
                    <a:pt x="677" y="592"/>
                    <a:pt x="677" y="592"/>
                    <a:pt x="677" y="592"/>
                  </a:cubicBezTo>
                  <a:cubicBezTo>
                    <a:pt x="677" y="593"/>
                    <a:pt x="677" y="593"/>
                    <a:pt x="677" y="593"/>
                  </a:cubicBezTo>
                  <a:cubicBezTo>
                    <a:pt x="677" y="593"/>
                    <a:pt x="677" y="593"/>
                    <a:pt x="677" y="593"/>
                  </a:cubicBezTo>
                  <a:cubicBezTo>
                    <a:pt x="676" y="593"/>
                    <a:pt x="676" y="594"/>
                    <a:pt x="677" y="595"/>
                  </a:cubicBezTo>
                  <a:cubicBezTo>
                    <a:pt x="676" y="596"/>
                    <a:pt x="676" y="596"/>
                    <a:pt x="676" y="596"/>
                  </a:cubicBezTo>
                  <a:cubicBezTo>
                    <a:pt x="676" y="596"/>
                    <a:pt x="676" y="597"/>
                    <a:pt x="677" y="598"/>
                  </a:cubicBezTo>
                  <a:cubicBezTo>
                    <a:pt x="677" y="600"/>
                    <a:pt x="678" y="602"/>
                    <a:pt x="680" y="602"/>
                  </a:cubicBezTo>
                  <a:cubicBezTo>
                    <a:pt x="681" y="602"/>
                    <a:pt x="681" y="602"/>
                    <a:pt x="681" y="602"/>
                  </a:cubicBezTo>
                  <a:cubicBezTo>
                    <a:pt x="681" y="602"/>
                    <a:pt x="681" y="602"/>
                    <a:pt x="682" y="602"/>
                  </a:cubicBezTo>
                  <a:cubicBezTo>
                    <a:pt x="682" y="603"/>
                    <a:pt x="682" y="603"/>
                    <a:pt x="683" y="603"/>
                  </a:cubicBezTo>
                  <a:cubicBezTo>
                    <a:pt x="681" y="604"/>
                    <a:pt x="681" y="604"/>
                    <a:pt x="681" y="604"/>
                  </a:cubicBezTo>
                  <a:cubicBezTo>
                    <a:pt x="686" y="603"/>
                    <a:pt x="686" y="603"/>
                    <a:pt x="686" y="603"/>
                  </a:cubicBezTo>
                  <a:cubicBezTo>
                    <a:pt x="685" y="605"/>
                    <a:pt x="686" y="605"/>
                    <a:pt x="686" y="606"/>
                  </a:cubicBezTo>
                  <a:cubicBezTo>
                    <a:pt x="687" y="606"/>
                    <a:pt x="687" y="607"/>
                    <a:pt x="687" y="608"/>
                  </a:cubicBezTo>
                  <a:cubicBezTo>
                    <a:pt x="688" y="609"/>
                    <a:pt x="688" y="610"/>
                    <a:pt x="690" y="610"/>
                  </a:cubicBezTo>
                  <a:cubicBezTo>
                    <a:pt x="690" y="610"/>
                    <a:pt x="690" y="610"/>
                    <a:pt x="690" y="610"/>
                  </a:cubicBezTo>
                  <a:cubicBezTo>
                    <a:pt x="691" y="611"/>
                    <a:pt x="691" y="611"/>
                    <a:pt x="691" y="611"/>
                  </a:cubicBezTo>
                  <a:cubicBezTo>
                    <a:pt x="692" y="612"/>
                    <a:pt x="694" y="612"/>
                    <a:pt x="695" y="612"/>
                  </a:cubicBezTo>
                  <a:cubicBezTo>
                    <a:pt x="695" y="612"/>
                    <a:pt x="696" y="612"/>
                    <a:pt x="696" y="612"/>
                  </a:cubicBezTo>
                  <a:cubicBezTo>
                    <a:pt x="696" y="612"/>
                    <a:pt x="696" y="612"/>
                    <a:pt x="697" y="612"/>
                  </a:cubicBezTo>
                  <a:cubicBezTo>
                    <a:pt x="697" y="612"/>
                    <a:pt x="698" y="611"/>
                    <a:pt x="698" y="611"/>
                  </a:cubicBezTo>
                  <a:cubicBezTo>
                    <a:pt x="699" y="611"/>
                    <a:pt x="700" y="611"/>
                    <a:pt x="700" y="611"/>
                  </a:cubicBezTo>
                  <a:cubicBezTo>
                    <a:pt x="700" y="611"/>
                    <a:pt x="700" y="611"/>
                    <a:pt x="700" y="611"/>
                  </a:cubicBezTo>
                  <a:cubicBezTo>
                    <a:pt x="700" y="611"/>
                    <a:pt x="700" y="611"/>
                    <a:pt x="700" y="612"/>
                  </a:cubicBezTo>
                  <a:cubicBezTo>
                    <a:pt x="700" y="612"/>
                    <a:pt x="700" y="612"/>
                    <a:pt x="700" y="612"/>
                  </a:cubicBezTo>
                  <a:cubicBezTo>
                    <a:pt x="699" y="612"/>
                    <a:pt x="699" y="613"/>
                    <a:pt x="698" y="613"/>
                  </a:cubicBezTo>
                  <a:cubicBezTo>
                    <a:pt x="698" y="613"/>
                    <a:pt x="698" y="614"/>
                    <a:pt x="697" y="614"/>
                  </a:cubicBezTo>
                  <a:cubicBezTo>
                    <a:pt x="697" y="614"/>
                    <a:pt x="697" y="614"/>
                    <a:pt x="697" y="614"/>
                  </a:cubicBezTo>
                  <a:cubicBezTo>
                    <a:pt x="697" y="614"/>
                    <a:pt x="697" y="614"/>
                    <a:pt x="697" y="614"/>
                  </a:cubicBezTo>
                  <a:cubicBezTo>
                    <a:pt x="696" y="614"/>
                    <a:pt x="696" y="614"/>
                    <a:pt x="695" y="615"/>
                  </a:cubicBezTo>
                  <a:cubicBezTo>
                    <a:pt x="694" y="614"/>
                    <a:pt x="694" y="614"/>
                    <a:pt x="694" y="613"/>
                  </a:cubicBezTo>
                  <a:cubicBezTo>
                    <a:pt x="694" y="613"/>
                    <a:pt x="693" y="612"/>
                    <a:pt x="692" y="612"/>
                  </a:cubicBezTo>
                  <a:cubicBezTo>
                    <a:pt x="691" y="612"/>
                    <a:pt x="691" y="614"/>
                    <a:pt x="690" y="616"/>
                  </a:cubicBezTo>
                  <a:cubicBezTo>
                    <a:pt x="690" y="619"/>
                    <a:pt x="694" y="621"/>
                    <a:pt x="694" y="621"/>
                  </a:cubicBezTo>
                  <a:cubicBezTo>
                    <a:pt x="694" y="621"/>
                    <a:pt x="694" y="621"/>
                    <a:pt x="695" y="622"/>
                  </a:cubicBezTo>
                  <a:cubicBezTo>
                    <a:pt x="695" y="622"/>
                    <a:pt x="695" y="623"/>
                    <a:pt x="696" y="623"/>
                  </a:cubicBezTo>
                  <a:cubicBezTo>
                    <a:pt x="696" y="623"/>
                    <a:pt x="696" y="624"/>
                    <a:pt x="697" y="624"/>
                  </a:cubicBezTo>
                  <a:cubicBezTo>
                    <a:pt x="697" y="625"/>
                    <a:pt x="697" y="625"/>
                    <a:pt x="698" y="625"/>
                  </a:cubicBezTo>
                  <a:cubicBezTo>
                    <a:pt x="698" y="626"/>
                    <a:pt x="699" y="627"/>
                    <a:pt x="700" y="628"/>
                  </a:cubicBezTo>
                  <a:cubicBezTo>
                    <a:pt x="701" y="628"/>
                    <a:pt x="701" y="628"/>
                    <a:pt x="701" y="628"/>
                  </a:cubicBezTo>
                  <a:cubicBezTo>
                    <a:pt x="701" y="629"/>
                    <a:pt x="701" y="629"/>
                    <a:pt x="701" y="629"/>
                  </a:cubicBezTo>
                  <a:cubicBezTo>
                    <a:pt x="702" y="630"/>
                    <a:pt x="703" y="630"/>
                    <a:pt x="704" y="632"/>
                  </a:cubicBezTo>
                  <a:cubicBezTo>
                    <a:pt x="705" y="633"/>
                    <a:pt x="706" y="633"/>
                    <a:pt x="707" y="633"/>
                  </a:cubicBezTo>
                  <a:cubicBezTo>
                    <a:pt x="709" y="633"/>
                    <a:pt x="711" y="632"/>
                    <a:pt x="711" y="632"/>
                  </a:cubicBezTo>
                  <a:cubicBezTo>
                    <a:pt x="712" y="631"/>
                    <a:pt x="715" y="629"/>
                    <a:pt x="716" y="628"/>
                  </a:cubicBezTo>
                  <a:cubicBezTo>
                    <a:pt x="718" y="628"/>
                    <a:pt x="719" y="627"/>
                    <a:pt x="719" y="625"/>
                  </a:cubicBezTo>
                  <a:cubicBezTo>
                    <a:pt x="719" y="625"/>
                    <a:pt x="719" y="624"/>
                    <a:pt x="720" y="624"/>
                  </a:cubicBezTo>
                  <a:cubicBezTo>
                    <a:pt x="720" y="623"/>
                    <a:pt x="720" y="622"/>
                    <a:pt x="720" y="621"/>
                  </a:cubicBezTo>
                  <a:cubicBezTo>
                    <a:pt x="720" y="622"/>
                    <a:pt x="721" y="622"/>
                    <a:pt x="721" y="622"/>
                  </a:cubicBezTo>
                  <a:cubicBezTo>
                    <a:pt x="721" y="622"/>
                    <a:pt x="721" y="622"/>
                    <a:pt x="721" y="622"/>
                  </a:cubicBezTo>
                  <a:cubicBezTo>
                    <a:pt x="720" y="624"/>
                    <a:pt x="721" y="626"/>
                    <a:pt x="722" y="628"/>
                  </a:cubicBezTo>
                  <a:cubicBezTo>
                    <a:pt x="722" y="628"/>
                    <a:pt x="722" y="629"/>
                    <a:pt x="722" y="629"/>
                  </a:cubicBezTo>
                  <a:cubicBezTo>
                    <a:pt x="723" y="630"/>
                    <a:pt x="723" y="632"/>
                    <a:pt x="723" y="633"/>
                  </a:cubicBezTo>
                  <a:cubicBezTo>
                    <a:pt x="723" y="633"/>
                    <a:pt x="723" y="634"/>
                    <a:pt x="723" y="636"/>
                  </a:cubicBezTo>
                  <a:cubicBezTo>
                    <a:pt x="723" y="637"/>
                    <a:pt x="723" y="639"/>
                    <a:pt x="723" y="639"/>
                  </a:cubicBezTo>
                  <a:cubicBezTo>
                    <a:pt x="723" y="640"/>
                    <a:pt x="723" y="640"/>
                    <a:pt x="723" y="642"/>
                  </a:cubicBezTo>
                  <a:cubicBezTo>
                    <a:pt x="723" y="643"/>
                    <a:pt x="723" y="644"/>
                    <a:pt x="723" y="645"/>
                  </a:cubicBezTo>
                  <a:cubicBezTo>
                    <a:pt x="723" y="646"/>
                    <a:pt x="723" y="647"/>
                    <a:pt x="723" y="648"/>
                  </a:cubicBezTo>
                  <a:cubicBezTo>
                    <a:pt x="724" y="648"/>
                    <a:pt x="725" y="649"/>
                    <a:pt x="726" y="649"/>
                  </a:cubicBezTo>
                  <a:cubicBezTo>
                    <a:pt x="726" y="649"/>
                    <a:pt x="726" y="649"/>
                    <a:pt x="726" y="649"/>
                  </a:cubicBezTo>
                  <a:cubicBezTo>
                    <a:pt x="726" y="649"/>
                    <a:pt x="726" y="649"/>
                    <a:pt x="726" y="649"/>
                  </a:cubicBezTo>
                  <a:cubicBezTo>
                    <a:pt x="724" y="651"/>
                    <a:pt x="725" y="653"/>
                    <a:pt x="726" y="654"/>
                  </a:cubicBezTo>
                  <a:cubicBezTo>
                    <a:pt x="726" y="655"/>
                    <a:pt x="726" y="655"/>
                    <a:pt x="726" y="655"/>
                  </a:cubicBezTo>
                  <a:cubicBezTo>
                    <a:pt x="725" y="656"/>
                    <a:pt x="726" y="657"/>
                    <a:pt x="726" y="657"/>
                  </a:cubicBezTo>
                  <a:cubicBezTo>
                    <a:pt x="726" y="657"/>
                    <a:pt x="726" y="658"/>
                    <a:pt x="726" y="658"/>
                  </a:cubicBezTo>
                  <a:cubicBezTo>
                    <a:pt x="726" y="659"/>
                    <a:pt x="726" y="659"/>
                    <a:pt x="726" y="659"/>
                  </a:cubicBezTo>
                  <a:cubicBezTo>
                    <a:pt x="726" y="659"/>
                    <a:pt x="727" y="660"/>
                    <a:pt x="727" y="661"/>
                  </a:cubicBezTo>
                  <a:cubicBezTo>
                    <a:pt x="728" y="661"/>
                    <a:pt x="728" y="662"/>
                    <a:pt x="728" y="662"/>
                  </a:cubicBezTo>
                  <a:cubicBezTo>
                    <a:pt x="729" y="662"/>
                    <a:pt x="729" y="663"/>
                    <a:pt x="728" y="663"/>
                  </a:cubicBezTo>
                  <a:cubicBezTo>
                    <a:pt x="728" y="664"/>
                    <a:pt x="728" y="664"/>
                    <a:pt x="728" y="664"/>
                  </a:cubicBezTo>
                  <a:cubicBezTo>
                    <a:pt x="728" y="665"/>
                    <a:pt x="728" y="666"/>
                    <a:pt x="729" y="667"/>
                  </a:cubicBezTo>
                  <a:cubicBezTo>
                    <a:pt x="729" y="669"/>
                    <a:pt x="729" y="671"/>
                    <a:pt x="730" y="673"/>
                  </a:cubicBezTo>
                  <a:cubicBezTo>
                    <a:pt x="730" y="673"/>
                    <a:pt x="730" y="673"/>
                    <a:pt x="730" y="673"/>
                  </a:cubicBezTo>
                  <a:cubicBezTo>
                    <a:pt x="730" y="675"/>
                    <a:pt x="731" y="677"/>
                    <a:pt x="732" y="677"/>
                  </a:cubicBezTo>
                  <a:cubicBezTo>
                    <a:pt x="732" y="677"/>
                    <a:pt x="732" y="677"/>
                    <a:pt x="732" y="677"/>
                  </a:cubicBezTo>
                  <a:cubicBezTo>
                    <a:pt x="732" y="678"/>
                    <a:pt x="732" y="678"/>
                    <a:pt x="732" y="678"/>
                  </a:cubicBezTo>
                  <a:cubicBezTo>
                    <a:pt x="732" y="679"/>
                    <a:pt x="733" y="680"/>
                    <a:pt x="734" y="681"/>
                  </a:cubicBezTo>
                  <a:cubicBezTo>
                    <a:pt x="734" y="682"/>
                    <a:pt x="734" y="682"/>
                    <a:pt x="734" y="682"/>
                  </a:cubicBezTo>
                  <a:cubicBezTo>
                    <a:pt x="734" y="685"/>
                    <a:pt x="735" y="685"/>
                    <a:pt x="736" y="686"/>
                  </a:cubicBezTo>
                  <a:cubicBezTo>
                    <a:pt x="736" y="686"/>
                    <a:pt x="736" y="686"/>
                    <a:pt x="736" y="686"/>
                  </a:cubicBezTo>
                  <a:cubicBezTo>
                    <a:pt x="736" y="687"/>
                    <a:pt x="737" y="687"/>
                    <a:pt x="737" y="688"/>
                  </a:cubicBezTo>
                  <a:cubicBezTo>
                    <a:pt x="737" y="688"/>
                    <a:pt x="738" y="689"/>
                    <a:pt x="738" y="690"/>
                  </a:cubicBezTo>
                  <a:cubicBezTo>
                    <a:pt x="738" y="691"/>
                    <a:pt x="738" y="692"/>
                    <a:pt x="740" y="693"/>
                  </a:cubicBezTo>
                  <a:cubicBezTo>
                    <a:pt x="740" y="693"/>
                    <a:pt x="740" y="693"/>
                    <a:pt x="740" y="694"/>
                  </a:cubicBezTo>
                  <a:cubicBezTo>
                    <a:pt x="740" y="694"/>
                    <a:pt x="740" y="694"/>
                    <a:pt x="740" y="694"/>
                  </a:cubicBezTo>
                  <a:cubicBezTo>
                    <a:pt x="739" y="696"/>
                    <a:pt x="740" y="696"/>
                    <a:pt x="741" y="697"/>
                  </a:cubicBezTo>
                  <a:cubicBezTo>
                    <a:pt x="741" y="697"/>
                    <a:pt x="741" y="698"/>
                    <a:pt x="741" y="698"/>
                  </a:cubicBezTo>
                  <a:cubicBezTo>
                    <a:pt x="741" y="699"/>
                    <a:pt x="741" y="699"/>
                    <a:pt x="741" y="699"/>
                  </a:cubicBezTo>
                  <a:cubicBezTo>
                    <a:pt x="741" y="700"/>
                    <a:pt x="742" y="701"/>
                    <a:pt x="742" y="702"/>
                  </a:cubicBezTo>
                  <a:cubicBezTo>
                    <a:pt x="742" y="702"/>
                    <a:pt x="742" y="702"/>
                    <a:pt x="742" y="702"/>
                  </a:cubicBezTo>
                  <a:cubicBezTo>
                    <a:pt x="742" y="702"/>
                    <a:pt x="742" y="702"/>
                    <a:pt x="742" y="703"/>
                  </a:cubicBezTo>
                  <a:cubicBezTo>
                    <a:pt x="742" y="704"/>
                    <a:pt x="743" y="705"/>
                    <a:pt x="743" y="706"/>
                  </a:cubicBezTo>
                  <a:cubicBezTo>
                    <a:pt x="743" y="707"/>
                    <a:pt x="743" y="708"/>
                    <a:pt x="744" y="709"/>
                  </a:cubicBezTo>
                  <a:cubicBezTo>
                    <a:pt x="744" y="709"/>
                    <a:pt x="744" y="710"/>
                    <a:pt x="744" y="710"/>
                  </a:cubicBezTo>
                  <a:cubicBezTo>
                    <a:pt x="744" y="710"/>
                    <a:pt x="744" y="711"/>
                    <a:pt x="744" y="711"/>
                  </a:cubicBezTo>
                  <a:cubicBezTo>
                    <a:pt x="745" y="712"/>
                    <a:pt x="745" y="714"/>
                    <a:pt x="745" y="715"/>
                  </a:cubicBezTo>
                  <a:cubicBezTo>
                    <a:pt x="746" y="716"/>
                    <a:pt x="747" y="717"/>
                    <a:pt x="748" y="717"/>
                  </a:cubicBezTo>
                  <a:cubicBezTo>
                    <a:pt x="748" y="717"/>
                    <a:pt x="748" y="717"/>
                    <a:pt x="748" y="717"/>
                  </a:cubicBezTo>
                  <a:cubicBezTo>
                    <a:pt x="748" y="718"/>
                    <a:pt x="748" y="718"/>
                    <a:pt x="748" y="718"/>
                  </a:cubicBezTo>
                  <a:cubicBezTo>
                    <a:pt x="747" y="720"/>
                    <a:pt x="749" y="721"/>
                    <a:pt x="750" y="721"/>
                  </a:cubicBezTo>
                  <a:cubicBezTo>
                    <a:pt x="750" y="722"/>
                    <a:pt x="750" y="722"/>
                    <a:pt x="750" y="722"/>
                  </a:cubicBezTo>
                  <a:cubicBezTo>
                    <a:pt x="750" y="724"/>
                    <a:pt x="751" y="725"/>
                    <a:pt x="752" y="725"/>
                  </a:cubicBezTo>
                  <a:cubicBezTo>
                    <a:pt x="752" y="726"/>
                    <a:pt x="752" y="726"/>
                    <a:pt x="752" y="726"/>
                  </a:cubicBezTo>
                  <a:cubicBezTo>
                    <a:pt x="752" y="727"/>
                    <a:pt x="752" y="727"/>
                    <a:pt x="752" y="727"/>
                  </a:cubicBezTo>
                  <a:cubicBezTo>
                    <a:pt x="752" y="728"/>
                    <a:pt x="753" y="729"/>
                    <a:pt x="754" y="730"/>
                  </a:cubicBezTo>
                  <a:cubicBezTo>
                    <a:pt x="754" y="730"/>
                    <a:pt x="754" y="730"/>
                    <a:pt x="754" y="730"/>
                  </a:cubicBezTo>
                  <a:cubicBezTo>
                    <a:pt x="754" y="731"/>
                    <a:pt x="754" y="731"/>
                    <a:pt x="754" y="731"/>
                  </a:cubicBezTo>
                  <a:cubicBezTo>
                    <a:pt x="755" y="731"/>
                    <a:pt x="755" y="732"/>
                    <a:pt x="755" y="733"/>
                  </a:cubicBezTo>
                  <a:cubicBezTo>
                    <a:pt x="755" y="733"/>
                    <a:pt x="755" y="734"/>
                    <a:pt x="755" y="734"/>
                  </a:cubicBezTo>
                  <a:cubicBezTo>
                    <a:pt x="755" y="735"/>
                    <a:pt x="755" y="735"/>
                    <a:pt x="756" y="736"/>
                  </a:cubicBezTo>
                  <a:cubicBezTo>
                    <a:pt x="756" y="737"/>
                    <a:pt x="756" y="737"/>
                    <a:pt x="756" y="738"/>
                  </a:cubicBezTo>
                  <a:cubicBezTo>
                    <a:pt x="756" y="740"/>
                    <a:pt x="756" y="740"/>
                    <a:pt x="757" y="741"/>
                  </a:cubicBezTo>
                  <a:cubicBezTo>
                    <a:pt x="757" y="742"/>
                    <a:pt x="758" y="743"/>
                    <a:pt x="758" y="744"/>
                  </a:cubicBezTo>
                  <a:cubicBezTo>
                    <a:pt x="758" y="744"/>
                    <a:pt x="758" y="745"/>
                    <a:pt x="758" y="745"/>
                  </a:cubicBezTo>
                  <a:cubicBezTo>
                    <a:pt x="758" y="747"/>
                    <a:pt x="759" y="747"/>
                    <a:pt x="760" y="748"/>
                  </a:cubicBezTo>
                  <a:cubicBezTo>
                    <a:pt x="759" y="748"/>
                    <a:pt x="759" y="749"/>
                    <a:pt x="761" y="751"/>
                  </a:cubicBezTo>
                  <a:cubicBezTo>
                    <a:pt x="761" y="751"/>
                    <a:pt x="762" y="751"/>
                    <a:pt x="762" y="752"/>
                  </a:cubicBezTo>
                  <a:cubicBezTo>
                    <a:pt x="762" y="754"/>
                    <a:pt x="764" y="755"/>
                    <a:pt x="766" y="757"/>
                  </a:cubicBezTo>
                  <a:cubicBezTo>
                    <a:pt x="767" y="758"/>
                    <a:pt x="768" y="758"/>
                    <a:pt x="769" y="758"/>
                  </a:cubicBezTo>
                  <a:cubicBezTo>
                    <a:pt x="771" y="758"/>
                    <a:pt x="772" y="757"/>
                    <a:pt x="772" y="756"/>
                  </a:cubicBezTo>
                  <a:cubicBezTo>
                    <a:pt x="772" y="756"/>
                    <a:pt x="773" y="755"/>
                    <a:pt x="774" y="754"/>
                  </a:cubicBezTo>
                  <a:cubicBezTo>
                    <a:pt x="776" y="753"/>
                    <a:pt x="776" y="751"/>
                    <a:pt x="776" y="748"/>
                  </a:cubicBezTo>
                  <a:cubicBezTo>
                    <a:pt x="776" y="747"/>
                    <a:pt x="776" y="747"/>
                    <a:pt x="776" y="747"/>
                  </a:cubicBezTo>
                  <a:cubicBezTo>
                    <a:pt x="776" y="747"/>
                    <a:pt x="777" y="747"/>
                    <a:pt x="780" y="747"/>
                  </a:cubicBezTo>
                  <a:cubicBezTo>
                    <a:pt x="782" y="747"/>
                    <a:pt x="782" y="747"/>
                    <a:pt x="782" y="747"/>
                  </a:cubicBezTo>
                  <a:cubicBezTo>
                    <a:pt x="783" y="747"/>
                    <a:pt x="783" y="747"/>
                    <a:pt x="783" y="747"/>
                  </a:cubicBezTo>
                  <a:cubicBezTo>
                    <a:pt x="783" y="747"/>
                    <a:pt x="783" y="747"/>
                    <a:pt x="783" y="747"/>
                  </a:cubicBezTo>
                  <a:cubicBezTo>
                    <a:pt x="784" y="747"/>
                    <a:pt x="785" y="747"/>
                    <a:pt x="785" y="746"/>
                  </a:cubicBezTo>
                  <a:cubicBezTo>
                    <a:pt x="785" y="745"/>
                    <a:pt x="785" y="744"/>
                    <a:pt x="784" y="743"/>
                  </a:cubicBezTo>
                  <a:cubicBezTo>
                    <a:pt x="783" y="743"/>
                    <a:pt x="783" y="743"/>
                    <a:pt x="782" y="742"/>
                  </a:cubicBezTo>
                  <a:cubicBezTo>
                    <a:pt x="782" y="742"/>
                    <a:pt x="782" y="742"/>
                    <a:pt x="782" y="741"/>
                  </a:cubicBezTo>
                  <a:cubicBezTo>
                    <a:pt x="782" y="741"/>
                    <a:pt x="783" y="740"/>
                    <a:pt x="783" y="739"/>
                  </a:cubicBezTo>
                  <a:cubicBezTo>
                    <a:pt x="782" y="738"/>
                    <a:pt x="782" y="738"/>
                    <a:pt x="782" y="738"/>
                  </a:cubicBezTo>
                  <a:cubicBezTo>
                    <a:pt x="782" y="738"/>
                    <a:pt x="782" y="738"/>
                    <a:pt x="782" y="738"/>
                  </a:cubicBezTo>
                  <a:cubicBezTo>
                    <a:pt x="783" y="739"/>
                    <a:pt x="783" y="739"/>
                    <a:pt x="783" y="739"/>
                  </a:cubicBezTo>
                  <a:cubicBezTo>
                    <a:pt x="784" y="738"/>
                    <a:pt x="785" y="738"/>
                    <a:pt x="784" y="736"/>
                  </a:cubicBezTo>
                  <a:cubicBezTo>
                    <a:pt x="784" y="736"/>
                    <a:pt x="785" y="736"/>
                    <a:pt x="786" y="736"/>
                  </a:cubicBezTo>
                  <a:cubicBezTo>
                    <a:pt x="787" y="736"/>
                    <a:pt x="789" y="735"/>
                    <a:pt x="789" y="733"/>
                  </a:cubicBezTo>
                  <a:cubicBezTo>
                    <a:pt x="790" y="732"/>
                    <a:pt x="789" y="731"/>
                    <a:pt x="788" y="730"/>
                  </a:cubicBezTo>
                  <a:cubicBezTo>
                    <a:pt x="788" y="730"/>
                    <a:pt x="789" y="729"/>
                    <a:pt x="789" y="727"/>
                  </a:cubicBezTo>
                  <a:cubicBezTo>
                    <a:pt x="789" y="726"/>
                    <a:pt x="789" y="726"/>
                    <a:pt x="789" y="726"/>
                  </a:cubicBezTo>
                  <a:cubicBezTo>
                    <a:pt x="790" y="725"/>
                    <a:pt x="789" y="723"/>
                    <a:pt x="788" y="722"/>
                  </a:cubicBezTo>
                  <a:cubicBezTo>
                    <a:pt x="788" y="722"/>
                    <a:pt x="788" y="721"/>
                    <a:pt x="788" y="717"/>
                  </a:cubicBezTo>
                  <a:cubicBezTo>
                    <a:pt x="788" y="717"/>
                    <a:pt x="789" y="716"/>
                    <a:pt x="789" y="716"/>
                  </a:cubicBezTo>
                  <a:cubicBezTo>
                    <a:pt x="790" y="715"/>
                    <a:pt x="790" y="715"/>
                    <a:pt x="790" y="714"/>
                  </a:cubicBezTo>
                  <a:cubicBezTo>
                    <a:pt x="791" y="713"/>
                    <a:pt x="790" y="712"/>
                    <a:pt x="790" y="712"/>
                  </a:cubicBezTo>
                  <a:cubicBezTo>
                    <a:pt x="792" y="711"/>
                    <a:pt x="791" y="709"/>
                    <a:pt x="791" y="707"/>
                  </a:cubicBezTo>
                  <a:cubicBezTo>
                    <a:pt x="791" y="707"/>
                    <a:pt x="791" y="706"/>
                    <a:pt x="791" y="705"/>
                  </a:cubicBezTo>
                  <a:cubicBezTo>
                    <a:pt x="791" y="703"/>
                    <a:pt x="790" y="702"/>
                    <a:pt x="789" y="701"/>
                  </a:cubicBezTo>
                  <a:cubicBezTo>
                    <a:pt x="789" y="701"/>
                    <a:pt x="789" y="701"/>
                    <a:pt x="789" y="701"/>
                  </a:cubicBezTo>
                  <a:cubicBezTo>
                    <a:pt x="789" y="700"/>
                    <a:pt x="789" y="700"/>
                    <a:pt x="789" y="700"/>
                  </a:cubicBezTo>
                  <a:cubicBezTo>
                    <a:pt x="790" y="699"/>
                    <a:pt x="790" y="698"/>
                    <a:pt x="791" y="697"/>
                  </a:cubicBezTo>
                  <a:cubicBezTo>
                    <a:pt x="791" y="696"/>
                    <a:pt x="791" y="696"/>
                    <a:pt x="790" y="695"/>
                  </a:cubicBezTo>
                  <a:cubicBezTo>
                    <a:pt x="790" y="695"/>
                    <a:pt x="790" y="695"/>
                    <a:pt x="789" y="695"/>
                  </a:cubicBezTo>
                  <a:cubicBezTo>
                    <a:pt x="789" y="695"/>
                    <a:pt x="789" y="695"/>
                    <a:pt x="789" y="695"/>
                  </a:cubicBezTo>
                  <a:cubicBezTo>
                    <a:pt x="789" y="694"/>
                    <a:pt x="790" y="694"/>
                    <a:pt x="790" y="694"/>
                  </a:cubicBezTo>
                  <a:cubicBezTo>
                    <a:pt x="790" y="693"/>
                    <a:pt x="789" y="692"/>
                    <a:pt x="789" y="691"/>
                  </a:cubicBezTo>
                  <a:cubicBezTo>
                    <a:pt x="789" y="691"/>
                    <a:pt x="789" y="690"/>
                    <a:pt x="789" y="689"/>
                  </a:cubicBezTo>
                  <a:cubicBezTo>
                    <a:pt x="789" y="688"/>
                    <a:pt x="789" y="688"/>
                    <a:pt x="788" y="687"/>
                  </a:cubicBezTo>
                  <a:cubicBezTo>
                    <a:pt x="788" y="687"/>
                    <a:pt x="788" y="687"/>
                    <a:pt x="788" y="687"/>
                  </a:cubicBezTo>
                  <a:cubicBezTo>
                    <a:pt x="788" y="686"/>
                    <a:pt x="788" y="685"/>
                    <a:pt x="789" y="684"/>
                  </a:cubicBezTo>
                  <a:cubicBezTo>
                    <a:pt x="789" y="684"/>
                    <a:pt x="790" y="683"/>
                    <a:pt x="790" y="682"/>
                  </a:cubicBezTo>
                  <a:cubicBezTo>
                    <a:pt x="790" y="681"/>
                    <a:pt x="789" y="681"/>
                    <a:pt x="789" y="681"/>
                  </a:cubicBezTo>
                  <a:cubicBezTo>
                    <a:pt x="790" y="680"/>
                    <a:pt x="790" y="680"/>
                    <a:pt x="791" y="680"/>
                  </a:cubicBezTo>
                  <a:cubicBezTo>
                    <a:pt x="791" y="680"/>
                    <a:pt x="791" y="680"/>
                    <a:pt x="791" y="680"/>
                  </a:cubicBezTo>
                  <a:cubicBezTo>
                    <a:pt x="791" y="680"/>
                    <a:pt x="791" y="680"/>
                    <a:pt x="791" y="680"/>
                  </a:cubicBezTo>
                  <a:cubicBezTo>
                    <a:pt x="791" y="681"/>
                    <a:pt x="792" y="682"/>
                    <a:pt x="793" y="682"/>
                  </a:cubicBezTo>
                  <a:cubicBezTo>
                    <a:pt x="793" y="682"/>
                    <a:pt x="794" y="681"/>
                    <a:pt x="794" y="681"/>
                  </a:cubicBezTo>
                  <a:cubicBezTo>
                    <a:pt x="793" y="680"/>
                    <a:pt x="793" y="680"/>
                    <a:pt x="793" y="680"/>
                  </a:cubicBezTo>
                  <a:cubicBezTo>
                    <a:pt x="795" y="680"/>
                    <a:pt x="795" y="680"/>
                    <a:pt x="795" y="680"/>
                  </a:cubicBezTo>
                  <a:cubicBezTo>
                    <a:pt x="795" y="680"/>
                    <a:pt x="796" y="677"/>
                    <a:pt x="796" y="676"/>
                  </a:cubicBezTo>
                  <a:cubicBezTo>
                    <a:pt x="797" y="676"/>
                    <a:pt x="798" y="675"/>
                    <a:pt x="799" y="674"/>
                  </a:cubicBezTo>
                  <a:cubicBezTo>
                    <a:pt x="799" y="675"/>
                    <a:pt x="800" y="675"/>
                    <a:pt x="801" y="674"/>
                  </a:cubicBezTo>
                  <a:cubicBezTo>
                    <a:pt x="802" y="674"/>
                    <a:pt x="805" y="671"/>
                    <a:pt x="805" y="670"/>
                  </a:cubicBezTo>
                  <a:cubicBezTo>
                    <a:pt x="805" y="670"/>
                    <a:pt x="807" y="667"/>
                    <a:pt x="806" y="666"/>
                  </a:cubicBezTo>
                  <a:cubicBezTo>
                    <a:pt x="806" y="666"/>
                    <a:pt x="806" y="666"/>
                    <a:pt x="806" y="665"/>
                  </a:cubicBezTo>
                  <a:cubicBezTo>
                    <a:pt x="807" y="665"/>
                    <a:pt x="808" y="664"/>
                    <a:pt x="809" y="664"/>
                  </a:cubicBezTo>
                  <a:cubicBezTo>
                    <a:pt x="810" y="663"/>
                    <a:pt x="811" y="661"/>
                    <a:pt x="813" y="658"/>
                  </a:cubicBezTo>
                  <a:cubicBezTo>
                    <a:pt x="814" y="657"/>
                    <a:pt x="814" y="657"/>
                    <a:pt x="814" y="657"/>
                  </a:cubicBezTo>
                  <a:cubicBezTo>
                    <a:pt x="813" y="656"/>
                    <a:pt x="813" y="656"/>
                    <a:pt x="813" y="656"/>
                  </a:cubicBezTo>
                  <a:cubicBezTo>
                    <a:pt x="813" y="656"/>
                    <a:pt x="813" y="656"/>
                    <a:pt x="813" y="656"/>
                  </a:cubicBezTo>
                  <a:cubicBezTo>
                    <a:pt x="814" y="657"/>
                    <a:pt x="814" y="657"/>
                    <a:pt x="814" y="657"/>
                  </a:cubicBezTo>
                  <a:cubicBezTo>
                    <a:pt x="817" y="654"/>
                    <a:pt x="817" y="654"/>
                    <a:pt x="818" y="654"/>
                  </a:cubicBezTo>
                  <a:cubicBezTo>
                    <a:pt x="819" y="653"/>
                    <a:pt x="820" y="652"/>
                    <a:pt x="820" y="651"/>
                  </a:cubicBezTo>
                  <a:cubicBezTo>
                    <a:pt x="820" y="651"/>
                    <a:pt x="820" y="650"/>
                    <a:pt x="820" y="650"/>
                  </a:cubicBezTo>
                  <a:cubicBezTo>
                    <a:pt x="821" y="650"/>
                    <a:pt x="821" y="649"/>
                    <a:pt x="822" y="647"/>
                  </a:cubicBezTo>
                  <a:cubicBezTo>
                    <a:pt x="822" y="647"/>
                    <a:pt x="824" y="642"/>
                    <a:pt x="825" y="642"/>
                  </a:cubicBezTo>
                  <a:cubicBezTo>
                    <a:pt x="825" y="642"/>
                    <a:pt x="825" y="641"/>
                    <a:pt x="825" y="640"/>
                  </a:cubicBezTo>
                  <a:cubicBezTo>
                    <a:pt x="826" y="640"/>
                    <a:pt x="826" y="640"/>
                    <a:pt x="826" y="640"/>
                  </a:cubicBezTo>
                  <a:cubicBezTo>
                    <a:pt x="828" y="640"/>
                    <a:pt x="832" y="638"/>
                    <a:pt x="832" y="638"/>
                  </a:cubicBezTo>
                  <a:cubicBezTo>
                    <a:pt x="832" y="638"/>
                    <a:pt x="833" y="637"/>
                    <a:pt x="834" y="637"/>
                  </a:cubicBezTo>
                  <a:cubicBezTo>
                    <a:pt x="835" y="636"/>
                    <a:pt x="835" y="635"/>
                    <a:pt x="836" y="633"/>
                  </a:cubicBezTo>
                  <a:cubicBezTo>
                    <a:pt x="836" y="633"/>
                    <a:pt x="837" y="632"/>
                    <a:pt x="836" y="631"/>
                  </a:cubicBezTo>
                  <a:cubicBezTo>
                    <a:pt x="836" y="631"/>
                    <a:pt x="836" y="631"/>
                    <a:pt x="836" y="631"/>
                  </a:cubicBezTo>
                  <a:cubicBezTo>
                    <a:pt x="836" y="631"/>
                    <a:pt x="836" y="631"/>
                    <a:pt x="836" y="631"/>
                  </a:cubicBezTo>
                  <a:cubicBezTo>
                    <a:pt x="837" y="631"/>
                    <a:pt x="838" y="630"/>
                    <a:pt x="838" y="629"/>
                  </a:cubicBezTo>
                  <a:cubicBezTo>
                    <a:pt x="838" y="628"/>
                    <a:pt x="837" y="627"/>
                    <a:pt x="837" y="627"/>
                  </a:cubicBezTo>
                  <a:cubicBezTo>
                    <a:pt x="837" y="627"/>
                    <a:pt x="837" y="626"/>
                    <a:pt x="837" y="625"/>
                  </a:cubicBezTo>
                  <a:cubicBezTo>
                    <a:pt x="836" y="624"/>
                    <a:pt x="837" y="623"/>
                    <a:pt x="837" y="622"/>
                  </a:cubicBezTo>
                  <a:cubicBezTo>
                    <a:pt x="838" y="622"/>
                    <a:pt x="839" y="621"/>
                    <a:pt x="841" y="621"/>
                  </a:cubicBezTo>
                  <a:cubicBezTo>
                    <a:pt x="842" y="620"/>
                    <a:pt x="843" y="620"/>
                    <a:pt x="844" y="619"/>
                  </a:cubicBezTo>
                  <a:cubicBezTo>
                    <a:pt x="844" y="619"/>
                    <a:pt x="844" y="620"/>
                    <a:pt x="844" y="620"/>
                  </a:cubicBezTo>
                  <a:cubicBezTo>
                    <a:pt x="845" y="621"/>
                    <a:pt x="845" y="621"/>
                    <a:pt x="846" y="621"/>
                  </a:cubicBezTo>
                  <a:cubicBezTo>
                    <a:pt x="847" y="621"/>
                    <a:pt x="847" y="620"/>
                    <a:pt x="848" y="619"/>
                  </a:cubicBezTo>
                  <a:cubicBezTo>
                    <a:pt x="848" y="619"/>
                    <a:pt x="848" y="619"/>
                    <a:pt x="848" y="619"/>
                  </a:cubicBezTo>
                  <a:cubicBezTo>
                    <a:pt x="848" y="619"/>
                    <a:pt x="849" y="618"/>
                    <a:pt x="849" y="618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0" y="619"/>
                    <a:pt x="850" y="619"/>
                    <a:pt x="850" y="619"/>
                  </a:cubicBezTo>
                  <a:cubicBezTo>
                    <a:pt x="851" y="619"/>
                    <a:pt x="851" y="619"/>
                    <a:pt x="851" y="619"/>
                  </a:cubicBezTo>
                  <a:cubicBezTo>
                    <a:pt x="851" y="619"/>
                    <a:pt x="851" y="619"/>
                    <a:pt x="852" y="619"/>
                  </a:cubicBezTo>
                  <a:cubicBezTo>
                    <a:pt x="852" y="620"/>
                    <a:pt x="852" y="620"/>
                    <a:pt x="853" y="620"/>
                  </a:cubicBezTo>
                  <a:cubicBezTo>
                    <a:pt x="854" y="620"/>
                    <a:pt x="854" y="620"/>
                    <a:pt x="855" y="619"/>
                  </a:cubicBezTo>
                  <a:cubicBezTo>
                    <a:pt x="855" y="619"/>
                    <a:pt x="855" y="619"/>
                    <a:pt x="855" y="619"/>
                  </a:cubicBezTo>
                  <a:cubicBezTo>
                    <a:pt x="855" y="619"/>
                    <a:pt x="856" y="619"/>
                    <a:pt x="856" y="619"/>
                  </a:cubicBezTo>
                  <a:cubicBezTo>
                    <a:pt x="856" y="619"/>
                    <a:pt x="857" y="619"/>
                    <a:pt x="858" y="618"/>
                  </a:cubicBezTo>
                  <a:cubicBezTo>
                    <a:pt x="858" y="618"/>
                    <a:pt x="859" y="618"/>
                    <a:pt x="859" y="618"/>
                  </a:cubicBezTo>
                  <a:cubicBezTo>
                    <a:pt x="859" y="618"/>
                    <a:pt x="860" y="618"/>
                    <a:pt x="860" y="618"/>
                  </a:cubicBezTo>
                  <a:cubicBezTo>
                    <a:pt x="861" y="618"/>
                    <a:pt x="861" y="618"/>
                    <a:pt x="862" y="618"/>
                  </a:cubicBezTo>
                  <a:cubicBezTo>
                    <a:pt x="862" y="617"/>
                    <a:pt x="863" y="616"/>
                    <a:pt x="862" y="615"/>
                  </a:cubicBezTo>
                  <a:cubicBezTo>
                    <a:pt x="862" y="615"/>
                    <a:pt x="862" y="615"/>
                    <a:pt x="862" y="615"/>
                  </a:cubicBezTo>
                  <a:cubicBezTo>
                    <a:pt x="863" y="615"/>
                    <a:pt x="864" y="614"/>
                    <a:pt x="864" y="613"/>
                  </a:cubicBezTo>
                  <a:cubicBezTo>
                    <a:pt x="864" y="613"/>
                    <a:pt x="864" y="612"/>
                    <a:pt x="865" y="612"/>
                  </a:cubicBezTo>
                  <a:cubicBezTo>
                    <a:pt x="865" y="611"/>
                    <a:pt x="865" y="610"/>
                    <a:pt x="864" y="608"/>
                  </a:cubicBezTo>
                  <a:cubicBezTo>
                    <a:pt x="864" y="608"/>
                    <a:pt x="865" y="608"/>
                    <a:pt x="865" y="608"/>
                  </a:cubicBezTo>
                  <a:cubicBezTo>
                    <a:pt x="865" y="608"/>
                    <a:pt x="865" y="608"/>
                    <a:pt x="865" y="608"/>
                  </a:cubicBezTo>
                  <a:cubicBezTo>
                    <a:pt x="866" y="609"/>
                    <a:pt x="868" y="610"/>
                    <a:pt x="870" y="609"/>
                  </a:cubicBezTo>
                  <a:cubicBezTo>
                    <a:pt x="870" y="609"/>
                    <a:pt x="870" y="610"/>
                    <a:pt x="870" y="610"/>
                  </a:cubicBezTo>
                  <a:cubicBezTo>
                    <a:pt x="871" y="611"/>
                    <a:pt x="871" y="612"/>
                    <a:pt x="872" y="613"/>
                  </a:cubicBezTo>
                  <a:cubicBezTo>
                    <a:pt x="872" y="613"/>
                    <a:pt x="873" y="613"/>
                    <a:pt x="873" y="613"/>
                  </a:cubicBezTo>
                  <a:cubicBezTo>
                    <a:pt x="873" y="614"/>
                    <a:pt x="873" y="614"/>
                    <a:pt x="873" y="615"/>
                  </a:cubicBezTo>
                  <a:cubicBezTo>
                    <a:pt x="872" y="617"/>
                    <a:pt x="874" y="618"/>
                    <a:pt x="874" y="618"/>
                  </a:cubicBezTo>
                  <a:cubicBezTo>
                    <a:pt x="874" y="618"/>
                    <a:pt x="874" y="619"/>
                    <a:pt x="874" y="619"/>
                  </a:cubicBezTo>
                  <a:cubicBezTo>
                    <a:pt x="874" y="620"/>
                    <a:pt x="875" y="622"/>
                    <a:pt x="875" y="623"/>
                  </a:cubicBezTo>
                  <a:cubicBezTo>
                    <a:pt x="876" y="623"/>
                    <a:pt x="876" y="624"/>
                    <a:pt x="876" y="625"/>
                  </a:cubicBezTo>
                  <a:cubicBezTo>
                    <a:pt x="877" y="626"/>
                    <a:pt x="877" y="627"/>
                    <a:pt x="878" y="627"/>
                  </a:cubicBezTo>
                  <a:cubicBezTo>
                    <a:pt x="879" y="627"/>
                    <a:pt x="879" y="627"/>
                    <a:pt x="879" y="627"/>
                  </a:cubicBezTo>
                  <a:cubicBezTo>
                    <a:pt x="879" y="627"/>
                    <a:pt x="879" y="627"/>
                    <a:pt x="879" y="627"/>
                  </a:cubicBezTo>
                  <a:cubicBezTo>
                    <a:pt x="879" y="627"/>
                    <a:pt x="880" y="629"/>
                    <a:pt x="881" y="630"/>
                  </a:cubicBezTo>
                  <a:cubicBezTo>
                    <a:pt x="881" y="631"/>
                    <a:pt x="882" y="632"/>
                    <a:pt x="883" y="632"/>
                  </a:cubicBezTo>
                  <a:cubicBezTo>
                    <a:pt x="883" y="632"/>
                    <a:pt x="883" y="632"/>
                    <a:pt x="883" y="632"/>
                  </a:cubicBezTo>
                  <a:cubicBezTo>
                    <a:pt x="883" y="632"/>
                    <a:pt x="883" y="632"/>
                    <a:pt x="883" y="632"/>
                  </a:cubicBezTo>
                  <a:cubicBezTo>
                    <a:pt x="884" y="633"/>
                    <a:pt x="885" y="634"/>
                    <a:pt x="885" y="634"/>
                  </a:cubicBezTo>
                  <a:cubicBezTo>
                    <a:pt x="886" y="634"/>
                    <a:pt x="887" y="633"/>
                    <a:pt x="887" y="633"/>
                  </a:cubicBezTo>
                  <a:cubicBezTo>
                    <a:pt x="887" y="633"/>
                    <a:pt x="888" y="633"/>
                    <a:pt x="888" y="633"/>
                  </a:cubicBezTo>
                  <a:cubicBezTo>
                    <a:pt x="888" y="634"/>
                    <a:pt x="888" y="635"/>
                    <a:pt x="890" y="635"/>
                  </a:cubicBezTo>
                  <a:cubicBezTo>
                    <a:pt x="890" y="635"/>
                    <a:pt x="890" y="635"/>
                    <a:pt x="890" y="635"/>
                  </a:cubicBezTo>
                  <a:cubicBezTo>
                    <a:pt x="890" y="635"/>
                    <a:pt x="890" y="636"/>
                    <a:pt x="890" y="636"/>
                  </a:cubicBezTo>
                  <a:cubicBezTo>
                    <a:pt x="890" y="636"/>
                    <a:pt x="890" y="636"/>
                    <a:pt x="890" y="636"/>
                  </a:cubicBezTo>
                  <a:cubicBezTo>
                    <a:pt x="890" y="637"/>
                    <a:pt x="891" y="639"/>
                    <a:pt x="892" y="640"/>
                  </a:cubicBezTo>
                  <a:cubicBezTo>
                    <a:pt x="893" y="639"/>
                    <a:pt x="893" y="639"/>
                    <a:pt x="893" y="639"/>
                  </a:cubicBezTo>
                  <a:cubicBezTo>
                    <a:pt x="893" y="639"/>
                    <a:pt x="893" y="639"/>
                    <a:pt x="893" y="639"/>
                  </a:cubicBezTo>
                  <a:cubicBezTo>
                    <a:pt x="892" y="640"/>
                    <a:pt x="892" y="640"/>
                    <a:pt x="892" y="640"/>
                  </a:cubicBezTo>
                  <a:cubicBezTo>
                    <a:pt x="892" y="640"/>
                    <a:pt x="892" y="641"/>
                    <a:pt x="892" y="642"/>
                  </a:cubicBezTo>
                  <a:cubicBezTo>
                    <a:pt x="892" y="642"/>
                    <a:pt x="893" y="643"/>
                    <a:pt x="893" y="643"/>
                  </a:cubicBezTo>
                  <a:cubicBezTo>
                    <a:pt x="894" y="644"/>
                    <a:pt x="894" y="644"/>
                    <a:pt x="894" y="644"/>
                  </a:cubicBezTo>
                  <a:cubicBezTo>
                    <a:pt x="894" y="644"/>
                    <a:pt x="894" y="644"/>
                    <a:pt x="894" y="644"/>
                  </a:cubicBezTo>
                  <a:cubicBezTo>
                    <a:pt x="894" y="645"/>
                    <a:pt x="895" y="646"/>
                    <a:pt x="895" y="647"/>
                  </a:cubicBezTo>
                  <a:cubicBezTo>
                    <a:pt x="896" y="647"/>
                    <a:pt x="896" y="647"/>
                    <a:pt x="896" y="647"/>
                  </a:cubicBezTo>
                  <a:cubicBezTo>
                    <a:pt x="896" y="647"/>
                    <a:pt x="896" y="647"/>
                    <a:pt x="896" y="647"/>
                  </a:cubicBezTo>
                  <a:cubicBezTo>
                    <a:pt x="895" y="649"/>
                    <a:pt x="897" y="652"/>
                    <a:pt x="898" y="652"/>
                  </a:cubicBezTo>
                  <a:cubicBezTo>
                    <a:pt x="898" y="652"/>
                    <a:pt x="898" y="652"/>
                    <a:pt x="898" y="653"/>
                  </a:cubicBezTo>
                  <a:cubicBezTo>
                    <a:pt x="897" y="655"/>
                    <a:pt x="898" y="656"/>
                    <a:pt x="898" y="656"/>
                  </a:cubicBezTo>
                  <a:cubicBezTo>
                    <a:pt x="898" y="657"/>
                    <a:pt x="899" y="657"/>
                    <a:pt x="899" y="657"/>
                  </a:cubicBezTo>
                  <a:cubicBezTo>
                    <a:pt x="899" y="657"/>
                    <a:pt x="899" y="657"/>
                    <a:pt x="899" y="657"/>
                  </a:cubicBezTo>
                  <a:cubicBezTo>
                    <a:pt x="899" y="658"/>
                    <a:pt x="899" y="658"/>
                    <a:pt x="899" y="658"/>
                  </a:cubicBezTo>
                  <a:cubicBezTo>
                    <a:pt x="899" y="659"/>
                    <a:pt x="899" y="660"/>
                    <a:pt x="900" y="661"/>
                  </a:cubicBezTo>
                  <a:cubicBezTo>
                    <a:pt x="899" y="661"/>
                    <a:pt x="899" y="662"/>
                    <a:pt x="898" y="663"/>
                  </a:cubicBezTo>
                  <a:cubicBezTo>
                    <a:pt x="898" y="663"/>
                    <a:pt x="898" y="664"/>
                    <a:pt x="898" y="664"/>
                  </a:cubicBezTo>
                  <a:cubicBezTo>
                    <a:pt x="898" y="664"/>
                    <a:pt x="898" y="664"/>
                    <a:pt x="898" y="665"/>
                  </a:cubicBezTo>
                  <a:cubicBezTo>
                    <a:pt x="898" y="665"/>
                    <a:pt x="898" y="665"/>
                    <a:pt x="898" y="666"/>
                  </a:cubicBezTo>
                  <a:cubicBezTo>
                    <a:pt x="898" y="666"/>
                    <a:pt x="898" y="666"/>
                    <a:pt x="898" y="667"/>
                  </a:cubicBezTo>
                  <a:cubicBezTo>
                    <a:pt x="898" y="668"/>
                    <a:pt x="898" y="669"/>
                    <a:pt x="897" y="670"/>
                  </a:cubicBezTo>
                  <a:cubicBezTo>
                    <a:pt x="897" y="670"/>
                    <a:pt x="897" y="670"/>
                    <a:pt x="897" y="670"/>
                  </a:cubicBezTo>
                  <a:cubicBezTo>
                    <a:pt x="897" y="671"/>
                    <a:pt x="897" y="672"/>
                    <a:pt x="897" y="672"/>
                  </a:cubicBezTo>
                  <a:cubicBezTo>
                    <a:pt x="898" y="673"/>
                    <a:pt x="898" y="673"/>
                    <a:pt x="898" y="673"/>
                  </a:cubicBezTo>
                  <a:cubicBezTo>
                    <a:pt x="898" y="673"/>
                    <a:pt x="898" y="674"/>
                    <a:pt x="898" y="675"/>
                  </a:cubicBezTo>
                  <a:cubicBezTo>
                    <a:pt x="898" y="676"/>
                    <a:pt x="899" y="676"/>
                    <a:pt x="900" y="676"/>
                  </a:cubicBezTo>
                  <a:cubicBezTo>
                    <a:pt x="900" y="676"/>
                    <a:pt x="901" y="676"/>
                    <a:pt x="901" y="676"/>
                  </a:cubicBezTo>
                  <a:cubicBezTo>
                    <a:pt x="901" y="675"/>
                    <a:pt x="901" y="675"/>
                    <a:pt x="901" y="674"/>
                  </a:cubicBezTo>
                  <a:cubicBezTo>
                    <a:pt x="901" y="674"/>
                    <a:pt x="902" y="674"/>
                    <a:pt x="902" y="674"/>
                  </a:cubicBezTo>
                  <a:cubicBezTo>
                    <a:pt x="902" y="674"/>
                    <a:pt x="902" y="674"/>
                    <a:pt x="902" y="674"/>
                  </a:cubicBezTo>
                  <a:cubicBezTo>
                    <a:pt x="902" y="674"/>
                    <a:pt x="903" y="675"/>
                    <a:pt x="903" y="675"/>
                  </a:cubicBezTo>
                  <a:cubicBezTo>
                    <a:pt x="903" y="675"/>
                    <a:pt x="903" y="675"/>
                    <a:pt x="903" y="676"/>
                  </a:cubicBezTo>
                  <a:cubicBezTo>
                    <a:pt x="904" y="678"/>
                    <a:pt x="905" y="678"/>
                    <a:pt x="905" y="678"/>
                  </a:cubicBezTo>
                  <a:cubicBezTo>
                    <a:pt x="906" y="678"/>
                    <a:pt x="906" y="678"/>
                    <a:pt x="906" y="678"/>
                  </a:cubicBezTo>
                  <a:cubicBezTo>
                    <a:pt x="906" y="678"/>
                    <a:pt x="906" y="677"/>
                    <a:pt x="907" y="677"/>
                  </a:cubicBezTo>
                  <a:cubicBezTo>
                    <a:pt x="907" y="677"/>
                    <a:pt x="907" y="677"/>
                    <a:pt x="907" y="677"/>
                  </a:cubicBezTo>
                  <a:cubicBezTo>
                    <a:pt x="907" y="677"/>
                    <a:pt x="907" y="677"/>
                    <a:pt x="907" y="677"/>
                  </a:cubicBezTo>
                  <a:cubicBezTo>
                    <a:pt x="908" y="677"/>
                    <a:pt x="908" y="677"/>
                    <a:pt x="908" y="677"/>
                  </a:cubicBezTo>
                  <a:cubicBezTo>
                    <a:pt x="908" y="678"/>
                    <a:pt x="908" y="678"/>
                    <a:pt x="908" y="678"/>
                  </a:cubicBezTo>
                  <a:cubicBezTo>
                    <a:pt x="909" y="678"/>
                    <a:pt x="909" y="678"/>
                    <a:pt x="909" y="678"/>
                  </a:cubicBezTo>
                  <a:cubicBezTo>
                    <a:pt x="910" y="678"/>
                    <a:pt x="911" y="677"/>
                    <a:pt x="911" y="675"/>
                  </a:cubicBezTo>
                  <a:cubicBezTo>
                    <a:pt x="912" y="675"/>
                    <a:pt x="912" y="674"/>
                    <a:pt x="912" y="674"/>
                  </a:cubicBezTo>
                  <a:cubicBezTo>
                    <a:pt x="913" y="673"/>
                    <a:pt x="913" y="673"/>
                    <a:pt x="913" y="672"/>
                  </a:cubicBezTo>
                  <a:cubicBezTo>
                    <a:pt x="913" y="672"/>
                    <a:pt x="914" y="672"/>
                    <a:pt x="915" y="672"/>
                  </a:cubicBezTo>
                  <a:close/>
                  <a:moveTo>
                    <a:pt x="1057" y="454"/>
                  </a:moveTo>
                  <a:cubicBezTo>
                    <a:pt x="1057" y="454"/>
                    <a:pt x="1057" y="454"/>
                    <a:pt x="1057" y="454"/>
                  </a:cubicBezTo>
                  <a:cubicBezTo>
                    <a:pt x="1057" y="454"/>
                    <a:pt x="1057" y="454"/>
                    <a:pt x="1057" y="454"/>
                  </a:cubicBezTo>
                  <a:close/>
                  <a:moveTo>
                    <a:pt x="311" y="533"/>
                  </a:moveTo>
                  <a:cubicBezTo>
                    <a:pt x="311" y="533"/>
                    <a:pt x="311" y="533"/>
                    <a:pt x="311" y="533"/>
                  </a:cubicBezTo>
                  <a:cubicBezTo>
                    <a:pt x="311" y="533"/>
                    <a:pt x="311" y="533"/>
                    <a:pt x="311" y="533"/>
                  </a:cubicBezTo>
                  <a:close/>
                  <a:moveTo>
                    <a:pt x="420" y="526"/>
                  </a:moveTo>
                  <a:cubicBezTo>
                    <a:pt x="420" y="526"/>
                    <a:pt x="420" y="526"/>
                    <a:pt x="420" y="526"/>
                  </a:cubicBezTo>
                  <a:cubicBezTo>
                    <a:pt x="420" y="528"/>
                    <a:pt x="420" y="528"/>
                    <a:pt x="420" y="528"/>
                  </a:cubicBezTo>
                  <a:lnTo>
                    <a:pt x="420" y="526"/>
                  </a:lnTo>
                  <a:close/>
                  <a:moveTo>
                    <a:pt x="281" y="270"/>
                  </a:moveTo>
                  <a:cubicBezTo>
                    <a:pt x="281" y="270"/>
                    <a:pt x="281" y="270"/>
                    <a:pt x="281" y="270"/>
                  </a:cubicBezTo>
                  <a:cubicBezTo>
                    <a:pt x="281" y="270"/>
                    <a:pt x="281" y="270"/>
                    <a:pt x="281" y="270"/>
                  </a:cubicBezTo>
                  <a:cubicBezTo>
                    <a:pt x="280" y="270"/>
                    <a:pt x="280" y="270"/>
                    <a:pt x="280" y="271"/>
                  </a:cubicBezTo>
                  <a:cubicBezTo>
                    <a:pt x="280" y="271"/>
                    <a:pt x="280" y="271"/>
                    <a:pt x="280" y="271"/>
                  </a:cubicBezTo>
                  <a:cubicBezTo>
                    <a:pt x="280" y="271"/>
                    <a:pt x="280" y="270"/>
                    <a:pt x="280" y="271"/>
                  </a:cubicBezTo>
                  <a:cubicBezTo>
                    <a:pt x="280" y="270"/>
                    <a:pt x="280" y="270"/>
                    <a:pt x="280" y="270"/>
                  </a:cubicBezTo>
                  <a:cubicBezTo>
                    <a:pt x="280" y="270"/>
                    <a:pt x="280" y="269"/>
                    <a:pt x="280" y="269"/>
                  </a:cubicBezTo>
                  <a:cubicBezTo>
                    <a:pt x="280" y="269"/>
                    <a:pt x="280" y="269"/>
                    <a:pt x="281" y="270"/>
                  </a:cubicBezTo>
                  <a:close/>
                  <a:moveTo>
                    <a:pt x="931" y="687"/>
                  </a:moveTo>
                  <a:cubicBezTo>
                    <a:pt x="931" y="687"/>
                    <a:pt x="931" y="687"/>
                    <a:pt x="931" y="687"/>
                  </a:cubicBezTo>
                  <a:cubicBezTo>
                    <a:pt x="931" y="687"/>
                    <a:pt x="931" y="687"/>
                    <a:pt x="931" y="687"/>
                  </a:cubicBezTo>
                  <a:close/>
                  <a:moveTo>
                    <a:pt x="280" y="273"/>
                  </a:moveTo>
                  <a:cubicBezTo>
                    <a:pt x="280" y="273"/>
                    <a:pt x="280" y="273"/>
                    <a:pt x="280" y="273"/>
                  </a:cubicBezTo>
                  <a:cubicBezTo>
                    <a:pt x="280" y="273"/>
                    <a:pt x="280" y="273"/>
                    <a:pt x="279" y="273"/>
                  </a:cubicBezTo>
                  <a:cubicBezTo>
                    <a:pt x="279" y="273"/>
                    <a:pt x="279" y="273"/>
                    <a:pt x="280" y="273"/>
                  </a:cubicBezTo>
                  <a:close/>
                  <a:moveTo>
                    <a:pt x="290" y="273"/>
                  </a:moveTo>
                  <a:cubicBezTo>
                    <a:pt x="291" y="273"/>
                    <a:pt x="291" y="272"/>
                    <a:pt x="291" y="271"/>
                  </a:cubicBezTo>
                  <a:cubicBezTo>
                    <a:pt x="291" y="271"/>
                    <a:pt x="291" y="272"/>
                    <a:pt x="291" y="272"/>
                  </a:cubicBezTo>
                  <a:cubicBezTo>
                    <a:pt x="291" y="273"/>
                    <a:pt x="293" y="273"/>
                    <a:pt x="293" y="273"/>
                  </a:cubicBezTo>
                  <a:cubicBezTo>
                    <a:pt x="293" y="273"/>
                    <a:pt x="294" y="273"/>
                    <a:pt x="294" y="273"/>
                  </a:cubicBezTo>
                  <a:cubicBezTo>
                    <a:pt x="294" y="273"/>
                    <a:pt x="295" y="273"/>
                    <a:pt x="295" y="273"/>
                  </a:cubicBezTo>
                  <a:cubicBezTo>
                    <a:pt x="297" y="273"/>
                    <a:pt x="297" y="272"/>
                    <a:pt x="298" y="271"/>
                  </a:cubicBezTo>
                  <a:cubicBezTo>
                    <a:pt x="298" y="271"/>
                    <a:pt x="299" y="271"/>
                    <a:pt x="300" y="271"/>
                  </a:cubicBezTo>
                  <a:cubicBezTo>
                    <a:pt x="301" y="271"/>
                    <a:pt x="301" y="271"/>
                    <a:pt x="301" y="271"/>
                  </a:cubicBezTo>
                  <a:cubicBezTo>
                    <a:pt x="301" y="271"/>
                    <a:pt x="301" y="271"/>
                    <a:pt x="301" y="271"/>
                  </a:cubicBezTo>
                  <a:cubicBezTo>
                    <a:pt x="302" y="271"/>
                    <a:pt x="302" y="271"/>
                    <a:pt x="303" y="270"/>
                  </a:cubicBezTo>
                  <a:cubicBezTo>
                    <a:pt x="303" y="269"/>
                    <a:pt x="303" y="267"/>
                    <a:pt x="303" y="266"/>
                  </a:cubicBezTo>
                  <a:cubicBezTo>
                    <a:pt x="303" y="266"/>
                    <a:pt x="304" y="266"/>
                    <a:pt x="304" y="265"/>
                  </a:cubicBezTo>
                  <a:cubicBezTo>
                    <a:pt x="305" y="265"/>
                    <a:pt x="306" y="265"/>
                    <a:pt x="306" y="264"/>
                  </a:cubicBezTo>
                  <a:cubicBezTo>
                    <a:pt x="306" y="264"/>
                    <a:pt x="307" y="264"/>
                    <a:pt x="307" y="264"/>
                  </a:cubicBezTo>
                  <a:cubicBezTo>
                    <a:pt x="307" y="264"/>
                    <a:pt x="308" y="264"/>
                    <a:pt x="308" y="264"/>
                  </a:cubicBezTo>
                  <a:cubicBezTo>
                    <a:pt x="308" y="265"/>
                    <a:pt x="310" y="265"/>
                    <a:pt x="311" y="264"/>
                  </a:cubicBezTo>
                  <a:cubicBezTo>
                    <a:pt x="311" y="264"/>
                    <a:pt x="312" y="264"/>
                    <a:pt x="312" y="264"/>
                  </a:cubicBezTo>
                  <a:cubicBezTo>
                    <a:pt x="313" y="264"/>
                    <a:pt x="313" y="264"/>
                    <a:pt x="313" y="264"/>
                  </a:cubicBezTo>
                  <a:cubicBezTo>
                    <a:pt x="314" y="264"/>
                    <a:pt x="315" y="263"/>
                    <a:pt x="315" y="262"/>
                  </a:cubicBezTo>
                  <a:cubicBezTo>
                    <a:pt x="316" y="261"/>
                    <a:pt x="316" y="261"/>
                    <a:pt x="316" y="260"/>
                  </a:cubicBezTo>
                  <a:cubicBezTo>
                    <a:pt x="316" y="260"/>
                    <a:pt x="316" y="260"/>
                    <a:pt x="317" y="260"/>
                  </a:cubicBezTo>
                  <a:cubicBezTo>
                    <a:pt x="318" y="259"/>
                    <a:pt x="318" y="258"/>
                    <a:pt x="319" y="256"/>
                  </a:cubicBezTo>
                  <a:cubicBezTo>
                    <a:pt x="319" y="254"/>
                    <a:pt x="319" y="253"/>
                    <a:pt x="319" y="253"/>
                  </a:cubicBezTo>
                  <a:cubicBezTo>
                    <a:pt x="321" y="252"/>
                    <a:pt x="321" y="250"/>
                    <a:pt x="321" y="249"/>
                  </a:cubicBezTo>
                  <a:cubicBezTo>
                    <a:pt x="321" y="248"/>
                    <a:pt x="322" y="247"/>
                    <a:pt x="322" y="247"/>
                  </a:cubicBezTo>
                  <a:cubicBezTo>
                    <a:pt x="322" y="246"/>
                    <a:pt x="322" y="245"/>
                    <a:pt x="322" y="245"/>
                  </a:cubicBezTo>
                  <a:cubicBezTo>
                    <a:pt x="322" y="244"/>
                    <a:pt x="322" y="244"/>
                    <a:pt x="322" y="244"/>
                  </a:cubicBezTo>
                  <a:cubicBezTo>
                    <a:pt x="323" y="244"/>
                    <a:pt x="323" y="242"/>
                    <a:pt x="323" y="242"/>
                  </a:cubicBezTo>
                  <a:cubicBezTo>
                    <a:pt x="323" y="241"/>
                    <a:pt x="323" y="241"/>
                    <a:pt x="323" y="241"/>
                  </a:cubicBezTo>
                  <a:cubicBezTo>
                    <a:pt x="323" y="241"/>
                    <a:pt x="323" y="241"/>
                    <a:pt x="323" y="241"/>
                  </a:cubicBezTo>
                  <a:cubicBezTo>
                    <a:pt x="323" y="240"/>
                    <a:pt x="324" y="239"/>
                    <a:pt x="323" y="238"/>
                  </a:cubicBezTo>
                  <a:cubicBezTo>
                    <a:pt x="324" y="238"/>
                    <a:pt x="325" y="237"/>
                    <a:pt x="325" y="237"/>
                  </a:cubicBezTo>
                  <a:cubicBezTo>
                    <a:pt x="325" y="237"/>
                    <a:pt x="325" y="236"/>
                    <a:pt x="326" y="236"/>
                  </a:cubicBezTo>
                  <a:cubicBezTo>
                    <a:pt x="326" y="236"/>
                    <a:pt x="326" y="236"/>
                    <a:pt x="327" y="236"/>
                  </a:cubicBezTo>
                  <a:cubicBezTo>
                    <a:pt x="327" y="236"/>
                    <a:pt x="327" y="236"/>
                    <a:pt x="328" y="236"/>
                  </a:cubicBezTo>
                  <a:cubicBezTo>
                    <a:pt x="328" y="235"/>
                    <a:pt x="328" y="235"/>
                    <a:pt x="329" y="235"/>
                  </a:cubicBezTo>
                  <a:cubicBezTo>
                    <a:pt x="329" y="235"/>
                    <a:pt x="329" y="235"/>
                    <a:pt x="330" y="235"/>
                  </a:cubicBezTo>
                  <a:cubicBezTo>
                    <a:pt x="331" y="235"/>
                    <a:pt x="331" y="234"/>
                    <a:pt x="332" y="233"/>
                  </a:cubicBezTo>
                  <a:cubicBezTo>
                    <a:pt x="332" y="233"/>
                    <a:pt x="332" y="233"/>
                    <a:pt x="332" y="233"/>
                  </a:cubicBezTo>
                  <a:cubicBezTo>
                    <a:pt x="332" y="232"/>
                    <a:pt x="332" y="232"/>
                    <a:pt x="332" y="232"/>
                  </a:cubicBezTo>
                  <a:cubicBezTo>
                    <a:pt x="332" y="232"/>
                    <a:pt x="332" y="232"/>
                    <a:pt x="332" y="232"/>
                  </a:cubicBezTo>
                  <a:cubicBezTo>
                    <a:pt x="333" y="232"/>
                    <a:pt x="333" y="232"/>
                    <a:pt x="333" y="232"/>
                  </a:cubicBezTo>
                  <a:cubicBezTo>
                    <a:pt x="334" y="232"/>
                    <a:pt x="335" y="231"/>
                    <a:pt x="335" y="231"/>
                  </a:cubicBezTo>
                  <a:cubicBezTo>
                    <a:pt x="335" y="231"/>
                    <a:pt x="335" y="230"/>
                    <a:pt x="335" y="230"/>
                  </a:cubicBezTo>
                  <a:cubicBezTo>
                    <a:pt x="336" y="229"/>
                    <a:pt x="336" y="228"/>
                    <a:pt x="336" y="228"/>
                  </a:cubicBezTo>
                  <a:cubicBezTo>
                    <a:pt x="336" y="228"/>
                    <a:pt x="336" y="228"/>
                    <a:pt x="336" y="228"/>
                  </a:cubicBezTo>
                  <a:cubicBezTo>
                    <a:pt x="336" y="227"/>
                    <a:pt x="336" y="227"/>
                    <a:pt x="337" y="227"/>
                  </a:cubicBezTo>
                  <a:cubicBezTo>
                    <a:pt x="337" y="227"/>
                    <a:pt x="337" y="227"/>
                    <a:pt x="337" y="227"/>
                  </a:cubicBezTo>
                  <a:cubicBezTo>
                    <a:pt x="337" y="227"/>
                    <a:pt x="337" y="227"/>
                    <a:pt x="337" y="227"/>
                  </a:cubicBezTo>
                  <a:cubicBezTo>
                    <a:pt x="337" y="227"/>
                    <a:pt x="338" y="227"/>
                    <a:pt x="338" y="227"/>
                  </a:cubicBezTo>
                  <a:cubicBezTo>
                    <a:pt x="339" y="227"/>
                    <a:pt x="340" y="226"/>
                    <a:pt x="340" y="226"/>
                  </a:cubicBezTo>
                  <a:cubicBezTo>
                    <a:pt x="340" y="225"/>
                    <a:pt x="340" y="224"/>
                    <a:pt x="339" y="223"/>
                  </a:cubicBezTo>
                  <a:cubicBezTo>
                    <a:pt x="339" y="223"/>
                    <a:pt x="339" y="223"/>
                    <a:pt x="339" y="223"/>
                  </a:cubicBezTo>
                  <a:cubicBezTo>
                    <a:pt x="339" y="222"/>
                    <a:pt x="340" y="220"/>
                    <a:pt x="337" y="219"/>
                  </a:cubicBezTo>
                  <a:cubicBezTo>
                    <a:pt x="337" y="219"/>
                    <a:pt x="337" y="218"/>
                    <a:pt x="337" y="218"/>
                  </a:cubicBezTo>
                  <a:cubicBezTo>
                    <a:pt x="336" y="218"/>
                    <a:pt x="336" y="218"/>
                    <a:pt x="336" y="218"/>
                  </a:cubicBezTo>
                  <a:cubicBezTo>
                    <a:pt x="336" y="217"/>
                    <a:pt x="336" y="217"/>
                    <a:pt x="336" y="216"/>
                  </a:cubicBezTo>
                  <a:cubicBezTo>
                    <a:pt x="336" y="216"/>
                    <a:pt x="336" y="216"/>
                    <a:pt x="336" y="216"/>
                  </a:cubicBezTo>
                  <a:cubicBezTo>
                    <a:pt x="335" y="215"/>
                    <a:pt x="335" y="214"/>
                    <a:pt x="335" y="214"/>
                  </a:cubicBezTo>
                  <a:cubicBezTo>
                    <a:pt x="334" y="213"/>
                    <a:pt x="334" y="213"/>
                    <a:pt x="333" y="213"/>
                  </a:cubicBezTo>
                  <a:cubicBezTo>
                    <a:pt x="333" y="213"/>
                    <a:pt x="332" y="212"/>
                    <a:pt x="332" y="212"/>
                  </a:cubicBezTo>
                  <a:cubicBezTo>
                    <a:pt x="332" y="212"/>
                    <a:pt x="331" y="212"/>
                    <a:pt x="331" y="212"/>
                  </a:cubicBezTo>
                  <a:cubicBezTo>
                    <a:pt x="331" y="211"/>
                    <a:pt x="331" y="211"/>
                    <a:pt x="331" y="210"/>
                  </a:cubicBezTo>
                  <a:cubicBezTo>
                    <a:pt x="331" y="207"/>
                    <a:pt x="331" y="206"/>
                    <a:pt x="331" y="205"/>
                  </a:cubicBezTo>
                  <a:cubicBezTo>
                    <a:pt x="331" y="205"/>
                    <a:pt x="331" y="205"/>
                    <a:pt x="331" y="205"/>
                  </a:cubicBezTo>
                  <a:cubicBezTo>
                    <a:pt x="331" y="205"/>
                    <a:pt x="331" y="204"/>
                    <a:pt x="331" y="204"/>
                  </a:cubicBezTo>
                  <a:cubicBezTo>
                    <a:pt x="332" y="205"/>
                    <a:pt x="333" y="205"/>
                    <a:pt x="333" y="204"/>
                  </a:cubicBezTo>
                  <a:cubicBezTo>
                    <a:pt x="334" y="203"/>
                    <a:pt x="334" y="202"/>
                    <a:pt x="334" y="201"/>
                  </a:cubicBezTo>
                  <a:cubicBezTo>
                    <a:pt x="334" y="201"/>
                    <a:pt x="334" y="199"/>
                    <a:pt x="335" y="199"/>
                  </a:cubicBezTo>
                  <a:cubicBezTo>
                    <a:pt x="336" y="198"/>
                    <a:pt x="336" y="196"/>
                    <a:pt x="335" y="194"/>
                  </a:cubicBezTo>
                  <a:cubicBezTo>
                    <a:pt x="335" y="194"/>
                    <a:pt x="335" y="194"/>
                    <a:pt x="335" y="194"/>
                  </a:cubicBezTo>
                  <a:cubicBezTo>
                    <a:pt x="336" y="194"/>
                    <a:pt x="336" y="194"/>
                    <a:pt x="336" y="194"/>
                  </a:cubicBezTo>
                  <a:cubicBezTo>
                    <a:pt x="337" y="193"/>
                    <a:pt x="338" y="192"/>
                    <a:pt x="338" y="191"/>
                  </a:cubicBezTo>
                  <a:cubicBezTo>
                    <a:pt x="338" y="191"/>
                    <a:pt x="338" y="191"/>
                    <a:pt x="338" y="191"/>
                  </a:cubicBezTo>
                  <a:cubicBezTo>
                    <a:pt x="339" y="191"/>
                    <a:pt x="340" y="191"/>
                    <a:pt x="340" y="191"/>
                  </a:cubicBezTo>
                  <a:cubicBezTo>
                    <a:pt x="339" y="190"/>
                    <a:pt x="339" y="190"/>
                    <a:pt x="339" y="190"/>
                  </a:cubicBezTo>
                  <a:cubicBezTo>
                    <a:pt x="340" y="190"/>
                    <a:pt x="340" y="190"/>
                    <a:pt x="340" y="190"/>
                  </a:cubicBezTo>
                  <a:cubicBezTo>
                    <a:pt x="340" y="190"/>
                    <a:pt x="340" y="190"/>
                    <a:pt x="340" y="190"/>
                  </a:cubicBezTo>
                  <a:cubicBezTo>
                    <a:pt x="341" y="190"/>
                    <a:pt x="341" y="190"/>
                    <a:pt x="342" y="189"/>
                  </a:cubicBezTo>
                  <a:cubicBezTo>
                    <a:pt x="342" y="189"/>
                    <a:pt x="342" y="188"/>
                    <a:pt x="341" y="188"/>
                  </a:cubicBezTo>
                  <a:cubicBezTo>
                    <a:pt x="342" y="188"/>
                    <a:pt x="342" y="187"/>
                    <a:pt x="343" y="187"/>
                  </a:cubicBezTo>
                  <a:cubicBezTo>
                    <a:pt x="343" y="187"/>
                    <a:pt x="343" y="187"/>
                    <a:pt x="343" y="187"/>
                  </a:cubicBezTo>
                  <a:cubicBezTo>
                    <a:pt x="344" y="188"/>
                    <a:pt x="344" y="188"/>
                    <a:pt x="344" y="188"/>
                  </a:cubicBezTo>
                  <a:cubicBezTo>
                    <a:pt x="344" y="188"/>
                    <a:pt x="344" y="188"/>
                    <a:pt x="344" y="188"/>
                  </a:cubicBezTo>
                  <a:cubicBezTo>
                    <a:pt x="345" y="188"/>
                    <a:pt x="346" y="186"/>
                    <a:pt x="346" y="185"/>
                  </a:cubicBezTo>
                  <a:cubicBezTo>
                    <a:pt x="347" y="185"/>
                    <a:pt x="347" y="185"/>
                    <a:pt x="347" y="185"/>
                  </a:cubicBezTo>
                  <a:cubicBezTo>
                    <a:pt x="348" y="185"/>
                    <a:pt x="348" y="185"/>
                    <a:pt x="348" y="185"/>
                  </a:cubicBezTo>
                  <a:cubicBezTo>
                    <a:pt x="349" y="185"/>
                    <a:pt x="349" y="184"/>
                    <a:pt x="350" y="184"/>
                  </a:cubicBezTo>
                  <a:cubicBezTo>
                    <a:pt x="349" y="183"/>
                    <a:pt x="349" y="183"/>
                    <a:pt x="349" y="183"/>
                  </a:cubicBezTo>
                  <a:cubicBezTo>
                    <a:pt x="349" y="183"/>
                    <a:pt x="349" y="183"/>
                    <a:pt x="349" y="183"/>
                  </a:cubicBezTo>
                  <a:cubicBezTo>
                    <a:pt x="350" y="184"/>
                    <a:pt x="350" y="184"/>
                    <a:pt x="350" y="184"/>
                  </a:cubicBezTo>
                  <a:cubicBezTo>
                    <a:pt x="350" y="184"/>
                    <a:pt x="350" y="184"/>
                    <a:pt x="350" y="183"/>
                  </a:cubicBezTo>
                  <a:cubicBezTo>
                    <a:pt x="350" y="183"/>
                    <a:pt x="350" y="183"/>
                    <a:pt x="350" y="183"/>
                  </a:cubicBezTo>
                  <a:cubicBezTo>
                    <a:pt x="352" y="183"/>
                    <a:pt x="352" y="183"/>
                    <a:pt x="353" y="182"/>
                  </a:cubicBezTo>
                  <a:cubicBezTo>
                    <a:pt x="353" y="182"/>
                    <a:pt x="353" y="182"/>
                    <a:pt x="353" y="182"/>
                  </a:cubicBezTo>
                  <a:cubicBezTo>
                    <a:pt x="354" y="182"/>
                    <a:pt x="354" y="182"/>
                    <a:pt x="354" y="182"/>
                  </a:cubicBezTo>
                  <a:cubicBezTo>
                    <a:pt x="355" y="182"/>
                    <a:pt x="356" y="180"/>
                    <a:pt x="357" y="178"/>
                  </a:cubicBezTo>
                  <a:cubicBezTo>
                    <a:pt x="357" y="178"/>
                    <a:pt x="357" y="178"/>
                    <a:pt x="357" y="178"/>
                  </a:cubicBezTo>
                  <a:cubicBezTo>
                    <a:pt x="358" y="177"/>
                    <a:pt x="359" y="176"/>
                    <a:pt x="360" y="175"/>
                  </a:cubicBezTo>
                  <a:cubicBezTo>
                    <a:pt x="361" y="175"/>
                    <a:pt x="361" y="175"/>
                    <a:pt x="362" y="174"/>
                  </a:cubicBezTo>
                  <a:cubicBezTo>
                    <a:pt x="362" y="173"/>
                    <a:pt x="362" y="171"/>
                    <a:pt x="361" y="170"/>
                  </a:cubicBezTo>
                  <a:cubicBezTo>
                    <a:pt x="361" y="170"/>
                    <a:pt x="361" y="170"/>
                    <a:pt x="361" y="170"/>
                  </a:cubicBezTo>
                  <a:cubicBezTo>
                    <a:pt x="361" y="169"/>
                    <a:pt x="361" y="169"/>
                    <a:pt x="360" y="169"/>
                  </a:cubicBezTo>
                  <a:cubicBezTo>
                    <a:pt x="360" y="168"/>
                    <a:pt x="361" y="168"/>
                    <a:pt x="361" y="168"/>
                  </a:cubicBezTo>
                  <a:cubicBezTo>
                    <a:pt x="362" y="168"/>
                    <a:pt x="363" y="166"/>
                    <a:pt x="363" y="165"/>
                  </a:cubicBezTo>
                  <a:cubicBezTo>
                    <a:pt x="363" y="165"/>
                    <a:pt x="364" y="165"/>
                    <a:pt x="364" y="164"/>
                  </a:cubicBezTo>
                  <a:cubicBezTo>
                    <a:pt x="364" y="164"/>
                    <a:pt x="364" y="163"/>
                    <a:pt x="364" y="163"/>
                  </a:cubicBezTo>
                  <a:cubicBezTo>
                    <a:pt x="364" y="163"/>
                    <a:pt x="365" y="162"/>
                    <a:pt x="365" y="162"/>
                  </a:cubicBezTo>
                  <a:cubicBezTo>
                    <a:pt x="366" y="162"/>
                    <a:pt x="366" y="161"/>
                    <a:pt x="367" y="161"/>
                  </a:cubicBezTo>
                  <a:cubicBezTo>
                    <a:pt x="368" y="161"/>
                    <a:pt x="369" y="161"/>
                    <a:pt x="370" y="161"/>
                  </a:cubicBezTo>
                  <a:cubicBezTo>
                    <a:pt x="370" y="160"/>
                    <a:pt x="370" y="160"/>
                    <a:pt x="370" y="159"/>
                  </a:cubicBezTo>
                  <a:cubicBezTo>
                    <a:pt x="371" y="159"/>
                    <a:pt x="371" y="160"/>
                    <a:pt x="371" y="160"/>
                  </a:cubicBezTo>
                  <a:cubicBezTo>
                    <a:pt x="371" y="160"/>
                    <a:pt x="372" y="160"/>
                    <a:pt x="373" y="160"/>
                  </a:cubicBezTo>
                  <a:cubicBezTo>
                    <a:pt x="373" y="160"/>
                    <a:pt x="373" y="160"/>
                    <a:pt x="373" y="160"/>
                  </a:cubicBezTo>
                  <a:cubicBezTo>
                    <a:pt x="373" y="160"/>
                    <a:pt x="373" y="160"/>
                    <a:pt x="374" y="160"/>
                  </a:cubicBezTo>
                  <a:cubicBezTo>
                    <a:pt x="374" y="161"/>
                    <a:pt x="374" y="161"/>
                    <a:pt x="374" y="161"/>
                  </a:cubicBezTo>
                  <a:cubicBezTo>
                    <a:pt x="374" y="162"/>
                    <a:pt x="374" y="162"/>
                    <a:pt x="374" y="162"/>
                  </a:cubicBezTo>
                  <a:cubicBezTo>
                    <a:pt x="377" y="160"/>
                    <a:pt x="377" y="160"/>
                    <a:pt x="377" y="160"/>
                  </a:cubicBezTo>
                  <a:cubicBezTo>
                    <a:pt x="377" y="160"/>
                    <a:pt x="377" y="160"/>
                    <a:pt x="377" y="160"/>
                  </a:cubicBezTo>
                  <a:cubicBezTo>
                    <a:pt x="377" y="160"/>
                    <a:pt x="377" y="160"/>
                    <a:pt x="377" y="160"/>
                  </a:cubicBezTo>
                  <a:cubicBezTo>
                    <a:pt x="377" y="160"/>
                    <a:pt x="378" y="160"/>
                    <a:pt x="378" y="159"/>
                  </a:cubicBezTo>
                  <a:cubicBezTo>
                    <a:pt x="379" y="160"/>
                    <a:pt x="379" y="161"/>
                    <a:pt x="380" y="162"/>
                  </a:cubicBezTo>
                  <a:cubicBezTo>
                    <a:pt x="381" y="162"/>
                    <a:pt x="381" y="162"/>
                    <a:pt x="381" y="162"/>
                  </a:cubicBezTo>
                  <a:cubicBezTo>
                    <a:pt x="381" y="162"/>
                    <a:pt x="381" y="162"/>
                    <a:pt x="381" y="163"/>
                  </a:cubicBezTo>
                  <a:cubicBezTo>
                    <a:pt x="381" y="163"/>
                    <a:pt x="381" y="164"/>
                    <a:pt x="381" y="165"/>
                  </a:cubicBezTo>
                  <a:cubicBezTo>
                    <a:pt x="381" y="165"/>
                    <a:pt x="381" y="166"/>
                    <a:pt x="381" y="166"/>
                  </a:cubicBezTo>
                  <a:cubicBezTo>
                    <a:pt x="381" y="166"/>
                    <a:pt x="381" y="167"/>
                    <a:pt x="382" y="167"/>
                  </a:cubicBezTo>
                  <a:cubicBezTo>
                    <a:pt x="382" y="167"/>
                    <a:pt x="381" y="167"/>
                    <a:pt x="381" y="167"/>
                  </a:cubicBezTo>
                  <a:cubicBezTo>
                    <a:pt x="381" y="167"/>
                    <a:pt x="380" y="167"/>
                    <a:pt x="379" y="168"/>
                  </a:cubicBezTo>
                  <a:cubicBezTo>
                    <a:pt x="378" y="168"/>
                    <a:pt x="378" y="168"/>
                    <a:pt x="378" y="168"/>
                  </a:cubicBezTo>
                  <a:cubicBezTo>
                    <a:pt x="376" y="168"/>
                    <a:pt x="374" y="171"/>
                    <a:pt x="374" y="172"/>
                  </a:cubicBezTo>
                  <a:cubicBezTo>
                    <a:pt x="374" y="173"/>
                    <a:pt x="371" y="175"/>
                    <a:pt x="370" y="175"/>
                  </a:cubicBezTo>
                  <a:cubicBezTo>
                    <a:pt x="369" y="176"/>
                    <a:pt x="369" y="177"/>
                    <a:pt x="369" y="177"/>
                  </a:cubicBezTo>
                  <a:cubicBezTo>
                    <a:pt x="369" y="178"/>
                    <a:pt x="368" y="178"/>
                    <a:pt x="367" y="179"/>
                  </a:cubicBezTo>
                  <a:cubicBezTo>
                    <a:pt x="366" y="179"/>
                    <a:pt x="366" y="180"/>
                    <a:pt x="366" y="180"/>
                  </a:cubicBezTo>
                  <a:cubicBezTo>
                    <a:pt x="366" y="180"/>
                    <a:pt x="365" y="180"/>
                    <a:pt x="365" y="180"/>
                  </a:cubicBezTo>
                  <a:cubicBezTo>
                    <a:pt x="364" y="180"/>
                    <a:pt x="364" y="181"/>
                    <a:pt x="364" y="181"/>
                  </a:cubicBezTo>
                  <a:cubicBezTo>
                    <a:pt x="364" y="181"/>
                    <a:pt x="364" y="181"/>
                    <a:pt x="364" y="181"/>
                  </a:cubicBezTo>
                  <a:cubicBezTo>
                    <a:pt x="364" y="181"/>
                    <a:pt x="364" y="181"/>
                    <a:pt x="364" y="181"/>
                  </a:cubicBezTo>
                  <a:cubicBezTo>
                    <a:pt x="363" y="181"/>
                    <a:pt x="363" y="181"/>
                    <a:pt x="363" y="181"/>
                  </a:cubicBezTo>
                  <a:cubicBezTo>
                    <a:pt x="361" y="182"/>
                    <a:pt x="361" y="184"/>
                    <a:pt x="361" y="185"/>
                  </a:cubicBezTo>
                  <a:cubicBezTo>
                    <a:pt x="361" y="185"/>
                    <a:pt x="361" y="185"/>
                    <a:pt x="361" y="186"/>
                  </a:cubicBezTo>
                  <a:cubicBezTo>
                    <a:pt x="361" y="186"/>
                    <a:pt x="361" y="186"/>
                    <a:pt x="361" y="186"/>
                  </a:cubicBezTo>
                  <a:cubicBezTo>
                    <a:pt x="361" y="186"/>
                    <a:pt x="360" y="186"/>
                    <a:pt x="360" y="186"/>
                  </a:cubicBezTo>
                  <a:cubicBezTo>
                    <a:pt x="358" y="187"/>
                    <a:pt x="358" y="187"/>
                    <a:pt x="357" y="188"/>
                  </a:cubicBezTo>
                  <a:cubicBezTo>
                    <a:pt x="357" y="189"/>
                    <a:pt x="356" y="189"/>
                    <a:pt x="355" y="190"/>
                  </a:cubicBezTo>
                  <a:cubicBezTo>
                    <a:pt x="353" y="192"/>
                    <a:pt x="354" y="194"/>
                    <a:pt x="354" y="195"/>
                  </a:cubicBezTo>
                  <a:cubicBezTo>
                    <a:pt x="354" y="196"/>
                    <a:pt x="355" y="196"/>
                    <a:pt x="355" y="196"/>
                  </a:cubicBezTo>
                  <a:cubicBezTo>
                    <a:pt x="355" y="197"/>
                    <a:pt x="355" y="197"/>
                    <a:pt x="355" y="198"/>
                  </a:cubicBezTo>
                  <a:cubicBezTo>
                    <a:pt x="354" y="200"/>
                    <a:pt x="354" y="202"/>
                    <a:pt x="355" y="203"/>
                  </a:cubicBezTo>
                  <a:cubicBezTo>
                    <a:pt x="355" y="203"/>
                    <a:pt x="355" y="203"/>
                    <a:pt x="355" y="204"/>
                  </a:cubicBezTo>
                  <a:cubicBezTo>
                    <a:pt x="355" y="204"/>
                    <a:pt x="354" y="205"/>
                    <a:pt x="354" y="207"/>
                  </a:cubicBezTo>
                  <a:cubicBezTo>
                    <a:pt x="354" y="208"/>
                    <a:pt x="354" y="209"/>
                    <a:pt x="354" y="209"/>
                  </a:cubicBezTo>
                  <a:cubicBezTo>
                    <a:pt x="352" y="210"/>
                    <a:pt x="353" y="211"/>
                    <a:pt x="353" y="212"/>
                  </a:cubicBezTo>
                  <a:cubicBezTo>
                    <a:pt x="353" y="213"/>
                    <a:pt x="353" y="214"/>
                    <a:pt x="353" y="214"/>
                  </a:cubicBezTo>
                  <a:cubicBezTo>
                    <a:pt x="352" y="214"/>
                    <a:pt x="352" y="215"/>
                    <a:pt x="353" y="216"/>
                  </a:cubicBezTo>
                  <a:cubicBezTo>
                    <a:pt x="353" y="217"/>
                    <a:pt x="354" y="217"/>
                    <a:pt x="355" y="217"/>
                  </a:cubicBezTo>
                  <a:cubicBezTo>
                    <a:pt x="355" y="217"/>
                    <a:pt x="355" y="217"/>
                    <a:pt x="355" y="217"/>
                  </a:cubicBezTo>
                  <a:cubicBezTo>
                    <a:pt x="355" y="218"/>
                    <a:pt x="356" y="218"/>
                    <a:pt x="357" y="218"/>
                  </a:cubicBezTo>
                  <a:cubicBezTo>
                    <a:pt x="357" y="218"/>
                    <a:pt x="357" y="218"/>
                    <a:pt x="358" y="218"/>
                  </a:cubicBezTo>
                  <a:cubicBezTo>
                    <a:pt x="359" y="218"/>
                    <a:pt x="359" y="218"/>
                    <a:pt x="359" y="218"/>
                  </a:cubicBezTo>
                  <a:cubicBezTo>
                    <a:pt x="359" y="218"/>
                    <a:pt x="359" y="218"/>
                    <a:pt x="359" y="219"/>
                  </a:cubicBezTo>
                  <a:cubicBezTo>
                    <a:pt x="359" y="219"/>
                    <a:pt x="359" y="220"/>
                    <a:pt x="359" y="220"/>
                  </a:cubicBezTo>
                  <a:cubicBezTo>
                    <a:pt x="360" y="221"/>
                    <a:pt x="360" y="221"/>
                    <a:pt x="361" y="221"/>
                  </a:cubicBezTo>
                  <a:cubicBezTo>
                    <a:pt x="361" y="221"/>
                    <a:pt x="361" y="221"/>
                    <a:pt x="361" y="222"/>
                  </a:cubicBezTo>
                  <a:cubicBezTo>
                    <a:pt x="361" y="222"/>
                    <a:pt x="362" y="222"/>
                    <a:pt x="362" y="222"/>
                  </a:cubicBezTo>
                  <a:cubicBezTo>
                    <a:pt x="362" y="222"/>
                    <a:pt x="362" y="223"/>
                    <a:pt x="362" y="223"/>
                  </a:cubicBezTo>
                  <a:cubicBezTo>
                    <a:pt x="362" y="223"/>
                    <a:pt x="362" y="223"/>
                    <a:pt x="362" y="224"/>
                  </a:cubicBezTo>
                  <a:cubicBezTo>
                    <a:pt x="362" y="225"/>
                    <a:pt x="363" y="226"/>
                    <a:pt x="364" y="226"/>
                  </a:cubicBezTo>
                  <a:cubicBezTo>
                    <a:pt x="365" y="226"/>
                    <a:pt x="366" y="225"/>
                    <a:pt x="367" y="224"/>
                  </a:cubicBezTo>
                  <a:cubicBezTo>
                    <a:pt x="367" y="224"/>
                    <a:pt x="367" y="224"/>
                    <a:pt x="368" y="224"/>
                  </a:cubicBezTo>
                  <a:cubicBezTo>
                    <a:pt x="368" y="224"/>
                    <a:pt x="369" y="224"/>
                    <a:pt x="370" y="223"/>
                  </a:cubicBezTo>
                  <a:cubicBezTo>
                    <a:pt x="370" y="223"/>
                    <a:pt x="371" y="223"/>
                    <a:pt x="371" y="223"/>
                  </a:cubicBezTo>
                  <a:cubicBezTo>
                    <a:pt x="371" y="223"/>
                    <a:pt x="371" y="223"/>
                    <a:pt x="371" y="223"/>
                  </a:cubicBezTo>
                  <a:cubicBezTo>
                    <a:pt x="371" y="223"/>
                    <a:pt x="372" y="223"/>
                    <a:pt x="372" y="223"/>
                  </a:cubicBezTo>
                  <a:cubicBezTo>
                    <a:pt x="372" y="223"/>
                    <a:pt x="372" y="223"/>
                    <a:pt x="372" y="223"/>
                  </a:cubicBezTo>
                  <a:cubicBezTo>
                    <a:pt x="374" y="223"/>
                    <a:pt x="377" y="221"/>
                    <a:pt x="378" y="220"/>
                  </a:cubicBezTo>
                  <a:cubicBezTo>
                    <a:pt x="379" y="220"/>
                    <a:pt x="379" y="221"/>
                    <a:pt x="379" y="221"/>
                  </a:cubicBezTo>
                  <a:cubicBezTo>
                    <a:pt x="380" y="221"/>
                    <a:pt x="381" y="220"/>
                    <a:pt x="381" y="219"/>
                  </a:cubicBezTo>
                  <a:cubicBezTo>
                    <a:pt x="382" y="219"/>
                    <a:pt x="382" y="219"/>
                    <a:pt x="383" y="219"/>
                  </a:cubicBezTo>
                  <a:cubicBezTo>
                    <a:pt x="384" y="219"/>
                    <a:pt x="384" y="219"/>
                    <a:pt x="385" y="219"/>
                  </a:cubicBezTo>
                  <a:cubicBezTo>
                    <a:pt x="385" y="219"/>
                    <a:pt x="385" y="219"/>
                    <a:pt x="386" y="219"/>
                  </a:cubicBezTo>
                  <a:cubicBezTo>
                    <a:pt x="387" y="219"/>
                    <a:pt x="389" y="219"/>
                    <a:pt x="390" y="219"/>
                  </a:cubicBezTo>
                  <a:cubicBezTo>
                    <a:pt x="390" y="219"/>
                    <a:pt x="390" y="219"/>
                    <a:pt x="390" y="219"/>
                  </a:cubicBezTo>
                  <a:cubicBezTo>
                    <a:pt x="391" y="219"/>
                    <a:pt x="391" y="219"/>
                    <a:pt x="392" y="219"/>
                  </a:cubicBezTo>
                  <a:cubicBezTo>
                    <a:pt x="393" y="219"/>
                    <a:pt x="394" y="219"/>
                    <a:pt x="395" y="218"/>
                  </a:cubicBezTo>
                  <a:cubicBezTo>
                    <a:pt x="395" y="218"/>
                    <a:pt x="395" y="218"/>
                    <a:pt x="395" y="218"/>
                  </a:cubicBezTo>
                  <a:cubicBezTo>
                    <a:pt x="395" y="218"/>
                    <a:pt x="395" y="218"/>
                    <a:pt x="395" y="218"/>
                  </a:cubicBezTo>
                  <a:cubicBezTo>
                    <a:pt x="394" y="218"/>
                    <a:pt x="394" y="219"/>
                    <a:pt x="394" y="219"/>
                  </a:cubicBezTo>
                  <a:cubicBezTo>
                    <a:pt x="394" y="221"/>
                    <a:pt x="395" y="221"/>
                    <a:pt x="397" y="222"/>
                  </a:cubicBezTo>
                  <a:cubicBezTo>
                    <a:pt x="397" y="222"/>
                    <a:pt x="398" y="222"/>
                    <a:pt x="398" y="223"/>
                  </a:cubicBezTo>
                  <a:cubicBezTo>
                    <a:pt x="399" y="223"/>
                    <a:pt x="399" y="223"/>
                    <a:pt x="399" y="223"/>
                  </a:cubicBezTo>
                  <a:cubicBezTo>
                    <a:pt x="400" y="223"/>
                    <a:pt x="400" y="223"/>
                    <a:pt x="400" y="223"/>
                  </a:cubicBezTo>
                  <a:cubicBezTo>
                    <a:pt x="401" y="223"/>
                    <a:pt x="401" y="223"/>
                    <a:pt x="401" y="223"/>
                  </a:cubicBezTo>
                  <a:cubicBezTo>
                    <a:pt x="402" y="223"/>
                    <a:pt x="402" y="223"/>
                    <a:pt x="403" y="224"/>
                  </a:cubicBezTo>
                  <a:cubicBezTo>
                    <a:pt x="403" y="224"/>
                    <a:pt x="403" y="224"/>
                    <a:pt x="403" y="224"/>
                  </a:cubicBezTo>
                  <a:cubicBezTo>
                    <a:pt x="402" y="224"/>
                    <a:pt x="402" y="224"/>
                    <a:pt x="402" y="224"/>
                  </a:cubicBezTo>
                  <a:cubicBezTo>
                    <a:pt x="400" y="223"/>
                    <a:pt x="400" y="223"/>
                    <a:pt x="400" y="223"/>
                  </a:cubicBezTo>
                  <a:cubicBezTo>
                    <a:pt x="398" y="223"/>
                    <a:pt x="397" y="224"/>
                    <a:pt x="397" y="225"/>
                  </a:cubicBezTo>
                  <a:cubicBezTo>
                    <a:pt x="397" y="225"/>
                    <a:pt x="397" y="225"/>
                    <a:pt x="396" y="225"/>
                  </a:cubicBezTo>
                  <a:cubicBezTo>
                    <a:pt x="395" y="224"/>
                    <a:pt x="394" y="225"/>
                    <a:pt x="393" y="226"/>
                  </a:cubicBezTo>
                  <a:cubicBezTo>
                    <a:pt x="393" y="226"/>
                    <a:pt x="393" y="226"/>
                    <a:pt x="393" y="226"/>
                  </a:cubicBezTo>
                  <a:cubicBezTo>
                    <a:pt x="391" y="226"/>
                    <a:pt x="391" y="227"/>
                    <a:pt x="391" y="228"/>
                  </a:cubicBezTo>
                  <a:cubicBezTo>
                    <a:pt x="389" y="228"/>
                    <a:pt x="389" y="228"/>
                    <a:pt x="389" y="228"/>
                  </a:cubicBezTo>
                  <a:cubicBezTo>
                    <a:pt x="389" y="229"/>
                    <a:pt x="389" y="229"/>
                    <a:pt x="389" y="229"/>
                  </a:cubicBezTo>
                  <a:cubicBezTo>
                    <a:pt x="389" y="229"/>
                    <a:pt x="389" y="229"/>
                    <a:pt x="388" y="229"/>
                  </a:cubicBezTo>
                  <a:cubicBezTo>
                    <a:pt x="388" y="229"/>
                    <a:pt x="388" y="229"/>
                    <a:pt x="388" y="229"/>
                  </a:cubicBezTo>
                  <a:cubicBezTo>
                    <a:pt x="387" y="229"/>
                    <a:pt x="387" y="229"/>
                    <a:pt x="387" y="229"/>
                  </a:cubicBezTo>
                  <a:cubicBezTo>
                    <a:pt x="386" y="228"/>
                    <a:pt x="386" y="228"/>
                    <a:pt x="386" y="228"/>
                  </a:cubicBezTo>
                  <a:cubicBezTo>
                    <a:pt x="386" y="228"/>
                    <a:pt x="384" y="228"/>
                    <a:pt x="383" y="228"/>
                  </a:cubicBezTo>
                  <a:cubicBezTo>
                    <a:pt x="383" y="228"/>
                    <a:pt x="383" y="228"/>
                    <a:pt x="383" y="228"/>
                  </a:cubicBezTo>
                  <a:cubicBezTo>
                    <a:pt x="382" y="227"/>
                    <a:pt x="382" y="226"/>
                    <a:pt x="379" y="226"/>
                  </a:cubicBezTo>
                  <a:cubicBezTo>
                    <a:pt x="379" y="226"/>
                    <a:pt x="379" y="226"/>
                    <a:pt x="379" y="226"/>
                  </a:cubicBezTo>
                  <a:cubicBezTo>
                    <a:pt x="379" y="226"/>
                    <a:pt x="378" y="226"/>
                    <a:pt x="378" y="226"/>
                  </a:cubicBezTo>
                  <a:cubicBezTo>
                    <a:pt x="377" y="225"/>
                    <a:pt x="376" y="225"/>
                    <a:pt x="375" y="226"/>
                  </a:cubicBezTo>
                  <a:cubicBezTo>
                    <a:pt x="375" y="227"/>
                    <a:pt x="375" y="227"/>
                    <a:pt x="375" y="228"/>
                  </a:cubicBezTo>
                  <a:cubicBezTo>
                    <a:pt x="375" y="228"/>
                    <a:pt x="374" y="228"/>
                    <a:pt x="374" y="228"/>
                  </a:cubicBezTo>
                  <a:cubicBezTo>
                    <a:pt x="374" y="228"/>
                    <a:pt x="374" y="228"/>
                    <a:pt x="374" y="228"/>
                  </a:cubicBezTo>
                  <a:cubicBezTo>
                    <a:pt x="374" y="228"/>
                    <a:pt x="374" y="228"/>
                    <a:pt x="374" y="228"/>
                  </a:cubicBezTo>
                  <a:cubicBezTo>
                    <a:pt x="373" y="228"/>
                    <a:pt x="373" y="228"/>
                    <a:pt x="372" y="229"/>
                  </a:cubicBezTo>
                  <a:cubicBezTo>
                    <a:pt x="372" y="229"/>
                    <a:pt x="370" y="229"/>
                    <a:pt x="369" y="228"/>
                  </a:cubicBezTo>
                  <a:cubicBezTo>
                    <a:pt x="368" y="228"/>
                    <a:pt x="368" y="228"/>
                    <a:pt x="368" y="228"/>
                  </a:cubicBezTo>
                  <a:cubicBezTo>
                    <a:pt x="367" y="228"/>
                    <a:pt x="366" y="228"/>
                    <a:pt x="366" y="229"/>
                  </a:cubicBezTo>
                  <a:cubicBezTo>
                    <a:pt x="365" y="229"/>
                    <a:pt x="365" y="229"/>
                    <a:pt x="364" y="229"/>
                  </a:cubicBezTo>
                  <a:cubicBezTo>
                    <a:pt x="364" y="229"/>
                    <a:pt x="364" y="229"/>
                    <a:pt x="364" y="229"/>
                  </a:cubicBezTo>
                  <a:cubicBezTo>
                    <a:pt x="362" y="229"/>
                    <a:pt x="361" y="232"/>
                    <a:pt x="361" y="234"/>
                  </a:cubicBezTo>
                  <a:cubicBezTo>
                    <a:pt x="361" y="233"/>
                    <a:pt x="361" y="233"/>
                    <a:pt x="360" y="232"/>
                  </a:cubicBezTo>
                  <a:cubicBezTo>
                    <a:pt x="360" y="232"/>
                    <a:pt x="360" y="232"/>
                    <a:pt x="360" y="232"/>
                  </a:cubicBezTo>
                  <a:cubicBezTo>
                    <a:pt x="359" y="231"/>
                    <a:pt x="359" y="230"/>
                    <a:pt x="358" y="230"/>
                  </a:cubicBezTo>
                  <a:cubicBezTo>
                    <a:pt x="357" y="230"/>
                    <a:pt x="356" y="232"/>
                    <a:pt x="356" y="232"/>
                  </a:cubicBezTo>
                  <a:cubicBezTo>
                    <a:pt x="355" y="232"/>
                    <a:pt x="354" y="232"/>
                    <a:pt x="354" y="233"/>
                  </a:cubicBezTo>
                  <a:cubicBezTo>
                    <a:pt x="353" y="233"/>
                    <a:pt x="353" y="234"/>
                    <a:pt x="353" y="234"/>
                  </a:cubicBezTo>
                  <a:cubicBezTo>
                    <a:pt x="353" y="235"/>
                    <a:pt x="354" y="235"/>
                    <a:pt x="354" y="236"/>
                  </a:cubicBezTo>
                  <a:cubicBezTo>
                    <a:pt x="354" y="236"/>
                    <a:pt x="355" y="236"/>
                    <a:pt x="355" y="236"/>
                  </a:cubicBezTo>
                  <a:cubicBezTo>
                    <a:pt x="355" y="236"/>
                    <a:pt x="355" y="236"/>
                    <a:pt x="355" y="236"/>
                  </a:cubicBezTo>
                  <a:cubicBezTo>
                    <a:pt x="355" y="237"/>
                    <a:pt x="355" y="237"/>
                    <a:pt x="355" y="237"/>
                  </a:cubicBezTo>
                  <a:cubicBezTo>
                    <a:pt x="355" y="237"/>
                    <a:pt x="355" y="237"/>
                    <a:pt x="355" y="237"/>
                  </a:cubicBezTo>
                  <a:cubicBezTo>
                    <a:pt x="354" y="238"/>
                    <a:pt x="354" y="238"/>
                    <a:pt x="352" y="237"/>
                  </a:cubicBezTo>
                  <a:cubicBezTo>
                    <a:pt x="351" y="237"/>
                    <a:pt x="351" y="237"/>
                    <a:pt x="351" y="237"/>
                  </a:cubicBezTo>
                  <a:cubicBezTo>
                    <a:pt x="351" y="239"/>
                    <a:pt x="351" y="239"/>
                    <a:pt x="351" y="239"/>
                  </a:cubicBezTo>
                  <a:cubicBezTo>
                    <a:pt x="351" y="239"/>
                    <a:pt x="351" y="239"/>
                    <a:pt x="351" y="240"/>
                  </a:cubicBezTo>
                  <a:cubicBezTo>
                    <a:pt x="351" y="240"/>
                    <a:pt x="351" y="240"/>
                    <a:pt x="351" y="240"/>
                  </a:cubicBezTo>
                  <a:cubicBezTo>
                    <a:pt x="351" y="240"/>
                    <a:pt x="351" y="240"/>
                    <a:pt x="351" y="240"/>
                  </a:cubicBezTo>
                  <a:cubicBezTo>
                    <a:pt x="351" y="241"/>
                    <a:pt x="351" y="241"/>
                    <a:pt x="350" y="241"/>
                  </a:cubicBezTo>
                  <a:cubicBezTo>
                    <a:pt x="350" y="242"/>
                    <a:pt x="351" y="243"/>
                    <a:pt x="351" y="243"/>
                  </a:cubicBezTo>
                  <a:cubicBezTo>
                    <a:pt x="351" y="243"/>
                    <a:pt x="351" y="244"/>
                    <a:pt x="351" y="244"/>
                  </a:cubicBezTo>
                  <a:cubicBezTo>
                    <a:pt x="350" y="245"/>
                    <a:pt x="350" y="246"/>
                    <a:pt x="351" y="247"/>
                  </a:cubicBezTo>
                  <a:cubicBezTo>
                    <a:pt x="351" y="247"/>
                    <a:pt x="351" y="247"/>
                    <a:pt x="351" y="247"/>
                  </a:cubicBezTo>
                  <a:cubicBezTo>
                    <a:pt x="347" y="247"/>
                    <a:pt x="347" y="249"/>
                    <a:pt x="347" y="251"/>
                  </a:cubicBezTo>
                  <a:cubicBezTo>
                    <a:pt x="346" y="252"/>
                    <a:pt x="346" y="253"/>
                    <a:pt x="345" y="254"/>
                  </a:cubicBezTo>
                  <a:cubicBezTo>
                    <a:pt x="343" y="256"/>
                    <a:pt x="343" y="259"/>
                    <a:pt x="343" y="260"/>
                  </a:cubicBezTo>
                  <a:cubicBezTo>
                    <a:pt x="343" y="261"/>
                    <a:pt x="343" y="262"/>
                    <a:pt x="343" y="263"/>
                  </a:cubicBezTo>
                  <a:cubicBezTo>
                    <a:pt x="343" y="267"/>
                    <a:pt x="343" y="267"/>
                    <a:pt x="343" y="267"/>
                  </a:cubicBezTo>
                  <a:cubicBezTo>
                    <a:pt x="343" y="267"/>
                    <a:pt x="343" y="267"/>
                    <a:pt x="343" y="267"/>
                  </a:cubicBezTo>
                  <a:cubicBezTo>
                    <a:pt x="343" y="267"/>
                    <a:pt x="343" y="268"/>
                    <a:pt x="343" y="268"/>
                  </a:cubicBezTo>
                  <a:cubicBezTo>
                    <a:pt x="343" y="268"/>
                    <a:pt x="343" y="269"/>
                    <a:pt x="343" y="269"/>
                  </a:cubicBezTo>
                  <a:cubicBezTo>
                    <a:pt x="343" y="269"/>
                    <a:pt x="342" y="269"/>
                    <a:pt x="341" y="271"/>
                  </a:cubicBezTo>
                  <a:cubicBezTo>
                    <a:pt x="341" y="272"/>
                    <a:pt x="341" y="273"/>
                    <a:pt x="341" y="273"/>
                  </a:cubicBezTo>
                  <a:cubicBezTo>
                    <a:pt x="340" y="274"/>
                    <a:pt x="339" y="275"/>
                    <a:pt x="338" y="275"/>
                  </a:cubicBezTo>
                  <a:cubicBezTo>
                    <a:pt x="338" y="275"/>
                    <a:pt x="338" y="275"/>
                    <a:pt x="338" y="275"/>
                  </a:cubicBezTo>
                  <a:cubicBezTo>
                    <a:pt x="337" y="275"/>
                    <a:pt x="336" y="276"/>
                    <a:pt x="335" y="277"/>
                  </a:cubicBezTo>
                  <a:cubicBezTo>
                    <a:pt x="335" y="278"/>
                    <a:pt x="335" y="278"/>
                    <a:pt x="336" y="279"/>
                  </a:cubicBezTo>
                  <a:cubicBezTo>
                    <a:pt x="335" y="279"/>
                    <a:pt x="334" y="279"/>
                    <a:pt x="332" y="280"/>
                  </a:cubicBezTo>
                  <a:cubicBezTo>
                    <a:pt x="331" y="281"/>
                    <a:pt x="331" y="281"/>
                    <a:pt x="331" y="281"/>
                  </a:cubicBezTo>
                  <a:cubicBezTo>
                    <a:pt x="331" y="280"/>
                    <a:pt x="331" y="280"/>
                    <a:pt x="331" y="280"/>
                  </a:cubicBezTo>
                  <a:cubicBezTo>
                    <a:pt x="331" y="279"/>
                    <a:pt x="330" y="278"/>
                    <a:pt x="329" y="276"/>
                  </a:cubicBezTo>
                  <a:cubicBezTo>
                    <a:pt x="329" y="276"/>
                    <a:pt x="329" y="276"/>
                    <a:pt x="329" y="276"/>
                  </a:cubicBezTo>
                  <a:cubicBezTo>
                    <a:pt x="327" y="275"/>
                    <a:pt x="326" y="275"/>
                    <a:pt x="324" y="275"/>
                  </a:cubicBezTo>
                  <a:cubicBezTo>
                    <a:pt x="324" y="275"/>
                    <a:pt x="323" y="276"/>
                    <a:pt x="323" y="276"/>
                  </a:cubicBezTo>
                  <a:cubicBezTo>
                    <a:pt x="322" y="276"/>
                    <a:pt x="321" y="277"/>
                    <a:pt x="320" y="277"/>
                  </a:cubicBezTo>
                  <a:cubicBezTo>
                    <a:pt x="319" y="277"/>
                    <a:pt x="318" y="278"/>
                    <a:pt x="316" y="278"/>
                  </a:cubicBezTo>
                  <a:cubicBezTo>
                    <a:pt x="315" y="279"/>
                    <a:pt x="315" y="279"/>
                    <a:pt x="314" y="279"/>
                  </a:cubicBezTo>
                  <a:cubicBezTo>
                    <a:pt x="312" y="280"/>
                    <a:pt x="311" y="281"/>
                    <a:pt x="310" y="281"/>
                  </a:cubicBezTo>
                  <a:cubicBezTo>
                    <a:pt x="310" y="281"/>
                    <a:pt x="310" y="282"/>
                    <a:pt x="309" y="282"/>
                  </a:cubicBezTo>
                  <a:cubicBezTo>
                    <a:pt x="309" y="282"/>
                    <a:pt x="309" y="282"/>
                    <a:pt x="309" y="281"/>
                  </a:cubicBezTo>
                  <a:cubicBezTo>
                    <a:pt x="308" y="281"/>
                    <a:pt x="308" y="281"/>
                    <a:pt x="308" y="281"/>
                  </a:cubicBezTo>
                  <a:cubicBezTo>
                    <a:pt x="307" y="281"/>
                    <a:pt x="305" y="282"/>
                    <a:pt x="304" y="283"/>
                  </a:cubicBezTo>
                  <a:cubicBezTo>
                    <a:pt x="304" y="283"/>
                    <a:pt x="303" y="283"/>
                    <a:pt x="303" y="284"/>
                  </a:cubicBezTo>
                  <a:cubicBezTo>
                    <a:pt x="302" y="284"/>
                    <a:pt x="301" y="284"/>
                    <a:pt x="301" y="285"/>
                  </a:cubicBezTo>
                  <a:cubicBezTo>
                    <a:pt x="301" y="285"/>
                    <a:pt x="301" y="285"/>
                    <a:pt x="301" y="286"/>
                  </a:cubicBezTo>
                  <a:cubicBezTo>
                    <a:pt x="300" y="286"/>
                    <a:pt x="300" y="287"/>
                    <a:pt x="300" y="288"/>
                  </a:cubicBezTo>
                  <a:cubicBezTo>
                    <a:pt x="298" y="287"/>
                    <a:pt x="298" y="287"/>
                    <a:pt x="298" y="287"/>
                  </a:cubicBezTo>
                  <a:cubicBezTo>
                    <a:pt x="298" y="287"/>
                    <a:pt x="298" y="287"/>
                    <a:pt x="298" y="287"/>
                  </a:cubicBezTo>
                  <a:cubicBezTo>
                    <a:pt x="298" y="287"/>
                    <a:pt x="297" y="287"/>
                    <a:pt x="297" y="287"/>
                  </a:cubicBezTo>
                  <a:cubicBezTo>
                    <a:pt x="297" y="286"/>
                    <a:pt x="297" y="286"/>
                    <a:pt x="297" y="286"/>
                  </a:cubicBezTo>
                  <a:cubicBezTo>
                    <a:pt x="297" y="284"/>
                    <a:pt x="295" y="284"/>
                    <a:pt x="294" y="283"/>
                  </a:cubicBezTo>
                  <a:cubicBezTo>
                    <a:pt x="294" y="283"/>
                    <a:pt x="293" y="283"/>
                    <a:pt x="293" y="283"/>
                  </a:cubicBezTo>
                  <a:cubicBezTo>
                    <a:pt x="293" y="283"/>
                    <a:pt x="293" y="283"/>
                    <a:pt x="293" y="282"/>
                  </a:cubicBezTo>
                  <a:cubicBezTo>
                    <a:pt x="293" y="281"/>
                    <a:pt x="291" y="281"/>
                    <a:pt x="291" y="280"/>
                  </a:cubicBezTo>
                  <a:cubicBezTo>
                    <a:pt x="291" y="280"/>
                    <a:pt x="290" y="280"/>
                    <a:pt x="290" y="280"/>
                  </a:cubicBezTo>
                  <a:cubicBezTo>
                    <a:pt x="289" y="280"/>
                    <a:pt x="288" y="280"/>
                    <a:pt x="286" y="281"/>
                  </a:cubicBezTo>
                  <a:cubicBezTo>
                    <a:pt x="286" y="282"/>
                    <a:pt x="285" y="282"/>
                    <a:pt x="283" y="282"/>
                  </a:cubicBezTo>
                  <a:cubicBezTo>
                    <a:pt x="283" y="283"/>
                    <a:pt x="283" y="283"/>
                    <a:pt x="283" y="283"/>
                  </a:cubicBezTo>
                  <a:cubicBezTo>
                    <a:pt x="283" y="283"/>
                    <a:pt x="283" y="283"/>
                    <a:pt x="283" y="283"/>
                  </a:cubicBezTo>
                  <a:cubicBezTo>
                    <a:pt x="282" y="282"/>
                    <a:pt x="282" y="282"/>
                    <a:pt x="282" y="282"/>
                  </a:cubicBezTo>
                  <a:cubicBezTo>
                    <a:pt x="281" y="282"/>
                    <a:pt x="281" y="283"/>
                    <a:pt x="281" y="283"/>
                  </a:cubicBezTo>
                  <a:cubicBezTo>
                    <a:pt x="280" y="284"/>
                    <a:pt x="280" y="284"/>
                    <a:pt x="281" y="284"/>
                  </a:cubicBezTo>
                  <a:cubicBezTo>
                    <a:pt x="281" y="284"/>
                    <a:pt x="281" y="284"/>
                    <a:pt x="281" y="284"/>
                  </a:cubicBezTo>
                  <a:cubicBezTo>
                    <a:pt x="280" y="284"/>
                    <a:pt x="280" y="284"/>
                    <a:pt x="280" y="284"/>
                  </a:cubicBezTo>
                  <a:cubicBezTo>
                    <a:pt x="280" y="283"/>
                    <a:pt x="280" y="282"/>
                    <a:pt x="279" y="281"/>
                  </a:cubicBezTo>
                  <a:cubicBezTo>
                    <a:pt x="278" y="280"/>
                    <a:pt x="277" y="280"/>
                    <a:pt x="276" y="281"/>
                  </a:cubicBezTo>
                  <a:cubicBezTo>
                    <a:pt x="276" y="281"/>
                    <a:pt x="276" y="281"/>
                    <a:pt x="276" y="281"/>
                  </a:cubicBezTo>
                  <a:cubicBezTo>
                    <a:pt x="275" y="281"/>
                    <a:pt x="275" y="280"/>
                    <a:pt x="275" y="280"/>
                  </a:cubicBezTo>
                  <a:cubicBezTo>
                    <a:pt x="274" y="279"/>
                    <a:pt x="274" y="279"/>
                    <a:pt x="274" y="278"/>
                  </a:cubicBezTo>
                  <a:cubicBezTo>
                    <a:pt x="273" y="278"/>
                    <a:pt x="273" y="278"/>
                    <a:pt x="273" y="278"/>
                  </a:cubicBezTo>
                  <a:cubicBezTo>
                    <a:pt x="273" y="277"/>
                    <a:pt x="274" y="277"/>
                    <a:pt x="274" y="277"/>
                  </a:cubicBezTo>
                  <a:cubicBezTo>
                    <a:pt x="274" y="277"/>
                    <a:pt x="275" y="278"/>
                    <a:pt x="276" y="278"/>
                  </a:cubicBezTo>
                  <a:cubicBezTo>
                    <a:pt x="276" y="278"/>
                    <a:pt x="276" y="278"/>
                    <a:pt x="276" y="278"/>
                  </a:cubicBezTo>
                  <a:cubicBezTo>
                    <a:pt x="277" y="278"/>
                    <a:pt x="277" y="278"/>
                    <a:pt x="278" y="278"/>
                  </a:cubicBezTo>
                  <a:cubicBezTo>
                    <a:pt x="278" y="278"/>
                    <a:pt x="278" y="278"/>
                    <a:pt x="278" y="278"/>
                  </a:cubicBezTo>
                  <a:cubicBezTo>
                    <a:pt x="279" y="279"/>
                    <a:pt x="279" y="279"/>
                    <a:pt x="279" y="279"/>
                  </a:cubicBezTo>
                  <a:cubicBezTo>
                    <a:pt x="280" y="279"/>
                    <a:pt x="280" y="279"/>
                    <a:pt x="280" y="280"/>
                  </a:cubicBezTo>
                  <a:cubicBezTo>
                    <a:pt x="281" y="280"/>
                    <a:pt x="281" y="280"/>
                    <a:pt x="281" y="280"/>
                  </a:cubicBezTo>
                  <a:cubicBezTo>
                    <a:pt x="281" y="280"/>
                    <a:pt x="282" y="281"/>
                    <a:pt x="283" y="281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4" y="281"/>
                    <a:pt x="284" y="281"/>
                    <a:pt x="284" y="280"/>
                  </a:cubicBezTo>
                  <a:cubicBezTo>
                    <a:pt x="285" y="280"/>
                    <a:pt x="285" y="280"/>
                    <a:pt x="285" y="280"/>
                  </a:cubicBezTo>
                  <a:cubicBezTo>
                    <a:pt x="285" y="280"/>
                    <a:pt x="285" y="280"/>
                    <a:pt x="285" y="280"/>
                  </a:cubicBezTo>
                  <a:cubicBezTo>
                    <a:pt x="286" y="280"/>
                    <a:pt x="287" y="280"/>
                    <a:pt x="287" y="279"/>
                  </a:cubicBezTo>
                  <a:cubicBezTo>
                    <a:pt x="287" y="279"/>
                    <a:pt x="287" y="279"/>
                    <a:pt x="287" y="279"/>
                  </a:cubicBezTo>
                  <a:cubicBezTo>
                    <a:pt x="287" y="279"/>
                    <a:pt x="287" y="279"/>
                    <a:pt x="287" y="279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88" y="278"/>
                    <a:pt x="288" y="278"/>
                    <a:pt x="288" y="278"/>
                  </a:cubicBezTo>
                  <a:cubicBezTo>
                    <a:pt x="288" y="278"/>
                    <a:pt x="289" y="278"/>
                    <a:pt x="289" y="277"/>
                  </a:cubicBezTo>
                  <a:cubicBezTo>
                    <a:pt x="289" y="278"/>
                    <a:pt x="289" y="278"/>
                    <a:pt x="289" y="278"/>
                  </a:cubicBezTo>
                  <a:cubicBezTo>
                    <a:pt x="290" y="277"/>
                    <a:pt x="290" y="277"/>
                    <a:pt x="290" y="277"/>
                  </a:cubicBezTo>
                  <a:cubicBezTo>
                    <a:pt x="290" y="276"/>
                    <a:pt x="290" y="276"/>
                    <a:pt x="290" y="276"/>
                  </a:cubicBezTo>
                  <a:cubicBezTo>
                    <a:pt x="291" y="275"/>
                    <a:pt x="291" y="275"/>
                    <a:pt x="291" y="275"/>
                  </a:cubicBezTo>
                  <a:cubicBezTo>
                    <a:pt x="291" y="274"/>
                    <a:pt x="291" y="274"/>
                    <a:pt x="291" y="274"/>
                  </a:cubicBezTo>
                  <a:cubicBezTo>
                    <a:pt x="291" y="274"/>
                    <a:pt x="291" y="274"/>
                    <a:pt x="291" y="274"/>
                  </a:cubicBezTo>
                  <a:cubicBezTo>
                    <a:pt x="290" y="274"/>
                    <a:pt x="290" y="273"/>
                    <a:pt x="290" y="273"/>
                  </a:cubicBezTo>
                  <a:cubicBezTo>
                    <a:pt x="290" y="273"/>
                    <a:pt x="290" y="273"/>
                    <a:pt x="290" y="273"/>
                  </a:cubicBezTo>
                  <a:close/>
                  <a:moveTo>
                    <a:pt x="361" y="234"/>
                  </a:moveTo>
                  <a:cubicBezTo>
                    <a:pt x="361" y="234"/>
                    <a:pt x="361" y="234"/>
                    <a:pt x="361" y="234"/>
                  </a:cubicBezTo>
                  <a:cubicBezTo>
                    <a:pt x="361" y="235"/>
                    <a:pt x="362" y="236"/>
                    <a:pt x="362" y="236"/>
                  </a:cubicBezTo>
                  <a:cubicBezTo>
                    <a:pt x="362" y="237"/>
                    <a:pt x="361" y="237"/>
                    <a:pt x="361" y="238"/>
                  </a:cubicBezTo>
                  <a:cubicBezTo>
                    <a:pt x="361" y="238"/>
                    <a:pt x="361" y="239"/>
                    <a:pt x="362" y="240"/>
                  </a:cubicBezTo>
                  <a:cubicBezTo>
                    <a:pt x="362" y="240"/>
                    <a:pt x="362" y="240"/>
                    <a:pt x="362" y="240"/>
                  </a:cubicBezTo>
                  <a:cubicBezTo>
                    <a:pt x="362" y="241"/>
                    <a:pt x="363" y="243"/>
                    <a:pt x="366" y="244"/>
                  </a:cubicBezTo>
                  <a:cubicBezTo>
                    <a:pt x="366" y="244"/>
                    <a:pt x="366" y="245"/>
                    <a:pt x="365" y="245"/>
                  </a:cubicBezTo>
                  <a:cubicBezTo>
                    <a:pt x="365" y="246"/>
                    <a:pt x="365" y="246"/>
                    <a:pt x="365" y="246"/>
                  </a:cubicBezTo>
                  <a:cubicBezTo>
                    <a:pt x="365" y="246"/>
                    <a:pt x="365" y="246"/>
                    <a:pt x="365" y="246"/>
                  </a:cubicBezTo>
                  <a:cubicBezTo>
                    <a:pt x="365" y="247"/>
                    <a:pt x="365" y="247"/>
                    <a:pt x="365" y="247"/>
                  </a:cubicBezTo>
                  <a:cubicBezTo>
                    <a:pt x="365" y="247"/>
                    <a:pt x="365" y="247"/>
                    <a:pt x="365" y="247"/>
                  </a:cubicBezTo>
                  <a:cubicBezTo>
                    <a:pt x="364" y="249"/>
                    <a:pt x="364" y="249"/>
                    <a:pt x="364" y="249"/>
                  </a:cubicBezTo>
                  <a:cubicBezTo>
                    <a:pt x="365" y="249"/>
                    <a:pt x="365" y="249"/>
                    <a:pt x="365" y="249"/>
                  </a:cubicBezTo>
                  <a:cubicBezTo>
                    <a:pt x="365" y="250"/>
                    <a:pt x="365" y="252"/>
                    <a:pt x="365" y="253"/>
                  </a:cubicBezTo>
                  <a:cubicBezTo>
                    <a:pt x="365" y="253"/>
                    <a:pt x="365" y="253"/>
                    <a:pt x="364" y="253"/>
                  </a:cubicBezTo>
                  <a:cubicBezTo>
                    <a:pt x="363" y="254"/>
                    <a:pt x="363" y="254"/>
                    <a:pt x="362" y="254"/>
                  </a:cubicBezTo>
                  <a:cubicBezTo>
                    <a:pt x="362" y="254"/>
                    <a:pt x="362" y="254"/>
                    <a:pt x="362" y="254"/>
                  </a:cubicBezTo>
                  <a:cubicBezTo>
                    <a:pt x="362" y="254"/>
                    <a:pt x="361" y="254"/>
                    <a:pt x="361" y="253"/>
                  </a:cubicBezTo>
                  <a:cubicBezTo>
                    <a:pt x="361" y="253"/>
                    <a:pt x="360" y="250"/>
                    <a:pt x="359" y="250"/>
                  </a:cubicBezTo>
                  <a:cubicBezTo>
                    <a:pt x="359" y="249"/>
                    <a:pt x="357" y="248"/>
                    <a:pt x="357" y="247"/>
                  </a:cubicBezTo>
                  <a:cubicBezTo>
                    <a:pt x="356" y="247"/>
                    <a:pt x="356" y="246"/>
                    <a:pt x="355" y="246"/>
                  </a:cubicBezTo>
                  <a:cubicBezTo>
                    <a:pt x="354" y="246"/>
                    <a:pt x="354" y="246"/>
                    <a:pt x="354" y="246"/>
                  </a:cubicBezTo>
                  <a:cubicBezTo>
                    <a:pt x="355" y="245"/>
                    <a:pt x="355" y="245"/>
                    <a:pt x="355" y="245"/>
                  </a:cubicBezTo>
                  <a:cubicBezTo>
                    <a:pt x="355" y="245"/>
                    <a:pt x="355" y="245"/>
                    <a:pt x="355" y="245"/>
                  </a:cubicBezTo>
                  <a:cubicBezTo>
                    <a:pt x="355" y="244"/>
                    <a:pt x="356" y="244"/>
                    <a:pt x="356" y="243"/>
                  </a:cubicBezTo>
                  <a:cubicBezTo>
                    <a:pt x="357" y="243"/>
                    <a:pt x="357" y="243"/>
                    <a:pt x="358" y="243"/>
                  </a:cubicBezTo>
                  <a:cubicBezTo>
                    <a:pt x="358" y="243"/>
                    <a:pt x="359" y="243"/>
                    <a:pt x="359" y="242"/>
                  </a:cubicBezTo>
                  <a:cubicBezTo>
                    <a:pt x="361" y="242"/>
                    <a:pt x="361" y="241"/>
                    <a:pt x="361" y="240"/>
                  </a:cubicBezTo>
                  <a:cubicBezTo>
                    <a:pt x="361" y="239"/>
                    <a:pt x="361" y="238"/>
                    <a:pt x="360" y="237"/>
                  </a:cubicBezTo>
                  <a:cubicBezTo>
                    <a:pt x="359" y="237"/>
                    <a:pt x="359" y="237"/>
                    <a:pt x="359" y="237"/>
                  </a:cubicBezTo>
                  <a:cubicBezTo>
                    <a:pt x="359" y="237"/>
                    <a:pt x="359" y="236"/>
                    <a:pt x="359" y="236"/>
                  </a:cubicBezTo>
                  <a:cubicBezTo>
                    <a:pt x="360" y="236"/>
                    <a:pt x="361" y="235"/>
                    <a:pt x="361" y="234"/>
                  </a:cubicBezTo>
                  <a:close/>
                  <a:moveTo>
                    <a:pt x="379" y="227"/>
                  </a:moveTo>
                  <a:cubicBezTo>
                    <a:pt x="379" y="227"/>
                    <a:pt x="379" y="227"/>
                    <a:pt x="379" y="227"/>
                  </a:cubicBezTo>
                  <a:cubicBezTo>
                    <a:pt x="379" y="227"/>
                    <a:pt x="379" y="227"/>
                    <a:pt x="379" y="227"/>
                  </a:cubicBezTo>
                  <a:close/>
                  <a:moveTo>
                    <a:pt x="676" y="84"/>
                  </a:moveTo>
                  <a:cubicBezTo>
                    <a:pt x="677" y="84"/>
                    <a:pt x="677" y="84"/>
                    <a:pt x="677" y="84"/>
                  </a:cubicBezTo>
                  <a:cubicBezTo>
                    <a:pt x="677" y="85"/>
                    <a:pt x="677" y="85"/>
                    <a:pt x="677" y="85"/>
                  </a:cubicBezTo>
                  <a:cubicBezTo>
                    <a:pt x="677" y="85"/>
                    <a:pt x="677" y="85"/>
                    <a:pt x="677" y="86"/>
                  </a:cubicBezTo>
                  <a:cubicBezTo>
                    <a:pt x="677" y="87"/>
                    <a:pt x="677" y="89"/>
                    <a:pt x="679" y="90"/>
                  </a:cubicBezTo>
                  <a:cubicBezTo>
                    <a:pt x="680" y="90"/>
                    <a:pt x="680" y="90"/>
                    <a:pt x="680" y="90"/>
                  </a:cubicBezTo>
                  <a:cubicBezTo>
                    <a:pt x="680" y="90"/>
                    <a:pt x="680" y="90"/>
                    <a:pt x="680" y="90"/>
                  </a:cubicBezTo>
                  <a:cubicBezTo>
                    <a:pt x="680" y="90"/>
                    <a:pt x="680" y="90"/>
                    <a:pt x="680" y="90"/>
                  </a:cubicBezTo>
                  <a:cubicBezTo>
                    <a:pt x="680" y="90"/>
                    <a:pt x="679" y="90"/>
                    <a:pt x="678" y="89"/>
                  </a:cubicBezTo>
                  <a:cubicBezTo>
                    <a:pt x="678" y="89"/>
                    <a:pt x="678" y="89"/>
                    <a:pt x="678" y="89"/>
                  </a:cubicBezTo>
                  <a:cubicBezTo>
                    <a:pt x="677" y="89"/>
                    <a:pt x="677" y="88"/>
                    <a:pt x="676" y="88"/>
                  </a:cubicBezTo>
                  <a:cubicBezTo>
                    <a:pt x="676" y="88"/>
                    <a:pt x="676" y="89"/>
                    <a:pt x="676" y="89"/>
                  </a:cubicBezTo>
                  <a:cubicBezTo>
                    <a:pt x="676" y="88"/>
                    <a:pt x="675" y="87"/>
                    <a:pt x="674" y="86"/>
                  </a:cubicBezTo>
                  <a:cubicBezTo>
                    <a:pt x="674" y="86"/>
                    <a:pt x="675" y="86"/>
                    <a:pt x="675" y="86"/>
                  </a:cubicBezTo>
                  <a:cubicBezTo>
                    <a:pt x="676" y="86"/>
                    <a:pt x="676" y="84"/>
                    <a:pt x="676" y="84"/>
                  </a:cubicBezTo>
                  <a:close/>
                  <a:moveTo>
                    <a:pt x="676" y="80"/>
                  </a:moveTo>
                  <a:cubicBezTo>
                    <a:pt x="676" y="81"/>
                    <a:pt x="676" y="81"/>
                    <a:pt x="677" y="81"/>
                  </a:cubicBezTo>
                  <a:cubicBezTo>
                    <a:pt x="676" y="81"/>
                    <a:pt x="676" y="81"/>
                    <a:pt x="676" y="82"/>
                  </a:cubicBezTo>
                  <a:cubicBezTo>
                    <a:pt x="676" y="82"/>
                    <a:pt x="676" y="82"/>
                    <a:pt x="676" y="82"/>
                  </a:cubicBezTo>
                  <a:cubicBezTo>
                    <a:pt x="676" y="82"/>
                    <a:pt x="676" y="81"/>
                    <a:pt x="676" y="81"/>
                  </a:cubicBezTo>
                  <a:cubicBezTo>
                    <a:pt x="676" y="81"/>
                    <a:pt x="676" y="80"/>
                    <a:pt x="676" y="80"/>
                  </a:cubicBezTo>
                  <a:close/>
                  <a:moveTo>
                    <a:pt x="887" y="295"/>
                  </a:moveTo>
                  <a:cubicBezTo>
                    <a:pt x="887" y="294"/>
                    <a:pt x="887" y="294"/>
                    <a:pt x="887" y="294"/>
                  </a:cubicBezTo>
                  <a:cubicBezTo>
                    <a:pt x="887" y="295"/>
                    <a:pt x="888" y="295"/>
                    <a:pt x="889" y="295"/>
                  </a:cubicBezTo>
                  <a:cubicBezTo>
                    <a:pt x="889" y="295"/>
                    <a:pt x="890" y="295"/>
                    <a:pt x="891" y="294"/>
                  </a:cubicBezTo>
                  <a:cubicBezTo>
                    <a:pt x="892" y="293"/>
                    <a:pt x="893" y="291"/>
                    <a:pt x="895" y="286"/>
                  </a:cubicBezTo>
                  <a:cubicBezTo>
                    <a:pt x="895" y="286"/>
                    <a:pt x="895" y="286"/>
                    <a:pt x="895" y="286"/>
                  </a:cubicBezTo>
                  <a:cubicBezTo>
                    <a:pt x="896" y="285"/>
                    <a:pt x="897" y="284"/>
                    <a:pt x="897" y="283"/>
                  </a:cubicBezTo>
                  <a:cubicBezTo>
                    <a:pt x="897" y="283"/>
                    <a:pt x="898" y="282"/>
                    <a:pt x="897" y="281"/>
                  </a:cubicBezTo>
                  <a:cubicBezTo>
                    <a:pt x="897" y="280"/>
                    <a:pt x="897" y="280"/>
                    <a:pt x="896" y="280"/>
                  </a:cubicBezTo>
                  <a:cubicBezTo>
                    <a:pt x="897" y="279"/>
                    <a:pt x="897" y="278"/>
                    <a:pt x="898" y="277"/>
                  </a:cubicBezTo>
                  <a:cubicBezTo>
                    <a:pt x="899" y="276"/>
                    <a:pt x="899" y="275"/>
                    <a:pt x="899" y="273"/>
                  </a:cubicBezTo>
                  <a:cubicBezTo>
                    <a:pt x="899" y="272"/>
                    <a:pt x="900" y="271"/>
                    <a:pt x="901" y="270"/>
                  </a:cubicBezTo>
                  <a:cubicBezTo>
                    <a:pt x="902" y="268"/>
                    <a:pt x="902" y="266"/>
                    <a:pt x="902" y="264"/>
                  </a:cubicBezTo>
                  <a:cubicBezTo>
                    <a:pt x="902" y="264"/>
                    <a:pt x="902" y="263"/>
                    <a:pt x="902" y="263"/>
                  </a:cubicBezTo>
                  <a:cubicBezTo>
                    <a:pt x="902" y="263"/>
                    <a:pt x="902" y="262"/>
                    <a:pt x="902" y="260"/>
                  </a:cubicBezTo>
                  <a:cubicBezTo>
                    <a:pt x="902" y="259"/>
                    <a:pt x="902" y="258"/>
                    <a:pt x="901" y="257"/>
                  </a:cubicBezTo>
                  <a:cubicBezTo>
                    <a:pt x="901" y="257"/>
                    <a:pt x="901" y="256"/>
                    <a:pt x="901" y="256"/>
                  </a:cubicBezTo>
                  <a:cubicBezTo>
                    <a:pt x="901" y="256"/>
                    <a:pt x="901" y="254"/>
                    <a:pt x="900" y="253"/>
                  </a:cubicBezTo>
                  <a:cubicBezTo>
                    <a:pt x="900" y="253"/>
                    <a:pt x="900" y="251"/>
                    <a:pt x="900" y="251"/>
                  </a:cubicBezTo>
                  <a:cubicBezTo>
                    <a:pt x="900" y="251"/>
                    <a:pt x="900" y="251"/>
                    <a:pt x="900" y="251"/>
                  </a:cubicBezTo>
                  <a:cubicBezTo>
                    <a:pt x="900" y="251"/>
                    <a:pt x="900" y="250"/>
                    <a:pt x="900" y="250"/>
                  </a:cubicBezTo>
                  <a:cubicBezTo>
                    <a:pt x="900" y="250"/>
                    <a:pt x="901" y="250"/>
                    <a:pt x="901" y="250"/>
                  </a:cubicBezTo>
                  <a:cubicBezTo>
                    <a:pt x="901" y="251"/>
                    <a:pt x="902" y="252"/>
                    <a:pt x="902" y="253"/>
                  </a:cubicBezTo>
                  <a:cubicBezTo>
                    <a:pt x="902" y="255"/>
                    <a:pt x="903" y="257"/>
                    <a:pt x="903" y="259"/>
                  </a:cubicBezTo>
                  <a:cubicBezTo>
                    <a:pt x="904" y="260"/>
                    <a:pt x="904" y="261"/>
                    <a:pt x="904" y="261"/>
                  </a:cubicBezTo>
                  <a:cubicBezTo>
                    <a:pt x="904" y="262"/>
                    <a:pt x="904" y="263"/>
                    <a:pt x="906" y="265"/>
                  </a:cubicBezTo>
                  <a:cubicBezTo>
                    <a:pt x="906" y="266"/>
                    <a:pt x="907" y="267"/>
                    <a:pt x="907" y="267"/>
                  </a:cubicBezTo>
                  <a:cubicBezTo>
                    <a:pt x="907" y="267"/>
                    <a:pt x="907" y="267"/>
                    <a:pt x="907" y="267"/>
                  </a:cubicBezTo>
                  <a:cubicBezTo>
                    <a:pt x="907" y="267"/>
                    <a:pt x="906" y="268"/>
                    <a:pt x="906" y="269"/>
                  </a:cubicBezTo>
                  <a:cubicBezTo>
                    <a:pt x="906" y="269"/>
                    <a:pt x="906" y="269"/>
                    <a:pt x="906" y="269"/>
                  </a:cubicBezTo>
                  <a:cubicBezTo>
                    <a:pt x="905" y="269"/>
                    <a:pt x="904" y="269"/>
                    <a:pt x="903" y="272"/>
                  </a:cubicBezTo>
                  <a:cubicBezTo>
                    <a:pt x="903" y="272"/>
                    <a:pt x="903" y="273"/>
                    <a:pt x="903" y="274"/>
                  </a:cubicBezTo>
                  <a:cubicBezTo>
                    <a:pt x="903" y="274"/>
                    <a:pt x="904" y="275"/>
                    <a:pt x="904" y="275"/>
                  </a:cubicBezTo>
                  <a:cubicBezTo>
                    <a:pt x="904" y="275"/>
                    <a:pt x="904" y="275"/>
                    <a:pt x="904" y="275"/>
                  </a:cubicBezTo>
                  <a:cubicBezTo>
                    <a:pt x="902" y="277"/>
                    <a:pt x="903" y="278"/>
                    <a:pt x="903" y="280"/>
                  </a:cubicBezTo>
                  <a:cubicBezTo>
                    <a:pt x="903" y="281"/>
                    <a:pt x="903" y="281"/>
                    <a:pt x="903" y="281"/>
                  </a:cubicBezTo>
                  <a:cubicBezTo>
                    <a:pt x="903" y="281"/>
                    <a:pt x="901" y="283"/>
                    <a:pt x="900" y="283"/>
                  </a:cubicBezTo>
                  <a:cubicBezTo>
                    <a:pt x="900" y="284"/>
                    <a:pt x="899" y="284"/>
                    <a:pt x="899" y="285"/>
                  </a:cubicBezTo>
                  <a:cubicBezTo>
                    <a:pt x="898" y="285"/>
                    <a:pt x="898" y="286"/>
                    <a:pt x="898" y="287"/>
                  </a:cubicBezTo>
                  <a:cubicBezTo>
                    <a:pt x="898" y="287"/>
                    <a:pt x="898" y="287"/>
                    <a:pt x="898" y="287"/>
                  </a:cubicBezTo>
                  <a:cubicBezTo>
                    <a:pt x="895" y="287"/>
                    <a:pt x="895" y="290"/>
                    <a:pt x="895" y="292"/>
                  </a:cubicBezTo>
                  <a:cubicBezTo>
                    <a:pt x="895" y="294"/>
                    <a:pt x="892" y="295"/>
                    <a:pt x="890" y="296"/>
                  </a:cubicBezTo>
                  <a:cubicBezTo>
                    <a:pt x="889" y="296"/>
                    <a:pt x="889" y="296"/>
                    <a:pt x="889" y="296"/>
                  </a:cubicBezTo>
                  <a:cubicBezTo>
                    <a:pt x="888" y="296"/>
                    <a:pt x="886" y="297"/>
                    <a:pt x="884" y="296"/>
                  </a:cubicBezTo>
                  <a:cubicBezTo>
                    <a:pt x="885" y="296"/>
                    <a:pt x="885" y="296"/>
                    <a:pt x="885" y="296"/>
                  </a:cubicBezTo>
                  <a:cubicBezTo>
                    <a:pt x="886" y="296"/>
                    <a:pt x="887" y="295"/>
                    <a:pt x="887" y="295"/>
                  </a:cubicBezTo>
                  <a:close/>
                  <a:moveTo>
                    <a:pt x="410" y="554"/>
                  </a:moveTo>
                  <a:cubicBezTo>
                    <a:pt x="410" y="553"/>
                    <a:pt x="409" y="553"/>
                    <a:pt x="409" y="552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09" y="551"/>
                    <a:pt x="409" y="551"/>
                  </a:cubicBezTo>
                  <a:cubicBezTo>
                    <a:pt x="409" y="551"/>
                    <a:pt x="410" y="553"/>
                    <a:pt x="410" y="554"/>
                  </a:cubicBezTo>
                  <a:close/>
                  <a:moveTo>
                    <a:pt x="463" y="404"/>
                  </a:moveTo>
                  <a:cubicBezTo>
                    <a:pt x="463" y="404"/>
                    <a:pt x="463" y="404"/>
                    <a:pt x="463" y="404"/>
                  </a:cubicBezTo>
                  <a:cubicBezTo>
                    <a:pt x="463" y="404"/>
                    <a:pt x="463" y="404"/>
                    <a:pt x="463" y="404"/>
                  </a:cubicBezTo>
                  <a:cubicBezTo>
                    <a:pt x="464" y="405"/>
                    <a:pt x="464" y="405"/>
                    <a:pt x="464" y="405"/>
                  </a:cubicBezTo>
                  <a:cubicBezTo>
                    <a:pt x="464" y="405"/>
                    <a:pt x="464" y="405"/>
                    <a:pt x="464" y="405"/>
                  </a:cubicBezTo>
                  <a:cubicBezTo>
                    <a:pt x="466" y="406"/>
                    <a:pt x="467" y="407"/>
                    <a:pt x="469" y="408"/>
                  </a:cubicBezTo>
                  <a:cubicBezTo>
                    <a:pt x="473" y="410"/>
                    <a:pt x="474" y="417"/>
                    <a:pt x="474" y="420"/>
                  </a:cubicBezTo>
                  <a:cubicBezTo>
                    <a:pt x="474" y="420"/>
                    <a:pt x="474" y="421"/>
                    <a:pt x="474" y="421"/>
                  </a:cubicBezTo>
                  <a:cubicBezTo>
                    <a:pt x="474" y="421"/>
                    <a:pt x="474" y="421"/>
                    <a:pt x="474" y="421"/>
                  </a:cubicBezTo>
                  <a:cubicBezTo>
                    <a:pt x="474" y="421"/>
                    <a:pt x="474" y="421"/>
                    <a:pt x="474" y="421"/>
                  </a:cubicBezTo>
                  <a:cubicBezTo>
                    <a:pt x="474" y="422"/>
                    <a:pt x="473" y="422"/>
                    <a:pt x="473" y="422"/>
                  </a:cubicBezTo>
                  <a:cubicBezTo>
                    <a:pt x="473" y="422"/>
                    <a:pt x="465" y="426"/>
                    <a:pt x="464" y="427"/>
                  </a:cubicBezTo>
                  <a:cubicBezTo>
                    <a:pt x="463" y="426"/>
                    <a:pt x="462" y="426"/>
                    <a:pt x="459" y="426"/>
                  </a:cubicBezTo>
                  <a:cubicBezTo>
                    <a:pt x="458" y="426"/>
                    <a:pt x="457" y="426"/>
                    <a:pt x="457" y="426"/>
                  </a:cubicBezTo>
                  <a:cubicBezTo>
                    <a:pt x="456" y="426"/>
                    <a:pt x="456" y="426"/>
                    <a:pt x="456" y="426"/>
                  </a:cubicBezTo>
                  <a:cubicBezTo>
                    <a:pt x="455" y="426"/>
                    <a:pt x="454" y="426"/>
                    <a:pt x="454" y="427"/>
                  </a:cubicBezTo>
                  <a:cubicBezTo>
                    <a:pt x="453" y="427"/>
                    <a:pt x="453" y="427"/>
                    <a:pt x="453" y="428"/>
                  </a:cubicBezTo>
                  <a:cubicBezTo>
                    <a:pt x="453" y="427"/>
                    <a:pt x="452" y="427"/>
                    <a:pt x="452" y="427"/>
                  </a:cubicBezTo>
                  <a:cubicBezTo>
                    <a:pt x="451" y="426"/>
                    <a:pt x="450" y="426"/>
                    <a:pt x="449" y="426"/>
                  </a:cubicBezTo>
                  <a:cubicBezTo>
                    <a:pt x="449" y="426"/>
                    <a:pt x="448" y="426"/>
                    <a:pt x="447" y="426"/>
                  </a:cubicBezTo>
                  <a:cubicBezTo>
                    <a:pt x="445" y="426"/>
                    <a:pt x="444" y="425"/>
                    <a:pt x="444" y="425"/>
                  </a:cubicBezTo>
                  <a:cubicBezTo>
                    <a:pt x="443" y="424"/>
                    <a:pt x="442" y="424"/>
                    <a:pt x="442" y="424"/>
                  </a:cubicBezTo>
                  <a:cubicBezTo>
                    <a:pt x="441" y="424"/>
                    <a:pt x="440" y="424"/>
                    <a:pt x="439" y="424"/>
                  </a:cubicBezTo>
                  <a:cubicBezTo>
                    <a:pt x="439" y="424"/>
                    <a:pt x="439" y="424"/>
                    <a:pt x="439" y="424"/>
                  </a:cubicBezTo>
                  <a:cubicBezTo>
                    <a:pt x="439" y="423"/>
                    <a:pt x="439" y="423"/>
                    <a:pt x="439" y="423"/>
                  </a:cubicBezTo>
                  <a:cubicBezTo>
                    <a:pt x="439" y="423"/>
                    <a:pt x="439" y="423"/>
                    <a:pt x="439" y="423"/>
                  </a:cubicBezTo>
                  <a:cubicBezTo>
                    <a:pt x="439" y="422"/>
                    <a:pt x="439" y="422"/>
                    <a:pt x="438" y="421"/>
                  </a:cubicBezTo>
                  <a:cubicBezTo>
                    <a:pt x="438" y="420"/>
                    <a:pt x="437" y="419"/>
                    <a:pt x="436" y="419"/>
                  </a:cubicBezTo>
                  <a:cubicBezTo>
                    <a:pt x="436" y="419"/>
                    <a:pt x="436" y="419"/>
                    <a:pt x="436" y="419"/>
                  </a:cubicBezTo>
                  <a:cubicBezTo>
                    <a:pt x="435" y="419"/>
                    <a:pt x="435" y="419"/>
                    <a:pt x="434" y="419"/>
                  </a:cubicBezTo>
                  <a:cubicBezTo>
                    <a:pt x="434" y="419"/>
                    <a:pt x="433" y="420"/>
                    <a:pt x="432" y="420"/>
                  </a:cubicBezTo>
                  <a:cubicBezTo>
                    <a:pt x="432" y="419"/>
                    <a:pt x="432" y="419"/>
                    <a:pt x="433" y="419"/>
                  </a:cubicBezTo>
                  <a:cubicBezTo>
                    <a:pt x="433" y="418"/>
                    <a:pt x="433" y="417"/>
                    <a:pt x="433" y="417"/>
                  </a:cubicBezTo>
                  <a:cubicBezTo>
                    <a:pt x="432" y="416"/>
                    <a:pt x="431" y="416"/>
                    <a:pt x="431" y="415"/>
                  </a:cubicBezTo>
                  <a:cubicBezTo>
                    <a:pt x="430" y="415"/>
                    <a:pt x="430" y="415"/>
                    <a:pt x="430" y="415"/>
                  </a:cubicBezTo>
                  <a:cubicBezTo>
                    <a:pt x="430" y="415"/>
                    <a:pt x="429" y="415"/>
                    <a:pt x="429" y="415"/>
                  </a:cubicBezTo>
                  <a:cubicBezTo>
                    <a:pt x="428" y="415"/>
                    <a:pt x="427" y="416"/>
                    <a:pt x="427" y="417"/>
                  </a:cubicBezTo>
                  <a:cubicBezTo>
                    <a:pt x="426" y="417"/>
                    <a:pt x="426" y="417"/>
                    <a:pt x="426" y="417"/>
                  </a:cubicBezTo>
                  <a:cubicBezTo>
                    <a:pt x="425" y="417"/>
                    <a:pt x="425" y="417"/>
                    <a:pt x="424" y="417"/>
                  </a:cubicBezTo>
                  <a:cubicBezTo>
                    <a:pt x="423" y="417"/>
                    <a:pt x="423" y="417"/>
                    <a:pt x="422" y="417"/>
                  </a:cubicBezTo>
                  <a:cubicBezTo>
                    <a:pt x="422" y="417"/>
                    <a:pt x="422" y="417"/>
                    <a:pt x="422" y="417"/>
                  </a:cubicBezTo>
                  <a:cubicBezTo>
                    <a:pt x="422" y="417"/>
                    <a:pt x="421" y="417"/>
                    <a:pt x="421" y="417"/>
                  </a:cubicBezTo>
                  <a:cubicBezTo>
                    <a:pt x="418" y="416"/>
                    <a:pt x="413" y="417"/>
                    <a:pt x="411" y="418"/>
                  </a:cubicBezTo>
                  <a:cubicBezTo>
                    <a:pt x="410" y="419"/>
                    <a:pt x="405" y="420"/>
                    <a:pt x="404" y="420"/>
                  </a:cubicBezTo>
                  <a:cubicBezTo>
                    <a:pt x="403" y="420"/>
                    <a:pt x="402" y="421"/>
                    <a:pt x="402" y="423"/>
                  </a:cubicBezTo>
                  <a:cubicBezTo>
                    <a:pt x="402" y="423"/>
                    <a:pt x="402" y="423"/>
                    <a:pt x="402" y="423"/>
                  </a:cubicBezTo>
                  <a:cubicBezTo>
                    <a:pt x="401" y="424"/>
                    <a:pt x="401" y="424"/>
                    <a:pt x="401" y="424"/>
                  </a:cubicBezTo>
                  <a:cubicBezTo>
                    <a:pt x="401" y="424"/>
                    <a:pt x="400" y="425"/>
                    <a:pt x="399" y="426"/>
                  </a:cubicBezTo>
                  <a:cubicBezTo>
                    <a:pt x="399" y="425"/>
                    <a:pt x="398" y="425"/>
                    <a:pt x="398" y="425"/>
                  </a:cubicBezTo>
                  <a:cubicBezTo>
                    <a:pt x="396" y="424"/>
                    <a:pt x="394" y="424"/>
                    <a:pt x="392" y="425"/>
                  </a:cubicBezTo>
                  <a:cubicBezTo>
                    <a:pt x="392" y="425"/>
                    <a:pt x="391" y="425"/>
                    <a:pt x="389" y="424"/>
                  </a:cubicBezTo>
                  <a:cubicBezTo>
                    <a:pt x="388" y="424"/>
                    <a:pt x="386" y="424"/>
                    <a:pt x="385" y="424"/>
                  </a:cubicBezTo>
                  <a:cubicBezTo>
                    <a:pt x="385" y="424"/>
                    <a:pt x="385" y="424"/>
                    <a:pt x="384" y="424"/>
                  </a:cubicBezTo>
                  <a:cubicBezTo>
                    <a:pt x="384" y="424"/>
                    <a:pt x="384" y="424"/>
                    <a:pt x="383" y="423"/>
                  </a:cubicBezTo>
                  <a:cubicBezTo>
                    <a:pt x="383" y="423"/>
                    <a:pt x="383" y="423"/>
                    <a:pt x="383" y="423"/>
                  </a:cubicBezTo>
                  <a:cubicBezTo>
                    <a:pt x="383" y="422"/>
                    <a:pt x="383" y="422"/>
                    <a:pt x="382" y="421"/>
                  </a:cubicBezTo>
                  <a:cubicBezTo>
                    <a:pt x="382" y="421"/>
                    <a:pt x="381" y="421"/>
                    <a:pt x="380" y="421"/>
                  </a:cubicBezTo>
                  <a:cubicBezTo>
                    <a:pt x="380" y="421"/>
                    <a:pt x="380" y="420"/>
                    <a:pt x="380" y="419"/>
                  </a:cubicBezTo>
                  <a:cubicBezTo>
                    <a:pt x="380" y="418"/>
                    <a:pt x="380" y="418"/>
                    <a:pt x="379" y="417"/>
                  </a:cubicBezTo>
                  <a:cubicBezTo>
                    <a:pt x="379" y="417"/>
                    <a:pt x="379" y="417"/>
                    <a:pt x="379" y="417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6"/>
                    <a:pt x="379" y="416"/>
                    <a:pt x="379" y="416"/>
                  </a:cubicBezTo>
                  <a:cubicBezTo>
                    <a:pt x="379" y="415"/>
                    <a:pt x="378" y="415"/>
                    <a:pt x="378" y="415"/>
                  </a:cubicBezTo>
                  <a:cubicBezTo>
                    <a:pt x="378" y="413"/>
                    <a:pt x="378" y="412"/>
                    <a:pt x="377" y="412"/>
                  </a:cubicBezTo>
                  <a:cubicBezTo>
                    <a:pt x="377" y="411"/>
                    <a:pt x="378" y="411"/>
                    <a:pt x="378" y="410"/>
                  </a:cubicBezTo>
                  <a:cubicBezTo>
                    <a:pt x="378" y="410"/>
                    <a:pt x="378" y="410"/>
                    <a:pt x="378" y="410"/>
                  </a:cubicBezTo>
                  <a:cubicBezTo>
                    <a:pt x="379" y="409"/>
                    <a:pt x="379" y="408"/>
                    <a:pt x="379" y="406"/>
                  </a:cubicBezTo>
                  <a:cubicBezTo>
                    <a:pt x="380" y="405"/>
                    <a:pt x="380" y="405"/>
                    <a:pt x="380" y="405"/>
                  </a:cubicBezTo>
                  <a:cubicBezTo>
                    <a:pt x="380" y="405"/>
                    <a:pt x="380" y="404"/>
                    <a:pt x="380" y="404"/>
                  </a:cubicBezTo>
                  <a:cubicBezTo>
                    <a:pt x="380" y="404"/>
                    <a:pt x="380" y="404"/>
                    <a:pt x="381" y="404"/>
                  </a:cubicBezTo>
                  <a:cubicBezTo>
                    <a:pt x="383" y="404"/>
                    <a:pt x="384" y="403"/>
                    <a:pt x="385" y="400"/>
                  </a:cubicBezTo>
                  <a:cubicBezTo>
                    <a:pt x="385" y="400"/>
                    <a:pt x="385" y="400"/>
                    <a:pt x="385" y="400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8"/>
                    <a:pt x="385" y="398"/>
                  </a:cubicBezTo>
                  <a:cubicBezTo>
                    <a:pt x="385" y="398"/>
                    <a:pt x="385" y="397"/>
                    <a:pt x="385" y="397"/>
                  </a:cubicBezTo>
                  <a:cubicBezTo>
                    <a:pt x="385" y="397"/>
                    <a:pt x="385" y="396"/>
                    <a:pt x="385" y="396"/>
                  </a:cubicBezTo>
                  <a:cubicBezTo>
                    <a:pt x="385" y="394"/>
                    <a:pt x="385" y="394"/>
                    <a:pt x="386" y="393"/>
                  </a:cubicBezTo>
                  <a:cubicBezTo>
                    <a:pt x="386" y="392"/>
                    <a:pt x="387" y="391"/>
                    <a:pt x="387" y="391"/>
                  </a:cubicBezTo>
                  <a:cubicBezTo>
                    <a:pt x="388" y="391"/>
                    <a:pt x="388" y="390"/>
                    <a:pt x="389" y="390"/>
                  </a:cubicBezTo>
                  <a:cubicBezTo>
                    <a:pt x="390" y="389"/>
                    <a:pt x="390" y="389"/>
                    <a:pt x="391" y="389"/>
                  </a:cubicBezTo>
                  <a:cubicBezTo>
                    <a:pt x="393" y="387"/>
                    <a:pt x="393" y="384"/>
                    <a:pt x="393" y="383"/>
                  </a:cubicBezTo>
                  <a:cubicBezTo>
                    <a:pt x="392" y="383"/>
                    <a:pt x="392" y="383"/>
                    <a:pt x="392" y="383"/>
                  </a:cubicBezTo>
                  <a:cubicBezTo>
                    <a:pt x="392" y="383"/>
                    <a:pt x="392" y="383"/>
                    <a:pt x="392" y="383"/>
                  </a:cubicBezTo>
                  <a:cubicBezTo>
                    <a:pt x="393" y="383"/>
                    <a:pt x="393" y="383"/>
                    <a:pt x="393" y="383"/>
                  </a:cubicBezTo>
                  <a:cubicBezTo>
                    <a:pt x="393" y="383"/>
                    <a:pt x="393" y="383"/>
                    <a:pt x="393" y="383"/>
                  </a:cubicBezTo>
                  <a:cubicBezTo>
                    <a:pt x="393" y="383"/>
                    <a:pt x="393" y="383"/>
                    <a:pt x="393" y="383"/>
                  </a:cubicBezTo>
                  <a:cubicBezTo>
                    <a:pt x="394" y="382"/>
                    <a:pt x="394" y="381"/>
                    <a:pt x="394" y="380"/>
                  </a:cubicBezTo>
                  <a:cubicBezTo>
                    <a:pt x="394" y="380"/>
                    <a:pt x="395" y="379"/>
                    <a:pt x="395" y="378"/>
                  </a:cubicBezTo>
                  <a:cubicBezTo>
                    <a:pt x="395" y="378"/>
                    <a:pt x="395" y="378"/>
                    <a:pt x="396" y="378"/>
                  </a:cubicBezTo>
                  <a:cubicBezTo>
                    <a:pt x="396" y="378"/>
                    <a:pt x="397" y="378"/>
                    <a:pt x="398" y="376"/>
                  </a:cubicBezTo>
                  <a:cubicBezTo>
                    <a:pt x="398" y="376"/>
                    <a:pt x="399" y="376"/>
                    <a:pt x="399" y="375"/>
                  </a:cubicBezTo>
                  <a:cubicBezTo>
                    <a:pt x="399" y="375"/>
                    <a:pt x="399" y="375"/>
                    <a:pt x="399" y="375"/>
                  </a:cubicBezTo>
                  <a:cubicBezTo>
                    <a:pt x="399" y="375"/>
                    <a:pt x="399" y="375"/>
                    <a:pt x="399" y="375"/>
                  </a:cubicBezTo>
                  <a:cubicBezTo>
                    <a:pt x="400" y="375"/>
                    <a:pt x="401" y="374"/>
                    <a:pt x="401" y="373"/>
                  </a:cubicBezTo>
                  <a:cubicBezTo>
                    <a:pt x="401" y="372"/>
                    <a:pt x="401" y="371"/>
                    <a:pt x="401" y="371"/>
                  </a:cubicBezTo>
                  <a:cubicBezTo>
                    <a:pt x="402" y="370"/>
                    <a:pt x="404" y="369"/>
                    <a:pt x="404" y="369"/>
                  </a:cubicBezTo>
                  <a:cubicBezTo>
                    <a:pt x="404" y="369"/>
                    <a:pt x="404" y="369"/>
                    <a:pt x="405" y="369"/>
                  </a:cubicBezTo>
                  <a:cubicBezTo>
                    <a:pt x="405" y="370"/>
                    <a:pt x="404" y="370"/>
                    <a:pt x="405" y="370"/>
                  </a:cubicBezTo>
                  <a:cubicBezTo>
                    <a:pt x="405" y="371"/>
                    <a:pt x="406" y="372"/>
                    <a:pt x="407" y="372"/>
                  </a:cubicBezTo>
                  <a:cubicBezTo>
                    <a:pt x="407" y="372"/>
                    <a:pt x="407" y="372"/>
                    <a:pt x="407" y="372"/>
                  </a:cubicBezTo>
                  <a:cubicBezTo>
                    <a:pt x="407" y="373"/>
                    <a:pt x="407" y="373"/>
                    <a:pt x="407" y="373"/>
                  </a:cubicBezTo>
                  <a:cubicBezTo>
                    <a:pt x="408" y="374"/>
                    <a:pt x="408" y="374"/>
                    <a:pt x="409" y="374"/>
                  </a:cubicBezTo>
                  <a:cubicBezTo>
                    <a:pt x="409" y="374"/>
                    <a:pt x="409" y="374"/>
                    <a:pt x="409" y="374"/>
                  </a:cubicBezTo>
                  <a:cubicBezTo>
                    <a:pt x="410" y="374"/>
                    <a:pt x="410" y="375"/>
                    <a:pt x="411" y="375"/>
                  </a:cubicBezTo>
                  <a:cubicBezTo>
                    <a:pt x="411" y="375"/>
                    <a:pt x="411" y="375"/>
                    <a:pt x="411" y="375"/>
                  </a:cubicBezTo>
                  <a:cubicBezTo>
                    <a:pt x="412" y="376"/>
                    <a:pt x="414" y="376"/>
                    <a:pt x="415" y="375"/>
                  </a:cubicBezTo>
                  <a:cubicBezTo>
                    <a:pt x="415" y="375"/>
                    <a:pt x="415" y="375"/>
                    <a:pt x="415" y="375"/>
                  </a:cubicBezTo>
                  <a:cubicBezTo>
                    <a:pt x="416" y="375"/>
                    <a:pt x="416" y="375"/>
                    <a:pt x="416" y="375"/>
                  </a:cubicBezTo>
                  <a:cubicBezTo>
                    <a:pt x="417" y="375"/>
                    <a:pt x="417" y="375"/>
                    <a:pt x="418" y="375"/>
                  </a:cubicBezTo>
                  <a:cubicBezTo>
                    <a:pt x="418" y="375"/>
                    <a:pt x="418" y="375"/>
                    <a:pt x="418" y="375"/>
                  </a:cubicBezTo>
                  <a:cubicBezTo>
                    <a:pt x="418" y="375"/>
                    <a:pt x="418" y="375"/>
                    <a:pt x="417" y="376"/>
                  </a:cubicBezTo>
                  <a:cubicBezTo>
                    <a:pt x="417" y="376"/>
                    <a:pt x="416" y="376"/>
                    <a:pt x="416" y="376"/>
                  </a:cubicBezTo>
                  <a:cubicBezTo>
                    <a:pt x="415" y="376"/>
                    <a:pt x="415" y="377"/>
                    <a:pt x="414" y="377"/>
                  </a:cubicBezTo>
                  <a:cubicBezTo>
                    <a:pt x="414" y="377"/>
                    <a:pt x="414" y="377"/>
                    <a:pt x="414" y="378"/>
                  </a:cubicBezTo>
                  <a:cubicBezTo>
                    <a:pt x="413" y="378"/>
                    <a:pt x="413" y="379"/>
                    <a:pt x="413" y="379"/>
                  </a:cubicBezTo>
                  <a:cubicBezTo>
                    <a:pt x="412" y="381"/>
                    <a:pt x="414" y="383"/>
                    <a:pt x="415" y="383"/>
                  </a:cubicBezTo>
                  <a:cubicBezTo>
                    <a:pt x="415" y="384"/>
                    <a:pt x="415" y="385"/>
                    <a:pt x="417" y="385"/>
                  </a:cubicBezTo>
                  <a:cubicBezTo>
                    <a:pt x="417" y="385"/>
                    <a:pt x="417" y="385"/>
                    <a:pt x="417" y="385"/>
                  </a:cubicBezTo>
                  <a:cubicBezTo>
                    <a:pt x="417" y="386"/>
                    <a:pt x="417" y="386"/>
                    <a:pt x="417" y="386"/>
                  </a:cubicBezTo>
                  <a:cubicBezTo>
                    <a:pt x="417" y="386"/>
                    <a:pt x="417" y="386"/>
                    <a:pt x="417" y="386"/>
                  </a:cubicBezTo>
                  <a:cubicBezTo>
                    <a:pt x="418" y="387"/>
                    <a:pt x="417" y="387"/>
                    <a:pt x="417" y="388"/>
                  </a:cubicBezTo>
                  <a:cubicBezTo>
                    <a:pt x="416" y="389"/>
                    <a:pt x="416" y="389"/>
                    <a:pt x="416" y="390"/>
                  </a:cubicBezTo>
                  <a:cubicBezTo>
                    <a:pt x="416" y="391"/>
                    <a:pt x="417" y="391"/>
                    <a:pt x="418" y="392"/>
                  </a:cubicBezTo>
                  <a:cubicBezTo>
                    <a:pt x="418" y="392"/>
                    <a:pt x="419" y="392"/>
                    <a:pt x="419" y="392"/>
                  </a:cubicBezTo>
                  <a:cubicBezTo>
                    <a:pt x="419" y="393"/>
                    <a:pt x="421" y="393"/>
                    <a:pt x="421" y="393"/>
                  </a:cubicBezTo>
                  <a:cubicBezTo>
                    <a:pt x="422" y="393"/>
                    <a:pt x="422" y="393"/>
                    <a:pt x="422" y="393"/>
                  </a:cubicBezTo>
                  <a:cubicBezTo>
                    <a:pt x="422" y="393"/>
                    <a:pt x="422" y="393"/>
                    <a:pt x="422" y="393"/>
                  </a:cubicBezTo>
                  <a:cubicBezTo>
                    <a:pt x="422" y="393"/>
                    <a:pt x="422" y="393"/>
                    <a:pt x="423" y="393"/>
                  </a:cubicBezTo>
                  <a:cubicBezTo>
                    <a:pt x="425" y="393"/>
                    <a:pt x="425" y="392"/>
                    <a:pt x="426" y="390"/>
                  </a:cubicBezTo>
                  <a:cubicBezTo>
                    <a:pt x="426" y="389"/>
                    <a:pt x="428" y="388"/>
                    <a:pt x="429" y="388"/>
                  </a:cubicBezTo>
                  <a:cubicBezTo>
                    <a:pt x="430" y="389"/>
                    <a:pt x="431" y="389"/>
                    <a:pt x="432" y="388"/>
                  </a:cubicBezTo>
                  <a:cubicBezTo>
                    <a:pt x="432" y="388"/>
                    <a:pt x="432" y="388"/>
                    <a:pt x="432" y="388"/>
                  </a:cubicBezTo>
                  <a:cubicBezTo>
                    <a:pt x="432" y="388"/>
                    <a:pt x="432" y="388"/>
                    <a:pt x="432" y="388"/>
                  </a:cubicBezTo>
                  <a:cubicBezTo>
                    <a:pt x="433" y="388"/>
                    <a:pt x="434" y="387"/>
                    <a:pt x="434" y="386"/>
                  </a:cubicBezTo>
                  <a:cubicBezTo>
                    <a:pt x="435" y="387"/>
                    <a:pt x="436" y="387"/>
                    <a:pt x="437" y="386"/>
                  </a:cubicBezTo>
                  <a:cubicBezTo>
                    <a:pt x="437" y="386"/>
                    <a:pt x="438" y="387"/>
                    <a:pt x="438" y="387"/>
                  </a:cubicBezTo>
                  <a:cubicBezTo>
                    <a:pt x="439" y="387"/>
                    <a:pt x="440" y="385"/>
                    <a:pt x="440" y="384"/>
                  </a:cubicBezTo>
                  <a:cubicBezTo>
                    <a:pt x="440" y="384"/>
                    <a:pt x="440" y="384"/>
                    <a:pt x="440" y="384"/>
                  </a:cubicBezTo>
                  <a:cubicBezTo>
                    <a:pt x="441" y="385"/>
                    <a:pt x="442" y="386"/>
                    <a:pt x="442" y="386"/>
                  </a:cubicBezTo>
                  <a:cubicBezTo>
                    <a:pt x="443" y="386"/>
                    <a:pt x="443" y="386"/>
                    <a:pt x="443" y="387"/>
                  </a:cubicBezTo>
                  <a:cubicBezTo>
                    <a:pt x="443" y="387"/>
                    <a:pt x="443" y="387"/>
                    <a:pt x="443" y="387"/>
                  </a:cubicBezTo>
                  <a:cubicBezTo>
                    <a:pt x="443" y="387"/>
                    <a:pt x="443" y="387"/>
                    <a:pt x="443" y="387"/>
                  </a:cubicBezTo>
                  <a:cubicBezTo>
                    <a:pt x="443" y="387"/>
                    <a:pt x="443" y="387"/>
                    <a:pt x="443" y="387"/>
                  </a:cubicBezTo>
                  <a:cubicBezTo>
                    <a:pt x="443" y="388"/>
                    <a:pt x="443" y="388"/>
                    <a:pt x="444" y="388"/>
                  </a:cubicBezTo>
                  <a:cubicBezTo>
                    <a:pt x="444" y="390"/>
                    <a:pt x="445" y="390"/>
                    <a:pt x="446" y="390"/>
                  </a:cubicBezTo>
                  <a:cubicBezTo>
                    <a:pt x="447" y="390"/>
                    <a:pt x="448" y="390"/>
                    <a:pt x="448" y="390"/>
                  </a:cubicBezTo>
                  <a:cubicBezTo>
                    <a:pt x="448" y="390"/>
                    <a:pt x="448" y="390"/>
                    <a:pt x="448" y="390"/>
                  </a:cubicBezTo>
                  <a:cubicBezTo>
                    <a:pt x="449" y="390"/>
                    <a:pt x="449" y="390"/>
                    <a:pt x="449" y="390"/>
                  </a:cubicBezTo>
                  <a:cubicBezTo>
                    <a:pt x="450" y="392"/>
                    <a:pt x="452" y="393"/>
                    <a:pt x="454" y="394"/>
                  </a:cubicBezTo>
                  <a:cubicBezTo>
                    <a:pt x="454" y="394"/>
                    <a:pt x="456" y="395"/>
                    <a:pt x="459" y="400"/>
                  </a:cubicBezTo>
                  <a:cubicBezTo>
                    <a:pt x="460" y="401"/>
                    <a:pt x="461" y="402"/>
                    <a:pt x="462" y="403"/>
                  </a:cubicBezTo>
                  <a:cubicBezTo>
                    <a:pt x="462" y="404"/>
                    <a:pt x="462" y="404"/>
                    <a:pt x="462" y="404"/>
                  </a:cubicBezTo>
                  <a:lnTo>
                    <a:pt x="463" y="404"/>
                  </a:lnTo>
                  <a:close/>
                  <a:moveTo>
                    <a:pt x="682" y="97"/>
                  </a:moveTo>
                  <a:cubicBezTo>
                    <a:pt x="682" y="97"/>
                    <a:pt x="682" y="97"/>
                    <a:pt x="682" y="97"/>
                  </a:cubicBezTo>
                  <a:cubicBezTo>
                    <a:pt x="682" y="97"/>
                    <a:pt x="682" y="97"/>
                    <a:pt x="682" y="97"/>
                  </a:cubicBezTo>
                  <a:cubicBezTo>
                    <a:pt x="682" y="97"/>
                    <a:pt x="682" y="97"/>
                    <a:pt x="682" y="97"/>
                  </a:cubicBezTo>
                  <a:close/>
                  <a:moveTo>
                    <a:pt x="559" y="422"/>
                  </a:moveTo>
                  <a:cubicBezTo>
                    <a:pt x="560" y="422"/>
                    <a:pt x="561" y="423"/>
                    <a:pt x="562" y="424"/>
                  </a:cubicBezTo>
                  <a:cubicBezTo>
                    <a:pt x="563" y="425"/>
                    <a:pt x="563" y="425"/>
                    <a:pt x="563" y="425"/>
                  </a:cubicBezTo>
                  <a:cubicBezTo>
                    <a:pt x="563" y="425"/>
                    <a:pt x="562" y="425"/>
                    <a:pt x="562" y="425"/>
                  </a:cubicBezTo>
                  <a:cubicBezTo>
                    <a:pt x="562" y="426"/>
                    <a:pt x="561" y="426"/>
                    <a:pt x="560" y="426"/>
                  </a:cubicBezTo>
                  <a:cubicBezTo>
                    <a:pt x="560" y="426"/>
                    <a:pt x="560" y="426"/>
                    <a:pt x="560" y="426"/>
                  </a:cubicBezTo>
                  <a:cubicBezTo>
                    <a:pt x="559" y="425"/>
                    <a:pt x="559" y="425"/>
                    <a:pt x="558" y="425"/>
                  </a:cubicBezTo>
                  <a:cubicBezTo>
                    <a:pt x="558" y="425"/>
                    <a:pt x="558" y="424"/>
                    <a:pt x="558" y="424"/>
                  </a:cubicBezTo>
                  <a:cubicBezTo>
                    <a:pt x="558" y="424"/>
                    <a:pt x="558" y="424"/>
                    <a:pt x="558" y="424"/>
                  </a:cubicBezTo>
                  <a:cubicBezTo>
                    <a:pt x="559" y="423"/>
                    <a:pt x="559" y="423"/>
                    <a:pt x="559" y="422"/>
                  </a:cubicBezTo>
                  <a:close/>
                  <a:moveTo>
                    <a:pt x="455" y="611"/>
                  </a:moveTo>
                  <a:cubicBezTo>
                    <a:pt x="455" y="611"/>
                    <a:pt x="455" y="611"/>
                    <a:pt x="455" y="611"/>
                  </a:cubicBezTo>
                  <a:cubicBezTo>
                    <a:pt x="455" y="611"/>
                    <a:pt x="455" y="611"/>
                    <a:pt x="455" y="611"/>
                  </a:cubicBezTo>
                  <a:close/>
                  <a:moveTo>
                    <a:pt x="557" y="428"/>
                  </a:moveTo>
                  <a:cubicBezTo>
                    <a:pt x="557" y="428"/>
                    <a:pt x="557" y="428"/>
                    <a:pt x="557" y="428"/>
                  </a:cubicBezTo>
                  <a:cubicBezTo>
                    <a:pt x="557" y="428"/>
                    <a:pt x="557" y="428"/>
                    <a:pt x="557" y="428"/>
                  </a:cubicBezTo>
                  <a:close/>
                  <a:moveTo>
                    <a:pt x="328" y="228"/>
                  </a:moveTo>
                  <a:cubicBezTo>
                    <a:pt x="328" y="228"/>
                    <a:pt x="327" y="228"/>
                    <a:pt x="327" y="227"/>
                  </a:cubicBezTo>
                  <a:cubicBezTo>
                    <a:pt x="326" y="227"/>
                    <a:pt x="326" y="226"/>
                    <a:pt x="325" y="226"/>
                  </a:cubicBezTo>
                  <a:cubicBezTo>
                    <a:pt x="325" y="226"/>
                    <a:pt x="325" y="226"/>
                    <a:pt x="325" y="226"/>
                  </a:cubicBezTo>
                  <a:cubicBezTo>
                    <a:pt x="326" y="226"/>
                    <a:pt x="326" y="227"/>
                    <a:pt x="327" y="227"/>
                  </a:cubicBezTo>
                  <a:cubicBezTo>
                    <a:pt x="327" y="227"/>
                    <a:pt x="327" y="227"/>
                    <a:pt x="328" y="227"/>
                  </a:cubicBezTo>
                  <a:cubicBezTo>
                    <a:pt x="328" y="228"/>
                    <a:pt x="328" y="228"/>
                    <a:pt x="329" y="228"/>
                  </a:cubicBezTo>
                  <a:cubicBezTo>
                    <a:pt x="329" y="228"/>
                    <a:pt x="329" y="228"/>
                    <a:pt x="329" y="228"/>
                  </a:cubicBezTo>
                  <a:cubicBezTo>
                    <a:pt x="328" y="228"/>
                    <a:pt x="328" y="228"/>
                    <a:pt x="328" y="228"/>
                  </a:cubicBezTo>
                  <a:cubicBezTo>
                    <a:pt x="328" y="228"/>
                    <a:pt x="328" y="228"/>
                    <a:pt x="328" y="228"/>
                  </a:cubicBezTo>
                  <a:close/>
                  <a:moveTo>
                    <a:pt x="424" y="373"/>
                  </a:moveTo>
                  <a:cubicBezTo>
                    <a:pt x="424" y="373"/>
                    <a:pt x="424" y="373"/>
                    <a:pt x="424" y="373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24" y="373"/>
                    <a:pt x="424" y="373"/>
                    <a:pt x="424" y="373"/>
                  </a:cubicBezTo>
                  <a:cubicBezTo>
                    <a:pt x="424" y="373"/>
                    <a:pt x="424" y="373"/>
                    <a:pt x="424" y="373"/>
                  </a:cubicBezTo>
                  <a:close/>
                  <a:moveTo>
                    <a:pt x="439" y="379"/>
                  </a:moveTo>
                  <a:cubicBezTo>
                    <a:pt x="439" y="379"/>
                    <a:pt x="439" y="379"/>
                    <a:pt x="439" y="379"/>
                  </a:cubicBezTo>
                  <a:cubicBezTo>
                    <a:pt x="438" y="378"/>
                    <a:pt x="436" y="378"/>
                    <a:pt x="436" y="379"/>
                  </a:cubicBezTo>
                  <a:cubicBezTo>
                    <a:pt x="435" y="379"/>
                    <a:pt x="434" y="379"/>
                    <a:pt x="433" y="380"/>
                  </a:cubicBezTo>
                  <a:cubicBezTo>
                    <a:pt x="433" y="380"/>
                    <a:pt x="433" y="380"/>
                    <a:pt x="433" y="380"/>
                  </a:cubicBezTo>
                  <a:cubicBezTo>
                    <a:pt x="433" y="381"/>
                    <a:pt x="433" y="381"/>
                    <a:pt x="433" y="381"/>
                  </a:cubicBezTo>
                  <a:cubicBezTo>
                    <a:pt x="432" y="380"/>
                    <a:pt x="432" y="380"/>
                    <a:pt x="432" y="380"/>
                  </a:cubicBezTo>
                  <a:cubicBezTo>
                    <a:pt x="432" y="380"/>
                    <a:pt x="432" y="380"/>
                    <a:pt x="432" y="380"/>
                  </a:cubicBezTo>
                  <a:cubicBezTo>
                    <a:pt x="432" y="380"/>
                    <a:pt x="431" y="380"/>
                    <a:pt x="431" y="380"/>
                  </a:cubicBezTo>
                  <a:cubicBezTo>
                    <a:pt x="431" y="380"/>
                    <a:pt x="431" y="380"/>
                    <a:pt x="431" y="380"/>
                  </a:cubicBezTo>
                  <a:cubicBezTo>
                    <a:pt x="431" y="379"/>
                    <a:pt x="431" y="378"/>
                    <a:pt x="427" y="375"/>
                  </a:cubicBezTo>
                  <a:cubicBezTo>
                    <a:pt x="427" y="375"/>
                    <a:pt x="426" y="374"/>
                    <a:pt x="426" y="374"/>
                  </a:cubicBezTo>
                  <a:cubicBezTo>
                    <a:pt x="427" y="374"/>
                    <a:pt x="427" y="374"/>
                    <a:pt x="427" y="374"/>
                  </a:cubicBezTo>
                  <a:cubicBezTo>
                    <a:pt x="428" y="374"/>
                    <a:pt x="429" y="373"/>
                    <a:pt x="430" y="372"/>
                  </a:cubicBezTo>
                  <a:cubicBezTo>
                    <a:pt x="430" y="372"/>
                    <a:pt x="431" y="372"/>
                    <a:pt x="431" y="372"/>
                  </a:cubicBezTo>
                  <a:cubicBezTo>
                    <a:pt x="431" y="373"/>
                    <a:pt x="433" y="373"/>
                    <a:pt x="433" y="372"/>
                  </a:cubicBezTo>
                  <a:cubicBezTo>
                    <a:pt x="434" y="372"/>
                    <a:pt x="434" y="372"/>
                    <a:pt x="434" y="371"/>
                  </a:cubicBezTo>
                  <a:cubicBezTo>
                    <a:pt x="434" y="371"/>
                    <a:pt x="434" y="371"/>
                    <a:pt x="434" y="371"/>
                  </a:cubicBezTo>
                  <a:cubicBezTo>
                    <a:pt x="434" y="371"/>
                    <a:pt x="434" y="371"/>
                    <a:pt x="434" y="371"/>
                  </a:cubicBezTo>
                  <a:cubicBezTo>
                    <a:pt x="435" y="371"/>
                    <a:pt x="436" y="371"/>
                    <a:pt x="436" y="370"/>
                  </a:cubicBezTo>
                  <a:cubicBezTo>
                    <a:pt x="436" y="370"/>
                    <a:pt x="436" y="369"/>
                    <a:pt x="437" y="369"/>
                  </a:cubicBezTo>
                  <a:cubicBezTo>
                    <a:pt x="437" y="371"/>
                    <a:pt x="438" y="371"/>
                    <a:pt x="438" y="371"/>
                  </a:cubicBezTo>
                  <a:cubicBezTo>
                    <a:pt x="439" y="371"/>
                    <a:pt x="439" y="370"/>
                    <a:pt x="440" y="370"/>
                  </a:cubicBezTo>
                  <a:cubicBezTo>
                    <a:pt x="440" y="370"/>
                    <a:pt x="440" y="369"/>
                    <a:pt x="440" y="369"/>
                  </a:cubicBezTo>
                  <a:cubicBezTo>
                    <a:pt x="440" y="369"/>
                    <a:pt x="441" y="369"/>
                    <a:pt x="442" y="368"/>
                  </a:cubicBezTo>
                  <a:cubicBezTo>
                    <a:pt x="442" y="368"/>
                    <a:pt x="443" y="368"/>
                    <a:pt x="444" y="368"/>
                  </a:cubicBezTo>
                  <a:cubicBezTo>
                    <a:pt x="444" y="367"/>
                    <a:pt x="445" y="367"/>
                    <a:pt x="446" y="367"/>
                  </a:cubicBezTo>
                  <a:cubicBezTo>
                    <a:pt x="446" y="367"/>
                    <a:pt x="447" y="367"/>
                    <a:pt x="447" y="366"/>
                  </a:cubicBezTo>
                  <a:cubicBezTo>
                    <a:pt x="448" y="366"/>
                    <a:pt x="448" y="366"/>
                    <a:pt x="448" y="366"/>
                  </a:cubicBezTo>
                  <a:cubicBezTo>
                    <a:pt x="448" y="366"/>
                    <a:pt x="449" y="365"/>
                    <a:pt x="449" y="365"/>
                  </a:cubicBezTo>
                  <a:cubicBezTo>
                    <a:pt x="449" y="365"/>
                    <a:pt x="451" y="365"/>
                    <a:pt x="452" y="365"/>
                  </a:cubicBezTo>
                  <a:cubicBezTo>
                    <a:pt x="452" y="365"/>
                    <a:pt x="452" y="365"/>
                    <a:pt x="452" y="365"/>
                  </a:cubicBezTo>
                  <a:cubicBezTo>
                    <a:pt x="452" y="364"/>
                    <a:pt x="452" y="364"/>
                    <a:pt x="452" y="364"/>
                  </a:cubicBezTo>
                  <a:cubicBezTo>
                    <a:pt x="453" y="364"/>
                    <a:pt x="453" y="364"/>
                    <a:pt x="453" y="365"/>
                  </a:cubicBezTo>
                  <a:cubicBezTo>
                    <a:pt x="453" y="365"/>
                    <a:pt x="453" y="365"/>
                    <a:pt x="453" y="366"/>
                  </a:cubicBezTo>
                  <a:cubicBezTo>
                    <a:pt x="453" y="366"/>
                    <a:pt x="453" y="366"/>
                    <a:pt x="453" y="366"/>
                  </a:cubicBezTo>
                  <a:cubicBezTo>
                    <a:pt x="452" y="366"/>
                    <a:pt x="452" y="366"/>
                    <a:pt x="451" y="366"/>
                  </a:cubicBezTo>
                  <a:cubicBezTo>
                    <a:pt x="451" y="368"/>
                    <a:pt x="451" y="368"/>
                    <a:pt x="451" y="368"/>
                  </a:cubicBezTo>
                  <a:cubicBezTo>
                    <a:pt x="451" y="366"/>
                    <a:pt x="451" y="366"/>
                    <a:pt x="451" y="366"/>
                  </a:cubicBezTo>
                  <a:cubicBezTo>
                    <a:pt x="450" y="366"/>
                    <a:pt x="449" y="366"/>
                    <a:pt x="449" y="367"/>
                  </a:cubicBezTo>
                  <a:cubicBezTo>
                    <a:pt x="448" y="368"/>
                    <a:pt x="448" y="369"/>
                    <a:pt x="448" y="370"/>
                  </a:cubicBezTo>
                  <a:cubicBezTo>
                    <a:pt x="448" y="370"/>
                    <a:pt x="448" y="370"/>
                    <a:pt x="448" y="370"/>
                  </a:cubicBezTo>
                  <a:cubicBezTo>
                    <a:pt x="448" y="372"/>
                    <a:pt x="450" y="372"/>
                    <a:pt x="450" y="372"/>
                  </a:cubicBezTo>
                  <a:cubicBezTo>
                    <a:pt x="450" y="372"/>
                    <a:pt x="450" y="372"/>
                    <a:pt x="450" y="372"/>
                  </a:cubicBezTo>
                  <a:cubicBezTo>
                    <a:pt x="450" y="372"/>
                    <a:pt x="450" y="372"/>
                    <a:pt x="450" y="372"/>
                  </a:cubicBezTo>
                  <a:cubicBezTo>
                    <a:pt x="449" y="373"/>
                    <a:pt x="449" y="374"/>
                    <a:pt x="448" y="376"/>
                  </a:cubicBezTo>
                  <a:cubicBezTo>
                    <a:pt x="448" y="376"/>
                    <a:pt x="448" y="376"/>
                    <a:pt x="447" y="376"/>
                  </a:cubicBezTo>
                  <a:cubicBezTo>
                    <a:pt x="447" y="377"/>
                    <a:pt x="446" y="378"/>
                    <a:pt x="446" y="380"/>
                  </a:cubicBezTo>
                  <a:cubicBezTo>
                    <a:pt x="446" y="380"/>
                    <a:pt x="445" y="380"/>
                    <a:pt x="445" y="381"/>
                  </a:cubicBezTo>
                  <a:cubicBezTo>
                    <a:pt x="445" y="380"/>
                    <a:pt x="444" y="379"/>
                    <a:pt x="443" y="379"/>
                  </a:cubicBezTo>
                  <a:cubicBezTo>
                    <a:pt x="442" y="379"/>
                    <a:pt x="441" y="380"/>
                    <a:pt x="441" y="380"/>
                  </a:cubicBezTo>
                  <a:cubicBezTo>
                    <a:pt x="441" y="380"/>
                    <a:pt x="440" y="379"/>
                    <a:pt x="439" y="379"/>
                  </a:cubicBezTo>
                  <a:close/>
                  <a:moveTo>
                    <a:pt x="334" y="455"/>
                  </a:moveTo>
                  <a:cubicBezTo>
                    <a:pt x="334" y="455"/>
                    <a:pt x="334" y="455"/>
                    <a:pt x="334" y="455"/>
                  </a:cubicBezTo>
                  <a:cubicBezTo>
                    <a:pt x="334" y="455"/>
                    <a:pt x="334" y="455"/>
                    <a:pt x="334" y="455"/>
                  </a:cubicBezTo>
                  <a:close/>
                  <a:moveTo>
                    <a:pt x="356" y="195"/>
                  </a:moveTo>
                  <a:cubicBezTo>
                    <a:pt x="356" y="195"/>
                    <a:pt x="356" y="195"/>
                    <a:pt x="356" y="195"/>
                  </a:cubicBezTo>
                  <a:cubicBezTo>
                    <a:pt x="356" y="195"/>
                    <a:pt x="356" y="195"/>
                    <a:pt x="356" y="195"/>
                  </a:cubicBezTo>
                  <a:close/>
                  <a:moveTo>
                    <a:pt x="276" y="274"/>
                  </a:move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6" y="274"/>
                  </a:cubicBezTo>
                  <a:close/>
                  <a:moveTo>
                    <a:pt x="373" y="432"/>
                  </a:moveTo>
                  <a:cubicBezTo>
                    <a:pt x="374" y="431"/>
                    <a:pt x="375" y="430"/>
                    <a:pt x="375" y="429"/>
                  </a:cubicBezTo>
                  <a:cubicBezTo>
                    <a:pt x="375" y="429"/>
                    <a:pt x="375" y="429"/>
                    <a:pt x="376" y="429"/>
                  </a:cubicBezTo>
                  <a:cubicBezTo>
                    <a:pt x="376" y="429"/>
                    <a:pt x="376" y="429"/>
                    <a:pt x="377" y="429"/>
                  </a:cubicBezTo>
                  <a:cubicBezTo>
                    <a:pt x="378" y="429"/>
                    <a:pt x="378" y="429"/>
                    <a:pt x="379" y="428"/>
                  </a:cubicBezTo>
                  <a:cubicBezTo>
                    <a:pt x="379" y="428"/>
                    <a:pt x="379" y="428"/>
                    <a:pt x="379" y="429"/>
                  </a:cubicBezTo>
                  <a:cubicBezTo>
                    <a:pt x="379" y="429"/>
                    <a:pt x="380" y="429"/>
                    <a:pt x="380" y="429"/>
                  </a:cubicBezTo>
                  <a:cubicBezTo>
                    <a:pt x="380" y="429"/>
                    <a:pt x="380" y="429"/>
                    <a:pt x="381" y="429"/>
                  </a:cubicBezTo>
                  <a:cubicBezTo>
                    <a:pt x="381" y="429"/>
                    <a:pt x="382" y="428"/>
                    <a:pt x="382" y="428"/>
                  </a:cubicBezTo>
                  <a:cubicBezTo>
                    <a:pt x="383" y="429"/>
                    <a:pt x="384" y="429"/>
                    <a:pt x="384" y="428"/>
                  </a:cubicBezTo>
                  <a:cubicBezTo>
                    <a:pt x="384" y="428"/>
                    <a:pt x="384" y="428"/>
                    <a:pt x="384" y="428"/>
                  </a:cubicBezTo>
                  <a:cubicBezTo>
                    <a:pt x="385" y="429"/>
                    <a:pt x="385" y="429"/>
                    <a:pt x="385" y="429"/>
                  </a:cubicBezTo>
                  <a:cubicBezTo>
                    <a:pt x="385" y="429"/>
                    <a:pt x="385" y="430"/>
                    <a:pt x="386" y="430"/>
                  </a:cubicBezTo>
                  <a:cubicBezTo>
                    <a:pt x="386" y="430"/>
                    <a:pt x="386" y="430"/>
                    <a:pt x="386" y="430"/>
                  </a:cubicBezTo>
                  <a:cubicBezTo>
                    <a:pt x="385" y="430"/>
                    <a:pt x="385" y="430"/>
                    <a:pt x="384" y="430"/>
                  </a:cubicBezTo>
                  <a:cubicBezTo>
                    <a:pt x="383" y="431"/>
                    <a:pt x="382" y="432"/>
                    <a:pt x="382" y="432"/>
                  </a:cubicBezTo>
                  <a:cubicBezTo>
                    <a:pt x="382" y="432"/>
                    <a:pt x="383" y="433"/>
                    <a:pt x="383" y="433"/>
                  </a:cubicBezTo>
                  <a:cubicBezTo>
                    <a:pt x="382" y="433"/>
                    <a:pt x="382" y="433"/>
                    <a:pt x="382" y="433"/>
                  </a:cubicBezTo>
                  <a:cubicBezTo>
                    <a:pt x="382" y="433"/>
                    <a:pt x="382" y="433"/>
                    <a:pt x="382" y="433"/>
                  </a:cubicBezTo>
                  <a:cubicBezTo>
                    <a:pt x="382" y="433"/>
                    <a:pt x="382" y="433"/>
                    <a:pt x="381" y="433"/>
                  </a:cubicBezTo>
                  <a:cubicBezTo>
                    <a:pt x="381" y="432"/>
                    <a:pt x="381" y="432"/>
                    <a:pt x="379" y="433"/>
                  </a:cubicBezTo>
                  <a:cubicBezTo>
                    <a:pt x="378" y="431"/>
                    <a:pt x="376" y="431"/>
                    <a:pt x="375" y="433"/>
                  </a:cubicBezTo>
                  <a:cubicBezTo>
                    <a:pt x="375" y="433"/>
                    <a:pt x="375" y="433"/>
                    <a:pt x="375" y="433"/>
                  </a:cubicBezTo>
                  <a:cubicBezTo>
                    <a:pt x="375" y="433"/>
                    <a:pt x="374" y="433"/>
                    <a:pt x="374" y="433"/>
                  </a:cubicBezTo>
                  <a:cubicBezTo>
                    <a:pt x="373" y="432"/>
                    <a:pt x="373" y="432"/>
                    <a:pt x="373" y="432"/>
                  </a:cubicBezTo>
                  <a:close/>
                  <a:moveTo>
                    <a:pt x="662" y="128"/>
                  </a:moveTo>
                  <a:cubicBezTo>
                    <a:pt x="662" y="128"/>
                    <a:pt x="662" y="128"/>
                    <a:pt x="662" y="128"/>
                  </a:cubicBezTo>
                  <a:cubicBezTo>
                    <a:pt x="662" y="128"/>
                    <a:pt x="661" y="127"/>
                    <a:pt x="661" y="127"/>
                  </a:cubicBezTo>
                  <a:cubicBezTo>
                    <a:pt x="661" y="127"/>
                    <a:pt x="661" y="127"/>
                    <a:pt x="661" y="126"/>
                  </a:cubicBezTo>
                  <a:cubicBezTo>
                    <a:pt x="661" y="127"/>
                    <a:pt x="661" y="127"/>
                    <a:pt x="662" y="128"/>
                  </a:cubicBezTo>
                  <a:close/>
                  <a:moveTo>
                    <a:pt x="626" y="145"/>
                  </a:moveTo>
                  <a:cubicBezTo>
                    <a:pt x="626" y="146"/>
                    <a:pt x="626" y="146"/>
                    <a:pt x="626" y="146"/>
                  </a:cubicBezTo>
                  <a:cubicBezTo>
                    <a:pt x="625" y="145"/>
                    <a:pt x="624" y="144"/>
                    <a:pt x="622" y="144"/>
                  </a:cubicBezTo>
                  <a:cubicBezTo>
                    <a:pt x="622" y="144"/>
                    <a:pt x="622" y="144"/>
                    <a:pt x="622" y="144"/>
                  </a:cubicBezTo>
                  <a:cubicBezTo>
                    <a:pt x="622" y="144"/>
                    <a:pt x="621" y="144"/>
                    <a:pt x="621" y="144"/>
                  </a:cubicBezTo>
                  <a:cubicBezTo>
                    <a:pt x="621" y="143"/>
                    <a:pt x="620" y="143"/>
                    <a:pt x="620" y="143"/>
                  </a:cubicBezTo>
                  <a:cubicBezTo>
                    <a:pt x="621" y="143"/>
                    <a:pt x="622" y="143"/>
                    <a:pt x="623" y="142"/>
                  </a:cubicBezTo>
                  <a:cubicBezTo>
                    <a:pt x="623" y="142"/>
                    <a:pt x="623" y="142"/>
                    <a:pt x="623" y="142"/>
                  </a:cubicBezTo>
                  <a:cubicBezTo>
                    <a:pt x="624" y="143"/>
                    <a:pt x="624" y="143"/>
                    <a:pt x="625" y="143"/>
                  </a:cubicBezTo>
                  <a:cubicBezTo>
                    <a:pt x="625" y="143"/>
                    <a:pt x="625" y="144"/>
                    <a:pt x="625" y="144"/>
                  </a:cubicBezTo>
                  <a:cubicBezTo>
                    <a:pt x="626" y="145"/>
                    <a:pt x="626" y="145"/>
                    <a:pt x="626" y="145"/>
                  </a:cubicBezTo>
                  <a:close/>
                  <a:moveTo>
                    <a:pt x="392" y="100"/>
                  </a:moveTo>
                  <a:cubicBezTo>
                    <a:pt x="391" y="100"/>
                    <a:pt x="391" y="100"/>
                    <a:pt x="391" y="101"/>
                  </a:cubicBezTo>
                  <a:cubicBezTo>
                    <a:pt x="391" y="100"/>
                    <a:pt x="391" y="100"/>
                    <a:pt x="392" y="100"/>
                  </a:cubicBezTo>
                  <a:cubicBezTo>
                    <a:pt x="392" y="100"/>
                    <a:pt x="392" y="100"/>
                    <a:pt x="392" y="100"/>
                  </a:cubicBezTo>
                  <a:close/>
                  <a:moveTo>
                    <a:pt x="346" y="128"/>
                  </a:moveTo>
                  <a:cubicBezTo>
                    <a:pt x="346" y="128"/>
                    <a:pt x="346" y="128"/>
                    <a:pt x="345" y="128"/>
                  </a:cubicBezTo>
                  <a:cubicBezTo>
                    <a:pt x="346" y="128"/>
                    <a:pt x="346" y="127"/>
                    <a:pt x="346" y="127"/>
                  </a:cubicBezTo>
                  <a:cubicBezTo>
                    <a:pt x="346" y="128"/>
                    <a:pt x="346" y="128"/>
                    <a:pt x="346" y="128"/>
                  </a:cubicBezTo>
                  <a:cubicBezTo>
                    <a:pt x="346" y="128"/>
                    <a:pt x="346" y="128"/>
                    <a:pt x="346" y="128"/>
                  </a:cubicBezTo>
                  <a:close/>
                  <a:moveTo>
                    <a:pt x="338" y="128"/>
                  </a:moveTo>
                  <a:cubicBezTo>
                    <a:pt x="338" y="128"/>
                    <a:pt x="338" y="128"/>
                    <a:pt x="338" y="128"/>
                  </a:cubicBezTo>
                  <a:cubicBezTo>
                    <a:pt x="338" y="128"/>
                    <a:pt x="338" y="128"/>
                    <a:pt x="338" y="128"/>
                  </a:cubicBezTo>
                  <a:cubicBezTo>
                    <a:pt x="338" y="128"/>
                    <a:pt x="338" y="128"/>
                    <a:pt x="338" y="128"/>
                  </a:cubicBezTo>
                  <a:close/>
                  <a:moveTo>
                    <a:pt x="280" y="286"/>
                  </a:moveTo>
                  <a:cubicBezTo>
                    <a:pt x="280" y="286"/>
                    <a:pt x="280" y="286"/>
                    <a:pt x="280" y="286"/>
                  </a:cubicBezTo>
                  <a:cubicBezTo>
                    <a:pt x="280" y="286"/>
                    <a:pt x="280" y="286"/>
                    <a:pt x="280" y="286"/>
                  </a:cubicBezTo>
                  <a:close/>
                  <a:moveTo>
                    <a:pt x="275" y="270"/>
                  </a:moveTo>
                  <a:cubicBezTo>
                    <a:pt x="275" y="270"/>
                    <a:pt x="275" y="270"/>
                    <a:pt x="276" y="270"/>
                  </a:cubicBezTo>
                  <a:cubicBezTo>
                    <a:pt x="276" y="270"/>
                    <a:pt x="276" y="270"/>
                    <a:pt x="276" y="270"/>
                  </a:cubicBezTo>
                  <a:cubicBezTo>
                    <a:pt x="276" y="271"/>
                    <a:pt x="276" y="271"/>
                    <a:pt x="276" y="271"/>
                  </a:cubicBezTo>
                  <a:cubicBezTo>
                    <a:pt x="276" y="271"/>
                    <a:pt x="276" y="271"/>
                    <a:pt x="276" y="272"/>
                  </a:cubicBezTo>
                  <a:cubicBezTo>
                    <a:pt x="276" y="272"/>
                    <a:pt x="276" y="273"/>
                    <a:pt x="276" y="273"/>
                  </a:cubicBezTo>
                  <a:cubicBezTo>
                    <a:pt x="276" y="273"/>
                    <a:pt x="276" y="273"/>
                    <a:pt x="276" y="273"/>
                  </a:cubicBezTo>
                  <a:cubicBezTo>
                    <a:pt x="276" y="274"/>
                    <a:pt x="276" y="274"/>
                    <a:pt x="276" y="274"/>
                  </a:cubicBezTo>
                  <a:cubicBezTo>
                    <a:pt x="276" y="274"/>
                    <a:pt x="276" y="274"/>
                    <a:pt x="275" y="274"/>
                  </a:cubicBezTo>
                  <a:cubicBezTo>
                    <a:pt x="275" y="274"/>
                    <a:pt x="275" y="274"/>
                    <a:pt x="274" y="274"/>
                  </a:cubicBezTo>
                  <a:cubicBezTo>
                    <a:pt x="275" y="273"/>
                    <a:pt x="275" y="272"/>
                    <a:pt x="275" y="270"/>
                  </a:cubicBezTo>
                  <a:close/>
                  <a:moveTo>
                    <a:pt x="434" y="472"/>
                  </a:moveTo>
                  <a:cubicBezTo>
                    <a:pt x="434" y="472"/>
                    <a:pt x="434" y="472"/>
                    <a:pt x="434" y="472"/>
                  </a:cubicBezTo>
                  <a:cubicBezTo>
                    <a:pt x="434" y="472"/>
                    <a:pt x="434" y="472"/>
                    <a:pt x="434" y="472"/>
                  </a:cubicBezTo>
                  <a:cubicBezTo>
                    <a:pt x="434" y="472"/>
                    <a:pt x="434" y="472"/>
                    <a:pt x="434" y="472"/>
                  </a:cubicBezTo>
                  <a:close/>
                  <a:moveTo>
                    <a:pt x="402" y="835"/>
                  </a:moveTo>
                  <a:cubicBezTo>
                    <a:pt x="402" y="835"/>
                    <a:pt x="402" y="835"/>
                    <a:pt x="402" y="835"/>
                  </a:cubicBezTo>
                  <a:cubicBezTo>
                    <a:pt x="402" y="835"/>
                    <a:pt x="402" y="835"/>
                    <a:pt x="402" y="835"/>
                  </a:cubicBezTo>
                  <a:close/>
                  <a:moveTo>
                    <a:pt x="415" y="844"/>
                  </a:moveTo>
                  <a:cubicBezTo>
                    <a:pt x="415" y="846"/>
                    <a:pt x="415" y="846"/>
                    <a:pt x="415" y="846"/>
                  </a:cubicBezTo>
                  <a:cubicBezTo>
                    <a:pt x="415" y="846"/>
                    <a:pt x="415" y="846"/>
                    <a:pt x="415" y="846"/>
                  </a:cubicBezTo>
                  <a:cubicBezTo>
                    <a:pt x="415" y="846"/>
                    <a:pt x="415" y="846"/>
                    <a:pt x="415" y="846"/>
                  </a:cubicBezTo>
                  <a:cubicBezTo>
                    <a:pt x="415" y="846"/>
                    <a:pt x="415" y="846"/>
                    <a:pt x="415" y="846"/>
                  </a:cubicBezTo>
                  <a:cubicBezTo>
                    <a:pt x="414" y="846"/>
                    <a:pt x="414" y="847"/>
                    <a:pt x="414" y="847"/>
                  </a:cubicBezTo>
                  <a:cubicBezTo>
                    <a:pt x="414" y="847"/>
                    <a:pt x="414" y="847"/>
                    <a:pt x="414" y="848"/>
                  </a:cubicBezTo>
                  <a:cubicBezTo>
                    <a:pt x="413" y="849"/>
                    <a:pt x="413" y="850"/>
                    <a:pt x="413" y="850"/>
                  </a:cubicBezTo>
                  <a:cubicBezTo>
                    <a:pt x="413" y="850"/>
                    <a:pt x="413" y="851"/>
                    <a:pt x="413" y="851"/>
                  </a:cubicBezTo>
                  <a:cubicBezTo>
                    <a:pt x="413" y="851"/>
                    <a:pt x="412" y="851"/>
                    <a:pt x="412" y="851"/>
                  </a:cubicBezTo>
                  <a:cubicBezTo>
                    <a:pt x="412" y="851"/>
                    <a:pt x="411" y="851"/>
                    <a:pt x="410" y="852"/>
                  </a:cubicBezTo>
                  <a:cubicBezTo>
                    <a:pt x="410" y="853"/>
                    <a:pt x="410" y="854"/>
                    <a:pt x="410" y="854"/>
                  </a:cubicBezTo>
                  <a:cubicBezTo>
                    <a:pt x="410" y="855"/>
                    <a:pt x="409" y="855"/>
                    <a:pt x="409" y="855"/>
                  </a:cubicBezTo>
                  <a:cubicBezTo>
                    <a:pt x="409" y="856"/>
                    <a:pt x="409" y="856"/>
                    <a:pt x="409" y="857"/>
                  </a:cubicBezTo>
                  <a:cubicBezTo>
                    <a:pt x="409" y="858"/>
                    <a:pt x="410" y="858"/>
                    <a:pt x="411" y="858"/>
                  </a:cubicBezTo>
                  <a:cubicBezTo>
                    <a:pt x="411" y="858"/>
                    <a:pt x="411" y="859"/>
                    <a:pt x="411" y="859"/>
                  </a:cubicBezTo>
                  <a:cubicBezTo>
                    <a:pt x="410" y="859"/>
                    <a:pt x="410" y="859"/>
                    <a:pt x="410" y="859"/>
                  </a:cubicBezTo>
                  <a:cubicBezTo>
                    <a:pt x="410" y="858"/>
                    <a:pt x="409" y="858"/>
                    <a:pt x="408" y="858"/>
                  </a:cubicBezTo>
                  <a:cubicBezTo>
                    <a:pt x="408" y="858"/>
                    <a:pt x="407" y="858"/>
                    <a:pt x="407" y="858"/>
                  </a:cubicBezTo>
                  <a:cubicBezTo>
                    <a:pt x="406" y="858"/>
                    <a:pt x="406" y="859"/>
                    <a:pt x="406" y="859"/>
                  </a:cubicBezTo>
                  <a:cubicBezTo>
                    <a:pt x="406" y="859"/>
                    <a:pt x="405" y="859"/>
                    <a:pt x="404" y="859"/>
                  </a:cubicBezTo>
                  <a:cubicBezTo>
                    <a:pt x="404" y="859"/>
                    <a:pt x="404" y="859"/>
                    <a:pt x="404" y="859"/>
                  </a:cubicBezTo>
                  <a:cubicBezTo>
                    <a:pt x="404" y="859"/>
                    <a:pt x="404" y="859"/>
                    <a:pt x="403" y="859"/>
                  </a:cubicBezTo>
                  <a:cubicBezTo>
                    <a:pt x="403" y="859"/>
                    <a:pt x="403" y="858"/>
                    <a:pt x="403" y="858"/>
                  </a:cubicBezTo>
                  <a:cubicBezTo>
                    <a:pt x="402" y="858"/>
                    <a:pt x="402" y="858"/>
                    <a:pt x="401" y="858"/>
                  </a:cubicBezTo>
                  <a:cubicBezTo>
                    <a:pt x="400" y="858"/>
                    <a:pt x="400" y="858"/>
                    <a:pt x="399" y="859"/>
                  </a:cubicBezTo>
                  <a:cubicBezTo>
                    <a:pt x="399" y="859"/>
                    <a:pt x="399" y="858"/>
                    <a:pt x="399" y="858"/>
                  </a:cubicBezTo>
                  <a:cubicBezTo>
                    <a:pt x="399" y="857"/>
                    <a:pt x="400" y="855"/>
                    <a:pt x="399" y="854"/>
                  </a:cubicBezTo>
                  <a:cubicBezTo>
                    <a:pt x="399" y="853"/>
                    <a:pt x="399" y="852"/>
                    <a:pt x="400" y="851"/>
                  </a:cubicBezTo>
                  <a:cubicBezTo>
                    <a:pt x="400" y="851"/>
                    <a:pt x="400" y="851"/>
                    <a:pt x="400" y="851"/>
                  </a:cubicBezTo>
                  <a:cubicBezTo>
                    <a:pt x="400" y="850"/>
                    <a:pt x="400" y="848"/>
                    <a:pt x="400" y="846"/>
                  </a:cubicBezTo>
                  <a:cubicBezTo>
                    <a:pt x="400" y="846"/>
                    <a:pt x="400" y="846"/>
                    <a:pt x="399" y="846"/>
                  </a:cubicBezTo>
                  <a:cubicBezTo>
                    <a:pt x="402" y="844"/>
                    <a:pt x="402" y="844"/>
                    <a:pt x="402" y="844"/>
                  </a:cubicBezTo>
                  <a:cubicBezTo>
                    <a:pt x="399" y="844"/>
                    <a:pt x="399" y="844"/>
                    <a:pt x="399" y="844"/>
                  </a:cubicBezTo>
                  <a:cubicBezTo>
                    <a:pt x="399" y="844"/>
                    <a:pt x="399" y="844"/>
                    <a:pt x="399" y="843"/>
                  </a:cubicBezTo>
                  <a:cubicBezTo>
                    <a:pt x="399" y="843"/>
                    <a:pt x="399" y="843"/>
                    <a:pt x="399" y="843"/>
                  </a:cubicBezTo>
                  <a:cubicBezTo>
                    <a:pt x="400" y="843"/>
                    <a:pt x="400" y="843"/>
                    <a:pt x="401" y="843"/>
                  </a:cubicBezTo>
                  <a:cubicBezTo>
                    <a:pt x="401" y="843"/>
                    <a:pt x="402" y="842"/>
                    <a:pt x="402" y="842"/>
                  </a:cubicBezTo>
                  <a:cubicBezTo>
                    <a:pt x="403" y="841"/>
                    <a:pt x="403" y="840"/>
                    <a:pt x="402" y="840"/>
                  </a:cubicBezTo>
                  <a:cubicBezTo>
                    <a:pt x="402" y="840"/>
                    <a:pt x="402" y="840"/>
                    <a:pt x="402" y="840"/>
                  </a:cubicBezTo>
                  <a:cubicBezTo>
                    <a:pt x="402" y="839"/>
                    <a:pt x="402" y="839"/>
                    <a:pt x="402" y="839"/>
                  </a:cubicBezTo>
                  <a:cubicBezTo>
                    <a:pt x="402" y="838"/>
                    <a:pt x="401" y="837"/>
                    <a:pt x="400" y="837"/>
                  </a:cubicBezTo>
                  <a:cubicBezTo>
                    <a:pt x="400" y="837"/>
                    <a:pt x="400" y="837"/>
                    <a:pt x="400" y="837"/>
                  </a:cubicBezTo>
                  <a:cubicBezTo>
                    <a:pt x="400" y="837"/>
                    <a:pt x="400" y="837"/>
                    <a:pt x="400" y="837"/>
                  </a:cubicBezTo>
                  <a:cubicBezTo>
                    <a:pt x="401" y="837"/>
                    <a:pt x="402" y="837"/>
                    <a:pt x="402" y="836"/>
                  </a:cubicBezTo>
                  <a:cubicBezTo>
                    <a:pt x="402" y="836"/>
                    <a:pt x="402" y="836"/>
                    <a:pt x="402" y="836"/>
                  </a:cubicBezTo>
                  <a:cubicBezTo>
                    <a:pt x="402" y="836"/>
                    <a:pt x="402" y="836"/>
                    <a:pt x="402" y="836"/>
                  </a:cubicBezTo>
                  <a:cubicBezTo>
                    <a:pt x="403" y="836"/>
                    <a:pt x="403" y="836"/>
                    <a:pt x="403" y="836"/>
                  </a:cubicBezTo>
                  <a:cubicBezTo>
                    <a:pt x="403" y="836"/>
                    <a:pt x="404" y="836"/>
                    <a:pt x="404" y="836"/>
                  </a:cubicBezTo>
                  <a:cubicBezTo>
                    <a:pt x="404" y="836"/>
                    <a:pt x="404" y="836"/>
                    <a:pt x="405" y="836"/>
                  </a:cubicBezTo>
                  <a:cubicBezTo>
                    <a:pt x="405" y="837"/>
                    <a:pt x="406" y="837"/>
                    <a:pt x="407" y="837"/>
                  </a:cubicBezTo>
                  <a:cubicBezTo>
                    <a:pt x="407" y="837"/>
                    <a:pt x="407" y="837"/>
                    <a:pt x="407" y="837"/>
                  </a:cubicBezTo>
                  <a:cubicBezTo>
                    <a:pt x="408" y="837"/>
                    <a:pt x="409" y="836"/>
                    <a:pt x="410" y="835"/>
                  </a:cubicBezTo>
                  <a:cubicBezTo>
                    <a:pt x="410" y="835"/>
                    <a:pt x="410" y="834"/>
                    <a:pt x="410" y="834"/>
                  </a:cubicBezTo>
                  <a:cubicBezTo>
                    <a:pt x="410" y="834"/>
                    <a:pt x="410" y="834"/>
                    <a:pt x="410" y="834"/>
                  </a:cubicBezTo>
                  <a:cubicBezTo>
                    <a:pt x="410" y="833"/>
                    <a:pt x="410" y="833"/>
                    <a:pt x="410" y="833"/>
                  </a:cubicBezTo>
                  <a:cubicBezTo>
                    <a:pt x="411" y="833"/>
                    <a:pt x="411" y="833"/>
                    <a:pt x="411" y="833"/>
                  </a:cubicBezTo>
                  <a:cubicBezTo>
                    <a:pt x="411" y="834"/>
                    <a:pt x="411" y="834"/>
                    <a:pt x="413" y="835"/>
                  </a:cubicBezTo>
                  <a:cubicBezTo>
                    <a:pt x="413" y="835"/>
                    <a:pt x="413" y="835"/>
                    <a:pt x="414" y="835"/>
                  </a:cubicBezTo>
                  <a:cubicBezTo>
                    <a:pt x="414" y="836"/>
                    <a:pt x="414" y="836"/>
                    <a:pt x="414" y="836"/>
                  </a:cubicBezTo>
                  <a:cubicBezTo>
                    <a:pt x="414" y="836"/>
                    <a:pt x="414" y="836"/>
                    <a:pt x="414" y="836"/>
                  </a:cubicBezTo>
                  <a:cubicBezTo>
                    <a:pt x="415" y="837"/>
                    <a:pt x="415" y="837"/>
                    <a:pt x="415" y="837"/>
                  </a:cubicBezTo>
                  <a:cubicBezTo>
                    <a:pt x="415" y="837"/>
                    <a:pt x="415" y="837"/>
                    <a:pt x="416" y="837"/>
                  </a:cubicBezTo>
                  <a:cubicBezTo>
                    <a:pt x="416" y="837"/>
                    <a:pt x="416" y="838"/>
                    <a:pt x="416" y="838"/>
                  </a:cubicBezTo>
                  <a:cubicBezTo>
                    <a:pt x="416" y="838"/>
                    <a:pt x="416" y="839"/>
                    <a:pt x="417" y="840"/>
                  </a:cubicBezTo>
                  <a:cubicBezTo>
                    <a:pt x="417" y="840"/>
                    <a:pt x="417" y="840"/>
                    <a:pt x="417" y="840"/>
                  </a:cubicBezTo>
                  <a:cubicBezTo>
                    <a:pt x="417" y="840"/>
                    <a:pt x="416" y="840"/>
                    <a:pt x="416" y="840"/>
                  </a:cubicBezTo>
                  <a:cubicBezTo>
                    <a:pt x="415" y="841"/>
                    <a:pt x="416" y="842"/>
                    <a:pt x="416" y="843"/>
                  </a:cubicBezTo>
                  <a:cubicBezTo>
                    <a:pt x="416" y="843"/>
                    <a:pt x="416" y="844"/>
                    <a:pt x="416" y="844"/>
                  </a:cubicBezTo>
                  <a:cubicBezTo>
                    <a:pt x="416" y="844"/>
                    <a:pt x="416" y="844"/>
                    <a:pt x="416" y="844"/>
                  </a:cubicBezTo>
                  <a:cubicBezTo>
                    <a:pt x="416" y="844"/>
                    <a:pt x="416" y="844"/>
                    <a:pt x="416" y="844"/>
                  </a:cubicBezTo>
                  <a:cubicBezTo>
                    <a:pt x="416" y="844"/>
                    <a:pt x="416" y="844"/>
                    <a:pt x="415" y="845"/>
                  </a:cubicBezTo>
                  <a:lnTo>
                    <a:pt x="415" y="844"/>
                  </a:lnTo>
                  <a:close/>
                  <a:moveTo>
                    <a:pt x="488" y="709"/>
                  </a:moveTo>
                  <a:cubicBezTo>
                    <a:pt x="488" y="709"/>
                    <a:pt x="488" y="709"/>
                    <a:pt x="488" y="709"/>
                  </a:cubicBezTo>
                  <a:cubicBezTo>
                    <a:pt x="487" y="709"/>
                    <a:pt x="487" y="709"/>
                    <a:pt x="486" y="709"/>
                  </a:cubicBezTo>
                  <a:cubicBezTo>
                    <a:pt x="486" y="710"/>
                    <a:pt x="486" y="710"/>
                    <a:pt x="486" y="710"/>
                  </a:cubicBezTo>
                  <a:cubicBezTo>
                    <a:pt x="485" y="709"/>
                    <a:pt x="485" y="709"/>
                    <a:pt x="485" y="708"/>
                  </a:cubicBezTo>
                  <a:cubicBezTo>
                    <a:pt x="485" y="708"/>
                    <a:pt x="485" y="707"/>
                    <a:pt x="484" y="707"/>
                  </a:cubicBezTo>
                  <a:cubicBezTo>
                    <a:pt x="484" y="706"/>
                    <a:pt x="484" y="706"/>
                    <a:pt x="484" y="706"/>
                  </a:cubicBezTo>
                  <a:cubicBezTo>
                    <a:pt x="484" y="706"/>
                    <a:pt x="484" y="706"/>
                    <a:pt x="484" y="705"/>
                  </a:cubicBezTo>
                  <a:cubicBezTo>
                    <a:pt x="484" y="705"/>
                    <a:pt x="485" y="704"/>
                    <a:pt x="484" y="703"/>
                  </a:cubicBezTo>
                  <a:cubicBezTo>
                    <a:pt x="484" y="702"/>
                    <a:pt x="482" y="702"/>
                    <a:pt x="482" y="702"/>
                  </a:cubicBezTo>
                  <a:cubicBezTo>
                    <a:pt x="482" y="702"/>
                    <a:pt x="481" y="702"/>
                    <a:pt x="481" y="702"/>
                  </a:cubicBezTo>
                  <a:cubicBezTo>
                    <a:pt x="481" y="702"/>
                    <a:pt x="481" y="701"/>
                    <a:pt x="481" y="701"/>
                  </a:cubicBezTo>
                  <a:cubicBezTo>
                    <a:pt x="481" y="700"/>
                    <a:pt x="481" y="699"/>
                    <a:pt x="480" y="699"/>
                  </a:cubicBezTo>
                  <a:cubicBezTo>
                    <a:pt x="479" y="698"/>
                    <a:pt x="479" y="698"/>
                    <a:pt x="478" y="698"/>
                  </a:cubicBezTo>
                  <a:cubicBezTo>
                    <a:pt x="478" y="698"/>
                    <a:pt x="477" y="697"/>
                    <a:pt x="477" y="697"/>
                  </a:cubicBezTo>
                  <a:cubicBezTo>
                    <a:pt x="477" y="697"/>
                    <a:pt x="477" y="696"/>
                    <a:pt x="477" y="696"/>
                  </a:cubicBezTo>
                  <a:cubicBezTo>
                    <a:pt x="477" y="695"/>
                    <a:pt x="477" y="693"/>
                    <a:pt x="475" y="692"/>
                  </a:cubicBezTo>
                  <a:cubicBezTo>
                    <a:pt x="475" y="691"/>
                    <a:pt x="474" y="691"/>
                    <a:pt x="473" y="691"/>
                  </a:cubicBezTo>
                  <a:cubicBezTo>
                    <a:pt x="473" y="691"/>
                    <a:pt x="473" y="691"/>
                    <a:pt x="472" y="691"/>
                  </a:cubicBezTo>
                  <a:cubicBezTo>
                    <a:pt x="472" y="691"/>
                    <a:pt x="472" y="691"/>
                    <a:pt x="472" y="691"/>
                  </a:cubicBezTo>
                  <a:cubicBezTo>
                    <a:pt x="472" y="690"/>
                    <a:pt x="472" y="690"/>
                    <a:pt x="472" y="690"/>
                  </a:cubicBezTo>
                  <a:cubicBezTo>
                    <a:pt x="471" y="689"/>
                    <a:pt x="470" y="688"/>
                    <a:pt x="469" y="688"/>
                  </a:cubicBezTo>
                  <a:cubicBezTo>
                    <a:pt x="469" y="688"/>
                    <a:pt x="468" y="687"/>
                    <a:pt x="468" y="687"/>
                  </a:cubicBezTo>
                  <a:cubicBezTo>
                    <a:pt x="466" y="684"/>
                    <a:pt x="465" y="684"/>
                    <a:pt x="464" y="684"/>
                  </a:cubicBezTo>
                  <a:cubicBezTo>
                    <a:pt x="464" y="684"/>
                    <a:pt x="463" y="684"/>
                    <a:pt x="463" y="684"/>
                  </a:cubicBezTo>
                  <a:cubicBezTo>
                    <a:pt x="463" y="684"/>
                    <a:pt x="462" y="683"/>
                    <a:pt x="462" y="683"/>
                  </a:cubicBezTo>
                  <a:cubicBezTo>
                    <a:pt x="462" y="683"/>
                    <a:pt x="462" y="682"/>
                    <a:pt x="461" y="681"/>
                  </a:cubicBezTo>
                  <a:cubicBezTo>
                    <a:pt x="461" y="681"/>
                    <a:pt x="461" y="680"/>
                    <a:pt x="461" y="679"/>
                  </a:cubicBezTo>
                  <a:cubicBezTo>
                    <a:pt x="460" y="679"/>
                    <a:pt x="460" y="678"/>
                    <a:pt x="460" y="678"/>
                  </a:cubicBezTo>
                  <a:cubicBezTo>
                    <a:pt x="460" y="678"/>
                    <a:pt x="459" y="678"/>
                    <a:pt x="459" y="677"/>
                  </a:cubicBezTo>
                  <a:cubicBezTo>
                    <a:pt x="459" y="677"/>
                    <a:pt x="459" y="677"/>
                    <a:pt x="460" y="676"/>
                  </a:cubicBezTo>
                  <a:cubicBezTo>
                    <a:pt x="460" y="676"/>
                    <a:pt x="460" y="676"/>
                    <a:pt x="460" y="676"/>
                  </a:cubicBezTo>
                  <a:cubicBezTo>
                    <a:pt x="460" y="674"/>
                    <a:pt x="460" y="672"/>
                    <a:pt x="459" y="670"/>
                  </a:cubicBezTo>
                  <a:cubicBezTo>
                    <a:pt x="458" y="669"/>
                    <a:pt x="458" y="668"/>
                    <a:pt x="457" y="666"/>
                  </a:cubicBezTo>
                  <a:cubicBezTo>
                    <a:pt x="457" y="665"/>
                    <a:pt x="456" y="663"/>
                    <a:pt x="456" y="662"/>
                  </a:cubicBezTo>
                  <a:cubicBezTo>
                    <a:pt x="455" y="662"/>
                    <a:pt x="455" y="662"/>
                    <a:pt x="455" y="662"/>
                  </a:cubicBezTo>
                  <a:cubicBezTo>
                    <a:pt x="455" y="661"/>
                    <a:pt x="455" y="661"/>
                    <a:pt x="454" y="660"/>
                  </a:cubicBezTo>
                  <a:cubicBezTo>
                    <a:pt x="454" y="660"/>
                    <a:pt x="454" y="660"/>
                    <a:pt x="454" y="660"/>
                  </a:cubicBezTo>
                  <a:cubicBezTo>
                    <a:pt x="454" y="660"/>
                    <a:pt x="454" y="660"/>
                    <a:pt x="454" y="660"/>
                  </a:cubicBezTo>
                  <a:cubicBezTo>
                    <a:pt x="454" y="660"/>
                    <a:pt x="454" y="660"/>
                    <a:pt x="454" y="660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3" y="658"/>
                    <a:pt x="453" y="658"/>
                    <a:pt x="453" y="658"/>
                  </a:cubicBezTo>
                  <a:cubicBezTo>
                    <a:pt x="453" y="657"/>
                    <a:pt x="452" y="657"/>
                    <a:pt x="451" y="657"/>
                  </a:cubicBezTo>
                  <a:cubicBezTo>
                    <a:pt x="451" y="657"/>
                    <a:pt x="451" y="657"/>
                    <a:pt x="451" y="656"/>
                  </a:cubicBezTo>
                  <a:cubicBezTo>
                    <a:pt x="451" y="656"/>
                    <a:pt x="450" y="656"/>
                    <a:pt x="450" y="656"/>
                  </a:cubicBezTo>
                  <a:cubicBezTo>
                    <a:pt x="450" y="655"/>
                    <a:pt x="450" y="655"/>
                    <a:pt x="449" y="655"/>
                  </a:cubicBezTo>
                  <a:cubicBezTo>
                    <a:pt x="448" y="654"/>
                    <a:pt x="447" y="654"/>
                    <a:pt x="446" y="653"/>
                  </a:cubicBezTo>
                  <a:cubicBezTo>
                    <a:pt x="446" y="653"/>
                    <a:pt x="446" y="653"/>
                    <a:pt x="445" y="653"/>
                  </a:cubicBezTo>
                  <a:cubicBezTo>
                    <a:pt x="445" y="653"/>
                    <a:pt x="445" y="653"/>
                    <a:pt x="445" y="653"/>
                  </a:cubicBezTo>
                  <a:cubicBezTo>
                    <a:pt x="445" y="652"/>
                    <a:pt x="445" y="652"/>
                    <a:pt x="445" y="652"/>
                  </a:cubicBezTo>
                  <a:cubicBezTo>
                    <a:pt x="445" y="651"/>
                    <a:pt x="445" y="650"/>
                    <a:pt x="445" y="649"/>
                  </a:cubicBezTo>
                  <a:cubicBezTo>
                    <a:pt x="445" y="649"/>
                    <a:pt x="445" y="648"/>
                    <a:pt x="445" y="648"/>
                  </a:cubicBezTo>
                  <a:cubicBezTo>
                    <a:pt x="445" y="647"/>
                    <a:pt x="445" y="647"/>
                    <a:pt x="445" y="647"/>
                  </a:cubicBezTo>
                  <a:cubicBezTo>
                    <a:pt x="444" y="645"/>
                    <a:pt x="444" y="643"/>
                    <a:pt x="444" y="641"/>
                  </a:cubicBezTo>
                  <a:cubicBezTo>
                    <a:pt x="444" y="640"/>
                    <a:pt x="444" y="639"/>
                    <a:pt x="444" y="638"/>
                  </a:cubicBezTo>
                  <a:cubicBezTo>
                    <a:pt x="444" y="637"/>
                    <a:pt x="444" y="635"/>
                    <a:pt x="443" y="633"/>
                  </a:cubicBezTo>
                  <a:cubicBezTo>
                    <a:pt x="443" y="633"/>
                    <a:pt x="443" y="632"/>
                    <a:pt x="443" y="632"/>
                  </a:cubicBezTo>
                  <a:cubicBezTo>
                    <a:pt x="443" y="632"/>
                    <a:pt x="443" y="631"/>
                    <a:pt x="443" y="631"/>
                  </a:cubicBezTo>
                  <a:cubicBezTo>
                    <a:pt x="443" y="631"/>
                    <a:pt x="443" y="630"/>
                    <a:pt x="443" y="630"/>
                  </a:cubicBezTo>
                  <a:cubicBezTo>
                    <a:pt x="444" y="629"/>
                    <a:pt x="443" y="628"/>
                    <a:pt x="442" y="626"/>
                  </a:cubicBezTo>
                  <a:cubicBezTo>
                    <a:pt x="442" y="626"/>
                    <a:pt x="442" y="625"/>
                    <a:pt x="442" y="624"/>
                  </a:cubicBezTo>
                  <a:cubicBezTo>
                    <a:pt x="442" y="624"/>
                    <a:pt x="442" y="624"/>
                    <a:pt x="442" y="623"/>
                  </a:cubicBezTo>
                  <a:cubicBezTo>
                    <a:pt x="442" y="623"/>
                    <a:pt x="442" y="623"/>
                    <a:pt x="442" y="623"/>
                  </a:cubicBezTo>
                  <a:cubicBezTo>
                    <a:pt x="442" y="623"/>
                    <a:pt x="442" y="623"/>
                    <a:pt x="442" y="623"/>
                  </a:cubicBezTo>
                  <a:cubicBezTo>
                    <a:pt x="442" y="621"/>
                    <a:pt x="442" y="621"/>
                    <a:pt x="442" y="621"/>
                  </a:cubicBezTo>
                  <a:cubicBezTo>
                    <a:pt x="442" y="621"/>
                    <a:pt x="442" y="621"/>
                    <a:pt x="442" y="621"/>
                  </a:cubicBezTo>
                  <a:cubicBezTo>
                    <a:pt x="441" y="620"/>
                    <a:pt x="441" y="620"/>
                    <a:pt x="441" y="620"/>
                  </a:cubicBezTo>
                  <a:cubicBezTo>
                    <a:pt x="441" y="620"/>
                    <a:pt x="441" y="620"/>
                    <a:pt x="441" y="620"/>
                  </a:cubicBezTo>
                  <a:cubicBezTo>
                    <a:pt x="441" y="618"/>
                    <a:pt x="440" y="618"/>
                    <a:pt x="439" y="618"/>
                  </a:cubicBezTo>
                  <a:cubicBezTo>
                    <a:pt x="439" y="617"/>
                    <a:pt x="438" y="617"/>
                    <a:pt x="438" y="617"/>
                  </a:cubicBezTo>
                  <a:cubicBezTo>
                    <a:pt x="438" y="617"/>
                    <a:pt x="437" y="616"/>
                    <a:pt x="436" y="616"/>
                  </a:cubicBezTo>
                  <a:cubicBezTo>
                    <a:pt x="436" y="615"/>
                    <a:pt x="436" y="615"/>
                    <a:pt x="436" y="615"/>
                  </a:cubicBezTo>
                  <a:cubicBezTo>
                    <a:pt x="435" y="614"/>
                    <a:pt x="435" y="614"/>
                    <a:pt x="434" y="613"/>
                  </a:cubicBezTo>
                  <a:cubicBezTo>
                    <a:pt x="434" y="613"/>
                    <a:pt x="433" y="613"/>
                    <a:pt x="433" y="613"/>
                  </a:cubicBezTo>
                  <a:cubicBezTo>
                    <a:pt x="432" y="613"/>
                    <a:pt x="432" y="613"/>
                    <a:pt x="432" y="612"/>
                  </a:cubicBezTo>
                  <a:cubicBezTo>
                    <a:pt x="432" y="612"/>
                    <a:pt x="432" y="611"/>
                    <a:pt x="432" y="610"/>
                  </a:cubicBezTo>
                  <a:cubicBezTo>
                    <a:pt x="432" y="610"/>
                    <a:pt x="432" y="610"/>
                    <a:pt x="432" y="609"/>
                  </a:cubicBezTo>
                  <a:cubicBezTo>
                    <a:pt x="432" y="608"/>
                    <a:pt x="432" y="608"/>
                    <a:pt x="432" y="608"/>
                  </a:cubicBezTo>
                  <a:cubicBezTo>
                    <a:pt x="432" y="607"/>
                    <a:pt x="432" y="606"/>
                    <a:pt x="431" y="605"/>
                  </a:cubicBezTo>
                  <a:cubicBezTo>
                    <a:pt x="431" y="605"/>
                    <a:pt x="431" y="605"/>
                    <a:pt x="431" y="605"/>
                  </a:cubicBezTo>
                  <a:cubicBezTo>
                    <a:pt x="431" y="604"/>
                    <a:pt x="431" y="604"/>
                    <a:pt x="431" y="604"/>
                  </a:cubicBezTo>
                  <a:cubicBezTo>
                    <a:pt x="431" y="603"/>
                    <a:pt x="431" y="603"/>
                    <a:pt x="432" y="603"/>
                  </a:cubicBezTo>
                  <a:cubicBezTo>
                    <a:pt x="432" y="602"/>
                    <a:pt x="432" y="601"/>
                    <a:pt x="431" y="600"/>
                  </a:cubicBezTo>
                  <a:cubicBezTo>
                    <a:pt x="431" y="600"/>
                    <a:pt x="431" y="600"/>
                    <a:pt x="430" y="599"/>
                  </a:cubicBezTo>
                  <a:cubicBezTo>
                    <a:pt x="430" y="599"/>
                    <a:pt x="430" y="599"/>
                    <a:pt x="430" y="599"/>
                  </a:cubicBezTo>
                  <a:cubicBezTo>
                    <a:pt x="429" y="598"/>
                    <a:pt x="428" y="596"/>
                    <a:pt x="428" y="596"/>
                  </a:cubicBezTo>
                  <a:cubicBezTo>
                    <a:pt x="428" y="595"/>
                    <a:pt x="428" y="595"/>
                    <a:pt x="428" y="595"/>
                  </a:cubicBezTo>
                  <a:cubicBezTo>
                    <a:pt x="428" y="594"/>
                    <a:pt x="428" y="592"/>
                    <a:pt x="426" y="591"/>
                  </a:cubicBezTo>
                  <a:cubicBezTo>
                    <a:pt x="426" y="590"/>
                    <a:pt x="426" y="590"/>
                    <a:pt x="426" y="589"/>
                  </a:cubicBezTo>
                  <a:cubicBezTo>
                    <a:pt x="426" y="588"/>
                    <a:pt x="426" y="588"/>
                    <a:pt x="426" y="588"/>
                  </a:cubicBezTo>
                  <a:cubicBezTo>
                    <a:pt x="425" y="587"/>
                    <a:pt x="425" y="585"/>
                    <a:pt x="424" y="583"/>
                  </a:cubicBezTo>
                  <a:cubicBezTo>
                    <a:pt x="423" y="582"/>
                    <a:pt x="422" y="581"/>
                    <a:pt x="422" y="580"/>
                  </a:cubicBezTo>
                  <a:cubicBezTo>
                    <a:pt x="422" y="580"/>
                    <a:pt x="422" y="580"/>
                    <a:pt x="422" y="579"/>
                  </a:cubicBezTo>
                  <a:cubicBezTo>
                    <a:pt x="422" y="578"/>
                    <a:pt x="421" y="577"/>
                    <a:pt x="420" y="576"/>
                  </a:cubicBezTo>
                  <a:cubicBezTo>
                    <a:pt x="420" y="576"/>
                    <a:pt x="420" y="576"/>
                    <a:pt x="420" y="576"/>
                  </a:cubicBezTo>
                  <a:cubicBezTo>
                    <a:pt x="419" y="575"/>
                    <a:pt x="419" y="575"/>
                    <a:pt x="419" y="574"/>
                  </a:cubicBezTo>
                  <a:cubicBezTo>
                    <a:pt x="419" y="574"/>
                    <a:pt x="419" y="573"/>
                    <a:pt x="419" y="573"/>
                  </a:cubicBezTo>
                  <a:cubicBezTo>
                    <a:pt x="419" y="572"/>
                    <a:pt x="419" y="571"/>
                    <a:pt x="419" y="570"/>
                  </a:cubicBezTo>
                  <a:cubicBezTo>
                    <a:pt x="418" y="569"/>
                    <a:pt x="418" y="568"/>
                    <a:pt x="416" y="567"/>
                  </a:cubicBezTo>
                  <a:cubicBezTo>
                    <a:pt x="416" y="566"/>
                    <a:pt x="416" y="566"/>
                    <a:pt x="416" y="566"/>
                  </a:cubicBezTo>
                  <a:cubicBezTo>
                    <a:pt x="416" y="565"/>
                    <a:pt x="416" y="565"/>
                    <a:pt x="416" y="565"/>
                  </a:cubicBezTo>
                  <a:cubicBezTo>
                    <a:pt x="416" y="565"/>
                    <a:pt x="416" y="565"/>
                    <a:pt x="415" y="565"/>
                  </a:cubicBezTo>
                  <a:cubicBezTo>
                    <a:pt x="415" y="565"/>
                    <a:pt x="415" y="564"/>
                    <a:pt x="415" y="564"/>
                  </a:cubicBezTo>
                  <a:cubicBezTo>
                    <a:pt x="415" y="564"/>
                    <a:pt x="415" y="564"/>
                    <a:pt x="416" y="564"/>
                  </a:cubicBezTo>
                  <a:cubicBezTo>
                    <a:pt x="416" y="563"/>
                    <a:pt x="415" y="562"/>
                    <a:pt x="414" y="561"/>
                  </a:cubicBezTo>
                  <a:cubicBezTo>
                    <a:pt x="415" y="561"/>
                    <a:pt x="416" y="562"/>
                    <a:pt x="416" y="563"/>
                  </a:cubicBezTo>
                  <a:cubicBezTo>
                    <a:pt x="417" y="563"/>
                    <a:pt x="417" y="563"/>
                    <a:pt x="417" y="563"/>
                  </a:cubicBezTo>
                  <a:cubicBezTo>
                    <a:pt x="417" y="564"/>
                    <a:pt x="418" y="565"/>
                    <a:pt x="419" y="566"/>
                  </a:cubicBezTo>
                  <a:cubicBezTo>
                    <a:pt x="420" y="566"/>
                    <a:pt x="422" y="566"/>
                    <a:pt x="422" y="565"/>
                  </a:cubicBezTo>
                  <a:cubicBezTo>
                    <a:pt x="422" y="565"/>
                    <a:pt x="422" y="564"/>
                    <a:pt x="422" y="563"/>
                  </a:cubicBezTo>
                  <a:cubicBezTo>
                    <a:pt x="422" y="563"/>
                    <a:pt x="422" y="563"/>
                    <a:pt x="422" y="563"/>
                  </a:cubicBezTo>
                  <a:cubicBezTo>
                    <a:pt x="423" y="563"/>
                    <a:pt x="424" y="563"/>
                    <a:pt x="424" y="563"/>
                  </a:cubicBezTo>
                  <a:cubicBezTo>
                    <a:pt x="425" y="563"/>
                    <a:pt x="425" y="562"/>
                    <a:pt x="425" y="562"/>
                  </a:cubicBezTo>
                  <a:cubicBezTo>
                    <a:pt x="425" y="562"/>
                    <a:pt x="425" y="562"/>
                    <a:pt x="426" y="562"/>
                  </a:cubicBezTo>
                  <a:cubicBezTo>
                    <a:pt x="426" y="562"/>
                    <a:pt x="426" y="562"/>
                    <a:pt x="426" y="562"/>
                  </a:cubicBezTo>
                  <a:cubicBezTo>
                    <a:pt x="427" y="562"/>
                    <a:pt x="427" y="562"/>
                    <a:pt x="427" y="562"/>
                  </a:cubicBezTo>
                  <a:cubicBezTo>
                    <a:pt x="427" y="563"/>
                    <a:pt x="427" y="564"/>
                    <a:pt x="427" y="564"/>
                  </a:cubicBezTo>
                  <a:cubicBezTo>
                    <a:pt x="427" y="566"/>
                    <a:pt x="428" y="568"/>
                    <a:pt x="429" y="568"/>
                  </a:cubicBezTo>
                  <a:cubicBezTo>
                    <a:pt x="429" y="569"/>
                    <a:pt x="430" y="569"/>
                    <a:pt x="430" y="571"/>
                  </a:cubicBezTo>
                  <a:cubicBezTo>
                    <a:pt x="430" y="572"/>
                    <a:pt x="431" y="573"/>
                    <a:pt x="433" y="574"/>
                  </a:cubicBezTo>
                  <a:cubicBezTo>
                    <a:pt x="433" y="574"/>
                    <a:pt x="433" y="574"/>
                    <a:pt x="433" y="574"/>
                  </a:cubicBezTo>
                  <a:cubicBezTo>
                    <a:pt x="433" y="575"/>
                    <a:pt x="433" y="577"/>
                    <a:pt x="434" y="578"/>
                  </a:cubicBezTo>
                  <a:cubicBezTo>
                    <a:pt x="435" y="579"/>
                    <a:pt x="436" y="581"/>
                    <a:pt x="436" y="582"/>
                  </a:cubicBezTo>
                  <a:cubicBezTo>
                    <a:pt x="436" y="583"/>
                    <a:pt x="439" y="588"/>
                    <a:pt x="440" y="589"/>
                  </a:cubicBezTo>
                  <a:cubicBezTo>
                    <a:pt x="441" y="590"/>
                    <a:pt x="441" y="591"/>
                    <a:pt x="441" y="592"/>
                  </a:cubicBezTo>
                  <a:cubicBezTo>
                    <a:pt x="440" y="593"/>
                    <a:pt x="441" y="594"/>
                    <a:pt x="442" y="595"/>
                  </a:cubicBezTo>
                  <a:cubicBezTo>
                    <a:pt x="442" y="595"/>
                    <a:pt x="442" y="595"/>
                    <a:pt x="442" y="595"/>
                  </a:cubicBezTo>
                  <a:cubicBezTo>
                    <a:pt x="443" y="595"/>
                    <a:pt x="443" y="597"/>
                    <a:pt x="443" y="597"/>
                  </a:cubicBezTo>
                  <a:cubicBezTo>
                    <a:pt x="443" y="598"/>
                    <a:pt x="443" y="599"/>
                    <a:pt x="443" y="599"/>
                  </a:cubicBezTo>
                  <a:cubicBezTo>
                    <a:pt x="444" y="600"/>
                    <a:pt x="445" y="600"/>
                    <a:pt x="445" y="600"/>
                  </a:cubicBezTo>
                  <a:cubicBezTo>
                    <a:pt x="446" y="602"/>
                    <a:pt x="448" y="602"/>
                    <a:pt x="449" y="602"/>
                  </a:cubicBezTo>
                  <a:cubicBezTo>
                    <a:pt x="449" y="602"/>
                    <a:pt x="450" y="603"/>
                    <a:pt x="450" y="604"/>
                  </a:cubicBezTo>
                  <a:cubicBezTo>
                    <a:pt x="450" y="606"/>
                    <a:pt x="452" y="608"/>
                    <a:pt x="453" y="608"/>
                  </a:cubicBezTo>
                  <a:cubicBezTo>
                    <a:pt x="453" y="608"/>
                    <a:pt x="453" y="608"/>
                    <a:pt x="453" y="609"/>
                  </a:cubicBezTo>
                  <a:cubicBezTo>
                    <a:pt x="453" y="610"/>
                    <a:pt x="453" y="610"/>
                    <a:pt x="453" y="611"/>
                  </a:cubicBezTo>
                  <a:cubicBezTo>
                    <a:pt x="453" y="611"/>
                    <a:pt x="453" y="611"/>
                    <a:pt x="453" y="611"/>
                  </a:cubicBezTo>
                  <a:cubicBezTo>
                    <a:pt x="454" y="611"/>
                    <a:pt x="454" y="611"/>
                    <a:pt x="454" y="611"/>
                  </a:cubicBezTo>
                  <a:cubicBezTo>
                    <a:pt x="454" y="612"/>
                    <a:pt x="454" y="612"/>
                    <a:pt x="454" y="612"/>
                  </a:cubicBezTo>
                  <a:cubicBezTo>
                    <a:pt x="453" y="613"/>
                    <a:pt x="454" y="617"/>
                    <a:pt x="455" y="618"/>
                  </a:cubicBezTo>
                  <a:cubicBezTo>
                    <a:pt x="455" y="618"/>
                    <a:pt x="456" y="619"/>
                    <a:pt x="455" y="621"/>
                  </a:cubicBezTo>
                  <a:cubicBezTo>
                    <a:pt x="455" y="622"/>
                    <a:pt x="455" y="623"/>
                    <a:pt x="455" y="623"/>
                  </a:cubicBezTo>
                  <a:cubicBezTo>
                    <a:pt x="456" y="624"/>
                    <a:pt x="456" y="624"/>
                    <a:pt x="456" y="624"/>
                  </a:cubicBezTo>
                  <a:cubicBezTo>
                    <a:pt x="456" y="625"/>
                    <a:pt x="456" y="627"/>
                    <a:pt x="457" y="629"/>
                  </a:cubicBezTo>
                  <a:cubicBezTo>
                    <a:pt x="458" y="630"/>
                    <a:pt x="459" y="631"/>
                    <a:pt x="459" y="632"/>
                  </a:cubicBezTo>
                  <a:cubicBezTo>
                    <a:pt x="459" y="635"/>
                    <a:pt x="463" y="637"/>
                    <a:pt x="464" y="637"/>
                  </a:cubicBezTo>
                  <a:cubicBezTo>
                    <a:pt x="465" y="637"/>
                    <a:pt x="465" y="637"/>
                    <a:pt x="465" y="638"/>
                  </a:cubicBezTo>
                  <a:cubicBezTo>
                    <a:pt x="466" y="638"/>
                    <a:pt x="466" y="639"/>
                    <a:pt x="466" y="640"/>
                  </a:cubicBezTo>
                  <a:cubicBezTo>
                    <a:pt x="467" y="640"/>
                    <a:pt x="468" y="641"/>
                    <a:pt x="468" y="641"/>
                  </a:cubicBezTo>
                  <a:cubicBezTo>
                    <a:pt x="468" y="641"/>
                    <a:pt x="469" y="642"/>
                    <a:pt x="469" y="642"/>
                  </a:cubicBezTo>
                  <a:cubicBezTo>
                    <a:pt x="471" y="644"/>
                    <a:pt x="472" y="648"/>
                    <a:pt x="472" y="649"/>
                  </a:cubicBezTo>
                  <a:cubicBezTo>
                    <a:pt x="471" y="651"/>
                    <a:pt x="473" y="652"/>
                    <a:pt x="474" y="654"/>
                  </a:cubicBezTo>
                  <a:cubicBezTo>
                    <a:pt x="474" y="654"/>
                    <a:pt x="474" y="654"/>
                    <a:pt x="474" y="654"/>
                  </a:cubicBezTo>
                  <a:cubicBezTo>
                    <a:pt x="474" y="655"/>
                    <a:pt x="475" y="656"/>
                    <a:pt x="475" y="657"/>
                  </a:cubicBezTo>
                  <a:cubicBezTo>
                    <a:pt x="475" y="657"/>
                    <a:pt x="475" y="658"/>
                    <a:pt x="475" y="658"/>
                  </a:cubicBezTo>
                  <a:cubicBezTo>
                    <a:pt x="475" y="659"/>
                    <a:pt x="476" y="659"/>
                    <a:pt x="476" y="660"/>
                  </a:cubicBezTo>
                  <a:cubicBezTo>
                    <a:pt x="476" y="660"/>
                    <a:pt x="476" y="660"/>
                    <a:pt x="477" y="661"/>
                  </a:cubicBezTo>
                  <a:cubicBezTo>
                    <a:pt x="477" y="661"/>
                    <a:pt x="477" y="661"/>
                    <a:pt x="477" y="661"/>
                  </a:cubicBezTo>
                  <a:cubicBezTo>
                    <a:pt x="477" y="662"/>
                    <a:pt x="478" y="663"/>
                    <a:pt x="479" y="664"/>
                  </a:cubicBezTo>
                  <a:cubicBezTo>
                    <a:pt x="479" y="665"/>
                    <a:pt x="479" y="665"/>
                    <a:pt x="479" y="665"/>
                  </a:cubicBezTo>
                  <a:cubicBezTo>
                    <a:pt x="480" y="665"/>
                    <a:pt x="480" y="666"/>
                    <a:pt x="480" y="667"/>
                  </a:cubicBezTo>
                  <a:cubicBezTo>
                    <a:pt x="480" y="669"/>
                    <a:pt x="482" y="670"/>
                    <a:pt x="483" y="671"/>
                  </a:cubicBezTo>
                  <a:cubicBezTo>
                    <a:pt x="483" y="671"/>
                    <a:pt x="483" y="671"/>
                    <a:pt x="483" y="671"/>
                  </a:cubicBezTo>
                  <a:cubicBezTo>
                    <a:pt x="483" y="671"/>
                    <a:pt x="483" y="671"/>
                    <a:pt x="483" y="671"/>
                  </a:cubicBezTo>
                  <a:cubicBezTo>
                    <a:pt x="483" y="671"/>
                    <a:pt x="483" y="671"/>
                    <a:pt x="483" y="672"/>
                  </a:cubicBezTo>
                  <a:cubicBezTo>
                    <a:pt x="483" y="673"/>
                    <a:pt x="483" y="675"/>
                    <a:pt x="484" y="676"/>
                  </a:cubicBezTo>
                  <a:cubicBezTo>
                    <a:pt x="484" y="676"/>
                    <a:pt x="484" y="676"/>
                    <a:pt x="484" y="676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4" y="677"/>
                    <a:pt x="484" y="677"/>
                  </a:cubicBezTo>
                  <a:cubicBezTo>
                    <a:pt x="484" y="677"/>
                    <a:pt x="485" y="680"/>
                    <a:pt x="484" y="681"/>
                  </a:cubicBezTo>
                  <a:cubicBezTo>
                    <a:pt x="484" y="682"/>
                    <a:pt x="485" y="684"/>
                    <a:pt x="485" y="686"/>
                  </a:cubicBezTo>
                  <a:cubicBezTo>
                    <a:pt x="484" y="686"/>
                    <a:pt x="484" y="687"/>
                    <a:pt x="484" y="687"/>
                  </a:cubicBezTo>
                  <a:cubicBezTo>
                    <a:pt x="483" y="688"/>
                    <a:pt x="485" y="689"/>
                    <a:pt x="485" y="690"/>
                  </a:cubicBezTo>
                  <a:cubicBezTo>
                    <a:pt x="486" y="690"/>
                    <a:pt x="486" y="691"/>
                    <a:pt x="486" y="691"/>
                  </a:cubicBezTo>
                  <a:cubicBezTo>
                    <a:pt x="486" y="692"/>
                    <a:pt x="486" y="692"/>
                    <a:pt x="486" y="692"/>
                  </a:cubicBezTo>
                  <a:cubicBezTo>
                    <a:pt x="486" y="693"/>
                    <a:pt x="486" y="693"/>
                    <a:pt x="486" y="693"/>
                  </a:cubicBezTo>
                  <a:cubicBezTo>
                    <a:pt x="486" y="693"/>
                    <a:pt x="486" y="694"/>
                    <a:pt x="486" y="694"/>
                  </a:cubicBezTo>
                  <a:cubicBezTo>
                    <a:pt x="486" y="696"/>
                    <a:pt x="486" y="696"/>
                    <a:pt x="487" y="697"/>
                  </a:cubicBezTo>
                  <a:cubicBezTo>
                    <a:pt x="487" y="697"/>
                    <a:pt x="487" y="697"/>
                    <a:pt x="487" y="697"/>
                  </a:cubicBezTo>
                  <a:cubicBezTo>
                    <a:pt x="487" y="697"/>
                    <a:pt x="487" y="697"/>
                    <a:pt x="487" y="698"/>
                  </a:cubicBezTo>
                  <a:cubicBezTo>
                    <a:pt x="487" y="699"/>
                    <a:pt x="488" y="700"/>
                    <a:pt x="488" y="701"/>
                  </a:cubicBezTo>
                  <a:cubicBezTo>
                    <a:pt x="489" y="701"/>
                    <a:pt x="489" y="704"/>
                    <a:pt x="489" y="705"/>
                  </a:cubicBezTo>
                  <a:cubicBezTo>
                    <a:pt x="488" y="706"/>
                    <a:pt x="489" y="708"/>
                    <a:pt x="489" y="709"/>
                  </a:cubicBezTo>
                  <a:cubicBezTo>
                    <a:pt x="489" y="709"/>
                    <a:pt x="489" y="709"/>
                    <a:pt x="488" y="709"/>
                  </a:cubicBezTo>
                  <a:close/>
                  <a:moveTo>
                    <a:pt x="530" y="451"/>
                  </a:moveTo>
                  <a:cubicBezTo>
                    <a:pt x="530" y="451"/>
                    <a:pt x="530" y="451"/>
                    <a:pt x="530" y="451"/>
                  </a:cubicBezTo>
                  <a:cubicBezTo>
                    <a:pt x="530" y="451"/>
                    <a:pt x="530" y="450"/>
                    <a:pt x="530" y="450"/>
                  </a:cubicBezTo>
                  <a:cubicBezTo>
                    <a:pt x="531" y="450"/>
                    <a:pt x="532" y="450"/>
                    <a:pt x="532" y="450"/>
                  </a:cubicBezTo>
                  <a:cubicBezTo>
                    <a:pt x="533" y="449"/>
                    <a:pt x="533" y="448"/>
                    <a:pt x="533" y="445"/>
                  </a:cubicBezTo>
                  <a:cubicBezTo>
                    <a:pt x="533" y="444"/>
                    <a:pt x="533" y="443"/>
                    <a:pt x="533" y="443"/>
                  </a:cubicBezTo>
                  <a:cubicBezTo>
                    <a:pt x="533" y="442"/>
                    <a:pt x="533" y="442"/>
                    <a:pt x="533" y="441"/>
                  </a:cubicBezTo>
                  <a:cubicBezTo>
                    <a:pt x="533" y="440"/>
                    <a:pt x="534" y="439"/>
                    <a:pt x="534" y="439"/>
                  </a:cubicBezTo>
                  <a:cubicBezTo>
                    <a:pt x="534" y="438"/>
                    <a:pt x="535" y="436"/>
                    <a:pt x="536" y="436"/>
                  </a:cubicBezTo>
                  <a:cubicBezTo>
                    <a:pt x="537" y="437"/>
                    <a:pt x="538" y="437"/>
                    <a:pt x="538" y="437"/>
                  </a:cubicBezTo>
                  <a:cubicBezTo>
                    <a:pt x="539" y="437"/>
                    <a:pt x="539" y="437"/>
                    <a:pt x="540" y="437"/>
                  </a:cubicBezTo>
                  <a:cubicBezTo>
                    <a:pt x="540" y="436"/>
                    <a:pt x="540" y="435"/>
                    <a:pt x="540" y="434"/>
                  </a:cubicBezTo>
                  <a:cubicBezTo>
                    <a:pt x="539" y="432"/>
                    <a:pt x="538" y="431"/>
                    <a:pt x="538" y="431"/>
                  </a:cubicBezTo>
                  <a:cubicBezTo>
                    <a:pt x="537" y="431"/>
                    <a:pt x="537" y="430"/>
                    <a:pt x="536" y="430"/>
                  </a:cubicBezTo>
                  <a:cubicBezTo>
                    <a:pt x="535" y="430"/>
                    <a:pt x="535" y="430"/>
                    <a:pt x="534" y="430"/>
                  </a:cubicBezTo>
                  <a:cubicBezTo>
                    <a:pt x="534" y="430"/>
                    <a:pt x="534" y="430"/>
                    <a:pt x="534" y="430"/>
                  </a:cubicBezTo>
                  <a:cubicBezTo>
                    <a:pt x="534" y="430"/>
                    <a:pt x="534" y="430"/>
                    <a:pt x="534" y="430"/>
                  </a:cubicBezTo>
                  <a:cubicBezTo>
                    <a:pt x="534" y="429"/>
                    <a:pt x="533" y="428"/>
                    <a:pt x="532" y="427"/>
                  </a:cubicBezTo>
                  <a:cubicBezTo>
                    <a:pt x="532" y="427"/>
                    <a:pt x="531" y="426"/>
                    <a:pt x="531" y="426"/>
                  </a:cubicBezTo>
                  <a:cubicBezTo>
                    <a:pt x="531" y="424"/>
                    <a:pt x="529" y="421"/>
                    <a:pt x="528" y="420"/>
                  </a:cubicBezTo>
                  <a:cubicBezTo>
                    <a:pt x="526" y="417"/>
                    <a:pt x="526" y="417"/>
                    <a:pt x="526" y="417"/>
                  </a:cubicBezTo>
                  <a:cubicBezTo>
                    <a:pt x="526" y="417"/>
                    <a:pt x="526" y="417"/>
                    <a:pt x="526" y="417"/>
                  </a:cubicBezTo>
                  <a:cubicBezTo>
                    <a:pt x="524" y="413"/>
                    <a:pt x="522" y="411"/>
                    <a:pt x="522" y="411"/>
                  </a:cubicBezTo>
                  <a:cubicBezTo>
                    <a:pt x="521" y="410"/>
                    <a:pt x="519" y="407"/>
                    <a:pt x="519" y="404"/>
                  </a:cubicBezTo>
                  <a:cubicBezTo>
                    <a:pt x="519" y="403"/>
                    <a:pt x="519" y="401"/>
                    <a:pt x="519" y="400"/>
                  </a:cubicBezTo>
                  <a:cubicBezTo>
                    <a:pt x="520" y="398"/>
                    <a:pt x="520" y="397"/>
                    <a:pt x="519" y="396"/>
                  </a:cubicBezTo>
                  <a:cubicBezTo>
                    <a:pt x="519" y="395"/>
                    <a:pt x="518" y="395"/>
                    <a:pt x="517" y="396"/>
                  </a:cubicBezTo>
                  <a:cubicBezTo>
                    <a:pt x="517" y="396"/>
                    <a:pt x="517" y="396"/>
                    <a:pt x="517" y="396"/>
                  </a:cubicBezTo>
                  <a:cubicBezTo>
                    <a:pt x="517" y="395"/>
                    <a:pt x="516" y="395"/>
                    <a:pt x="516" y="394"/>
                  </a:cubicBezTo>
                  <a:cubicBezTo>
                    <a:pt x="516" y="394"/>
                    <a:pt x="515" y="393"/>
                    <a:pt x="514" y="392"/>
                  </a:cubicBezTo>
                  <a:cubicBezTo>
                    <a:pt x="512" y="391"/>
                    <a:pt x="512" y="390"/>
                    <a:pt x="513" y="390"/>
                  </a:cubicBezTo>
                  <a:cubicBezTo>
                    <a:pt x="514" y="389"/>
                    <a:pt x="514" y="388"/>
                    <a:pt x="515" y="388"/>
                  </a:cubicBezTo>
                  <a:cubicBezTo>
                    <a:pt x="516" y="387"/>
                    <a:pt x="516" y="386"/>
                    <a:pt x="516" y="385"/>
                  </a:cubicBezTo>
                  <a:cubicBezTo>
                    <a:pt x="516" y="385"/>
                    <a:pt x="516" y="385"/>
                    <a:pt x="516" y="384"/>
                  </a:cubicBezTo>
                  <a:cubicBezTo>
                    <a:pt x="517" y="383"/>
                    <a:pt x="517" y="382"/>
                    <a:pt x="516" y="382"/>
                  </a:cubicBezTo>
                  <a:cubicBezTo>
                    <a:pt x="516" y="381"/>
                    <a:pt x="516" y="381"/>
                    <a:pt x="517" y="381"/>
                  </a:cubicBezTo>
                  <a:cubicBezTo>
                    <a:pt x="517" y="381"/>
                    <a:pt x="518" y="381"/>
                    <a:pt x="518" y="380"/>
                  </a:cubicBezTo>
                  <a:cubicBezTo>
                    <a:pt x="520" y="380"/>
                    <a:pt x="521" y="379"/>
                    <a:pt x="522" y="378"/>
                  </a:cubicBezTo>
                  <a:cubicBezTo>
                    <a:pt x="522" y="378"/>
                    <a:pt x="522" y="378"/>
                    <a:pt x="522" y="378"/>
                  </a:cubicBezTo>
                  <a:cubicBezTo>
                    <a:pt x="522" y="378"/>
                    <a:pt x="522" y="378"/>
                    <a:pt x="523" y="378"/>
                  </a:cubicBezTo>
                  <a:cubicBezTo>
                    <a:pt x="524" y="378"/>
                    <a:pt x="525" y="378"/>
                    <a:pt x="526" y="377"/>
                  </a:cubicBezTo>
                  <a:cubicBezTo>
                    <a:pt x="526" y="377"/>
                    <a:pt x="526" y="376"/>
                    <a:pt x="525" y="375"/>
                  </a:cubicBezTo>
                  <a:cubicBezTo>
                    <a:pt x="525" y="375"/>
                    <a:pt x="525" y="375"/>
                    <a:pt x="525" y="375"/>
                  </a:cubicBezTo>
                  <a:cubicBezTo>
                    <a:pt x="526" y="375"/>
                    <a:pt x="527" y="374"/>
                    <a:pt x="527" y="373"/>
                  </a:cubicBezTo>
                  <a:cubicBezTo>
                    <a:pt x="527" y="373"/>
                    <a:pt x="527" y="373"/>
                    <a:pt x="527" y="372"/>
                  </a:cubicBezTo>
                  <a:cubicBezTo>
                    <a:pt x="528" y="372"/>
                    <a:pt x="528" y="373"/>
                    <a:pt x="529" y="373"/>
                  </a:cubicBezTo>
                  <a:cubicBezTo>
                    <a:pt x="530" y="373"/>
                    <a:pt x="531" y="372"/>
                    <a:pt x="531" y="372"/>
                  </a:cubicBezTo>
                  <a:cubicBezTo>
                    <a:pt x="531" y="372"/>
                    <a:pt x="537" y="366"/>
                    <a:pt x="541" y="366"/>
                  </a:cubicBezTo>
                  <a:cubicBezTo>
                    <a:pt x="542" y="366"/>
                    <a:pt x="543" y="366"/>
                    <a:pt x="544" y="367"/>
                  </a:cubicBezTo>
                  <a:cubicBezTo>
                    <a:pt x="544" y="367"/>
                    <a:pt x="545" y="368"/>
                    <a:pt x="547" y="368"/>
                  </a:cubicBezTo>
                  <a:cubicBezTo>
                    <a:pt x="548" y="368"/>
                    <a:pt x="549" y="367"/>
                    <a:pt x="549" y="366"/>
                  </a:cubicBezTo>
                  <a:cubicBezTo>
                    <a:pt x="549" y="366"/>
                    <a:pt x="549" y="366"/>
                    <a:pt x="549" y="366"/>
                  </a:cubicBezTo>
                  <a:cubicBezTo>
                    <a:pt x="550" y="366"/>
                    <a:pt x="550" y="366"/>
                    <a:pt x="550" y="367"/>
                  </a:cubicBezTo>
                  <a:cubicBezTo>
                    <a:pt x="551" y="367"/>
                    <a:pt x="552" y="368"/>
                    <a:pt x="552" y="369"/>
                  </a:cubicBezTo>
                  <a:cubicBezTo>
                    <a:pt x="552" y="370"/>
                    <a:pt x="552" y="370"/>
                    <a:pt x="552" y="370"/>
                  </a:cubicBezTo>
                  <a:cubicBezTo>
                    <a:pt x="552" y="372"/>
                    <a:pt x="552" y="374"/>
                    <a:pt x="551" y="375"/>
                  </a:cubicBezTo>
                  <a:cubicBezTo>
                    <a:pt x="551" y="376"/>
                    <a:pt x="551" y="377"/>
                    <a:pt x="552" y="379"/>
                  </a:cubicBezTo>
                  <a:cubicBezTo>
                    <a:pt x="553" y="380"/>
                    <a:pt x="553" y="380"/>
                    <a:pt x="554" y="380"/>
                  </a:cubicBezTo>
                  <a:cubicBezTo>
                    <a:pt x="554" y="380"/>
                    <a:pt x="554" y="380"/>
                    <a:pt x="554" y="380"/>
                  </a:cubicBezTo>
                  <a:cubicBezTo>
                    <a:pt x="551" y="380"/>
                    <a:pt x="547" y="380"/>
                    <a:pt x="546" y="380"/>
                  </a:cubicBezTo>
                  <a:cubicBezTo>
                    <a:pt x="546" y="380"/>
                    <a:pt x="545" y="380"/>
                    <a:pt x="545" y="380"/>
                  </a:cubicBezTo>
                  <a:cubicBezTo>
                    <a:pt x="544" y="380"/>
                    <a:pt x="543" y="380"/>
                    <a:pt x="541" y="382"/>
                  </a:cubicBezTo>
                  <a:cubicBezTo>
                    <a:pt x="541" y="383"/>
                    <a:pt x="541" y="383"/>
                    <a:pt x="540" y="383"/>
                  </a:cubicBezTo>
                  <a:cubicBezTo>
                    <a:pt x="540" y="384"/>
                    <a:pt x="539" y="385"/>
                    <a:pt x="540" y="387"/>
                  </a:cubicBezTo>
                  <a:cubicBezTo>
                    <a:pt x="540" y="388"/>
                    <a:pt x="540" y="388"/>
                    <a:pt x="540" y="389"/>
                  </a:cubicBezTo>
                  <a:cubicBezTo>
                    <a:pt x="540" y="389"/>
                    <a:pt x="540" y="389"/>
                    <a:pt x="540" y="389"/>
                  </a:cubicBezTo>
                  <a:cubicBezTo>
                    <a:pt x="538" y="388"/>
                    <a:pt x="537" y="388"/>
                    <a:pt x="536" y="388"/>
                  </a:cubicBezTo>
                  <a:cubicBezTo>
                    <a:pt x="535" y="389"/>
                    <a:pt x="535" y="390"/>
                    <a:pt x="535" y="391"/>
                  </a:cubicBezTo>
                  <a:cubicBezTo>
                    <a:pt x="535" y="391"/>
                    <a:pt x="535" y="393"/>
                    <a:pt x="538" y="394"/>
                  </a:cubicBezTo>
                  <a:cubicBezTo>
                    <a:pt x="539" y="395"/>
                    <a:pt x="539" y="395"/>
                    <a:pt x="539" y="396"/>
                  </a:cubicBezTo>
                  <a:cubicBezTo>
                    <a:pt x="539" y="396"/>
                    <a:pt x="539" y="396"/>
                    <a:pt x="539" y="396"/>
                  </a:cubicBezTo>
                  <a:cubicBezTo>
                    <a:pt x="539" y="396"/>
                    <a:pt x="539" y="396"/>
                    <a:pt x="539" y="396"/>
                  </a:cubicBezTo>
                  <a:cubicBezTo>
                    <a:pt x="539" y="396"/>
                    <a:pt x="540" y="402"/>
                    <a:pt x="543" y="404"/>
                  </a:cubicBezTo>
                  <a:cubicBezTo>
                    <a:pt x="544" y="405"/>
                    <a:pt x="545" y="406"/>
                    <a:pt x="545" y="407"/>
                  </a:cubicBezTo>
                  <a:cubicBezTo>
                    <a:pt x="546" y="408"/>
                    <a:pt x="547" y="409"/>
                    <a:pt x="550" y="410"/>
                  </a:cubicBezTo>
                  <a:cubicBezTo>
                    <a:pt x="551" y="410"/>
                    <a:pt x="551" y="410"/>
                    <a:pt x="551" y="410"/>
                  </a:cubicBezTo>
                  <a:cubicBezTo>
                    <a:pt x="551" y="411"/>
                    <a:pt x="551" y="412"/>
                    <a:pt x="550" y="415"/>
                  </a:cubicBezTo>
                  <a:cubicBezTo>
                    <a:pt x="550" y="417"/>
                    <a:pt x="550" y="418"/>
                    <a:pt x="551" y="420"/>
                  </a:cubicBezTo>
                  <a:cubicBezTo>
                    <a:pt x="551" y="420"/>
                    <a:pt x="551" y="420"/>
                    <a:pt x="551" y="420"/>
                  </a:cubicBezTo>
                  <a:cubicBezTo>
                    <a:pt x="551" y="420"/>
                    <a:pt x="551" y="420"/>
                    <a:pt x="551" y="420"/>
                  </a:cubicBezTo>
                  <a:cubicBezTo>
                    <a:pt x="551" y="420"/>
                    <a:pt x="551" y="420"/>
                    <a:pt x="551" y="420"/>
                  </a:cubicBezTo>
                  <a:cubicBezTo>
                    <a:pt x="552" y="424"/>
                    <a:pt x="552" y="424"/>
                    <a:pt x="552" y="424"/>
                  </a:cubicBezTo>
                  <a:cubicBezTo>
                    <a:pt x="552" y="423"/>
                    <a:pt x="552" y="423"/>
                    <a:pt x="552" y="423"/>
                  </a:cubicBezTo>
                  <a:cubicBezTo>
                    <a:pt x="553" y="425"/>
                    <a:pt x="555" y="426"/>
                    <a:pt x="555" y="427"/>
                  </a:cubicBezTo>
                  <a:cubicBezTo>
                    <a:pt x="556" y="427"/>
                    <a:pt x="556" y="427"/>
                    <a:pt x="556" y="427"/>
                  </a:cubicBezTo>
                  <a:cubicBezTo>
                    <a:pt x="556" y="427"/>
                    <a:pt x="556" y="427"/>
                    <a:pt x="556" y="427"/>
                  </a:cubicBezTo>
                  <a:cubicBezTo>
                    <a:pt x="556" y="427"/>
                    <a:pt x="556" y="427"/>
                    <a:pt x="556" y="428"/>
                  </a:cubicBezTo>
                  <a:cubicBezTo>
                    <a:pt x="556" y="428"/>
                    <a:pt x="556" y="428"/>
                    <a:pt x="556" y="428"/>
                  </a:cubicBezTo>
                  <a:cubicBezTo>
                    <a:pt x="556" y="429"/>
                    <a:pt x="556" y="430"/>
                    <a:pt x="556" y="431"/>
                  </a:cubicBezTo>
                  <a:cubicBezTo>
                    <a:pt x="555" y="432"/>
                    <a:pt x="555" y="435"/>
                    <a:pt x="555" y="435"/>
                  </a:cubicBezTo>
                  <a:cubicBezTo>
                    <a:pt x="555" y="438"/>
                    <a:pt x="555" y="439"/>
                    <a:pt x="555" y="439"/>
                  </a:cubicBezTo>
                  <a:cubicBezTo>
                    <a:pt x="556" y="440"/>
                    <a:pt x="556" y="440"/>
                    <a:pt x="557" y="440"/>
                  </a:cubicBezTo>
                  <a:cubicBezTo>
                    <a:pt x="557" y="440"/>
                    <a:pt x="558" y="439"/>
                    <a:pt x="558" y="439"/>
                  </a:cubicBezTo>
                  <a:cubicBezTo>
                    <a:pt x="559" y="438"/>
                    <a:pt x="559" y="438"/>
                    <a:pt x="560" y="438"/>
                  </a:cubicBezTo>
                  <a:cubicBezTo>
                    <a:pt x="559" y="438"/>
                    <a:pt x="559" y="439"/>
                    <a:pt x="559" y="440"/>
                  </a:cubicBezTo>
                  <a:cubicBezTo>
                    <a:pt x="559" y="440"/>
                    <a:pt x="559" y="440"/>
                    <a:pt x="559" y="440"/>
                  </a:cubicBezTo>
                  <a:cubicBezTo>
                    <a:pt x="558" y="440"/>
                    <a:pt x="558" y="441"/>
                    <a:pt x="558" y="443"/>
                  </a:cubicBezTo>
                  <a:cubicBezTo>
                    <a:pt x="558" y="445"/>
                    <a:pt x="558" y="445"/>
                    <a:pt x="558" y="446"/>
                  </a:cubicBezTo>
                  <a:cubicBezTo>
                    <a:pt x="559" y="447"/>
                    <a:pt x="560" y="446"/>
                    <a:pt x="561" y="446"/>
                  </a:cubicBezTo>
                  <a:cubicBezTo>
                    <a:pt x="561" y="447"/>
                    <a:pt x="561" y="449"/>
                    <a:pt x="563" y="449"/>
                  </a:cubicBezTo>
                  <a:cubicBezTo>
                    <a:pt x="563" y="449"/>
                    <a:pt x="564" y="450"/>
                    <a:pt x="564" y="450"/>
                  </a:cubicBezTo>
                  <a:cubicBezTo>
                    <a:pt x="563" y="451"/>
                    <a:pt x="563" y="454"/>
                    <a:pt x="563" y="455"/>
                  </a:cubicBezTo>
                  <a:cubicBezTo>
                    <a:pt x="564" y="455"/>
                    <a:pt x="564" y="456"/>
                    <a:pt x="564" y="457"/>
                  </a:cubicBezTo>
                  <a:cubicBezTo>
                    <a:pt x="564" y="459"/>
                    <a:pt x="564" y="462"/>
                    <a:pt x="564" y="464"/>
                  </a:cubicBezTo>
                  <a:cubicBezTo>
                    <a:pt x="564" y="464"/>
                    <a:pt x="564" y="464"/>
                    <a:pt x="564" y="464"/>
                  </a:cubicBezTo>
                  <a:cubicBezTo>
                    <a:pt x="565" y="466"/>
                    <a:pt x="565" y="466"/>
                    <a:pt x="565" y="466"/>
                  </a:cubicBezTo>
                  <a:cubicBezTo>
                    <a:pt x="565" y="466"/>
                    <a:pt x="565" y="466"/>
                    <a:pt x="565" y="466"/>
                  </a:cubicBezTo>
                  <a:cubicBezTo>
                    <a:pt x="565" y="466"/>
                    <a:pt x="565" y="466"/>
                    <a:pt x="565" y="466"/>
                  </a:cubicBezTo>
                  <a:cubicBezTo>
                    <a:pt x="565" y="467"/>
                    <a:pt x="565" y="468"/>
                    <a:pt x="565" y="468"/>
                  </a:cubicBezTo>
                  <a:cubicBezTo>
                    <a:pt x="565" y="468"/>
                    <a:pt x="564" y="468"/>
                    <a:pt x="564" y="468"/>
                  </a:cubicBezTo>
                  <a:cubicBezTo>
                    <a:pt x="562" y="468"/>
                    <a:pt x="553" y="470"/>
                    <a:pt x="551" y="471"/>
                  </a:cubicBezTo>
                  <a:cubicBezTo>
                    <a:pt x="549" y="472"/>
                    <a:pt x="547" y="471"/>
                    <a:pt x="546" y="470"/>
                  </a:cubicBezTo>
                  <a:cubicBezTo>
                    <a:pt x="546" y="470"/>
                    <a:pt x="545" y="469"/>
                    <a:pt x="545" y="469"/>
                  </a:cubicBezTo>
                  <a:cubicBezTo>
                    <a:pt x="544" y="468"/>
                    <a:pt x="540" y="465"/>
                    <a:pt x="539" y="465"/>
                  </a:cubicBezTo>
                  <a:cubicBezTo>
                    <a:pt x="539" y="464"/>
                    <a:pt x="537" y="462"/>
                    <a:pt x="535" y="462"/>
                  </a:cubicBezTo>
                  <a:cubicBezTo>
                    <a:pt x="534" y="462"/>
                    <a:pt x="533" y="461"/>
                    <a:pt x="532" y="460"/>
                  </a:cubicBezTo>
                  <a:cubicBezTo>
                    <a:pt x="532" y="460"/>
                    <a:pt x="531" y="457"/>
                    <a:pt x="531" y="454"/>
                  </a:cubicBezTo>
                  <a:cubicBezTo>
                    <a:pt x="531" y="453"/>
                    <a:pt x="530" y="452"/>
                    <a:pt x="530" y="451"/>
                  </a:cubicBezTo>
                  <a:close/>
                  <a:moveTo>
                    <a:pt x="657" y="115"/>
                  </a:moveTo>
                  <a:cubicBezTo>
                    <a:pt x="657" y="115"/>
                    <a:pt x="657" y="115"/>
                    <a:pt x="657" y="115"/>
                  </a:cubicBezTo>
                  <a:cubicBezTo>
                    <a:pt x="658" y="115"/>
                    <a:pt x="659" y="116"/>
                    <a:pt x="659" y="117"/>
                  </a:cubicBezTo>
                  <a:cubicBezTo>
                    <a:pt x="659" y="119"/>
                    <a:pt x="660" y="120"/>
                    <a:pt x="662" y="121"/>
                  </a:cubicBezTo>
                  <a:cubicBezTo>
                    <a:pt x="661" y="121"/>
                    <a:pt x="661" y="121"/>
                    <a:pt x="661" y="121"/>
                  </a:cubicBezTo>
                  <a:cubicBezTo>
                    <a:pt x="661" y="122"/>
                    <a:pt x="660" y="122"/>
                    <a:pt x="660" y="122"/>
                  </a:cubicBezTo>
                  <a:cubicBezTo>
                    <a:pt x="660" y="122"/>
                    <a:pt x="660" y="122"/>
                    <a:pt x="660" y="122"/>
                  </a:cubicBezTo>
                  <a:cubicBezTo>
                    <a:pt x="660" y="119"/>
                    <a:pt x="659" y="118"/>
                    <a:pt x="658" y="117"/>
                  </a:cubicBezTo>
                  <a:cubicBezTo>
                    <a:pt x="658" y="117"/>
                    <a:pt x="657" y="116"/>
                    <a:pt x="656" y="115"/>
                  </a:cubicBezTo>
                  <a:cubicBezTo>
                    <a:pt x="656" y="116"/>
                    <a:pt x="656" y="115"/>
                    <a:pt x="657" y="115"/>
                  </a:cubicBezTo>
                  <a:close/>
                  <a:moveTo>
                    <a:pt x="405" y="101"/>
                  </a:moveTo>
                  <a:cubicBezTo>
                    <a:pt x="405" y="101"/>
                    <a:pt x="405" y="101"/>
                    <a:pt x="405" y="101"/>
                  </a:cubicBezTo>
                  <a:cubicBezTo>
                    <a:pt x="405" y="101"/>
                    <a:pt x="405" y="101"/>
                    <a:pt x="405" y="101"/>
                  </a:cubicBezTo>
                  <a:cubicBezTo>
                    <a:pt x="405" y="102"/>
                    <a:pt x="405" y="102"/>
                    <a:pt x="405" y="102"/>
                  </a:cubicBezTo>
                  <a:cubicBezTo>
                    <a:pt x="405" y="102"/>
                    <a:pt x="405" y="102"/>
                    <a:pt x="405" y="102"/>
                  </a:cubicBezTo>
                  <a:cubicBezTo>
                    <a:pt x="405" y="101"/>
                    <a:pt x="405" y="101"/>
                    <a:pt x="405" y="101"/>
                  </a:cubicBezTo>
                  <a:cubicBezTo>
                    <a:pt x="405" y="101"/>
                    <a:pt x="405" y="101"/>
                    <a:pt x="405" y="101"/>
                  </a:cubicBezTo>
                  <a:close/>
                  <a:moveTo>
                    <a:pt x="405" y="102"/>
                  </a:moveTo>
                  <a:cubicBezTo>
                    <a:pt x="405" y="102"/>
                    <a:pt x="405" y="102"/>
                    <a:pt x="405" y="102"/>
                  </a:cubicBezTo>
                  <a:cubicBezTo>
                    <a:pt x="405" y="102"/>
                    <a:pt x="405" y="102"/>
                    <a:pt x="405" y="102"/>
                  </a:cubicBezTo>
                  <a:close/>
                  <a:moveTo>
                    <a:pt x="340" y="126"/>
                  </a:move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0" y="126"/>
                    <a:pt x="340" y="126"/>
                  </a:cubicBezTo>
                  <a:cubicBezTo>
                    <a:pt x="340" y="126"/>
                    <a:pt x="341" y="126"/>
                    <a:pt x="341" y="126"/>
                  </a:cubicBezTo>
                  <a:cubicBezTo>
                    <a:pt x="340" y="126"/>
                    <a:pt x="340" y="126"/>
                    <a:pt x="340" y="126"/>
                  </a:cubicBezTo>
                  <a:close/>
                  <a:moveTo>
                    <a:pt x="339" y="126"/>
                  </a:moveTo>
                  <a:cubicBezTo>
                    <a:pt x="339" y="126"/>
                    <a:pt x="339" y="126"/>
                    <a:pt x="339" y="126"/>
                  </a:cubicBezTo>
                  <a:cubicBezTo>
                    <a:pt x="339" y="126"/>
                    <a:pt x="339" y="126"/>
                    <a:pt x="339" y="126"/>
                  </a:cubicBezTo>
                  <a:close/>
                  <a:moveTo>
                    <a:pt x="281" y="274"/>
                  </a:moveTo>
                  <a:cubicBezTo>
                    <a:pt x="282" y="274"/>
                    <a:pt x="282" y="274"/>
                    <a:pt x="282" y="274"/>
                  </a:cubicBezTo>
                  <a:cubicBezTo>
                    <a:pt x="282" y="274"/>
                    <a:pt x="282" y="274"/>
                    <a:pt x="282" y="275"/>
                  </a:cubicBezTo>
                  <a:cubicBezTo>
                    <a:pt x="282" y="275"/>
                    <a:pt x="282" y="275"/>
                    <a:pt x="282" y="275"/>
                  </a:cubicBezTo>
                  <a:cubicBezTo>
                    <a:pt x="282" y="274"/>
                    <a:pt x="281" y="274"/>
                    <a:pt x="281" y="274"/>
                  </a:cubicBezTo>
                  <a:cubicBezTo>
                    <a:pt x="280" y="274"/>
                    <a:pt x="280" y="274"/>
                    <a:pt x="280" y="274"/>
                  </a:cubicBezTo>
                  <a:cubicBezTo>
                    <a:pt x="281" y="274"/>
                    <a:pt x="281" y="274"/>
                    <a:pt x="281" y="274"/>
                  </a:cubicBezTo>
                  <a:close/>
                  <a:moveTo>
                    <a:pt x="348" y="433"/>
                  </a:moveTo>
                  <a:cubicBezTo>
                    <a:pt x="348" y="433"/>
                    <a:pt x="348" y="433"/>
                    <a:pt x="348" y="433"/>
                  </a:cubicBezTo>
                  <a:cubicBezTo>
                    <a:pt x="348" y="433"/>
                    <a:pt x="348" y="433"/>
                    <a:pt x="348" y="433"/>
                  </a:cubicBezTo>
                  <a:cubicBezTo>
                    <a:pt x="348" y="433"/>
                    <a:pt x="348" y="433"/>
                    <a:pt x="348" y="433"/>
                  </a:cubicBezTo>
                  <a:close/>
                  <a:moveTo>
                    <a:pt x="367" y="434"/>
                  </a:moveTo>
                  <a:cubicBezTo>
                    <a:pt x="367" y="434"/>
                    <a:pt x="367" y="434"/>
                    <a:pt x="367" y="434"/>
                  </a:cubicBezTo>
                  <a:cubicBezTo>
                    <a:pt x="367" y="434"/>
                    <a:pt x="367" y="434"/>
                    <a:pt x="367" y="434"/>
                  </a:cubicBezTo>
                  <a:close/>
                  <a:moveTo>
                    <a:pt x="367" y="444"/>
                  </a:moveTo>
                  <a:cubicBezTo>
                    <a:pt x="367" y="444"/>
                    <a:pt x="367" y="444"/>
                    <a:pt x="367" y="445"/>
                  </a:cubicBezTo>
                  <a:cubicBezTo>
                    <a:pt x="367" y="445"/>
                    <a:pt x="367" y="444"/>
                    <a:pt x="367" y="444"/>
                  </a:cubicBezTo>
                  <a:cubicBezTo>
                    <a:pt x="366" y="444"/>
                    <a:pt x="366" y="444"/>
                    <a:pt x="366" y="444"/>
                  </a:cubicBezTo>
                  <a:cubicBezTo>
                    <a:pt x="366" y="444"/>
                    <a:pt x="366" y="444"/>
                    <a:pt x="367" y="444"/>
                  </a:cubicBezTo>
                  <a:close/>
                  <a:moveTo>
                    <a:pt x="980" y="42"/>
                  </a:moveTo>
                  <a:cubicBezTo>
                    <a:pt x="980" y="42"/>
                    <a:pt x="980" y="42"/>
                    <a:pt x="980" y="41"/>
                  </a:cubicBezTo>
                  <a:cubicBezTo>
                    <a:pt x="980" y="42"/>
                    <a:pt x="980" y="42"/>
                    <a:pt x="980" y="42"/>
                  </a:cubicBezTo>
                  <a:cubicBezTo>
                    <a:pt x="980" y="42"/>
                    <a:pt x="980" y="42"/>
                    <a:pt x="980" y="42"/>
                  </a:cubicBezTo>
                  <a:close/>
                  <a:moveTo>
                    <a:pt x="293" y="266"/>
                  </a:moveTo>
                  <a:cubicBezTo>
                    <a:pt x="293" y="267"/>
                    <a:pt x="293" y="267"/>
                    <a:pt x="293" y="267"/>
                  </a:cubicBezTo>
                  <a:cubicBezTo>
                    <a:pt x="293" y="267"/>
                    <a:pt x="293" y="267"/>
                    <a:pt x="293" y="267"/>
                  </a:cubicBezTo>
                  <a:cubicBezTo>
                    <a:pt x="292" y="267"/>
                    <a:pt x="292" y="267"/>
                    <a:pt x="292" y="267"/>
                  </a:cubicBezTo>
                  <a:cubicBezTo>
                    <a:pt x="292" y="268"/>
                    <a:pt x="291" y="268"/>
                    <a:pt x="291" y="269"/>
                  </a:cubicBezTo>
                  <a:cubicBezTo>
                    <a:pt x="291" y="269"/>
                    <a:pt x="291" y="269"/>
                    <a:pt x="291" y="270"/>
                  </a:cubicBezTo>
                  <a:cubicBezTo>
                    <a:pt x="291" y="270"/>
                    <a:pt x="291" y="270"/>
                    <a:pt x="291" y="271"/>
                  </a:cubicBezTo>
                  <a:cubicBezTo>
                    <a:pt x="290" y="270"/>
                    <a:pt x="290" y="270"/>
                    <a:pt x="290" y="270"/>
                  </a:cubicBezTo>
                  <a:cubicBezTo>
                    <a:pt x="290" y="269"/>
                    <a:pt x="290" y="269"/>
                    <a:pt x="290" y="269"/>
                  </a:cubicBezTo>
                  <a:cubicBezTo>
                    <a:pt x="291" y="268"/>
                    <a:pt x="291" y="268"/>
                    <a:pt x="291" y="268"/>
                  </a:cubicBezTo>
                  <a:cubicBezTo>
                    <a:pt x="291" y="268"/>
                    <a:pt x="292" y="267"/>
                    <a:pt x="292" y="267"/>
                  </a:cubicBezTo>
                  <a:cubicBezTo>
                    <a:pt x="292" y="267"/>
                    <a:pt x="292" y="266"/>
                    <a:pt x="293" y="266"/>
                  </a:cubicBezTo>
                  <a:close/>
                  <a:moveTo>
                    <a:pt x="280" y="268"/>
                  </a:moveTo>
                  <a:cubicBezTo>
                    <a:pt x="280" y="268"/>
                    <a:pt x="280" y="268"/>
                    <a:pt x="280" y="268"/>
                  </a:cubicBezTo>
                  <a:cubicBezTo>
                    <a:pt x="280" y="268"/>
                    <a:pt x="280" y="268"/>
                    <a:pt x="279" y="268"/>
                  </a:cubicBezTo>
                  <a:cubicBezTo>
                    <a:pt x="279" y="268"/>
                    <a:pt x="279" y="268"/>
                    <a:pt x="280" y="268"/>
                  </a:cubicBezTo>
                  <a:cubicBezTo>
                    <a:pt x="280" y="268"/>
                    <a:pt x="280" y="268"/>
                    <a:pt x="280" y="268"/>
                  </a:cubicBezTo>
                  <a:close/>
                  <a:moveTo>
                    <a:pt x="328" y="456"/>
                  </a:moveTo>
                  <a:cubicBezTo>
                    <a:pt x="327" y="456"/>
                    <a:pt x="327" y="456"/>
                    <a:pt x="327" y="456"/>
                  </a:cubicBezTo>
                  <a:cubicBezTo>
                    <a:pt x="327" y="456"/>
                    <a:pt x="327" y="456"/>
                    <a:pt x="327" y="456"/>
                  </a:cubicBezTo>
                  <a:cubicBezTo>
                    <a:pt x="327" y="456"/>
                    <a:pt x="328" y="456"/>
                    <a:pt x="328" y="456"/>
                  </a:cubicBezTo>
                  <a:close/>
                  <a:moveTo>
                    <a:pt x="366" y="448"/>
                  </a:moveTo>
                  <a:cubicBezTo>
                    <a:pt x="366" y="448"/>
                    <a:pt x="366" y="448"/>
                    <a:pt x="366" y="448"/>
                  </a:cubicBezTo>
                  <a:cubicBezTo>
                    <a:pt x="366" y="448"/>
                    <a:pt x="366" y="448"/>
                    <a:pt x="367" y="448"/>
                  </a:cubicBezTo>
                  <a:cubicBezTo>
                    <a:pt x="366" y="448"/>
                    <a:pt x="366" y="448"/>
                    <a:pt x="366" y="448"/>
                  </a:cubicBezTo>
                  <a:cubicBezTo>
                    <a:pt x="366" y="448"/>
                    <a:pt x="366" y="448"/>
                    <a:pt x="366" y="448"/>
                  </a:cubicBezTo>
                  <a:cubicBezTo>
                    <a:pt x="366" y="448"/>
                    <a:pt x="366" y="448"/>
                    <a:pt x="366" y="448"/>
                  </a:cubicBezTo>
                  <a:close/>
                  <a:moveTo>
                    <a:pt x="365" y="455"/>
                  </a:moveTo>
                  <a:cubicBezTo>
                    <a:pt x="365" y="455"/>
                    <a:pt x="365" y="455"/>
                    <a:pt x="365" y="455"/>
                  </a:cubicBezTo>
                  <a:cubicBezTo>
                    <a:pt x="364" y="455"/>
                    <a:pt x="364" y="455"/>
                    <a:pt x="364" y="455"/>
                  </a:cubicBezTo>
                  <a:cubicBezTo>
                    <a:pt x="364" y="455"/>
                    <a:pt x="364" y="455"/>
                    <a:pt x="364" y="455"/>
                  </a:cubicBezTo>
                  <a:lnTo>
                    <a:pt x="365" y="455"/>
                  </a:lnTo>
                  <a:close/>
                  <a:moveTo>
                    <a:pt x="248" y="502"/>
                  </a:moveTo>
                  <a:cubicBezTo>
                    <a:pt x="248" y="502"/>
                    <a:pt x="248" y="502"/>
                    <a:pt x="248" y="502"/>
                  </a:cubicBezTo>
                  <a:cubicBezTo>
                    <a:pt x="248" y="502"/>
                    <a:pt x="248" y="502"/>
                    <a:pt x="248" y="502"/>
                  </a:cubicBezTo>
                  <a:close/>
                  <a:moveTo>
                    <a:pt x="1110" y="467"/>
                  </a:moveTo>
                  <a:cubicBezTo>
                    <a:pt x="1110" y="467"/>
                    <a:pt x="1110" y="467"/>
                    <a:pt x="1110" y="467"/>
                  </a:cubicBezTo>
                  <a:cubicBezTo>
                    <a:pt x="1110" y="467"/>
                    <a:pt x="1110" y="467"/>
                    <a:pt x="1110" y="467"/>
                  </a:cubicBezTo>
                  <a:close/>
                  <a:moveTo>
                    <a:pt x="1122" y="257"/>
                  </a:moveTo>
                  <a:cubicBezTo>
                    <a:pt x="1122" y="257"/>
                    <a:pt x="1122" y="257"/>
                    <a:pt x="1122" y="257"/>
                  </a:cubicBezTo>
                  <a:cubicBezTo>
                    <a:pt x="1122" y="257"/>
                    <a:pt x="1122" y="257"/>
                    <a:pt x="1122" y="257"/>
                  </a:cubicBezTo>
                  <a:close/>
                  <a:moveTo>
                    <a:pt x="1123" y="262"/>
                  </a:moveTo>
                  <a:cubicBezTo>
                    <a:pt x="1123" y="262"/>
                    <a:pt x="1123" y="262"/>
                    <a:pt x="1123" y="262"/>
                  </a:cubicBezTo>
                  <a:cubicBezTo>
                    <a:pt x="1123" y="262"/>
                    <a:pt x="1123" y="262"/>
                    <a:pt x="1123" y="262"/>
                  </a:cubicBezTo>
                  <a:cubicBezTo>
                    <a:pt x="1123" y="262"/>
                    <a:pt x="1123" y="262"/>
                    <a:pt x="1123" y="262"/>
                  </a:cubicBezTo>
                  <a:close/>
                  <a:moveTo>
                    <a:pt x="1085" y="249"/>
                  </a:moveTo>
                  <a:cubicBezTo>
                    <a:pt x="1084" y="249"/>
                    <a:pt x="1084" y="249"/>
                    <a:pt x="1084" y="249"/>
                  </a:cubicBezTo>
                  <a:cubicBezTo>
                    <a:pt x="1084" y="249"/>
                    <a:pt x="1084" y="249"/>
                    <a:pt x="1084" y="249"/>
                  </a:cubicBezTo>
                  <a:cubicBezTo>
                    <a:pt x="1085" y="248"/>
                    <a:pt x="1085" y="248"/>
                    <a:pt x="1085" y="248"/>
                  </a:cubicBezTo>
                  <a:lnTo>
                    <a:pt x="1085" y="249"/>
                  </a:lnTo>
                  <a:close/>
                  <a:moveTo>
                    <a:pt x="1184" y="177"/>
                  </a:moveTo>
                  <a:cubicBezTo>
                    <a:pt x="1185" y="177"/>
                    <a:pt x="1185" y="177"/>
                    <a:pt x="1185" y="177"/>
                  </a:cubicBezTo>
                  <a:cubicBezTo>
                    <a:pt x="1184" y="177"/>
                    <a:pt x="1184" y="177"/>
                    <a:pt x="1184" y="177"/>
                  </a:cubicBezTo>
                  <a:cubicBezTo>
                    <a:pt x="1184" y="177"/>
                    <a:pt x="1184" y="177"/>
                    <a:pt x="1184" y="177"/>
                  </a:cubicBezTo>
                  <a:close/>
                  <a:moveTo>
                    <a:pt x="1222" y="88"/>
                  </a:moveTo>
                  <a:cubicBezTo>
                    <a:pt x="1222" y="88"/>
                    <a:pt x="1222" y="88"/>
                    <a:pt x="1222" y="88"/>
                  </a:cubicBezTo>
                  <a:cubicBezTo>
                    <a:pt x="1222" y="88"/>
                    <a:pt x="1222" y="88"/>
                    <a:pt x="1222" y="88"/>
                  </a:cubicBezTo>
                  <a:cubicBezTo>
                    <a:pt x="1222" y="88"/>
                    <a:pt x="1222" y="88"/>
                    <a:pt x="1222" y="87"/>
                  </a:cubicBezTo>
                  <a:cubicBezTo>
                    <a:pt x="1222" y="87"/>
                    <a:pt x="1222" y="87"/>
                    <a:pt x="1222" y="87"/>
                  </a:cubicBezTo>
                  <a:cubicBezTo>
                    <a:pt x="1222" y="87"/>
                    <a:pt x="1223" y="87"/>
                    <a:pt x="1223" y="87"/>
                  </a:cubicBezTo>
                  <a:lnTo>
                    <a:pt x="1222" y="88"/>
                  </a:lnTo>
                  <a:close/>
                  <a:moveTo>
                    <a:pt x="1223" y="68"/>
                  </a:moveTo>
                  <a:cubicBezTo>
                    <a:pt x="1223" y="68"/>
                    <a:pt x="1223" y="68"/>
                    <a:pt x="1223" y="68"/>
                  </a:cubicBezTo>
                  <a:cubicBezTo>
                    <a:pt x="1223" y="68"/>
                    <a:pt x="1223" y="68"/>
                    <a:pt x="1223" y="68"/>
                  </a:cubicBezTo>
                  <a:cubicBezTo>
                    <a:pt x="1224" y="68"/>
                    <a:pt x="1224" y="68"/>
                    <a:pt x="1224" y="68"/>
                  </a:cubicBezTo>
                  <a:cubicBezTo>
                    <a:pt x="1224" y="68"/>
                    <a:pt x="1224" y="68"/>
                    <a:pt x="1223" y="68"/>
                  </a:cubicBezTo>
                  <a:close/>
                  <a:moveTo>
                    <a:pt x="1230" y="71"/>
                  </a:moveTo>
                  <a:cubicBezTo>
                    <a:pt x="1230" y="71"/>
                    <a:pt x="1230" y="71"/>
                    <a:pt x="1230" y="71"/>
                  </a:cubicBezTo>
                  <a:cubicBezTo>
                    <a:pt x="1230" y="71"/>
                    <a:pt x="1230" y="71"/>
                    <a:pt x="1230" y="71"/>
                  </a:cubicBezTo>
                  <a:cubicBezTo>
                    <a:pt x="1229" y="71"/>
                    <a:pt x="1228" y="71"/>
                    <a:pt x="1227" y="70"/>
                  </a:cubicBezTo>
                  <a:cubicBezTo>
                    <a:pt x="1226" y="69"/>
                    <a:pt x="1225" y="69"/>
                    <a:pt x="1224" y="68"/>
                  </a:cubicBezTo>
                  <a:cubicBezTo>
                    <a:pt x="1225" y="68"/>
                    <a:pt x="1225" y="68"/>
                    <a:pt x="1226" y="68"/>
                  </a:cubicBezTo>
                  <a:cubicBezTo>
                    <a:pt x="1226" y="67"/>
                    <a:pt x="1226" y="67"/>
                    <a:pt x="1226" y="66"/>
                  </a:cubicBezTo>
                  <a:cubicBezTo>
                    <a:pt x="1227" y="66"/>
                    <a:pt x="1227" y="66"/>
                    <a:pt x="1227" y="67"/>
                  </a:cubicBezTo>
                  <a:cubicBezTo>
                    <a:pt x="1227" y="67"/>
                    <a:pt x="1227" y="68"/>
                    <a:pt x="1227" y="68"/>
                  </a:cubicBezTo>
                  <a:cubicBezTo>
                    <a:pt x="1227" y="70"/>
                    <a:pt x="1230" y="71"/>
                    <a:pt x="1231" y="71"/>
                  </a:cubicBezTo>
                  <a:cubicBezTo>
                    <a:pt x="1231" y="71"/>
                    <a:pt x="1232" y="71"/>
                    <a:pt x="1232" y="71"/>
                  </a:cubicBezTo>
                  <a:cubicBezTo>
                    <a:pt x="1232" y="71"/>
                    <a:pt x="1232" y="72"/>
                    <a:pt x="1233" y="72"/>
                  </a:cubicBezTo>
                  <a:cubicBezTo>
                    <a:pt x="1232" y="71"/>
                    <a:pt x="1231" y="71"/>
                    <a:pt x="1230" y="71"/>
                  </a:cubicBezTo>
                  <a:close/>
                  <a:moveTo>
                    <a:pt x="1244" y="54"/>
                  </a:moveTo>
                  <a:cubicBezTo>
                    <a:pt x="1244" y="54"/>
                    <a:pt x="1245" y="55"/>
                    <a:pt x="1247" y="55"/>
                  </a:cubicBezTo>
                  <a:cubicBezTo>
                    <a:pt x="1247" y="55"/>
                    <a:pt x="1247" y="55"/>
                    <a:pt x="1247" y="55"/>
                  </a:cubicBezTo>
                  <a:cubicBezTo>
                    <a:pt x="1247" y="56"/>
                    <a:pt x="1247" y="56"/>
                    <a:pt x="1247" y="56"/>
                  </a:cubicBezTo>
                  <a:cubicBezTo>
                    <a:pt x="1246" y="56"/>
                    <a:pt x="1246" y="56"/>
                    <a:pt x="1246" y="57"/>
                  </a:cubicBezTo>
                  <a:cubicBezTo>
                    <a:pt x="1245" y="55"/>
                    <a:pt x="1243" y="54"/>
                    <a:pt x="1241" y="54"/>
                  </a:cubicBezTo>
                  <a:cubicBezTo>
                    <a:pt x="1241" y="54"/>
                    <a:pt x="1241" y="53"/>
                    <a:pt x="1240" y="53"/>
                  </a:cubicBezTo>
                  <a:cubicBezTo>
                    <a:pt x="1240" y="53"/>
                    <a:pt x="1241" y="53"/>
                    <a:pt x="1242" y="53"/>
                  </a:cubicBezTo>
                  <a:cubicBezTo>
                    <a:pt x="1243" y="53"/>
                    <a:pt x="1243" y="53"/>
                    <a:pt x="1243" y="54"/>
                  </a:cubicBezTo>
                  <a:cubicBezTo>
                    <a:pt x="1243" y="54"/>
                    <a:pt x="1244" y="54"/>
                    <a:pt x="1244" y="54"/>
                  </a:cubicBezTo>
                  <a:close/>
                  <a:moveTo>
                    <a:pt x="789" y="52"/>
                  </a:moveTo>
                  <a:cubicBezTo>
                    <a:pt x="789" y="52"/>
                    <a:pt x="789" y="52"/>
                    <a:pt x="789" y="52"/>
                  </a:cubicBezTo>
                  <a:cubicBezTo>
                    <a:pt x="789" y="52"/>
                    <a:pt x="789" y="52"/>
                    <a:pt x="789" y="52"/>
                  </a:cubicBezTo>
                  <a:close/>
                  <a:moveTo>
                    <a:pt x="564" y="126"/>
                  </a:moveTo>
                  <a:cubicBezTo>
                    <a:pt x="565" y="126"/>
                    <a:pt x="565" y="126"/>
                    <a:pt x="565" y="126"/>
                  </a:cubicBezTo>
                  <a:cubicBezTo>
                    <a:pt x="565" y="126"/>
                    <a:pt x="565" y="126"/>
                    <a:pt x="565" y="126"/>
                  </a:cubicBezTo>
                  <a:lnTo>
                    <a:pt x="564" y="126"/>
                  </a:lnTo>
                  <a:close/>
                  <a:moveTo>
                    <a:pt x="394" y="97"/>
                  </a:moveTo>
                  <a:cubicBezTo>
                    <a:pt x="394" y="97"/>
                    <a:pt x="394" y="97"/>
                    <a:pt x="394" y="97"/>
                  </a:cubicBezTo>
                  <a:cubicBezTo>
                    <a:pt x="394" y="97"/>
                    <a:pt x="394" y="96"/>
                    <a:pt x="395" y="96"/>
                  </a:cubicBezTo>
                  <a:cubicBezTo>
                    <a:pt x="394" y="97"/>
                    <a:pt x="394" y="97"/>
                    <a:pt x="394" y="97"/>
                  </a:cubicBezTo>
                  <a:close/>
                  <a:moveTo>
                    <a:pt x="384" y="100"/>
                  </a:moveTo>
                  <a:cubicBezTo>
                    <a:pt x="383" y="100"/>
                    <a:pt x="383" y="100"/>
                    <a:pt x="383" y="100"/>
                  </a:cubicBezTo>
                  <a:cubicBezTo>
                    <a:pt x="384" y="100"/>
                    <a:pt x="384" y="100"/>
                    <a:pt x="384" y="100"/>
                  </a:cubicBezTo>
                  <a:cubicBezTo>
                    <a:pt x="384" y="100"/>
                    <a:pt x="384" y="100"/>
                    <a:pt x="384" y="100"/>
                  </a:cubicBezTo>
                  <a:close/>
                  <a:moveTo>
                    <a:pt x="268" y="198"/>
                  </a:moveTo>
                  <a:cubicBezTo>
                    <a:pt x="268" y="198"/>
                    <a:pt x="268" y="198"/>
                    <a:pt x="268" y="198"/>
                  </a:cubicBezTo>
                  <a:cubicBezTo>
                    <a:pt x="268" y="198"/>
                    <a:pt x="268" y="198"/>
                    <a:pt x="268" y="198"/>
                  </a:cubicBezTo>
                  <a:close/>
                  <a:moveTo>
                    <a:pt x="261" y="224"/>
                  </a:moveTo>
                  <a:cubicBezTo>
                    <a:pt x="261" y="224"/>
                    <a:pt x="261" y="224"/>
                    <a:pt x="261" y="224"/>
                  </a:cubicBezTo>
                  <a:cubicBezTo>
                    <a:pt x="261" y="224"/>
                    <a:pt x="261" y="224"/>
                    <a:pt x="261" y="224"/>
                  </a:cubicBezTo>
                  <a:close/>
                  <a:moveTo>
                    <a:pt x="225" y="313"/>
                  </a:moveTo>
                  <a:cubicBezTo>
                    <a:pt x="225" y="313"/>
                    <a:pt x="225" y="313"/>
                    <a:pt x="225" y="313"/>
                  </a:cubicBezTo>
                  <a:cubicBezTo>
                    <a:pt x="225" y="313"/>
                    <a:pt x="225" y="313"/>
                    <a:pt x="225" y="313"/>
                  </a:cubicBezTo>
                  <a:cubicBezTo>
                    <a:pt x="225" y="313"/>
                    <a:pt x="225" y="313"/>
                    <a:pt x="225" y="313"/>
                  </a:cubicBezTo>
                  <a:close/>
                  <a:moveTo>
                    <a:pt x="130" y="471"/>
                  </a:moveTo>
                  <a:cubicBezTo>
                    <a:pt x="131" y="471"/>
                    <a:pt x="132" y="470"/>
                    <a:pt x="132" y="470"/>
                  </a:cubicBezTo>
                  <a:cubicBezTo>
                    <a:pt x="133" y="469"/>
                    <a:pt x="133" y="470"/>
                    <a:pt x="133" y="470"/>
                  </a:cubicBezTo>
                  <a:cubicBezTo>
                    <a:pt x="134" y="470"/>
                    <a:pt x="135" y="470"/>
                    <a:pt x="136" y="469"/>
                  </a:cubicBezTo>
                  <a:cubicBezTo>
                    <a:pt x="137" y="468"/>
                    <a:pt x="137" y="468"/>
                    <a:pt x="138" y="468"/>
                  </a:cubicBezTo>
                  <a:cubicBezTo>
                    <a:pt x="138" y="468"/>
                    <a:pt x="138" y="468"/>
                    <a:pt x="139" y="468"/>
                  </a:cubicBezTo>
                  <a:cubicBezTo>
                    <a:pt x="139" y="468"/>
                    <a:pt x="139" y="468"/>
                    <a:pt x="140" y="468"/>
                  </a:cubicBezTo>
                  <a:cubicBezTo>
                    <a:pt x="141" y="468"/>
                    <a:pt x="142" y="468"/>
                    <a:pt x="143" y="468"/>
                  </a:cubicBezTo>
                  <a:cubicBezTo>
                    <a:pt x="143" y="468"/>
                    <a:pt x="144" y="468"/>
                    <a:pt x="145" y="468"/>
                  </a:cubicBezTo>
                  <a:cubicBezTo>
                    <a:pt x="146" y="468"/>
                    <a:pt x="146" y="468"/>
                    <a:pt x="146" y="468"/>
                  </a:cubicBezTo>
                  <a:cubicBezTo>
                    <a:pt x="148" y="468"/>
                    <a:pt x="149" y="468"/>
                    <a:pt x="150" y="467"/>
                  </a:cubicBezTo>
                  <a:cubicBezTo>
                    <a:pt x="151" y="467"/>
                    <a:pt x="151" y="467"/>
                    <a:pt x="151" y="467"/>
                  </a:cubicBezTo>
                  <a:cubicBezTo>
                    <a:pt x="151" y="467"/>
                    <a:pt x="151" y="467"/>
                    <a:pt x="152" y="467"/>
                  </a:cubicBezTo>
                  <a:cubicBezTo>
                    <a:pt x="152" y="466"/>
                    <a:pt x="152" y="466"/>
                    <a:pt x="152" y="466"/>
                  </a:cubicBezTo>
                  <a:cubicBezTo>
                    <a:pt x="152" y="466"/>
                    <a:pt x="152" y="466"/>
                    <a:pt x="152" y="466"/>
                  </a:cubicBezTo>
                  <a:cubicBezTo>
                    <a:pt x="152" y="467"/>
                    <a:pt x="152" y="467"/>
                    <a:pt x="152" y="467"/>
                  </a:cubicBezTo>
                  <a:cubicBezTo>
                    <a:pt x="152" y="467"/>
                    <a:pt x="152" y="468"/>
                    <a:pt x="153" y="468"/>
                  </a:cubicBezTo>
                  <a:cubicBezTo>
                    <a:pt x="154" y="468"/>
                    <a:pt x="155" y="466"/>
                    <a:pt x="156" y="463"/>
                  </a:cubicBezTo>
                  <a:cubicBezTo>
                    <a:pt x="157" y="462"/>
                    <a:pt x="157" y="462"/>
                    <a:pt x="158" y="462"/>
                  </a:cubicBezTo>
                  <a:cubicBezTo>
                    <a:pt x="159" y="462"/>
                    <a:pt x="160" y="461"/>
                    <a:pt x="161" y="460"/>
                  </a:cubicBezTo>
                  <a:cubicBezTo>
                    <a:pt x="162" y="460"/>
                    <a:pt x="162" y="460"/>
                    <a:pt x="162" y="460"/>
                  </a:cubicBezTo>
                  <a:cubicBezTo>
                    <a:pt x="162" y="460"/>
                    <a:pt x="162" y="460"/>
                    <a:pt x="162" y="460"/>
                  </a:cubicBezTo>
                  <a:cubicBezTo>
                    <a:pt x="163" y="460"/>
                    <a:pt x="163" y="460"/>
                    <a:pt x="164" y="460"/>
                  </a:cubicBezTo>
                  <a:cubicBezTo>
                    <a:pt x="165" y="460"/>
                    <a:pt x="165" y="460"/>
                    <a:pt x="166" y="459"/>
                  </a:cubicBezTo>
                  <a:cubicBezTo>
                    <a:pt x="166" y="458"/>
                    <a:pt x="166" y="457"/>
                    <a:pt x="165" y="457"/>
                  </a:cubicBezTo>
                  <a:cubicBezTo>
                    <a:pt x="165" y="456"/>
                    <a:pt x="166" y="456"/>
                    <a:pt x="166" y="455"/>
                  </a:cubicBezTo>
                  <a:cubicBezTo>
                    <a:pt x="167" y="455"/>
                    <a:pt x="167" y="455"/>
                    <a:pt x="167" y="455"/>
                  </a:cubicBezTo>
                  <a:cubicBezTo>
                    <a:pt x="168" y="454"/>
                    <a:pt x="168" y="454"/>
                    <a:pt x="168" y="453"/>
                  </a:cubicBezTo>
                  <a:cubicBezTo>
                    <a:pt x="170" y="452"/>
                    <a:pt x="170" y="451"/>
                    <a:pt x="171" y="450"/>
                  </a:cubicBezTo>
                  <a:cubicBezTo>
                    <a:pt x="171" y="450"/>
                    <a:pt x="172" y="449"/>
                    <a:pt x="172" y="449"/>
                  </a:cubicBezTo>
                  <a:cubicBezTo>
                    <a:pt x="173" y="449"/>
                    <a:pt x="174" y="447"/>
                    <a:pt x="174" y="446"/>
                  </a:cubicBezTo>
                  <a:cubicBezTo>
                    <a:pt x="174" y="445"/>
                    <a:pt x="174" y="444"/>
                    <a:pt x="173" y="444"/>
                  </a:cubicBezTo>
                  <a:cubicBezTo>
                    <a:pt x="173" y="444"/>
                    <a:pt x="172" y="443"/>
                    <a:pt x="172" y="442"/>
                  </a:cubicBezTo>
                  <a:cubicBezTo>
                    <a:pt x="172" y="441"/>
                    <a:pt x="172" y="441"/>
                    <a:pt x="172" y="441"/>
                  </a:cubicBezTo>
                  <a:cubicBezTo>
                    <a:pt x="172" y="439"/>
                    <a:pt x="173" y="438"/>
                    <a:pt x="174" y="438"/>
                  </a:cubicBezTo>
                  <a:cubicBezTo>
                    <a:pt x="175" y="436"/>
                    <a:pt x="177" y="432"/>
                    <a:pt x="177" y="432"/>
                  </a:cubicBezTo>
                  <a:cubicBezTo>
                    <a:pt x="178" y="432"/>
                    <a:pt x="179" y="431"/>
                    <a:pt x="180" y="431"/>
                  </a:cubicBezTo>
                  <a:cubicBezTo>
                    <a:pt x="180" y="430"/>
                    <a:pt x="181" y="430"/>
                    <a:pt x="181" y="430"/>
                  </a:cubicBezTo>
                  <a:cubicBezTo>
                    <a:pt x="183" y="429"/>
                    <a:pt x="183" y="427"/>
                    <a:pt x="182" y="426"/>
                  </a:cubicBezTo>
                  <a:cubicBezTo>
                    <a:pt x="183" y="426"/>
                    <a:pt x="183" y="426"/>
                    <a:pt x="183" y="426"/>
                  </a:cubicBezTo>
                  <a:cubicBezTo>
                    <a:pt x="183" y="426"/>
                    <a:pt x="184" y="425"/>
                    <a:pt x="184" y="425"/>
                  </a:cubicBezTo>
                  <a:cubicBezTo>
                    <a:pt x="184" y="424"/>
                    <a:pt x="185" y="424"/>
                    <a:pt x="185" y="424"/>
                  </a:cubicBezTo>
                  <a:cubicBezTo>
                    <a:pt x="186" y="424"/>
                    <a:pt x="186" y="424"/>
                    <a:pt x="186" y="424"/>
                  </a:cubicBezTo>
                  <a:cubicBezTo>
                    <a:pt x="187" y="423"/>
                    <a:pt x="191" y="422"/>
                    <a:pt x="192" y="422"/>
                  </a:cubicBezTo>
                  <a:cubicBezTo>
                    <a:pt x="193" y="422"/>
                    <a:pt x="194" y="420"/>
                    <a:pt x="195" y="419"/>
                  </a:cubicBezTo>
                  <a:cubicBezTo>
                    <a:pt x="195" y="419"/>
                    <a:pt x="196" y="419"/>
                    <a:pt x="197" y="418"/>
                  </a:cubicBezTo>
                  <a:cubicBezTo>
                    <a:pt x="198" y="418"/>
                    <a:pt x="199" y="417"/>
                    <a:pt x="200" y="416"/>
                  </a:cubicBezTo>
                  <a:cubicBezTo>
                    <a:pt x="201" y="416"/>
                    <a:pt x="201" y="416"/>
                    <a:pt x="201" y="416"/>
                  </a:cubicBezTo>
                  <a:cubicBezTo>
                    <a:pt x="202" y="415"/>
                    <a:pt x="203" y="414"/>
                    <a:pt x="202" y="413"/>
                  </a:cubicBezTo>
                  <a:cubicBezTo>
                    <a:pt x="202" y="412"/>
                    <a:pt x="202" y="412"/>
                    <a:pt x="202" y="412"/>
                  </a:cubicBezTo>
                  <a:cubicBezTo>
                    <a:pt x="203" y="411"/>
                    <a:pt x="203" y="411"/>
                    <a:pt x="203" y="411"/>
                  </a:cubicBezTo>
                  <a:cubicBezTo>
                    <a:pt x="203" y="411"/>
                    <a:pt x="203" y="411"/>
                    <a:pt x="203" y="411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10"/>
                    <a:pt x="204" y="410"/>
                    <a:pt x="204" y="410"/>
                  </a:cubicBezTo>
                  <a:cubicBezTo>
                    <a:pt x="204" y="409"/>
                    <a:pt x="205" y="408"/>
                    <a:pt x="205" y="407"/>
                  </a:cubicBezTo>
                  <a:cubicBezTo>
                    <a:pt x="205" y="406"/>
                    <a:pt x="205" y="406"/>
                    <a:pt x="205" y="405"/>
                  </a:cubicBezTo>
                  <a:cubicBezTo>
                    <a:pt x="205" y="404"/>
                    <a:pt x="206" y="404"/>
                    <a:pt x="205" y="403"/>
                  </a:cubicBezTo>
                  <a:cubicBezTo>
                    <a:pt x="207" y="402"/>
                    <a:pt x="211" y="399"/>
                    <a:pt x="211" y="399"/>
                  </a:cubicBezTo>
                  <a:cubicBezTo>
                    <a:pt x="211" y="399"/>
                    <a:pt x="213" y="399"/>
                    <a:pt x="213" y="400"/>
                  </a:cubicBezTo>
                  <a:cubicBezTo>
                    <a:pt x="214" y="401"/>
                    <a:pt x="216" y="401"/>
                    <a:pt x="217" y="400"/>
                  </a:cubicBezTo>
                  <a:cubicBezTo>
                    <a:pt x="217" y="401"/>
                    <a:pt x="218" y="401"/>
                    <a:pt x="218" y="401"/>
                  </a:cubicBezTo>
                  <a:cubicBezTo>
                    <a:pt x="218" y="401"/>
                    <a:pt x="218" y="401"/>
                    <a:pt x="218" y="401"/>
                  </a:cubicBezTo>
                  <a:cubicBezTo>
                    <a:pt x="218" y="401"/>
                    <a:pt x="219" y="402"/>
                    <a:pt x="220" y="403"/>
                  </a:cubicBezTo>
                  <a:cubicBezTo>
                    <a:pt x="220" y="403"/>
                    <a:pt x="221" y="403"/>
                    <a:pt x="221" y="403"/>
                  </a:cubicBezTo>
                  <a:cubicBezTo>
                    <a:pt x="221" y="404"/>
                    <a:pt x="222" y="404"/>
                    <a:pt x="224" y="404"/>
                  </a:cubicBezTo>
                  <a:cubicBezTo>
                    <a:pt x="224" y="404"/>
                    <a:pt x="224" y="404"/>
                    <a:pt x="224" y="404"/>
                  </a:cubicBezTo>
                  <a:cubicBezTo>
                    <a:pt x="224" y="404"/>
                    <a:pt x="225" y="404"/>
                    <a:pt x="225" y="404"/>
                  </a:cubicBezTo>
                  <a:cubicBezTo>
                    <a:pt x="226" y="404"/>
                    <a:pt x="226" y="404"/>
                    <a:pt x="227" y="404"/>
                  </a:cubicBezTo>
                  <a:cubicBezTo>
                    <a:pt x="228" y="404"/>
                    <a:pt x="229" y="403"/>
                    <a:pt x="230" y="403"/>
                  </a:cubicBezTo>
                  <a:cubicBezTo>
                    <a:pt x="230" y="403"/>
                    <a:pt x="230" y="402"/>
                    <a:pt x="230" y="402"/>
                  </a:cubicBezTo>
                  <a:cubicBezTo>
                    <a:pt x="230" y="401"/>
                    <a:pt x="231" y="401"/>
                    <a:pt x="231" y="401"/>
                  </a:cubicBezTo>
                  <a:cubicBezTo>
                    <a:pt x="232" y="401"/>
                    <a:pt x="232" y="400"/>
                    <a:pt x="233" y="400"/>
                  </a:cubicBezTo>
                  <a:cubicBezTo>
                    <a:pt x="233" y="400"/>
                    <a:pt x="233" y="399"/>
                    <a:pt x="233" y="399"/>
                  </a:cubicBezTo>
                  <a:cubicBezTo>
                    <a:pt x="233" y="399"/>
                    <a:pt x="234" y="399"/>
                    <a:pt x="234" y="399"/>
                  </a:cubicBezTo>
                  <a:cubicBezTo>
                    <a:pt x="234" y="399"/>
                    <a:pt x="234" y="399"/>
                    <a:pt x="234" y="399"/>
                  </a:cubicBezTo>
                  <a:cubicBezTo>
                    <a:pt x="235" y="398"/>
                    <a:pt x="237" y="398"/>
                    <a:pt x="237" y="398"/>
                  </a:cubicBezTo>
                  <a:cubicBezTo>
                    <a:pt x="237" y="398"/>
                    <a:pt x="237" y="398"/>
                    <a:pt x="237" y="398"/>
                  </a:cubicBezTo>
                  <a:cubicBezTo>
                    <a:pt x="239" y="397"/>
                    <a:pt x="241" y="395"/>
                    <a:pt x="242" y="393"/>
                  </a:cubicBezTo>
                  <a:cubicBezTo>
                    <a:pt x="243" y="393"/>
                    <a:pt x="243" y="393"/>
                    <a:pt x="243" y="393"/>
                  </a:cubicBezTo>
                  <a:cubicBezTo>
                    <a:pt x="244" y="392"/>
                    <a:pt x="245" y="392"/>
                    <a:pt x="247" y="392"/>
                  </a:cubicBezTo>
                  <a:cubicBezTo>
                    <a:pt x="248" y="392"/>
                    <a:pt x="249" y="394"/>
                    <a:pt x="249" y="394"/>
                  </a:cubicBezTo>
                  <a:cubicBezTo>
                    <a:pt x="249" y="395"/>
                    <a:pt x="251" y="396"/>
                    <a:pt x="252" y="396"/>
                  </a:cubicBezTo>
                  <a:cubicBezTo>
                    <a:pt x="252" y="396"/>
                    <a:pt x="253" y="396"/>
                    <a:pt x="253" y="396"/>
                  </a:cubicBezTo>
                  <a:cubicBezTo>
                    <a:pt x="253" y="396"/>
                    <a:pt x="253" y="397"/>
                    <a:pt x="253" y="398"/>
                  </a:cubicBezTo>
                  <a:cubicBezTo>
                    <a:pt x="253" y="399"/>
                    <a:pt x="253" y="399"/>
                    <a:pt x="254" y="400"/>
                  </a:cubicBezTo>
                  <a:cubicBezTo>
                    <a:pt x="254" y="401"/>
                    <a:pt x="254" y="402"/>
                    <a:pt x="254" y="403"/>
                  </a:cubicBezTo>
                  <a:cubicBezTo>
                    <a:pt x="254" y="403"/>
                    <a:pt x="254" y="403"/>
                    <a:pt x="254" y="403"/>
                  </a:cubicBezTo>
                  <a:cubicBezTo>
                    <a:pt x="254" y="403"/>
                    <a:pt x="254" y="403"/>
                    <a:pt x="254" y="403"/>
                  </a:cubicBezTo>
                  <a:cubicBezTo>
                    <a:pt x="254" y="403"/>
                    <a:pt x="254" y="403"/>
                    <a:pt x="254" y="403"/>
                  </a:cubicBezTo>
                  <a:cubicBezTo>
                    <a:pt x="253" y="404"/>
                    <a:pt x="253" y="405"/>
                    <a:pt x="254" y="406"/>
                  </a:cubicBezTo>
                  <a:cubicBezTo>
                    <a:pt x="254" y="407"/>
                    <a:pt x="255" y="407"/>
                    <a:pt x="255" y="407"/>
                  </a:cubicBezTo>
                  <a:cubicBezTo>
                    <a:pt x="255" y="408"/>
                    <a:pt x="256" y="409"/>
                    <a:pt x="257" y="409"/>
                  </a:cubicBezTo>
                  <a:cubicBezTo>
                    <a:pt x="258" y="408"/>
                    <a:pt x="258" y="408"/>
                    <a:pt x="258" y="408"/>
                  </a:cubicBezTo>
                  <a:cubicBezTo>
                    <a:pt x="258" y="408"/>
                    <a:pt x="258" y="408"/>
                    <a:pt x="258" y="408"/>
                  </a:cubicBezTo>
                  <a:cubicBezTo>
                    <a:pt x="257" y="409"/>
                    <a:pt x="257" y="409"/>
                    <a:pt x="257" y="409"/>
                  </a:cubicBezTo>
                  <a:cubicBezTo>
                    <a:pt x="257" y="410"/>
                    <a:pt x="257" y="410"/>
                    <a:pt x="257" y="410"/>
                  </a:cubicBezTo>
                  <a:cubicBezTo>
                    <a:pt x="257" y="410"/>
                    <a:pt x="257" y="410"/>
                    <a:pt x="257" y="410"/>
                  </a:cubicBezTo>
                  <a:cubicBezTo>
                    <a:pt x="257" y="411"/>
                    <a:pt x="257" y="411"/>
                    <a:pt x="257" y="412"/>
                  </a:cubicBezTo>
                  <a:cubicBezTo>
                    <a:pt x="258" y="413"/>
                    <a:pt x="259" y="413"/>
                    <a:pt x="260" y="413"/>
                  </a:cubicBezTo>
                  <a:cubicBezTo>
                    <a:pt x="260" y="413"/>
                    <a:pt x="260" y="413"/>
                    <a:pt x="260" y="413"/>
                  </a:cubicBezTo>
                  <a:cubicBezTo>
                    <a:pt x="261" y="414"/>
                    <a:pt x="261" y="414"/>
                    <a:pt x="262" y="415"/>
                  </a:cubicBezTo>
                  <a:cubicBezTo>
                    <a:pt x="262" y="415"/>
                    <a:pt x="262" y="415"/>
                    <a:pt x="262" y="415"/>
                  </a:cubicBezTo>
                  <a:cubicBezTo>
                    <a:pt x="262" y="416"/>
                    <a:pt x="262" y="416"/>
                    <a:pt x="263" y="416"/>
                  </a:cubicBezTo>
                  <a:cubicBezTo>
                    <a:pt x="263" y="417"/>
                    <a:pt x="263" y="417"/>
                    <a:pt x="264" y="418"/>
                  </a:cubicBezTo>
                  <a:cubicBezTo>
                    <a:pt x="264" y="419"/>
                    <a:pt x="265" y="421"/>
                    <a:pt x="267" y="421"/>
                  </a:cubicBezTo>
                  <a:cubicBezTo>
                    <a:pt x="267" y="422"/>
                    <a:pt x="268" y="422"/>
                    <a:pt x="268" y="424"/>
                  </a:cubicBezTo>
                  <a:cubicBezTo>
                    <a:pt x="269" y="425"/>
                    <a:pt x="270" y="426"/>
                    <a:pt x="271" y="426"/>
                  </a:cubicBezTo>
                  <a:cubicBezTo>
                    <a:pt x="271" y="426"/>
                    <a:pt x="272" y="426"/>
                    <a:pt x="273" y="425"/>
                  </a:cubicBezTo>
                  <a:cubicBezTo>
                    <a:pt x="273" y="425"/>
                    <a:pt x="274" y="426"/>
                    <a:pt x="274" y="426"/>
                  </a:cubicBezTo>
                  <a:cubicBezTo>
                    <a:pt x="274" y="428"/>
                    <a:pt x="276" y="429"/>
                    <a:pt x="277" y="430"/>
                  </a:cubicBezTo>
                  <a:cubicBezTo>
                    <a:pt x="277" y="430"/>
                    <a:pt x="277" y="430"/>
                    <a:pt x="277" y="430"/>
                  </a:cubicBezTo>
                  <a:cubicBezTo>
                    <a:pt x="277" y="431"/>
                    <a:pt x="277" y="431"/>
                    <a:pt x="277" y="432"/>
                  </a:cubicBezTo>
                  <a:cubicBezTo>
                    <a:pt x="278" y="433"/>
                    <a:pt x="278" y="433"/>
                    <a:pt x="280" y="433"/>
                  </a:cubicBezTo>
                  <a:cubicBezTo>
                    <a:pt x="280" y="433"/>
                    <a:pt x="281" y="432"/>
                    <a:pt x="281" y="432"/>
                  </a:cubicBezTo>
                  <a:cubicBezTo>
                    <a:pt x="281" y="433"/>
                    <a:pt x="281" y="433"/>
                    <a:pt x="281" y="434"/>
                  </a:cubicBezTo>
                  <a:cubicBezTo>
                    <a:pt x="281" y="435"/>
                    <a:pt x="282" y="436"/>
                    <a:pt x="282" y="436"/>
                  </a:cubicBezTo>
                  <a:cubicBezTo>
                    <a:pt x="283" y="437"/>
                    <a:pt x="283" y="437"/>
                    <a:pt x="283" y="437"/>
                  </a:cubicBezTo>
                  <a:cubicBezTo>
                    <a:pt x="283" y="437"/>
                    <a:pt x="283" y="437"/>
                    <a:pt x="283" y="438"/>
                  </a:cubicBezTo>
                  <a:cubicBezTo>
                    <a:pt x="284" y="439"/>
                    <a:pt x="285" y="439"/>
                    <a:pt x="286" y="439"/>
                  </a:cubicBezTo>
                  <a:cubicBezTo>
                    <a:pt x="286" y="439"/>
                    <a:pt x="286" y="439"/>
                    <a:pt x="286" y="439"/>
                  </a:cubicBezTo>
                  <a:cubicBezTo>
                    <a:pt x="286" y="440"/>
                    <a:pt x="287" y="440"/>
                    <a:pt x="287" y="440"/>
                  </a:cubicBezTo>
                  <a:cubicBezTo>
                    <a:pt x="287" y="441"/>
                    <a:pt x="287" y="441"/>
                    <a:pt x="287" y="442"/>
                  </a:cubicBezTo>
                  <a:cubicBezTo>
                    <a:pt x="287" y="443"/>
                    <a:pt x="287" y="443"/>
                    <a:pt x="287" y="443"/>
                  </a:cubicBezTo>
                  <a:cubicBezTo>
                    <a:pt x="287" y="444"/>
                    <a:pt x="288" y="444"/>
                    <a:pt x="288" y="446"/>
                  </a:cubicBezTo>
                  <a:cubicBezTo>
                    <a:pt x="288" y="448"/>
                    <a:pt x="288" y="449"/>
                    <a:pt x="287" y="449"/>
                  </a:cubicBezTo>
                  <a:cubicBezTo>
                    <a:pt x="285" y="450"/>
                    <a:pt x="285" y="452"/>
                    <a:pt x="285" y="453"/>
                  </a:cubicBezTo>
                  <a:cubicBezTo>
                    <a:pt x="285" y="453"/>
                    <a:pt x="286" y="453"/>
                    <a:pt x="285" y="453"/>
                  </a:cubicBezTo>
                  <a:cubicBezTo>
                    <a:pt x="285" y="453"/>
                    <a:pt x="285" y="453"/>
                    <a:pt x="285" y="453"/>
                  </a:cubicBezTo>
                  <a:cubicBezTo>
                    <a:pt x="285" y="454"/>
                    <a:pt x="285" y="454"/>
                    <a:pt x="285" y="454"/>
                  </a:cubicBezTo>
                  <a:cubicBezTo>
                    <a:pt x="285" y="454"/>
                    <a:pt x="284" y="454"/>
                    <a:pt x="284" y="454"/>
                  </a:cubicBezTo>
                  <a:cubicBezTo>
                    <a:pt x="284" y="454"/>
                    <a:pt x="284" y="454"/>
                    <a:pt x="284" y="454"/>
                  </a:cubicBezTo>
                  <a:cubicBezTo>
                    <a:pt x="283" y="454"/>
                    <a:pt x="283" y="454"/>
                    <a:pt x="283" y="454"/>
                  </a:cubicBezTo>
                  <a:cubicBezTo>
                    <a:pt x="282" y="454"/>
                    <a:pt x="282" y="454"/>
                    <a:pt x="282" y="455"/>
                  </a:cubicBezTo>
                  <a:cubicBezTo>
                    <a:pt x="281" y="455"/>
                    <a:pt x="281" y="455"/>
                    <a:pt x="281" y="455"/>
                  </a:cubicBezTo>
                  <a:cubicBezTo>
                    <a:pt x="280" y="455"/>
                    <a:pt x="280" y="455"/>
                    <a:pt x="280" y="455"/>
                  </a:cubicBezTo>
                  <a:cubicBezTo>
                    <a:pt x="279" y="455"/>
                    <a:pt x="279" y="455"/>
                    <a:pt x="279" y="455"/>
                  </a:cubicBezTo>
                  <a:cubicBezTo>
                    <a:pt x="278" y="455"/>
                    <a:pt x="278" y="455"/>
                    <a:pt x="277" y="455"/>
                  </a:cubicBezTo>
                  <a:cubicBezTo>
                    <a:pt x="277" y="455"/>
                    <a:pt x="277" y="456"/>
                    <a:pt x="277" y="456"/>
                  </a:cubicBezTo>
                  <a:cubicBezTo>
                    <a:pt x="277" y="456"/>
                    <a:pt x="276" y="456"/>
                    <a:pt x="276" y="456"/>
                  </a:cubicBezTo>
                  <a:cubicBezTo>
                    <a:pt x="276" y="456"/>
                    <a:pt x="276" y="456"/>
                    <a:pt x="276" y="456"/>
                  </a:cubicBezTo>
                  <a:cubicBezTo>
                    <a:pt x="275" y="456"/>
                    <a:pt x="275" y="456"/>
                    <a:pt x="274" y="456"/>
                  </a:cubicBezTo>
                  <a:cubicBezTo>
                    <a:pt x="274" y="456"/>
                    <a:pt x="274" y="456"/>
                    <a:pt x="274" y="456"/>
                  </a:cubicBezTo>
                  <a:cubicBezTo>
                    <a:pt x="273" y="456"/>
                    <a:pt x="273" y="455"/>
                    <a:pt x="273" y="455"/>
                  </a:cubicBezTo>
                  <a:cubicBezTo>
                    <a:pt x="272" y="455"/>
                    <a:pt x="272" y="455"/>
                    <a:pt x="271" y="455"/>
                  </a:cubicBezTo>
                  <a:cubicBezTo>
                    <a:pt x="271" y="457"/>
                    <a:pt x="271" y="457"/>
                    <a:pt x="271" y="457"/>
                  </a:cubicBezTo>
                  <a:cubicBezTo>
                    <a:pt x="271" y="455"/>
                    <a:pt x="271" y="455"/>
                    <a:pt x="271" y="455"/>
                  </a:cubicBezTo>
                  <a:cubicBezTo>
                    <a:pt x="271" y="455"/>
                    <a:pt x="270" y="455"/>
                    <a:pt x="270" y="455"/>
                  </a:cubicBezTo>
                  <a:cubicBezTo>
                    <a:pt x="270" y="455"/>
                    <a:pt x="269" y="455"/>
                    <a:pt x="268" y="455"/>
                  </a:cubicBezTo>
                  <a:cubicBezTo>
                    <a:pt x="267" y="454"/>
                    <a:pt x="266" y="454"/>
                    <a:pt x="265" y="455"/>
                  </a:cubicBezTo>
                  <a:cubicBezTo>
                    <a:pt x="265" y="454"/>
                    <a:pt x="265" y="454"/>
                    <a:pt x="265" y="454"/>
                  </a:cubicBezTo>
                  <a:cubicBezTo>
                    <a:pt x="264" y="452"/>
                    <a:pt x="264" y="452"/>
                    <a:pt x="264" y="452"/>
                  </a:cubicBezTo>
                  <a:cubicBezTo>
                    <a:pt x="263" y="454"/>
                    <a:pt x="263" y="454"/>
                    <a:pt x="263" y="454"/>
                  </a:cubicBezTo>
                  <a:cubicBezTo>
                    <a:pt x="262" y="455"/>
                    <a:pt x="262" y="455"/>
                    <a:pt x="262" y="455"/>
                  </a:cubicBezTo>
                  <a:cubicBezTo>
                    <a:pt x="262" y="455"/>
                    <a:pt x="262" y="455"/>
                    <a:pt x="262" y="456"/>
                  </a:cubicBezTo>
                  <a:cubicBezTo>
                    <a:pt x="261" y="456"/>
                    <a:pt x="261" y="456"/>
                    <a:pt x="261" y="457"/>
                  </a:cubicBezTo>
                  <a:cubicBezTo>
                    <a:pt x="260" y="458"/>
                    <a:pt x="261" y="458"/>
                    <a:pt x="261" y="459"/>
                  </a:cubicBezTo>
                  <a:cubicBezTo>
                    <a:pt x="261" y="459"/>
                    <a:pt x="261" y="460"/>
                    <a:pt x="261" y="460"/>
                  </a:cubicBezTo>
                  <a:cubicBezTo>
                    <a:pt x="260" y="461"/>
                    <a:pt x="260" y="461"/>
                    <a:pt x="261" y="462"/>
                  </a:cubicBezTo>
                  <a:cubicBezTo>
                    <a:pt x="261" y="463"/>
                    <a:pt x="262" y="463"/>
                    <a:pt x="263" y="463"/>
                  </a:cubicBezTo>
                  <a:cubicBezTo>
                    <a:pt x="263" y="463"/>
                    <a:pt x="263" y="463"/>
                    <a:pt x="263" y="464"/>
                  </a:cubicBezTo>
                  <a:cubicBezTo>
                    <a:pt x="264" y="464"/>
                    <a:pt x="264" y="464"/>
                    <a:pt x="264" y="464"/>
                  </a:cubicBezTo>
                  <a:cubicBezTo>
                    <a:pt x="264" y="464"/>
                    <a:pt x="264" y="464"/>
                    <a:pt x="265" y="464"/>
                  </a:cubicBezTo>
                  <a:cubicBezTo>
                    <a:pt x="265" y="465"/>
                    <a:pt x="265" y="465"/>
                    <a:pt x="265" y="465"/>
                  </a:cubicBezTo>
                  <a:cubicBezTo>
                    <a:pt x="265" y="465"/>
                    <a:pt x="265" y="465"/>
                    <a:pt x="266" y="465"/>
                  </a:cubicBezTo>
                  <a:cubicBezTo>
                    <a:pt x="266" y="465"/>
                    <a:pt x="266" y="466"/>
                    <a:pt x="267" y="466"/>
                  </a:cubicBezTo>
                  <a:cubicBezTo>
                    <a:pt x="267" y="466"/>
                    <a:pt x="267" y="467"/>
                    <a:pt x="268" y="467"/>
                  </a:cubicBezTo>
                  <a:cubicBezTo>
                    <a:pt x="268" y="467"/>
                    <a:pt x="268" y="467"/>
                    <a:pt x="268" y="467"/>
                  </a:cubicBezTo>
                  <a:cubicBezTo>
                    <a:pt x="269" y="468"/>
                    <a:pt x="269" y="468"/>
                    <a:pt x="269" y="468"/>
                  </a:cubicBezTo>
                  <a:cubicBezTo>
                    <a:pt x="269" y="468"/>
                    <a:pt x="269" y="468"/>
                    <a:pt x="269" y="468"/>
                  </a:cubicBezTo>
                  <a:cubicBezTo>
                    <a:pt x="270" y="468"/>
                    <a:pt x="270" y="468"/>
                    <a:pt x="270" y="468"/>
                  </a:cubicBezTo>
                  <a:cubicBezTo>
                    <a:pt x="271" y="468"/>
                    <a:pt x="271" y="468"/>
                    <a:pt x="272" y="469"/>
                  </a:cubicBezTo>
                  <a:cubicBezTo>
                    <a:pt x="272" y="469"/>
                    <a:pt x="272" y="469"/>
                    <a:pt x="273" y="470"/>
                  </a:cubicBezTo>
                  <a:cubicBezTo>
                    <a:pt x="273" y="470"/>
                    <a:pt x="274" y="470"/>
                    <a:pt x="274" y="471"/>
                  </a:cubicBezTo>
                  <a:cubicBezTo>
                    <a:pt x="275" y="471"/>
                    <a:pt x="275" y="471"/>
                    <a:pt x="275" y="471"/>
                  </a:cubicBezTo>
                  <a:cubicBezTo>
                    <a:pt x="275" y="471"/>
                    <a:pt x="275" y="471"/>
                    <a:pt x="276" y="472"/>
                  </a:cubicBezTo>
                  <a:cubicBezTo>
                    <a:pt x="276" y="472"/>
                    <a:pt x="277" y="472"/>
                    <a:pt x="277" y="472"/>
                  </a:cubicBezTo>
                  <a:cubicBezTo>
                    <a:pt x="277" y="472"/>
                    <a:pt x="277" y="473"/>
                    <a:pt x="277" y="473"/>
                  </a:cubicBezTo>
                  <a:cubicBezTo>
                    <a:pt x="277" y="473"/>
                    <a:pt x="278" y="473"/>
                    <a:pt x="278" y="473"/>
                  </a:cubicBezTo>
                  <a:cubicBezTo>
                    <a:pt x="278" y="474"/>
                    <a:pt x="279" y="474"/>
                    <a:pt x="279" y="474"/>
                  </a:cubicBezTo>
                  <a:cubicBezTo>
                    <a:pt x="280" y="474"/>
                    <a:pt x="281" y="473"/>
                    <a:pt x="281" y="472"/>
                  </a:cubicBezTo>
                  <a:cubicBezTo>
                    <a:pt x="281" y="472"/>
                    <a:pt x="281" y="471"/>
                    <a:pt x="281" y="471"/>
                  </a:cubicBezTo>
                  <a:cubicBezTo>
                    <a:pt x="282" y="470"/>
                    <a:pt x="282" y="470"/>
                    <a:pt x="282" y="470"/>
                  </a:cubicBezTo>
                  <a:cubicBezTo>
                    <a:pt x="282" y="470"/>
                    <a:pt x="282" y="470"/>
                    <a:pt x="282" y="469"/>
                  </a:cubicBezTo>
                  <a:cubicBezTo>
                    <a:pt x="283" y="468"/>
                    <a:pt x="282" y="467"/>
                    <a:pt x="282" y="467"/>
                  </a:cubicBezTo>
                  <a:cubicBezTo>
                    <a:pt x="282" y="466"/>
                    <a:pt x="282" y="466"/>
                    <a:pt x="282" y="466"/>
                  </a:cubicBezTo>
                  <a:cubicBezTo>
                    <a:pt x="282" y="466"/>
                    <a:pt x="282" y="466"/>
                    <a:pt x="282" y="465"/>
                  </a:cubicBezTo>
                  <a:cubicBezTo>
                    <a:pt x="282" y="465"/>
                    <a:pt x="282" y="465"/>
                    <a:pt x="282" y="464"/>
                  </a:cubicBezTo>
                  <a:cubicBezTo>
                    <a:pt x="282" y="463"/>
                    <a:pt x="282" y="462"/>
                    <a:pt x="282" y="461"/>
                  </a:cubicBezTo>
                  <a:cubicBezTo>
                    <a:pt x="283" y="461"/>
                    <a:pt x="283" y="460"/>
                    <a:pt x="284" y="460"/>
                  </a:cubicBezTo>
                  <a:cubicBezTo>
                    <a:pt x="284" y="459"/>
                    <a:pt x="284" y="459"/>
                    <a:pt x="285" y="459"/>
                  </a:cubicBezTo>
                  <a:cubicBezTo>
                    <a:pt x="285" y="459"/>
                    <a:pt x="285" y="459"/>
                    <a:pt x="286" y="459"/>
                  </a:cubicBezTo>
                  <a:cubicBezTo>
                    <a:pt x="287" y="459"/>
                    <a:pt x="290" y="459"/>
                    <a:pt x="291" y="457"/>
                  </a:cubicBezTo>
                  <a:cubicBezTo>
                    <a:pt x="291" y="457"/>
                    <a:pt x="292" y="456"/>
                    <a:pt x="293" y="455"/>
                  </a:cubicBezTo>
                  <a:cubicBezTo>
                    <a:pt x="294" y="454"/>
                    <a:pt x="294" y="454"/>
                    <a:pt x="295" y="452"/>
                  </a:cubicBezTo>
                  <a:cubicBezTo>
                    <a:pt x="295" y="451"/>
                    <a:pt x="296" y="450"/>
                    <a:pt x="297" y="449"/>
                  </a:cubicBezTo>
                  <a:cubicBezTo>
                    <a:pt x="299" y="449"/>
                    <a:pt x="299" y="447"/>
                    <a:pt x="298" y="446"/>
                  </a:cubicBezTo>
                  <a:cubicBezTo>
                    <a:pt x="298" y="446"/>
                    <a:pt x="298" y="446"/>
                    <a:pt x="298" y="446"/>
                  </a:cubicBezTo>
                  <a:cubicBezTo>
                    <a:pt x="298" y="446"/>
                    <a:pt x="298" y="446"/>
                    <a:pt x="298" y="445"/>
                  </a:cubicBezTo>
                  <a:cubicBezTo>
                    <a:pt x="298" y="445"/>
                    <a:pt x="299" y="444"/>
                    <a:pt x="299" y="444"/>
                  </a:cubicBezTo>
                  <a:cubicBezTo>
                    <a:pt x="299" y="442"/>
                    <a:pt x="297" y="440"/>
                    <a:pt x="296" y="439"/>
                  </a:cubicBezTo>
                  <a:cubicBezTo>
                    <a:pt x="296" y="439"/>
                    <a:pt x="297" y="438"/>
                    <a:pt x="297" y="437"/>
                  </a:cubicBezTo>
                  <a:cubicBezTo>
                    <a:pt x="298" y="436"/>
                    <a:pt x="298" y="436"/>
                    <a:pt x="298" y="436"/>
                  </a:cubicBezTo>
                  <a:cubicBezTo>
                    <a:pt x="298" y="436"/>
                    <a:pt x="298" y="435"/>
                    <a:pt x="299" y="435"/>
                  </a:cubicBezTo>
                  <a:cubicBezTo>
                    <a:pt x="299" y="435"/>
                    <a:pt x="299" y="435"/>
                    <a:pt x="299" y="435"/>
                  </a:cubicBezTo>
                  <a:cubicBezTo>
                    <a:pt x="300" y="435"/>
                    <a:pt x="300" y="435"/>
                    <a:pt x="300" y="435"/>
                  </a:cubicBezTo>
                  <a:cubicBezTo>
                    <a:pt x="301" y="436"/>
                    <a:pt x="302" y="436"/>
                    <a:pt x="303" y="436"/>
                  </a:cubicBezTo>
                  <a:cubicBezTo>
                    <a:pt x="303" y="436"/>
                    <a:pt x="304" y="436"/>
                    <a:pt x="304" y="436"/>
                  </a:cubicBezTo>
                  <a:cubicBezTo>
                    <a:pt x="304" y="436"/>
                    <a:pt x="304" y="437"/>
                    <a:pt x="304" y="438"/>
                  </a:cubicBezTo>
                  <a:cubicBezTo>
                    <a:pt x="304" y="439"/>
                    <a:pt x="304" y="440"/>
                    <a:pt x="306" y="440"/>
                  </a:cubicBezTo>
                  <a:cubicBezTo>
                    <a:pt x="307" y="441"/>
                    <a:pt x="309" y="440"/>
                    <a:pt x="309" y="438"/>
                  </a:cubicBezTo>
                  <a:cubicBezTo>
                    <a:pt x="310" y="438"/>
                    <a:pt x="310" y="437"/>
                    <a:pt x="310" y="436"/>
                  </a:cubicBezTo>
                  <a:cubicBezTo>
                    <a:pt x="311" y="435"/>
                    <a:pt x="310" y="434"/>
                    <a:pt x="310" y="433"/>
                  </a:cubicBezTo>
                  <a:cubicBezTo>
                    <a:pt x="310" y="433"/>
                    <a:pt x="309" y="433"/>
                    <a:pt x="309" y="433"/>
                  </a:cubicBezTo>
                  <a:cubicBezTo>
                    <a:pt x="309" y="431"/>
                    <a:pt x="307" y="429"/>
                    <a:pt x="306" y="429"/>
                  </a:cubicBezTo>
                  <a:cubicBezTo>
                    <a:pt x="305" y="428"/>
                    <a:pt x="303" y="426"/>
                    <a:pt x="302" y="426"/>
                  </a:cubicBezTo>
                  <a:cubicBezTo>
                    <a:pt x="302" y="425"/>
                    <a:pt x="301" y="424"/>
                    <a:pt x="299" y="423"/>
                  </a:cubicBezTo>
                  <a:cubicBezTo>
                    <a:pt x="297" y="423"/>
                    <a:pt x="296" y="422"/>
                    <a:pt x="296" y="422"/>
                  </a:cubicBezTo>
                  <a:cubicBezTo>
                    <a:pt x="295" y="421"/>
                    <a:pt x="295" y="421"/>
                    <a:pt x="294" y="421"/>
                  </a:cubicBezTo>
                  <a:cubicBezTo>
                    <a:pt x="294" y="421"/>
                    <a:pt x="293" y="420"/>
                    <a:pt x="293" y="420"/>
                  </a:cubicBezTo>
                  <a:cubicBezTo>
                    <a:pt x="293" y="420"/>
                    <a:pt x="293" y="420"/>
                    <a:pt x="293" y="420"/>
                  </a:cubicBezTo>
                  <a:cubicBezTo>
                    <a:pt x="294" y="420"/>
                    <a:pt x="296" y="418"/>
                    <a:pt x="295" y="417"/>
                  </a:cubicBezTo>
                  <a:cubicBezTo>
                    <a:pt x="295" y="416"/>
                    <a:pt x="294" y="415"/>
                    <a:pt x="292" y="415"/>
                  </a:cubicBezTo>
                  <a:cubicBezTo>
                    <a:pt x="289" y="415"/>
                    <a:pt x="288" y="415"/>
                    <a:pt x="287" y="413"/>
                  </a:cubicBezTo>
                  <a:cubicBezTo>
                    <a:pt x="286" y="412"/>
                    <a:pt x="285" y="411"/>
                    <a:pt x="284" y="410"/>
                  </a:cubicBezTo>
                  <a:cubicBezTo>
                    <a:pt x="281" y="408"/>
                    <a:pt x="281" y="405"/>
                    <a:pt x="281" y="403"/>
                  </a:cubicBezTo>
                  <a:cubicBezTo>
                    <a:pt x="281" y="402"/>
                    <a:pt x="281" y="402"/>
                    <a:pt x="281" y="402"/>
                  </a:cubicBezTo>
                  <a:cubicBezTo>
                    <a:pt x="280" y="400"/>
                    <a:pt x="278" y="397"/>
                    <a:pt x="275" y="394"/>
                  </a:cubicBezTo>
                  <a:cubicBezTo>
                    <a:pt x="274" y="394"/>
                    <a:pt x="273" y="392"/>
                    <a:pt x="273" y="392"/>
                  </a:cubicBezTo>
                  <a:cubicBezTo>
                    <a:pt x="272" y="391"/>
                    <a:pt x="272" y="389"/>
                    <a:pt x="272" y="387"/>
                  </a:cubicBezTo>
                  <a:cubicBezTo>
                    <a:pt x="272" y="387"/>
                    <a:pt x="272" y="387"/>
                    <a:pt x="272" y="387"/>
                  </a:cubicBezTo>
                  <a:cubicBezTo>
                    <a:pt x="272" y="387"/>
                    <a:pt x="273" y="386"/>
                    <a:pt x="273" y="386"/>
                  </a:cubicBezTo>
                  <a:cubicBezTo>
                    <a:pt x="274" y="385"/>
                    <a:pt x="273" y="384"/>
                    <a:pt x="273" y="383"/>
                  </a:cubicBezTo>
                  <a:cubicBezTo>
                    <a:pt x="273" y="383"/>
                    <a:pt x="273" y="383"/>
                    <a:pt x="273" y="383"/>
                  </a:cubicBezTo>
                  <a:cubicBezTo>
                    <a:pt x="273" y="382"/>
                    <a:pt x="273" y="382"/>
                    <a:pt x="273" y="382"/>
                  </a:cubicBezTo>
                  <a:cubicBezTo>
                    <a:pt x="273" y="381"/>
                    <a:pt x="273" y="381"/>
                    <a:pt x="273" y="381"/>
                  </a:cubicBezTo>
                  <a:cubicBezTo>
                    <a:pt x="274" y="380"/>
                    <a:pt x="275" y="380"/>
                    <a:pt x="275" y="379"/>
                  </a:cubicBezTo>
                  <a:cubicBezTo>
                    <a:pt x="276" y="379"/>
                    <a:pt x="276" y="379"/>
                    <a:pt x="278" y="378"/>
                  </a:cubicBezTo>
                  <a:cubicBezTo>
                    <a:pt x="278" y="378"/>
                    <a:pt x="279" y="378"/>
                    <a:pt x="279" y="378"/>
                  </a:cubicBezTo>
                  <a:cubicBezTo>
                    <a:pt x="279" y="378"/>
                    <a:pt x="279" y="377"/>
                    <a:pt x="279" y="377"/>
                  </a:cubicBezTo>
                  <a:cubicBezTo>
                    <a:pt x="279" y="378"/>
                    <a:pt x="279" y="378"/>
                    <a:pt x="279" y="378"/>
                  </a:cubicBezTo>
                  <a:cubicBezTo>
                    <a:pt x="279" y="379"/>
                    <a:pt x="279" y="379"/>
                    <a:pt x="279" y="380"/>
                  </a:cubicBezTo>
                  <a:cubicBezTo>
                    <a:pt x="279" y="380"/>
                    <a:pt x="279" y="380"/>
                    <a:pt x="279" y="380"/>
                  </a:cubicBezTo>
                  <a:cubicBezTo>
                    <a:pt x="279" y="380"/>
                    <a:pt x="279" y="380"/>
                    <a:pt x="279" y="380"/>
                  </a:cubicBezTo>
                  <a:cubicBezTo>
                    <a:pt x="279" y="381"/>
                    <a:pt x="279" y="381"/>
                    <a:pt x="279" y="381"/>
                  </a:cubicBezTo>
                  <a:cubicBezTo>
                    <a:pt x="279" y="381"/>
                    <a:pt x="279" y="381"/>
                    <a:pt x="279" y="381"/>
                  </a:cubicBezTo>
                  <a:cubicBezTo>
                    <a:pt x="279" y="382"/>
                    <a:pt x="279" y="382"/>
                    <a:pt x="279" y="382"/>
                  </a:cubicBezTo>
                  <a:cubicBezTo>
                    <a:pt x="279" y="382"/>
                    <a:pt x="279" y="382"/>
                    <a:pt x="279" y="382"/>
                  </a:cubicBezTo>
                  <a:cubicBezTo>
                    <a:pt x="279" y="382"/>
                    <a:pt x="279" y="382"/>
                    <a:pt x="279" y="383"/>
                  </a:cubicBezTo>
                  <a:cubicBezTo>
                    <a:pt x="279" y="384"/>
                    <a:pt x="279" y="384"/>
                    <a:pt x="279" y="384"/>
                  </a:cubicBezTo>
                  <a:cubicBezTo>
                    <a:pt x="280" y="385"/>
                    <a:pt x="280" y="387"/>
                    <a:pt x="282" y="387"/>
                  </a:cubicBezTo>
                  <a:cubicBezTo>
                    <a:pt x="282" y="387"/>
                    <a:pt x="282" y="387"/>
                    <a:pt x="282" y="387"/>
                  </a:cubicBezTo>
                  <a:cubicBezTo>
                    <a:pt x="282" y="387"/>
                    <a:pt x="282" y="387"/>
                    <a:pt x="282" y="387"/>
                  </a:cubicBezTo>
                  <a:cubicBezTo>
                    <a:pt x="284" y="387"/>
                    <a:pt x="284" y="386"/>
                    <a:pt x="284" y="386"/>
                  </a:cubicBezTo>
                  <a:cubicBezTo>
                    <a:pt x="284" y="386"/>
                    <a:pt x="284" y="385"/>
                    <a:pt x="284" y="385"/>
                  </a:cubicBezTo>
                  <a:cubicBezTo>
                    <a:pt x="285" y="385"/>
                    <a:pt x="285" y="383"/>
                    <a:pt x="286" y="382"/>
                  </a:cubicBezTo>
                  <a:cubicBezTo>
                    <a:pt x="286" y="382"/>
                    <a:pt x="286" y="382"/>
                    <a:pt x="287" y="383"/>
                  </a:cubicBezTo>
                  <a:cubicBezTo>
                    <a:pt x="287" y="383"/>
                    <a:pt x="287" y="383"/>
                    <a:pt x="287" y="383"/>
                  </a:cubicBezTo>
                  <a:cubicBezTo>
                    <a:pt x="288" y="384"/>
                    <a:pt x="288" y="384"/>
                    <a:pt x="288" y="386"/>
                  </a:cubicBezTo>
                  <a:cubicBezTo>
                    <a:pt x="288" y="386"/>
                    <a:pt x="288" y="386"/>
                    <a:pt x="288" y="386"/>
                  </a:cubicBezTo>
                  <a:cubicBezTo>
                    <a:pt x="288" y="388"/>
                    <a:pt x="289" y="389"/>
                    <a:pt x="289" y="390"/>
                  </a:cubicBezTo>
                  <a:cubicBezTo>
                    <a:pt x="290" y="390"/>
                    <a:pt x="290" y="391"/>
                    <a:pt x="290" y="391"/>
                  </a:cubicBezTo>
                  <a:cubicBezTo>
                    <a:pt x="290" y="391"/>
                    <a:pt x="290" y="391"/>
                    <a:pt x="290" y="392"/>
                  </a:cubicBezTo>
                  <a:cubicBezTo>
                    <a:pt x="289" y="392"/>
                    <a:pt x="288" y="394"/>
                    <a:pt x="293" y="399"/>
                  </a:cubicBezTo>
                  <a:cubicBezTo>
                    <a:pt x="293" y="399"/>
                    <a:pt x="293" y="399"/>
                    <a:pt x="293" y="399"/>
                  </a:cubicBezTo>
                  <a:cubicBezTo>
                    <a:pt x="293" y="399"/>
                    <a:pt x="293" y="399"/>
                    <a:pt x="293" y="400"/>
                  </a:cubicBezTo>
                  <a:cubicBezTo>
                    <a:pt x="293" y="400"/>
                    <a:pt x="293" y="401"/>
                    <a:pt x="293" y="401"/>
                  </a:cubicBezTo>
                  <a:cubicBezTo>
                    <a:pt x="294" y="402"/>
                    <a:pt x="295" y="402"/>
                    <a:pt x="297" y="401"/>
                  </a:cubicBezTo>
                  <a:cubicBezTo>
                    <a:pt x="298" y="401"/>
                    <a:pt x="298" y="401"/>
                    <a:pt x="298" y="401"/>
                  </a:cubicBezTo>
                  <a:cubicBezTo>
                    <a:pt x="299" y="401"/>
                    <a:pt x="300" y="403"/>
                    <a:pt x="301" y="403"/>
                  </a:cubicBezTo>
                  <a:cubicBezTo>
                    <a:pt x="301" y="404"/>
                    <a:pt x="301" y="404"/>
                    <a:pt x="301" y="404"/>
                  </a:cubicBezTo>
                  <a:cubicBezTo>
                    <a:pt x="301" y="404"/>
                    <a:pt x="302" y="405"/>
                    <a:pt x="302" y="405"/>
                  </a:cubicBezTo>
                  <a:cubicBezTo>
                    <a:pt x="302" y="405"/>
                    <a:pt x="302" y="405"/>
                    <a:pt x="302" y="406"/>
                  </a:cubicBezTo>
                  <a:cubicBezTo>
                    <a:pt x="302" y="407"/>
                    <a:pt x="302" y="407"/>
                    <a:pt x="305" y="409"/>
                  </a:cubicBezTo>
                  <a:cubicBezTo>
                    <a:pt x="306" y="409"/>
                    <a:pt x="307" y="410"/>
                    <a:pt x="307" y="410"/>
                  </a:cubicBezTo>
                  <a:cubicBezTo>
                    <a:pt x="308" y="410"/>
                    <a:pt x="308" y="410"/>
                    <a:pt x="308" y="411"/>
                  </a:cubicBezTo>
                  <a:cubicBezTo>
                    <a:pt x="310" y="414"/>
                    <a:pt x="310" y="414"/>
                    <a:pt x="310" y="414"/>
                  </a:cubicBezTo>
                  <a:cubicBezTo>
                    <a:pt x="310" y="413"/>
                    <a:pt x="310" y="413"/>
                    <a:pt x="310" y="413"/>
                  </a:cubicBezTo>
                  <a:cubicBezTo>
                    <a:pt x="310" y="413"/>
                    <a:pt x="311" y="414"/>
                    <a:pt x="311" y="414"/>
                  </a:cubicBezTo>
                  <a:cubicBezTo>
                    <a:pt x="312" y="415"/>
                    <a:pt x="312" y="415"/>
                    <a:pt x="313" y="415"/>
                  </a:cubicBezTo>
                  <a:cubicBezTo>
                    <a:pt x="313" y="416"/>
                    <a:pt x="314" y="417"/>
                    <a:pt x="314" y="418"/>
                  </a:cubicBezTo>
                  <a:cubicBezTo>
                    <a:pt x="315" y="418"/>
                    <a:pt x="315" y="419"/>
                    <a:pt x="315" y="419"/>
                  </a:cubicBezTo>
                  <a:cubicBezTo>
                    <a:pt x="315" y="419"/>
                    <a:pt x="315" y="420"/>
                    <a:pt x="315" y="420"/>
                  </a:cubicBezTo>
                  <a:cubicBezTo>
                    <a:pt x="315" y="420"/>
                    <a:pt x="315" y="420"/>
                    <a:pt x="315" y="420"/>
                  </a:cubicBezTo>
                  <a:cubicBezTo>
                    <a:pt x="315" y="420"/>
                    <a:pt x="315" y="422"/>
                    <a:pt x="315" y="422"/>
                  </a:cubicBezTo>
                  <a:cubicBezTo>
                    <a:pt x="314" y="422"/>
                    <a:pt x="314" y="423"/>
                    <a:pt x="314" y="423"/>
                  </a:cubicBezTo>
                  <a:cubicBezTo>
                    <a:pt x="314" y="424"/>
                    <a:pt x="313" y="425"/>
                    <a:pt x="314" y="426"/>
                  </a:cubicBezTo>
                  <a:cubicBezTo>
                    <a:pt x="314" y="426"/>
                    <a:pt x="314" y="427"/>
                    <a:pt x="313" y="428"/>
                  </a:cubicBezTo>
                  <a:cubicBezTo>
                    <a:pt x="312" y="429"/>
                    <a:pt x="313" y="430"/>
                    <a:pt x="314" y="431"/>
                  </a:cubicBezTo>
                  <a:cubicBezTo>
                    <a:pt x="313" y="431"/>
                    <a:pt x="313" y="431"/>
                    <a:pt x="313" y="432"/>
                  </a:cubicBezTo>
                  <a:cubicBezTo>
                    <a:pt x="312" y="432"/>
                    <a:pt x="312" y="434"/>
                    <a:pt x="313" y="435"/>
                  </a:cubicBezTo>
                  <a:cubicBezTo>
                    <a:pt x="313" y="436"/>
                    <a:pt x="314" y="436"/>
                    <a:pt x="315" y="437"/>
                  </a:cubicBezTo>
                  <a:cubicBezTo>
                    <a:pt x="316" y="437"/>
                    <a:pt x="316" y="437"/>
                    <a:pt x="316" y="437"/>
                  </a:cubicBezTo>
                  <a:cubicBezTo>
                    <a:pt x="316" y="438"/>
                    <a:pt x="317" y="439"/>
                    <a:pt x="318" y="439"/>
                  </a:cubicBezTo>
                  <a:cubicBezTo>
                    <a:pt x="318" y="440"/>
                    <a:pt x="319" y="441"/>
                    <a:pt x="319" y="441"/>
                  </a:cubicBezTo>
                  <a:cubicBezTo>
                    <a:pt x="319" y="441"/>
                    <a:pt x="319" y="441"/>
                    <a:pt x="319" y="441"/>
                  </a:cubicBezTo>
                  <a:cubicBezTo>
                    <a:pt x="319" y="442"/>
                    <a:pt x="319" y="442"/>
                    <a:pt x="319" y="442"/>
                  </a:cubicBezTo>
                  <a:cubicBezTo>
                    <a:pt x="319" y="442"/>
                    <a:pt x="319" y="442"/>
                    <a:pt x="319" y="442"/>
                  </a:cubicBezTo>
                  <a:cubicBezTo>
                    <a:pt x="319" y="442"/>
                    <a:pt x="319" y="442"/>
                    <a:pt x="319" y="442"/>
                  </a:cubicBezTo>
                  <a:cubicBezTo>
                    <a:pt x="320" y="444"/>
                    <a:pt x="320" y="444"/>
                    <a:pt x="320" y="444"/>
                  </a:cubicBezTo>
                  <a:cubicBezTo>
                    <a:pt x="320" y="444"/>
                    <a:pt x="320" y="444"/>
                    <a:pt x="320" y="444"/>
                  </a:cubicBezTo>
                  <a:cubicBezTo>
                    <a:pt x="320" y="444"/>
                    <a:pt x="321" y="444"/>
                    <a:pt x="321" y="445"/>
                  </a:cubicBezTo>
                  <a:cubicBezTo>
                    <a:pt x="321" y="445"/>
                    <a:pt x="321" y="446"/>
                    <a:pt x="321" y="448"/>
                  </a:cubicBezTo>
                  <a:cubicBezTo>
                    <a:pt x="321" y="448"/>
                    <a:pt x="321" y="448"/>
                    <a:pt x="321" y="448"/>
                  </a:cubicBezTo>
                  <a:cubicBezTo>
                    <a:pt x="321" y="450"/>
                    <a:pt x="322" y="450"/>
                    <a:pt x="323" y="450"/>
                  </a:cubicBezTo>
                  <a:cubicBezTo>
                    <a:pt x="323" y="450"/>
                    <a:pt x="323" y="451"/>
                    <a:pt x="324" y="451"/>
                  </a:cubicBezTo>
                  <a:cubicBezTo>
                    <a:pt x="324" y="451"/>
                    <a:pt x="324" y="452"/>
                    <a:pt x="324" y="453"/>
                  </a:cubicBezTo>
                  <a:cubicBezTo>
                    <a:pt x="324" y="453"/>
                    <a:pt x="324" y="454"/>
                    <a:pt x="325" y="455"/>
                  </a:cubicBezTo>
                  <a:cubicBezTo>
                    <a:pt x="326" y="456"/>
                    <a:pt x="327" y="456"/>
                    <a:pt x="327" y="456"/>
                  </a:cubicBezTo>
                  <a:cubicBezTo>
                    <a:pt x="326" y="456"/>
                    <a:pt x="326" y="457"/>
                    <a:pt x="325" y="458"/>
                  </a:cubicBezTo>
                  <a:cubicBezTo>
                    <a:pt x="325" y="458"/>
                    <a:pt x="324" y="460"/>
                    <a:pt x="326" y="462"/>
                  </a:cubicBezTo>
                  <a:cubicBezTo>
                    <a:pt x="326" y="462"/>
                    <a:pt x="326" y="463"/>
                    <a:pt x="326" y="463"/>
                  </a:cubicBezTo>
                  <a:cubicBezTo>
                    <a:pt x="326" y="463"/>
                    <a:pt x="327" y="463"/>
                    <a:pt x="327" y="463"/>
                  </a:cubicBezTo>
                  <a:cubicBezTo>
                    <a:pt x="327" y="463"/>
                    <a:pt x="327" y="463"/>
                    <a:pt x="327" y="464"/>
                  </a:cubicBezTo>
                  <a:cubicBezTo>
                    <a:pt x="327" y="464"/>
                    <a:pt x="327" y="464"/>
                    <a:pt x="327" y="464"/>
                  </a:cubicBezTo>
                  <a:cubicBezTo>
                    <a:pt x="327" y="465"/>
                    <a:pt x="327" y="465"/>
                    <a:pt x="327" y="466"/>
                  </a:cubicBezTo>
                  <a:cubicBezTo>
                    <a:pt x="327" y="466"/>
                    <a:pt x="327" y="467"/>
                    <a:pt x="327" y="467"/>
                  </a:cubicBezTo>
                  <a:cubicBezTo>
                    <a:pt x="327" y="468"/>
                    <a:pt x="328" y="469"/>
                    <a:pt x="328" y="469"/>
                  </a:cubicBezTo>
                  <a:cubicBezTo>
                    <a:pt x="328" y="469"/>
                    <a:pt x="328" y="469"/>
                    <a:pt x="328" y="469"/>
                  </a:cubicBezTo>
                  <a:cubicBezTo>
                    <a:pt x="329" y="470"/>
                    <a:pt x="329" y="470"/>
                    <a:pt x="329" y="470"/>
                  </a:cubicBezTo>
                  <a:cubicBezTo>
                    <a:pt x="329" y="471"/>
                    <a:pt x="329" y="471"/>
                    <a:pt x="329" y="471"/>
                  </a:cubicBezTo>
                  <a:cubicBezTo>
                    <a:pt x="329" y="471"/>
                    <a:pt x="329" y="473"/>
                    <a:pt x="331" y="473"/>
                  </a:cubicBezTo>
                  <a:cubicBezTo>
                    <a:pt x="332" y="473"/>
                    <a:pt x="332" y="473"/>
                    <a:pt x="332" y="473"/>
                  </a:cubicBezTo>
                  <a:cubicBezTo>
                    <a:pt x="333" y="473"/>
                    <a:pt x="333" y="473"/>
                    <a:pt x="333" y="473"/>
                  </a:cubicBezTo>
                  <a:cubicBezTo>
                    <a:pt x="333" y="473"/>
                    <a:pt x="333" y="473"/>
                    <a:pt x="333" y="473"/>
                  </a:cubicBezTo>
                  <a:cubicBezTo>
                    <a:pt x="332" y="473"/>
                    <a:pt x="332" y="473"/>
                    <a:pt x="332" y="473"/>
                  </a:cubicBezTo>
                  <a:cubicBezTo>
                    <a:pt x="333" y="474"/>
                    <a:pt x="333" y="474"/>
                    <a:pt x="333" y="474"/>
                  </a:cubicBezTo>
                  <a:cubicBezTo>
                    <a:pt x="333" y="474"/>
                    <a:pt x="332" y="475"/>
                    <a:pt x="333" y="475"/>
                  </a:cubicBezTo>
                  <a:cubicBezTo>
                    <a:pt x="333" y="476"/>
                    <a:pt x="334" y="477"/>
                    <a:pt x="335" y="477"/>
                  </a:cubicBezTo>
                  <a:cubicBezTo>
                    <a:pt x="336" y="477"/>
                    <a:pt x="337" y="476"/>
                    <a:pt x="337" y="475"/>
                  </a:cubicBezTo>
                  <a:cubicBezTo>
                    <a:pt x="337" y="475"/>
                    <a:pt x="337" y="475"/>
                    <a:pt x="337" y="475"/>
                  </a:cubicBezTo>
                  <a:cubicBezTo>
                    <a:pt x="337" y="476"/>
                    <a:pt x="338" y="477"/>
                    <a:pt x="339" y="477"/>
                  </a:cubicBezTo>
                  <a:cubicBezTo>
                    <a:pt x="339" y="477"/>
                    <a:pt x="340" y="476"/>
                    <a:pt x="340" y="476"/>
                  </a:cubicBezTo>
                  <a:cubicBezTo>
                    <a:pt x="341" y="475"/>
                    <a:pt x="341" y="474"/>
                    <a:pt x="341" y="473"/>
                  </a:cubicBezTo>
                  <a:cubicBezTo>
                    <a:pt x="341" y="473"/>
                    <a:pt x="341" y="473"/>
                    <a:pt x="341" y="472"/>
                  </a:cubicBezTo>
                  <a:cubicBezTo>
                    <a:pt x="341" y="472"/>
                    <a:pt x="341" y="471"/>
                    <a:pt x="340" y="470"/>
                  </a:cubicBezTo>
                  <a:cubicBezTo>
                    <a:pt x="340" y="470"/>
                    <a:pt x="340" y="470"/>
                    <a:pt x="340" y="470"/>
                  </a:cubicBezTo>
                  <a:cubicBezTo>
                    <a:pt x="340" y="469"/>
                    <a:pt x="340" y="469"/>
                    <a:pt x="340" y="469"/>
                  </a:cubicBezTo>
                  <a:cubicBezTo>
                    <a:pt x="340" y="469"/>
                    <a:pt x="340" y="468"/>
                    <a:pt x="340" y="467"/>
                  </a:cubicBezTo>
                  <a:cubicBezTo>
                    <a:pt x="341" y="467"/>
                    <a:pt x="341" y="467"/>
                    <a:pt x="342" y="467"/>
                  </a:cubicBezTo>
                  <a:cubicBezTo>
                    <a:pt x="342" y="467"/>
                    <a:pt x="343" y="466"/>
                    <a:pt x="343" y="465"/>
                  </a:cubicBezTo>
                  <a:cubicBezTo>
                    <a:pt x="343" y="465"/>
                    <a:pt x="343" y="464"/>
                    <a:pt x="343" y="464"/>
                  </a:cubicBezTo>
                  <a:cubicBezTo>
                    <a:pt x="342" y="464"/>
                    <a:pt x="342" y="463"/>
                    <a:pt x="342" y="463"/>
                  </a:cubicBezTo>
                  <a:cubicBezTo>
                    <a:pt x="341" y="464"/>
                    <a:pt x="341" y="464"/>
                    <a:pt x="341" y="464"/>
                  </a:cubicBezTo>
                  <a:cubicBezTo>
                    <a:pt x="342" y="463"/>
                    <a:pt x="342" y="463"/>
                    <a:pt x="342" y="463"/>
                  </a:cubicBezTo>
                  <a:cubicBezTo>
                    <a:pt x="342" y="463"/>
                    <a:pt x="341" y="462"/>
                    <a:pt x="341" y="462"/>
                  </a:cubicBezTo>
                  <a:cubicBezTo>
                    <a:pt x="341" y="462"/>
                    <a:pt x="341" y="462"/>
                    <a:pt x="341" y="462"/>
                  </a:cubicBezTo>
                  <a:cubicBezTo>
                    <a:pt x="341" y="462"/>
                    <a:pt x="341" y="462"/>
                    <a:pt x="341" y="462"/>
                  </a:cubicBezTo>
                  <a:cubicBezTo>
                    <a:pt x="342" y="461"/>
                    <a:pt x="342" y="461"/>
                    <a:pt x="342" y="461"/>
                  </a:cubicBezTo>
                  <a:cubicBezTo>
                    <a:pt x="342" y="461"/>
                    <a:pt x="342" y="461"/>
                    <a:pt x="343" y="462"/>
                  </a:cubicBezTo>
                  <a:cubicBezTo>
                    <a:pt x="343" y="462"/>
                    <a:pt x="343" y="462"/>
                    <a:pt x="343" y="462"/>
                  </a:cubicBezTo>
                  <a:cubicBezTo>
                    <a:pt x="344" y="462"/>
                    <a:pt x="345" y="463"/>
                    <a:pt x="345" y="463"/>
                  </a:cubicBezTo>
                  <a:cubicBezTo>
                    <a:pt x="346" y="464"/>
                    <a:pt x="346" y="464"/>
                    <a:pt x="346" y="464"/>
                  </a:cubicBezTo>
                  <a:cubicBezTo>
                    <a:pt x="346" y="465"/>
                    <a:pt x="347" y="465"/>
                    <a:pt x="347" y="465"/>
                  </a:cubicBezTo>
                  <a:cubicBezTo>
                    <a:pt x="348" y="465"/>
                    <a:pt x="348" y="464"/>
                    <a:pt x="348" y="464"/>
                  </a:cubicBezTo>
                  <a:cubicBezTo>
                    <a:pt x="349" y="463"/>
                    <a:pt x="348" y="460"/>
                    <a:pt x="348" y="460"/>
                  </a:cubicBezTo>
                  <a:cubicBezTo>
                    <a:pt x="348" y="460"/>
                    <a:pt x="348" y="460"/>
                    <a:pt x="348" y="460"/>
                  </a:cubicBezTo>
                  <a:cubicBezTo>
                    <a:pt x="348" y="460"/>
                    <a:pt x="348" y="460"/>
                    <a:pt x="348" y="460"/>
                  </a:cubicBezTo>
                  <a:cubicBezTo>
                    <a:pt x="348" y="459"/>
                    <a:pt x="348" y="459"/>
                    <a:pt x="348" y="459"/>
                  </a:cubicBezTo>
                  <a:cubicBezTo>
                    <a:pt x="348" y="460"/>
                    <a:pt x="349" y="460"/>
                    <a:pt x="349" y="460"/>
                  </a:cubicBezTo>
                  <a:cubicBezTo>
                    <a:pt x="349" y="460"/>
                    <a:pt x="349" y="460"/>
                    <a:pt x="349" y="460"/>
                  </a:cubicBezTo>
                  <a:cubicBezTo>
                    <a:pt x="349" y="460"/>
                    <a:pt x="349" y="460"/>
                    <a:pt x="350" y="460"/>
                  </a:cubicBezTo>
                  <a:cubicBezTo>
                    <a:pt x="353" y="462"/>
                    <a:pt x="353" y="462"/>
                    <a:pt x="353" y="462"/>
                  </a:cubicBezTo>
                  <a:cubicBezTo>
                    <a:pt x="352" y="459"/>
                    <a:pt x="352" y="459"/>
                    <a:pt x="352" y="459"/>
                  </a:cubicBezTo>
                  <a:cubicBezTo>
                    <a:pt x="352" y="458"/>
                    <a:pt x="351" y="457"/>
                    <a:pt x="351" y="456"/>
                  </a:cubicBezTo>
                  <a:cubicBezTo>
                    <a:pt x="351" y="456"/>
                    <a:pt x="351" y="456"/>
                    <a:pt x="351" y="456"/>
                  </a:cubicBezTo>
                  <a:cubicBezTo>
                    <a:pt x="351" y="455"/>
                    <a:pt x="350" y="455"/>
                    <a:pt x="350" y="455"/>
                  </a:cubicBezTo>
                  <a:cubicBezTo>
                    <a:pt x="350" y="455"/>
                    <a:pt x="350" y="455"/>
                    <a:pt x="350" y="454"/>
                  </a:cubicBezTo>
                  <a:cubicBezTo>
                    <a:pt x="350" y="454"/>
                    <a:pt x="350" y="454"/>
                    <a:pt x="350" y="453"/>
                  </a:cubicBezTo>
                  <a:cubicBezTo>
                    <a:pt x="350" y="453"/>
                    <a:pt x="350" y="451"/>
                    <a:pt x="348" y="451"/>
                  </a:cubicBezTo>
                  <a:cubicBezTo>
                    <a:pt x="347" y="451"/>
                    <a:pt x="347" y="451"/>
                    <a:pt x="347" y="451"/>
                  </a:cubicBezTo>
                  <a:cubicBezTo>
                    <a:pt x="347" y="451"/>
                    <a:pt x="347" y="451"/>
                    <a:pt x="347" y="452"/>
                  </a:cubicBezTo>
                  <a:cubicBezTo>
                    <a:pt x="346" y="451"/>
                    <a:pt x="346" y="451"/>
                    <a:pt x="346" y="451"/>
                  </a:cubicBezTo>
                  <a:cubicBezTo>
                    <a:pt x="346" y="451"/>
                    <a:pt x="345" y="451"/>
                    <a:pt x="345" y="451"/>
                  </a:cubicBezTo>
                  <a:cubicBezTo>
                    <a:pt x="345" y="451"/>
                    <a:pt x="345" y="451"/>
                    <a:pt x="345" y="451"/>
                  </a:cubicBezTo>
                  <a:cubicBezTo>
                    <a:pt x="345" y="451"/>
                    <a:pt x="345" y="451"/>
                    <a:pt x="344" y="450"/>
                  </a:cubicBezTo>
                  <a:cubicBezTo>
                    <a:pt x="344" y="450"/>
                    <a:pt x="344" y="450"/>
                    <a:pt x="344" y="450"/>
                  </a:cubicBezTo>
                  <a:cubicBezTo>
                    <a:pt x="344" y="449"/>
                    <a:pt x="343" y="449"/>
                    <a:pt x="343" y="448"/>
                  </a:cubicBezTo>
                  <a:cubicBezTo>
                    <a:pt x="343" y="448"/>
                    <a:pt x="343" y="448"/>
                    <a:pt x="343" y="448"/>
                  </a:cubicBezTo>
                  <a:cubicBezTo>
                    <a:pt x="344" y="447"/>
                    <a:pt x="343" y="446"/>
                    <a:pt x="343" y="446"/>
                  </a:cubicBezTo>
                  <a:cubicBezTo>
                    <a:pt x="342" y="445"/>
                    <a:pt x="342" y="444"/>
                    <a:pt x="342" y="444"/>
                  </a:cubicBezTo>
                  <a:cubicBezTo>
                    <a:pt x="342" y="443"/>
                    <a:pt x="342" y="442"/>
                    <a:pt x="342" y="442"/>
                  </a:cubicBezTo>
                  <a:cubicBezTo>
                    <a:pt x="342" y="440"/>
                    <a:pt x="341" y="439"/>
                    <a:pt x="340" y="438"/>
                  </a:cubicBezTo>
                  <a:cubicBezTo>
                    <a:pt x="340" y="438"/>
                    <a:pt x="340" y="437"/>
                    <a:pt x="339" y="435"/>
                  </a:cubicBezTo>
                  <a:cubicBezTo>
                    <a:pt x="340" y="435"/>
                    <a:pt x="340" y="435"/>
                    <a:pt x="340" y="435"/>
                  </a:cubicBezTo>
                  <a:cubicBezTo>
                    <a:pt x="340" y="435"/>
                    <a:pt x="340" y="435"/>
                    <a:pt x="340" y="435"/>
                  </a:cubicBezTo>
                  <a:cubicBezTo>
                    <a:pt x="340" y="435"/>
                    <a:pt x="340" y="436"/>
                    <a:pt x="342" y="437"/>
                  </a:cubicBezTo>
                  <a:cubicBezTo>
                    <a:pt x="342" y="437"/>
                    <a:pt x="342" y="437"/>
                    <a:pt x="342" y="437"/>
                  </a:cubicBezTo>
                  <a:cubicBezTo>
                    <a:pt x="342" y="437"/>
                    <a:pt x="342" y="437"/>
                    <a:pt x="342" y="437"/>
                  </a:cubicBezTo>
                  <a:cubicBezTo>
                    <a:pt x="341" y="437"/>
                    <a:pt x="341" y="438"/>
                    <a:pt x="342" y="439"/>
                  </a:cubicBezTo>
                  <a:cubicBezTo>
                    <a:pt x="342" y="440"/>
                    <a:pt x="344" y="441"/>
                    <a:pt x="345" y="441"/>
                  </a:cubicBezTo>
                  <a:cubicBezTo>
                    <a:pt x="345" y="441"/>
                    <a:pt x="346" y="441"/>
                    <a:pt x="346" y="441"/>
                  </a:cubicBezTo>
                  <a:cubicBezTo>
                    <a:pt x="346" y="440"/>
                    <a:pt x="346" y="440"/>
                    <a:pt x="347" y="440"/>
                  </a:cubicBezTo>
                  <a:cubicBezTo>
                    <a:pt x="347" y="440"/>
                    <a:pt x="348" y="440"/>
                    <a:pt x="349" y="439"/>
                  </a:cubicBezTo>
                  <a:cubicBezTo>
                    <a:pt x="349" y="439"/>
                    <a:pt x="349" y="438"/>
                    <a:pt x="349" y="437"/>
                  </a:cubicBezTo>
                  <a:cubicBezTo>
                    <a:pt x="349" y="437"/>
                    <a:pt x="349" y="437"/>
                    <a:pt x="349" y="437"/>
                  </a:cubicBezTo>
                  <a:cubicBezTo>
                    <a:pt x="350" y="438"/>
                    <a:pt x="350" y="438"/>
                    <a:pt x="350" y="438"/>
                  </a:cubicBezTo>
                  <a:cubicBezTo>
                    <a:pt x="350" y="438"/>
                    <a:pt x="350" y="438"/>
                    <a:pt x="350" y="438"/>
                  </a:cubicBezTo>
                  <a:cubicBezTo>
                    <a:pt x="351" y="438"/>
                    <a:pt x="351" y="437"/>
                    <a:pt x="352" y="437"/>
                  </a:cubicBezTo>
                  <a:cubicBezTo>
                    <a:pt x="352" y="435"/>
                    <a:pt x="350" y="433"/>
                    <a:pt x="349" y="433"/>
                  </a:cubicBezTo>
                  <a:cubicBezTo>
                    <a:pt x="349" y="432"/>
                    <a:pt x="349" y="432"/>
                    <a:pt x="349" y="431"/>
                  </a:cubicBezTo>
                  <a:cubicBezTo>
                    <a:pt x="349" y="431"/>
                    <a:pt x="349" y="431"/>
                    <a:pt x="349" y="431"/>
                  </a:cubicBezTo>
                  <a:cubicBezTo>
                    <a:pt x="349" y="431"/>
                    <a:pt x="349" y="431"/>
                    <a:pt x="349" y="431"/>
                  </a:cubicBezTo>
                  <a:cubicBezTo>
                    <a:pt x="349" y="431"/>
                    <a:pt x="349" y="431"/>
                    <a:pt x="349" y="431"/>
                  </a:cubicBezTo>
                  <a:cubicBezTo>
                    <a:pt x="350" y="431"/>
                    <a:pt x="351" y="431"/>
                    <a:pt x="351" y="431"/>
                  </a:cubicBezTo>
                  <a:cubicBezTo>
                    <a:pt x="351" y="430"/>
                    <a:pt x="351" y="430"/>
                    <a:pt x="351" y="430"/>
                  </a:cubicBezTo>
                  <a:cubicBezTo>
                    <a:pt x="351" y="430"/>
                    <a:pt x="351" y="430"/>
                    <a:pt x="351" y="430"/>
                  </a:cubicBezTo>
                  <a:cubicBezTo>
                    <a:pt x="352" y="430"/>
                    <a:pt x="352" y="430"/>
                    <a:pt x="352" y="430"/>
                  </a:cubicBezTo>
                  <a:cubicBezTo>
                    <a:pt x="352" y="430"/>
                    <a:pt x="352" y="430"/>
                    <a:pt x="353" y="430"/>
                  </a:cubicBezTo>
                  <a:cubicBezTo>
                    <a:pt x="354" y="431"/>
                    <a:pt x="356" y="430"/>
                    <a:pt x="357" y="429"/>
                  </a:cubicBezTo>
                  <a:cubicBezTo>
                    <a:pt x="357" y="429"/>
                    <a:pt x="357" y="429"/>
                    <a:pt x="357" y="429"/>
                  </a:cubicBezTo>
                  <a:cubicBezTo>
                    <a:pt x="358" y="430"/>
                    <a:pt x="359" y="430"/>
                    <a:pt x="359" y="430"/>
                  </a:cubicBezTo>
                  <a:cubicBezTo>
                    <a:pt x="359" y="430"/>
                    <a:pt x="359" y="430"/>
                    <a:pt x="360" y="430"/>
                  </a:cubicBezTo>
                  <a:cubicBezTo>
                    <a:pt x="360" y="430"/>
                    <a:pt x="360" y="430"/>
                    <a:pt x="361" y="430"/>
                  </a:cubicBezTo>
                  <a:cubicBezTo>
                    <a:pt x="361" y="430"/>
                    <a:pt x="361" y="430"/>
                    <a:pt x="361" y="430"/>
                  </a:cubicBezTo>
                  <a:cubicBezTo>
                    <a:pt x="362" y="431"/>
                    <a:pt x="362" y="431"/>
                    <a:pt x="362" y="432"/>
                  </a:cubicBezTo>
                  <a:cubicBezTo>
                    <a:pt x="363" y="432"/>
                    <a:pt x="363" y="432"/>
                    <a:pt x="363" y="433"/>
                  </a:cubicBezTo>
                  <a:cubicBezTo>
                    <a:pt x="364" y="433"/>
                    <a:pt x="364" y="433"/>
                    <a:pt x="365" y="433"/>
                  </a:cubicBezTo>
                  <a:cubicBezTo>
                    <a:pt x="364" y="433"/>
                    <a:pt x="364" y="433"/>
                    <a:pt x="364" y="434"/>
                  </a:cubicBezTo>
                  <a:cubicBezTo>
                    <a:pt x="364" y="434"/>
                    <a:pt x="363" y="434"/>
                    <a:pt x="363" y="434"/>
                  </a:cubicBezTo>
                  <a:cubicBezTo>
                    <a:pt x="363" y="435"/>
                    <a:pt x="363" y="435"/>
                    <a:pt x="363" y="436"/>
                  </a:cubicBezTo>
                  <a:cubicBezTo>
                    <a:pt x="363" y="437"/>
                    <a:pt x="364" y="437"/>
                    <a:pt x="364" y="437"/>
                  </a:cubicBezTo>
                  <a:cubicBezTo>
                    <a:pt x="364" y="437"/>
                    <a:pt x="363" y="437"/>
                    <a:pt x="363" y="438"/>
                  </a:cubicBezTo>
                  <a:cubicBezTo>
                    <a:pt x="362" y="439"/>
                    <a:pt x="362" y="440"/>
                    <a:pt x="362" y="441"/>
                  </a:cubicBezTo>
                  <a:cubicBezTo>
                    <a:pt x="362" y="442"/>
                    <a:pt x="362" y="442"/>
                    <a:pt x="362" y="442"/>
                  </a:cubicBezTo>
                  <a:cubicBezTo>
                    <a:pt x="362" y="443"/>
                    <a:pt x="363" y="443"/>
                    <a:pt x="363" y="444"/>
                  </a:cubicBezTo>
                  <a:cubicBezTo>
                    <a:pt x="362" y="444"/>
                    <a:pt x="361" y="445"/>
                    <a:pt x="361" y="445"/>
                  </a:cubicBezTo>
                  <a:cubicBezTo>
                    <a:pt x="360" y="446"/>
                    <a:pt x="360" y="448"/>
                    <a:pt x="361" y="448"/>
                  </a:cubicBezTo>
                  <a:cubicBezTo>
                    <a:pt x="361" y="449"/>
                    <a:pt x="362" y="449"/>
                    <a:pt x="362" y="449"/>
                  </a:cubicBezTo>
                  <a:cubicBezTo>
                    <a:pt x="362" y="449"/>
                    <a:pt x="362" y="450"/>
                    <a:pt x="363" y="450"/>
                  </a:cubicBezTo>
                  <a:cubicBezTo>
                    <a:pt x="363" y="450"/>
                    <a:pt x="364" y="450"/>
                    <a:pt x="364" y="450"/>
                  </a:cubicBezTo>
                  <a:cubicBezTo>
                    <a:pt x="364" y="450"/>
                    <a:pt x="365" y="450"/>
                    <a:pt x="365" y="450"/>
                  </a:cubicBezTo>
                  <a:cubicBezTo>
                    <a:pt x="365" y="450"/>
                    <a:pt x="366" y="450"/>
                    <a:pt x="366" y="450"/>
                  </a:cubicBezTo>
                  <a:cubicBezTo>
                    <a:pt x="366" y="450"/>
                    <a:pt x="366" y="450"/>
                    <a:pt x="367" y="451"/>
                  </a:cubicBezTo>
                  <a:cubicBezTo>
                    <a:pt x="366" y="451"/>
                    <a:pt x="366" y="451"/>
                    <a:pt x="366" y="451"/>
                  </a:cubicBezTo>
                  <a:cubicBezTo>
                    <a:pt x="366" y="451"/>
                    <a:pt x="366" y="451"/>
                    <a:pt x="365" y="451"/>
                  </a:cubicBezTo>
                  <a:cubicBezTo>
                    <a:pt x="365" y="451"/>
                    <a:pt x="364" y="452"/>
                    <a:pt x="364" y="452"/>
                  </a:cubicBezTo>
                  <a:cubicBezTo>
                    <a:pt x="363" y="453"/>
                    <a:pt x="363" y="454"/>
                    <a:pt x="363" y="455"/>
                  </a:cubicBezTo>
                  <a:cubicBezTo>
                    <a:pt x="363" y="455"/>
                    <a:pt x="363" y="455"/>
                    <a:pt x="363" y="455"/>
                  </a:cubicBezTo>
                  <a:cubicBezTo>
                    <a:pt x="363" y="455"/>
                    <a:pt x="362" y="456"/>
                    <a:pt x="362" y="456"/>
                  </a:cubicBezTo>
                  <a:cubicBezTo>
                    <a:pt x="362" y="457"/>
                    <a:pt x="362" y="458"/>
                    <a:pt x="363" y="459"/>
                  </a:cubicBezTo>
                  <a:cubicBezTo>
                    <a:pt x="364" y="460"/>
                    <a:pt x="366" y="460"/>
                    <a:pt x="367" y="460"/>
                  </a:cubicBezTo>
                  <a:cubicBezTo>
                    <a:pt x="368" y="460"/>
                    <a:pt x="368" y="460"/>
                    <a:pt x="368" y="460"/>
                  </a:cubicBezTo>
                  <a:cubicBezTo>
                    <a:pt x="368" y="460"/>
                    <a:pt x="368" y="461"/>
                    <a:pt x="368" y="461"/>
                  </a:cubicBezTo>
                  <a:cubicBezTo>
                    <a:pt x="368" y="461"/>
                    <a:pt x="367" y="462"/>
                    <a:pt x="367" y="462"/>
                  </a:cubicBezTo>
                  <a:cubicBezTo>
                    <a:pt x="367" y="462"/>
                    <a:pt x="367" y="463"/>
                    <a:pt x="368" y="464"/>
                  </a:cubicBezTo>
                  <a:cubicBezTo>
                    <a:pt x="368" y="464"/>
                    <a:pt x="368" y="465"/>
                    <a:pt x="368" y="465"/>
                  </a:cubicBezTo>
                  <a:cubicBezTo>
                    <a:pt x="368" y="465"/>
                    <a:pt x="368" y="466"/>
                    <a:pt x="368" y="466"/>
                  </a:cubicBezTo>
                  <a:cubicBezTo>
                    <a:pt x="368" y="467"/>
                    <a:pt x="369" y="467"/>
                    <a:pt x="370" y="468"/>
                  </a:cubicBezTo>
                  <a:cubicBezTo>
                    <a:pt x="369" y="468"/>
                    <a:pt x="369" y="469"/>
                    <a:pt x="369" y="469"/>
                  </a:cubicBezTo>
                  <a:cubicBezTo>
                    <a:pt x="369" y="470"/>
                    <a:pt x="370" y="470"/>
                    <a:pt x="371" y="470"/>
                  </a:cubicBezTo>
                  <a:cubicBezTo>
                    <a:pt x="370" y="471"/>
                    <a:pt x="370" y="472"/>
                    <a:pt x="370" y="472"/>
                  </a:cubicBezTo>
                  <a:cubicBezTo>
                    <a:pt x="370" y="473"/>
                    <a:pt x="372" y="474"/>
                    <a:pt x="372" y="474"/>
                  </a:cubicBezTo>
                  <a:cubicBezTo>
                    <a:pt x="372" y="474"/>
                    <a:pt x="373" y="474"/>
                    <a:pt x="373" y="474"/>
                  </a:cubicBezTo>
                  <a:cubicBezTo>
                    <a:pt x="373" y="474"/>
                    <a:pt x="373" y="474"/>
                    <a:pt x="373" y="474"/>
                  </a:cubicBezTo>
                  <a:cubicBezTo>
                    <a:pt x="374" y="474"/>
                    <a:pt x="374" y="474"/>
                    <a:pt x="374" y="474"/>
                  </a:cubicBezTo>
                  <a:cubicBezTo>
                    <a:pt x="374" y="474"/>
                    <a:pt x="374" y="474"/>
                    <a:pt x="375" y="474"/>
                  </a:cubicBezTo>
                  <a:cubicBezTo>
                    <a:pt x="375" y="474"/>
                    <a:pt x="375" y="474"/>
                    <a:pt x="375" y="474"/>
                  </a:cubicBezTo>
                  <a:cubicBezTo>
                    <a:pt x="375" y="474"/>
                    <a:pt x="375" y="474"/>
                    <a:pt x="375" y="474"/>
                  </a:cubicBezTo>
                  <a:cubicBezTo>
                    <a:pt x="376" y="474"/>
                    <a:pt x="376" y="474"/>
                    <a:pt x="376" y="474"/>
                  </a:cubicBezTo>
                  <a:cubicBezTo>
                    <a:pt x="377" y="474"/>
                    <a:pt x="377" y="474"/>
                    <a:pt x="377" y="474"/>
                  </a:cubicBezTo>
                  <a:cubicBezTo>
                    <a:pt x="377" y="474"/>
                    <a:pt x="377" y="474"/>
                    <a:pt x="377" y="474"/>
                  </a:cubicBezTo>
                  <a:cubicBezTo>
                    <a:pt x="377" y="474"/>
                    <a:pt x="378" y="474"/>
                    <a:pt x="378" y="473"/>
                  </a:cubicBezTo>
                  <a:cubicBezTo>
                    <a:pt x="379" y="473"/>
                    <a:pt x="379" y="473"/>
                    <a:pt x="379" y="473"/>
                  </a:cubicBezTo>
                  <a:cubicBezTo>
                    <a:pt x="379" y="474"/>
                    <a:pt x="380" y="475"/>
                    <a:pt x="381" y="475"/>
                  </a:cubicBezTo>
                  <a:cubicBezTo>
                    <a:pt x="381" y="475"/>
                    <a:pt x="382" y="474"/>
                    <a:pt x="382" y="474"/>
                  </a:cubicBezTo>
                  <a:cubicBezTo>
                    <a:pt x="383" y="474"/>
                    <a:pt x="383" y="476"/>
                    <a:pt x="383" y="477"/>
                  </a:cubicBezTo>
                  <a:cubicBezTo>
                    <a:pt x="383" y="477"/>
                    <a:pt x="383" y="478"/>
                    <a:pt x="384" y="478"/>
                  </a:cubicBezTo>
                  <a:cubicBezTo>
                    <a:pt x="384" y="479"/>
                    <a:pt x="385" y="479"/>
                    <a:pt x="386" y="479"/>
                  </a:cubicBezTo>
                  <a:cubicBezTo>
                    <a:pt x="386" y="479"/>
                    <a:pt x="387" y="479"/>
                    <a:pt x="387" y="479"/>
                  </a:cubicBezTo>
                  <a:cubicBezTo>
                    <a:pt x="388" y="479"/>
                    <a:pt x="388" y="479"/>
                    <a:pt x="388" y="479"/>
                  </a:cubicBezTo>
                  <a:cubicBezTo>
                    <a:pt x="388" y="479"/>
                    <a:pt x="388" y="479"/>
                    <a:pt x="389" y="479"/>
                  </a:cubicBezTo>
                  <a:cubicBezTo>
                    <a:pt x="390" y="479"/>
                    <a:pt x="390" y="478"/>
                    <a:pt x="391" y="478"/>
                  </a:cubicBezTo>
                  <a:cubicBezTo>
                    <a:pt x="391" y="478"/>
                    <a:pt x="392" y="479"/>
                    <a:pt x="393" y="479"/>
                  </a:cubicBezTo>
                  <a:cubicBezTo>
                    <a:pt x="393" y="479"/>
                    <a:pt x="393" y="479"/>
                    <a:pt x="393" y="479"/>
                  </a:cubicBezTo>
                  <a:cubicBezTo>
                    <a:pt x="393" y="479"/>
                    <a:pt x="393" y="479"/>
                    <a:pt x="393" y="479"/>
                  </a:cubicBezTo>
                  <a:cubicBezTo>
                    <a:pt x="396" y="479"/>
                    <a:pt x="397" y="475"/>
                    <a:pt x="397" y="474"/>
                  </a:cubicBezTo>
                  <a:cubicBezTo>
                    <a:pt x="397" y="474"/>
                    <a:pt x="397" y="474"/>
                    <a:pt x="397" y="474"/>
                  </a:cubicBezTo>
                  <a:cubicBezTo>
                    <a:pt x="397" y="473"/>
                    <a:pt x="397" y="473"/>
                    <a:pt x="397" y="473"/>
                  </a:cubicBezTo>
                  <a:cubicBezTo>
                    <a:pt x="397" y="473"/>
                    <a:pt x="398" y="473"/>
                    <a:pt x="398" y="473"/>
                  </a:cubicBezTo>
                  <a:cubicBezTo>
                    <a:pt x="399" y="474"/>
                    <a:pt x="401" y="474"/>
                    <a:pt x="402" y="474"/>
                  </a:cubicBezTo>
                  <a:cubicBezTo>
                    <a:pt x="402" y="474"/>
                    <a:pt x="403" y="474"/>
                    <a:pt x="403" y="474"/>
                  </a:cubicBezTo>
                  <a:cubicBezTo>
                    <a:pt x="404" y="474"/>
                    <a:pt x="405" y="475"/>
                    <a:pt x="406" y="476"/>
                  </a:cubicBezTo>
                  <a:cubicBezTo>
                    <a:pt x="406" y="477"/>
                    <a:pt x="407" y="477"/>
                    <a:pt x="407" y="478"/>
                  </a:cubicBezTo>
                  <a:cubicBezTo>
                    <a:pt x="408" y="478"/>
                    <a:pt x="408" y="478"/>
                    <a:pt x="408" y="479"/>
                  </a:cubicBezTo>
                  <a:cubicBezTo>
                    <a:pt x="409" y="480"/>
                    <a:pt x="409" y="480"/>
                    <a:pt x="410" y="480"/>
                  </a:cubicBezTo>
                  <a:cubicBezTo>
                    <a:pt x="410" y="480"/>
                    <a:pt x="410" y="480"/>
                    <a:pt x="410" y="480"/>
                  </a:cubicBezTo>
                  <a:cubicBezTo>
                    <a:pt x="411" y="480"/>
                    <a:pt x="412" y="480"/>
                    <a:pt x="412" y="480"/>
                  </a:cubicBezTo>
                  <a:cubicBezTo>
                    <a:pt x="412" y="480"/>
                    <a:pt x="412" y="480"/>
                    <a:pt x="412" y="480"/>
                  </a:cubicBezTo>
                  <a:cubicBezTo>
                    <a:pt x="413" y="480"/>
                    <a:pt x="413" y="480"/>
                    <a:pt x="413" y="480"/>
                  </a:cubicBezTo>
                  <a:cubicBezTo>
                    <a:pt x="414" y="480"/>
                    <a:pt x="414" y="479"/>
                    <a:pt x="414" y="479"/>
                  </a:cubicBezTo>
                  <a:cubicBezTo>
                    <a:pt x="414" y="479"/>
                    <a:pt x="415" y="479"/>
                    <a:pt x="415" y="479"/>
                  </a:cubicBezTo>
                  <a:cubicBezTo>
                    <a:pt x="416" y="480"/>
                    <a:pt x="417" y="479"/>
                    <a:pt x="418" y="479"/>
                  </a:cubicBezTo>
                  <a:cubicBezTo>
                    <a:pt x="418" y="479"/>
                    <a:pt x="419" y="480"/>
                    <a:pt x="419" y="480"/>
                  </a:cubicBezTo>
                  <a:cubicBezTo>
                    <a:pt x="420" y="480"/>
                    <a:pt x="421" y="480"/>
                    <a:pt x="423" y="475"/>
                  </a:cubicBezTo>
                  <a:cubicBezTo>
                    <a:pt x="423" y="475"/>
                    <a:pt x="424" y="475"/>
                    <a:pt x="425" y="475"/>
                  </a:cubicBezTo>
                  <a:cubicBezTo>
                    <a:pt x="426" y="475"/>
                    <a:pt x="426" y="474"/>
                    <a:pt x="426" y="474"/>
                  </a:cubicBezTo>
                  <a:cubicBezTo>
                    <a:pt x="426" y="474"/>
                    <a:pt x="427" y="474"/>
                    <a:pt x="427" y="474"/>
                  </a:cubicBezTo>
                  <a:cubicBezTo>
                    <a:pt x="427" y="474"/>
                    <a:pt x="427" y="474"/>
                    <a:pt x="427" y="474"/>
                  </a:cubicBezTo>
                  <a:cubicBezTo>
                    <a:pt x="427" y="475"/>
                    <a:pt x="427" y="476"/>
                    <a:pt x="430" y="476"/>
                  </a:cubicBezTo>
                  <a:cubicBezTo>
                    <a:pt x="430" y="476"/>
                    <a:pt x="430" y="476"/>
                    <a:pt x="430" y="476"/>
                  </a:cubicBezTo>
                  <a:cubicBezTo>
                    <a:pt x="430" y="476"/>
                    <a:pt x="430" y="476"/>
                    <a:pt x="431" y="476"/>
                  </a:cubicBezTo>
                  <a:cubicBezTo>
                    <a:pt x="431" y="476"/>
                    <a:pt x="431" y="476"/>
                    <a:pt x="431" y="476"/>
                  </a:cubicBezTo>
                  <a:cubicBezTo>
                    <a:pt x="431" y="476"/>
                    <a:pt x="431" y="476"/>
                    <a:pt x="431" y="476"/>
                  </a:cubicBezTo>
                  <a:cubicBezTo>
                    <a:pt x="431" y="476"/>
                    <a:pt x="431" y="477"/>
                    <a:pt x="431" y="477"/>
                  </a:cubicBezTo>
                  <a:cubicBezTo>
                    <a:pt x="433" y="477"/>
                    <a:pt x="433" y="477"/>
                    <a:pt x="433" y="477"/>
                  </a:cubicBezTo>
                  <a:cubicBezTo>
                    <a:pt x="431" y="477"/>
                    <a:pt x="431" y="477"/>
                    <a:pt x="431" y="477"/>
                  </a:cubicBezTo>
                  <a:cubicBezTo>
                    <a:pt x="432" y="478"/>
                    <a:pt x="431" y="479"/>
                    <a:pt x="431" y="480"/>
                  </a:cubicBezTo>
                  <a:cubicBezTo>
                    <a:pt x="431" y="480"/>
                    <a:pt x="431" y="480"/>
                    <a:pt x="431" y="481"/>
                  </a:cubicBezTo>
                  <a:cubicBezTo>
                    <a:pt x="431" y="483"/>
                    <a:pt x="431" y="486"/>
                    <a:pt x="432" y="487"/>
                  </a:cubicBezTo>
                  <a:cubicBezTo>
                    <a:pt x="432" y="487"/>
                    <a:pt x="432" y="488"/>
                    <a:pt x="432" y="489"/>
                  </a:cubicBezTo>
                  <a:cubicBezTo>
                    <a:pt x="431" y="490"/>
                    <a:pt x="431" y="491"/>
                    <a:pt x="431" y="492"/>
                  </a:cubicBezTo>
                  <a:cubicBezTo>
                    <a:pt x="431" y="492"/>
                    <a:pt x="431" y="493"/>
                    <a:pt x="431" y="493"/>
                  </a:cubicBezTo>
                  <a:cubicBezTo>
                    <a:pt x="431" y="494"/>
                    <a:pt x="431" y="495"/>
                    <a:pt x="431" y="495"/>
                  </a:cubicBezTo>
                  <a:cubicBezTo>
                    <a:pt x="432" y="496"/>
                    <a:pt x="432" y="496"/>
                    <a:pt x="432" y="496"/>
                  </a:cubicBezTo>
                  <a:cubicBezTo>
                    <a:pt x="430" y="495"/>
                    <a:pt x="430" y="495"/>
                    <a:pt x="430" y="495"/>
                  </a:cubicBezTo>
                  <a:cubicBezTo>
                    <a:pt x="430" y="496"/>
                    <a:pt x="430" y="496"/>
                    <a:pt x="430" y="497"/>
                  </a:cubicBezTo>
                  <a:cubicBezTo>
                    <a:pt x="430" y="497"/>
                    <a:pt x="430" y="497"/>
                    <a:pt x="430" y="497"/>
                  </a:cubicBezTo>
                  <a:cubicBezTo>
                    <a:pt x="430" y="498"/>
                    <a:pt x="428" y="501"/>
                    <a:pt x="427" y="503"/>
                  </a:cubicBezTo>
                  <a:cubicBezTo>
                    <a:pt x="427" y="503"/>
                    <a:pt x="427" y="503"/>
                    <a:pt x="427" y="503"/>
                  </a:cubicBezTo>
                  <a:cubicBezTo>
                    <a:pt x="426" y="505"/>
                    <a:pt x="426" y="506"/>
                    <a:pt x="426" y="507"/>
                  </a:cubicBezTo>
                  <a:cubicBezTo>
                    <a:pt x="426" y="507"/>
                    <a:pt x="425" y="508"/>
                    <a:pt x="425" y="509"/>
                  </a:cubicBezTo>
                  <a:cubicBezTo>
                    <a:pt x="425" y="509"/>
                    <a:pt x="425" y="509"/>
                    <a:pt x="425" y="509"/>
                  </a:cubicBezTo>
                  <a:cubicBezTo>
                    <a:pt x="425" y="511"/>
                    <a:pt x="425" y="511"/>
                    <a:pt x="425" y="511"/>
                  </a:cubicBezTo>
                  <a:cubicBezTo>
                    <a:pt x="424" y="514"/>
                    <a:pt x="423" y="516"/>
                    <a:pt x="423" y="516"/>
                  </a:cubicBezTo>
                  <a:cubicBezTo>
                    <a:pt x="423" y="518"/>
                    <a:pt x="422" y="520"/>
                    <a:pt x="422" y="521"/>
                  </a:cubicBezTo>
                  <a:cubicBezTo>
                    <a:pt x="422" y="521"/>
                    <a:pt x="422" y="521"/>
                    <a:pt x="422" y="521"/>
                  </a:cubicBezTo>
                  <a:cubicBezTo>
                    <a:pt x="421" y="523"/>
                    <a:pt x="421" y="523"/>
                    <a:pt x="421" y="523"/>
                  </a:cubicBezTo>
                  <a:cubicBezTo>
                    <a:pt x="421" y="523"/>
                    <a:pt x="421" y="523"/>
                    <a:pt x="421" y="523"/>
                  </a:cubicBezTo>
                  <a:cubicBezTo>
                    <a:pt x="421" y="524"/>
                    <a:pt x="421" y="524"/>
                    <a:pt x="421" y="524"/>
                  </a:cubicBezTo>
                  <a:cubicBezTo>
                    <a:pt x="421" y="524"/>
                    <a:pt x="421" y="524"/>
                    <a:pt x="421" y="524"/>
                  </a:cubicBezTo>
                  <a:cubicBezTo>
                    <a:pt x="420" y="524"/>
                    <a:pt x="420" y="524"/>
                    <a:pt x="420" y="524"/>
                  </a:cubicBezTo>
                  <a:cubicBezTo>
                    <a:pt x="420" y="525"/>
                    <a:pt x="420" y="525"/>
                    <a:pt x="420" y="525"/>
                  </a:cubicBezTo>
                  <a:cubicBezTo>
                    <a:pt x="420" y="525"/>
                    <a:pt x="420" y="526"/>
                    <a:pt x="420" y="526"/>
                  </a:cubicBezTo>
                  <a:cubicBezTo>
                    <a:pt x="420" y="526"/>
                    <a:pt x="420" y="526"/>
                    <a:pt x="420" y="526"/>
                  </a:cubicBezTo>
                  <a:cubicBezTo>
                    <a:pt x="419" y="526"/>
                    <a:pt x="419" y="526"/>
                    <a:pt x="418" y="526"/>
                  </a:cubicBezTo>
                  <a:cubicBezTo>
                    <a:pt x="417" y="527"/>
                    <a:pt x="415" y="527"/>
                    <a:pt x="413" y="529"/>
                  </a:cubicBezTo>
                  <a:cubicBezTo>
                    <a:pt x="413" y="529"/>
                    <a:pt x="412" y="528"/>
                    <a:pt x="412" y="528"/>
                  </a:cubicBezTo>
                  <a:cubicBezTo>
                    <a:pt x="412" y="528"/>
                    <a:pt x="412" y="528"/>
                    <a:pt x="412" y="528"/>
                  </a:cubicBezTo>
                  <a:cubicBezTo>
                    <a:pt x="411" y="528"/>
                    <a:pt x="410" y="529"/>
                    <a:pt x="410" y="530"/>
                  </a:cubicBezTo>
                  <a:cubicBezTo>
                    <a:pt x="409" y="530"/>
                    <a:pt x="408" y="529"/>
                    <a:pt x="407" y="528"/>
                  </a:cubicBezTo>
                  <a:cubicBezTo>
                    <a:pt x="405" y="527"/>
                    <a:pt x="405" y="527"/>
                    <a:pt x="405" y="527"/>
                  </a:cubicBezTo>
                  <a:cubicBezTo>
                    <a:pt x="405" y="528"/>
                    <a:pt x="405" y="528"/>
                    <a:pt x="405" y="528"/>
                  </a:cubicBezTo>
                  <a:cubicBezTo>
                    <a:pt x="405" y="528"/>
                    <a:pt x="405" y="528"/>
                    <a:pt x="404" y="528"/>
                  </a:cubicBezTo>
                  <a:cubicBezTo>
                    <a:pt x="404" y="528"/>
                    <a:pt x="404" y="528"/>
                    <a:pt x="404" y="528"/>
                  </a:cubicBezTo>
                  <a:cubicBezTo>
                    <a:pt x="404" y="528"/>
                    <a:pt x="404" y="528"/>
                    <a:pt x="404" y="528"/>
                  </a:cubicBezTo>
                  <a:cubicBezTo>
                    <a:pt x="405" y="528"/>
                    <a:pt x="405" y="528"/>
                    <a:pt x="405" y="528"/>
                  </a:cubicBezTo>
                  <a:cubicBezTo>
                    <a:pt x="405" y="527"/>
                    <a:pt x="405" y="527"/>
                    <a:pt x="405" y="527"/>
                  </a:cubicBezTo>
                  <a:cubicBezTo>
                    <a:pt x="404" y="525"/>
                    <a:pt x="403" y="525"/>
                    <a:pt x="401" y="525"/>
                  </a:cubicBezTo>
                  <a:cubicBezTo>
                    <a:pt x="401" y="526"/>
                    <a:pt x="401" y="526"/>
                    <a:pt x="401" y="526"/>
                  </a:cubicBezTo>
                  <a:cubicBezTo>
                    <a:pt x="400" y="525"/>
                    <a:pt x="400" y="525"/>
                    <a:pt x="400" y="525"/>
                  </a:cubicBezTo>
                  <a:cubicBezTo>
                    <a:pt x="400" y="525"/>
                    <a:pt x="399" y="525"/>
                    <a:pt x="398" y="524"/>
                  </a:cubicBezTo>
                  <a:cubicBezTo>
                    <a:pt x="398" y="524"/>
                    <a:pt x="398" y="524"/>
                    <a:pt x="398" y="524"/>
                  </a:cubicBezTo>
                  <a:cubicBezTo>
                    <a:pt x="397" y="524"/>
                    <a:pt x="396" y="523"/>
                    <a:pt x="394" y="523"/>
                  </a:cubicBezTo>
                  <a:cubicBezTo>
                    <a:pt x="394" y="523"/>
                    <a:pt x="394" y="523"/>
                    <a:pt x="394" y="523"/>
                  </a:cubicBezTo>
                  <a:cubicBezTo>
                    <a:pt x="394" y="523"/>
                    <a:pt x="394" y="523"/>
                    <a:pt x="394" y="523"/>
                  </a:cubicBezTo>
                  <a:cubicBezTo>
                    <a:pt x="392" y="524"/>
                    <a:pt x="392" y="524"/>
                    <a:pt x="392" y="524"/>
                  </a:cubicBezTo>
                  <a:cubicBezTo>
                    <a:pt x="392" y="524"/>
                    <a:pt x="392" y="525"/>
                    <a:pt x="391" y="525"/>
                  </a:cubicBezTo>
                  <a:cubicBezTo>
                    <a:pt x="391" y="525"/>
                    <a:pt x="391" y="525"/>
                    <a:pt x="391" y="525"/>
                  </a:cubicBezTo>
                  <a:cubicBezTo>
                    <a:pt x="391" y="526"/>
                    <a:pt x="391" y="526"/>
                    <a:pt x="391" y="526"/>
                  </a:cubicBezTo>
                  <a:cubicBezTo>
                    <a:pt x="390" y="525"/>
                    <a:pt x="390" y="525"/>
                    <a:pt x="390" y="525"/>
                  </a:cubicBezTo>
                  <a:cubicBezTo>
                    <a:pt x="390" y="525"/>
                    <a:pt x="390" y="525"/>
                    <a:pt x="390" y="525"/>
                  </a:cubicBezTo>
                  <a:cubicBezTo>
                    <a:pt x="389" y="525"/>
                    <a:pt x="389" y="525"/>
                    <a:pt x="388" y="525"/>
                  </a:cubicBezTo>
                  <a:cubicBezTo>
                    <a:pt x="386" y="526"/>
                    <a:pt x="385" y="527"/>
                    <a:pt x="383" y="528"/>
                  </a:cubicBezTo>
                  <a:cubicBezTo>
                    <a:pt x="383" y="528"/>
                    <a:pt x="383" y="528"/>
                    <a:pt x="383" y="529"/>
                  </a:cubicBezTo>
                  <a:cubicBezTo>
                    <a:pt x="382" y="529"/>
                    <a:pt x="382" y="529"/>
                    <a:pt x="382" y="529"/>
                  </a:cubicBezTo>
                  <a:cubicBezTo>
                    <a:pt x="382" y="529"/>
                    <a:pt x="381" y="529"/>
                    <a:pt x="380" y="529"/>
                  </a:cubicBezTo>
                  <a:cubicBezTo>
                    <a:pt x="380" y="529"/>
                    <a:pt x="379" y="529"/>
                    <a:pt x="379" y="529"/>
                  </a:cubicBezTo>
                  <a:cubicBezTo>
                    <a:pt x="379" y="529"/>
                    <a:pt x="378" y="528"/>
                    <a:pt x="378" y="528"/>
                  </a:cubicBezTo>
                  <a:cubicBezTo>
                    <a:pt x="377" y="528"/>
                    <a:pt x="376" y="528"/>
                    <a:pt x="375" y="528"/>
                  </a:cubicBezTo>
                  <a:cubicBezTo>
                    <a:pt x="374" y="528"/>
                    <a:pt x="374" y="528"/>
                    <a:pt x="374" y="528"/>
                  </a:cubicBezTo>
                  <a:cubicBezTo>
                    <a:pt x="374" y="528"/>
                    <a:pt x="373" y="528"/>
                    <a:pt x="373" y="528"/>
                  </a:cubicBezTo>
                  <a:cubicBezTo>
                    <a:pt x="373" y="527"/>
                    <a:pt x="373" y="527"/>
                    <a:pt x="373" y="527"/>
                  </a:cubicBezTo>
                  <a:cubicBezTo>
                    <a:pt x="372" y="527"/>
                    <a:pt x="372" y="526"/>
                    <a:pt x="371" y="526"/>
                  </a:cubicBezTo>
                  <a:cubicBezTo>
                    <a:pt x="371" y="526"/>
                    <a:pt x="371" y="526"/>
                    <a:pt x="371" y="526"/>
                  </a:cubicBezTo>
                  <a:cubicBezTo>
                    <a:pt x="370" y="526"/>
                    <a:pt x="370" y="526"/>
                    <a:pt x="370" y="526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0" y="527"/>
                    <a:pt x="370" y="527"/>
                    <a:pt x="370" y="527"/>
                  </a:cubicBezTo>
                  <a:cubicBezTo>
                    <a:pt x="370" y="526"/>
                    <a:pt x="370" y="526"/>
                    <a:pt x="370" y="526"/>
                  </a:cubicBezTo>
                  <a:cubicBezTo>
                    <a:pt x="368" y="526"/>
                    <a:pt x="368" y="526"/>
                    <a:pt x="368" y="526"/>
                  </a:cubicBezTo>
                  <a:cubicBezTo>
                    <a:pt x="367" y="526"/>
                    <a:pt x="366" y="525"/>
                    <a:pt x="365" y="525"/>
                  </a:cubicBezTo>
                  <a:cubicBezTo>
                    <a:pt x="364" y="525"/>
                    <a:pt x="363" y="524"/>
                    <a:pt x="362" y="524"/>
                  </a:cubicBezTo>
                  <a:cubicBezTo>
                    <a:pt x="361" y="524"/>
                    <a:pt x="360" y="524"/>
                    <a:pt x="359" y="523"/>
                  </a:cubicBezTo>
                  <a:cubicBezTo>
                    <a:pt x="358" y="523"/>
                    <a:pt x="357" y="523"/>
                    <a:pt x="355" y="523"/>
                  </a:cubicBezTo>
                  <a:cubicBezTo>
                    <a:pt x="355" y="523"/>
                    <a:pt x="354" y="523"/>
                    <a:pt x="353" y="523"/>
                  </a:cubicBezTo>
                  <a:cubicBezTo>
                    <a:pt x="353" y="523"/>
                    <a:pt x="352" y="523"/>
                    <a:pt x="352" y="522"/>
                  </a:cubicBezTo>
                  <a:cubicBezTo>
                    <a:pt x="352" y="522"/>
                    <a:pt x="352" y="522"/>
                    <a:pt x="352" y="522"/>
                  </a:cubicBezTo>
                  <a:cubicBezTo>
                    <a:pt x="352" y="522"/>
                    <a:pt x="352" y="522"/>
                    <a:pt x="352" y="522"/>
                  </a:cubicBezTo>
                  <a:cubicBezTo>
                    <a:pt x="352" y="522"/>
                    <a:pt x="352" y="522"/>
                    <a:pt x="352" y="522"/>
                  </a:cubicBezTo>
                  <a:cubicBezTo>
                    <a:pt x="352" y="521"/>
                    <a:pt x="352" y="521"/>
                    <a:pt x="351" y="521"/>
                  </a:cubicBezTo>
                  <a:cubicBezTo>
                    <a:pt x="351" y="521"/>
                    <a:pt x="351" y="521"/>
                    <a:pt x="351" y="521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51" y="520"/>
                    <a:pt x="351" y="520"/>
                    <a:pt x="351" y="520"/>
                  </a:cubicBezTo>
                  <a:cubicBezTo>
                    <a:pt x="350" y="519"/>
                    <a:pt x="349" y="519"/>
                    <a:pt x="349" y="519"/>
                  </a:cubicBezTo>
                  <a:cubicBezTo>
                    <a:pt x="348" y="519"/>
                    <a:pt x="348" y="519"/>
                    <a:pt x="347" y="519"/>
                  </a:cubicBezTo>
                  <a:cubicBezTo>
                    <a:pt x="347" y="519"/>
                    <a:pt x="347" y="519"/>
                    <a:pt x="347" y="519"/>
                  </a:cubicBezTo>
                  <a:cubicBezTo>
                    <a:pt x="346" y="519"/>
                    <a:pt x="346" y="519"/>
                    <a:pt x="345" y="519"/>
                  </a:cubicBezTo>
                  <a:cubicBezTo>
                    <a:pt x="344" y="518"/>
                    <a:pt x="342" y="517"/>
                    <a:pt x="341" y="517"/>
                  </a:cubicBezTo>
                  <a:cubicBezTo>
                    <a:pt x="341" y="517"/>
                    <a:pt x="341" y="517"/>
                    <a:pt x="340" y="517"/>
                  </a:cubicBezTo>
                  <a:cubicBezTo>
                    <a:pt x="340" y="517"/>
                    <a:pt x="340" y="517"/>
                    <a:pt x="340" y="517"/>
                  </a:cubicBezTo>
                  <a:cubicBezTo>
                    <a:pt x="339" y="517"/>
                    <a:pt x="338" y="517"/>
                    <a:pt x="338" y="517"/>
                  </a:cubicBezTo>
                  <a:cubicBezTo>
                    <a:pt x="338" y="517"/>
                    <a:pt x="338" y="516"/>
                    <a:pt x="338" y="516"/>
                  </a:cubicBezTo>
                  <a:cubicBezTo>
                    <a:pt x="338" y="515"/>
                    <a:pt x="338" y="515"/>
                    <a:pt x="338" y="515"/>
                  </a:cubicBezTo>
                  <a:cubicBezTo>
                    <a:pt x="338" y="513"/>
                    <a:pt x="336" y="512"/>
                    <a:pt x="335" y="512"/>
                  </a:cubicBezTo>
                  <a:cubicBezTo>
                    <a:pt x="335" y="512"/>
                    <a:pt x="335" y="512"/>
                    <a:pt x="335" y="512"/>
                  </a:cubicBezTo>
                  <a:cubicBezTo>
                    <a:pt x="334" y="511"/>
                    <a:pt x="333" y="511"/>
                    <a:pt x="332" y="511"/>
                  </a:cubicBezTo>
                  <a:cubicBezTo>
                    <a:pt x="331" y="510"/>
                    <a:pt x="330" y="510"/>
                    <a:pt x="329" y="510"/>
                  </a:cubicBezTo>
                  <a:cubicBezTo>
                    <a:pt x="327" y="510"/>
                    <a:pt x="326" y="509"/>
                    <a:pt x="324" y="510"/>
                  </a:cubicBezTo>
                  <a:cubicBezTo>
                    <a:pt x="324" y="510"/>
                    <a:pt x="323" y="510"/>
                    <a:pt x="323" y="510"/>
                  </a:cubicBezTo>
                  <a:cubicBezTo>
                    <a:pt x="322" y="511"/>
                    <a:pt x="322" y="511"/>
                    <a:pt x="321" y="511"/>
                  </a:cubicBezTo>
                  <a:cubicBezTo>
                    <a:pt x="321" y="511"/>
                    <a:pt x="320" y="511"/>
                    <a:pt x="320" y="511"/>
                  </a:cubicBezTo>
                  <a:cubicBezTo>
                    <a:pt x="319" y="511"/>
                    <a:pt x="319" y="511"/>
                    <a:pt x="318" y="511"/>
                  </a:cubicBezTo>
                  <a:cubicBezTo>
                    <a:pt x="317" y="512"/>
                    <a:pt x="316" y="513"/>
                    <a:pt x="315" y="513"/>
                  </a:cubicBezTo>
                  <a:cubicBezTo>
                    <a:pt x="314" y="514"/>
                    <a:pt x="314" y="514"/>
                    <a:pt x="313" y="514"/>
                  </a:cubicBezTo>
                  <a:cubicBezTo>
                    <a:pt x="313" y="515"/>
                    <a:pt x="312" y="515"/>
                    <a:pt x="312" y="516"/>
                  </a:cubicBezTo>
                  <a:cubicBezTo>
                    <a:pt x="311" y="517"/>
                    <a:pt x="310" y="518"/>
                    <a:pt x="310" y="519"/>
                  </a:cubicBezTo>
                  <a:cubicBezTo>
                    <a:pt x="310" y="520"/>
                    <a:pt x="310" y="522"/>
                    <a:pt x="310" y="523"/>
                  </a:cubicBezTo>
                  <a:cubicBezTo>
                    <a:pt x="310" y="524"/>
                    <a:pt x="310" y="525"/>
                    <a:pt x="310" y="526"/>
                  </a:cubicBezTo>
                  <a:cubicBezTo>
                    <a:pt x="310" y="527"/>
                    <a:pt x="310" y="527"/>
                    <a:pt x="310" y="527"/>
                  </a:cubicBezTo>
                  <a:cubicBezTo>
                    <a:pt x="311" y="528"/>
                    <a:pt x="311" y="530"/>
                    <a:pt x="310" y="531"/>
                  </a:cubicBezTo>
                  <a:cubicBezTo>
                    <a:pt x="310" y="531"/>
                    <a:pt x="310" y="531"/>
                    <a:pt x="310" y="531"/>
                  </a:cubicBezTo>
                  <a:cubicBezTo>
                    <a:pt x="310" y="531"/>
                    <a:pt x="310" y="532"/>
                    <a:pt x="310" y="532"/>
                  </a:cubicBezTo>
                  <a:cubicBezTo>
                    <a:pt x="310" y="532"/>
                    <a:pt x="310" y="532"/>
                    <a:pt x="310" y="532"/>
                  </a:cubicBezTo>
                  <a:cubicBezTo>
                    <a:pt x="309" y="532"/>
                    <a:pt x="309" y="533"/>
                    <a:pt x="309" y="533"/>
                  </a:cubicBezTo>
                  <a:cubicBezTo>
                    <a:pt x="308" y="534"/>
                    <a:pt x="308" y="534"/>
                    <a:pt x="308" y="534"/>
                  </a:cubicBezTo>
                  <a:cubicBezTo>
                    <a:pt x="308" y="534"/>
                    <a:pt x="308" y="534"/>
                    <a:pt x="308" y="534"/>
                  </a:cubicBezTo>
                  <a:cubicBezTo>
                    <a:pt x="308" y="535"/>
                    <a:pt x="307" y="535"/>
                    <a:pt x="306" y="535"/>
                  </a:cubicBezTo>
                  <a:cubicBezTo>
                    <a:pt x="305" y="535"/>
                    <a:pt x="305" y="535"/>
                    <a:pt x="305" y="535"/>
                  </a:cubicBezTo>
                  <a:cubicBezTo>
                    <a:pt x="303" y="535"/>
                    <a:pt x="302" y="534"/>
                    <a:pt x="301" y="532"/>
                  </a:cubicBezTo>
                  <a:cubicBezTo>
                    <a:pt x="301" y="532"/>
                    <a:pt x="300" y="531"/>
                    <a:pt x="299" y="530"/>
                  </a:cubicBezTo>
                  <a:cubicBezTo>
                    <a:pt x="299" y="530"/>
                    <a:pt x="299" y="530"/>
                    <a:pt x="299" y="530"/>
                  </a:cubicBezTo>
                  <a:cubicBezTo>
                    <a:pt x="298" y="530"/>
                    <a:pt x="298" y="529"/>
                    <a:pt x="297" y="529"/>
                  </a:cubicBezTo>
                  <a:cubicBezTo>
                    <a:pt x="297" y="529"/>
                    <a:pt x="296" y="529"/>
                    <a:pt x="295" y="529"/>
                  </a:cubicBezTo>
                  <a:cubicBezTo>
                    <a:pt x="295" y="529"/>
                    <a:pt x="295" y="528"/>
                    <a:pt x="294" y="528"/>
                  </a:cubicBezTo>
                  <a:cubicBezTo>
                    <a:pt x="290" y="526"/>
                    <a:pt x="290" y="526"/>
                    <a:pt x="290" y="526"/>
                  </a:cubicBezTo>
                  <a:cubicBezTo>
                    <a:pt x="290" y="526"/>
                    <a:pt x="290" y="526"/>
                    <a:pt x="289" y="526"/>
                  </a:cubicBezTo>
                  <a:cubicBezTo>
                    <a:pt x="289" y="526"/>
                    <a:pt x="289" y="526"/>
                    <a:pt x="288" y="526"/>
                  </a:cubicBezTo>
                  <a:cubicBezTo>
                    <a:pt x="288" y="525"/>
                    <a:pt x="287" y="525"/>
                    <a:pt x="286" y="525"/>
                  </a:cubicBezTo>
                  <a:cubicBezTo>
                    <a:pt x="286" y="525"/>
                    <a:pt x="285" y="525"/>
                    <a:pt x="285" y="525"/>
                  </a:cubicBezTo>
                  <a:cubicBezTo>
                    <a:pt x="285" y="525"/>
                    <a:pt x="284" y="525"/>
                    <a:pt x="284" y="525"/>
                  </a:cubicBezTo>
                  <a:cubicBezTo>
                    <a:pt x="283" y="525"/>
                    <a:pt x="283" y="525"/>
                    <a:pt x="282" y="524"/>
                  </a:cubicBezTo>
                  <a:cubicBezTo>
                    <a:pt x="282" y="524"/>
                    <a:pt x="281" y="524"/>
                    <a:pt x="281" y="523"/>
                  </a:cubicBezTo>
                  <a:cubicBezTo>
                    <a:pt x="280" y="523"/>
                    <a:pt x="280" y="523"/>
                    <a:pt x="280" y="522"/>
                  </a:cubicBezTo>
                  <a:cubicBezTo>
                    <a:pt x="280" y="522"/>
                    <a:pt x="280" y="521"/>
                    <a:pt x="280" y="521"/>
                  </a:cubicBezTo>
                  <a:cubicBezTo>
                    <a:pt x="280" y="521"/>
                    <a:pt x="280" y="521"/>
                    <a:pt x="280" y="521"/>
                  </a:cubicBezTo>
                  <a:cubicBezTo>
                    <a:pt x="279" y="520"/>
                    <a:pt x="279" y="520"/>
                    <a:pt x="279" y="519"/>
                  </a:cubicBezTo>
                  <a:cubicBezTo>
                    <a:pt x="279" y="519"/>
                    <a:pt x="279" y="518"/>
                    <a:pt x="279" y="518"/>
                  </a:cubicBezTo>
                  <a:cubicBezTo>
                    <a:pt x="279" y="517"/>
                    <a:pt x="279" y="517"/>
                    <a:pt x="279" y="517"/>
                  </a:cubicBezTo>
                  <a:cubicBezTo>
                    <a:pt x="279" y="516"/>
                    <a:pt x="279" y="516"/>
                    <a:pt x="279" y="516"/>
                  </a:cubicBezTo>
                  <a:cubicBezTo>
                    <a:pt x="279" y="514"/>
                    <a:pt x="278" y="514"/>
                    <a:pt x="277" y="514"/>
                  </a:cubicBezTo>
                  <a:cubicBezTo>
                    <a:pt x="277" y="514"/>
                    <a:pt x="277" y="514"/>
                    <a:pt x="276" y="513"/>
                  </a:cubicBezTo>
                  <a:cubicBezTo>
                    <a:pt x="276" y="513"/>
                    <a:pt x="276" y="513"/>
                    <a:pt x="276" y="513"/>
                  </a:cubicBezTo>
                  <a:cubicBezTo>
                    <a:pt x="275" y="513"/>
                    <a:pt x="275" y="513"/>
                    <a:pt x="275" y="513"/>
                  </a:cubicBezTo>
                  <a:cubicBezTo>
                    <a:pt x="274" y="513"/>
                    <a:pt x="274" y="512"/>
                    <a:pt x="273" y="512"/>
                  </a:cubicBezTo>
                  <a:cubicBezTo>
                    <a:pt x="273" y="512"/>
                    <a:pt x="272" y="512"/>
                    <a:pt x="272" y="511"/>
                  </a:cubicBezTo>
                  <a:cubicBezTo>
                    <a:pt x="271" y="512"/>
                    <a:pt x="271" y="512"/>
                    <a:pt x="271" y="512"/>
                  </a:cubicBezTo>
                  <a:cubicBezTo>
                    <a:pt x="271" y="511"/>
                    <a:pt x="271" y="511"/>
                    <a:pt x="271" y="511"/>
                  </a:cubicBezTo>
                  <a:cubicBezTo>
                    <a:pt x="271" y="511"/>
                    <a:pt x="271" y="511"/>
                    <a:pt x="270" y="510"/>
                  </a:cubicBezTo>
                  <a:cubicBezTo>
                    <a:pt x="270" y="510"/>
                    <a:pt x="270" y="510"/>
                    <a:pt x="269" y="510"/>
                  </a:cubicBezTo>
                  <a:cubicBezTo>
                    <a:pt x="269" y="510"/>
                    <a:pt x="269" y="510"/>
                    <a:pt x="269" y="510"/>
                  </a:cubicBezTo>
                  <a:cubicBezTo>
                    <a:pt x="268" y="510"/>
                    <a:pt x="268" y="509"/>
                    <a:pt x="267" y="509"/>
                  </a:cubicBezTo>
                  <a:cubicBezTo>
                    <a:pt x="267" y="509"/>
                    <a:pt x="267" y="509"/>
                    <a:pt x="266" y="508"/>
                  </a:cubicBezTo>
                  <a:cubicBezTo>
                    <a:pt x="265" y="508"/>
                    <a:pt x="264" y="508"/>
                    <a:pt x="263" y="508"/>
                  </a:cubicBezTo>
                  <a:cubicBezTo>
                    <a:pt x="262" y="508"/>
                    <a:pt x="261" y="508"/>
                    <a:pt x="261" y="508"/>
                  </a:cubicBezTo>
                  <a:cubicBezTo>
                    <a:pt x="260" y="508"/>
                    <a:pt x="259" y="508"/>
                    <a:pt x="259" y="508"/>
                  </a:cubicBezTo>
                  <a:cubicBezTo>
                    <a:pt x="258" y="508"/>
                    <a:pt x="258" y="508"/>
                    <a:pt x="258" y="508"/>
                  </a:cubicBezTo>
                  <a:cubicBezTo>
                    <a:pt x="258" y="508"/>
                    <a:pt x="258" y="508"/>
                    <a:pt x="257" y="508"/>
                  </a:cubicBezTo>
                  <a:cubicBezTo>
                    <a:pt x="257" y="508"/>
                    <a:pt x="257" y="508"/>
                    <a:pt x="257" y="508"/>
                  </a:cubicBezTo>
                  <a:cubicBezTo>
                    <a:pt x="256" y="508"/>
                    <a:pt x="256" y="508"/>
                    <a:pt x="256" y="508"/>
                  </a:cubicBezTo>
                  <a:cubicBezTo>
                    <a:pt x="256" y="508"/>
                    <a:pt x="255" y="508"/>
                    <a:pt x="255" y="508"/>
                  </a:cubicBezTo>
                  <a:cubicBezTo>
                    <a:pt x="255" y="508"/>
                    <a:pt x="255" y="507"/>
                    <a:pt x="255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4" y="507"/>
                    <a:pt x="254" y="507"/>
                    <a:pt x="254" y="507"/>
                  </a:cubicBezTo>
                  <a:cubicBezTo>
                    <a:pt x="253" y="505"/>
                    <a:pt x="252" y="505"/>
                    <a:pt x="251" y="505"/>
                  </a:cubicBezTo>
                  <a:cubicBezTo>
                    <a:pt x="251" y="505"/>
                    <a:pt x="250" y="505"/>
                    <a:pt x="250" y="505"/>
                  </a:cubicBezTo>
                  <a:cubicBezTo>
                    <a:pt x="250" y="505"/>
                    <a:pt x="250" y="505"/>
                    <a:pt x="250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4"/>
                    <a:pt x="249" y="504"/>
                    <a:pt x="249" y="504"/>
                  </a:cubicBezTo>
                  <a:cubicBezTo>
                    <a:pt x="249" y="504"/>
                    <a:pt x="249" y="504"/>
                    <a:pt x="249" y="504"/>
                  </a:cubicBezTo>
                  <a:cubicBezTo>
                    <a:pt x="249" y="504"/>
                    <a:pt x="249" y="504"/>
                    <a:pt x="249" y="503"/>
                  </a:cubicBezTo>
                  <a:cubicBezTo>
                    <a:pt x="249" y="503"/>
                    <a:pt x="249" y="503"/>
                    <a:pt x="249" y="503"/>
                  </a:cubicBezTo>
                  <a:cubicBezTo>
                    <a:pt x="249" y="502"/>
                    <a:pt x="249" y="502"/>
                    <a:pt x="249" y="502"/>
                  </a:cubicBezTo>
                  <a:cubicBezTo>
                    <a:pt x="249" y="501"/>
                    <a:pt x="249" y="501"/>
                    <a:pt x="249" y="500"/>
                  </a:cubicBezTo>
                  <a:cubicBezTo>
                    <a:pt x="248" y="499"/>
                    <a:pt x="246" y="499"/>
                    <a:pt x="246" y="500"/>
                  </a:cubicBezTo>
                  <a:cubicBezTo>
                    <a:pt x="245" y="501"/>
                    <a:pt x="245" y="501"/>
                    <a:pt x="245" y="501"/>
                  </a:cubicBezTo>
                  <a:cubicBezTo>
                    <a:pt x="245" y="500"/>
                    <a:pt x="244" y="500"/>
                    <a:pt x="243" y="500"/>
                  </a:cubicBezTo>
                  <a:cubicBezTo>
                    <a:pt x="243" y="500"/>
                    <a:pt x="243" y="500"/>
                    <a:pt x="243" y="500"/>
                  </a:cubicBezTo>
                  <a:cubicBezTo>
                    <a:pt x="243" y="500"/>
                    <a:pt x="243" y="499"/>
                    <a:pt x="242" y="499"/>
                  </a:cubicBezTo>
                  <a:cubicBezTo>
                    <a:pt x="242" y="499"/>
                    <a:pt x="242" y="499"/>
                    <a:pt x="242" y="499"/>
                  </a:cubicBezTo>
                  <a:cubicBezTo>
                    <a:pt x="242" y="499"/>
                    <a:pt x="242" y="499"/>
                    <a:pt x="242" y="499"/>
                  </a:cubicBezTo>
                  <a:cubicBezTo>
                    <a:pt x="242" y="498"/>
                    <a:pt x="242" y="498"/>
                    <a:pt x="242" y="498"/>
                  </a:cubicBezTo>
                  <a:cubicBezTo>
                    <a:pt x="242" y="498"/>
                    <a:pt x="242" y="498"/>
                    <a:pt x="242" y="497"/>
                  </a:cubicBezTo>
                  <a:cubicBezTo>
                    <a:pt x="242" y="497"/>
                    <a:pt x="242" y="497"/>
                    <a:pt x="242" y="496"/>
                  </a:cubicBezTo>
                  <a:cubicBezTo>
                    <a:pt x="242" y="496"/>
                    <a:pt x="242" y="496"/>
                    <a:pt x="242" y="496"/>
                  </a:cubicBezTo>
                  <a:cubicBezTo>
                    <a:pt x="243" y="496"/>
                    <a:pt x="244" y="496"/>
                    <a:pt x="244" y="495"/>
                  </a:cubicBezTo>
                  <a:cubicBezTo>
                    <a:pt x="245" y="495"/>
                    <a:pt x="245" y="494"/>
                    <a:pt x="246" y="493"/>
                  </a:cubicBezTo>
                  <a:cubicBezTo>
                    <a:pt x="246" y="493"/>
                    <a:pt x="246" y="493"/>
                    <a:pt x="246" y="493"/>
                  </a:cubicBezTo>
                  <a:cubicBezTo>
                    <a:pt x="246" y="493"/>
                    <a:pt x="246" y="493"/>
                    <a:pt x="246" y="492"/>
                  </a:cubicBezTo>
                  <a:cubicBezTo>
                    <a:pt x="247" y="492"/>
                    <a:pt x="247" y="492"/>
                    <a:pt x="247" y="491"/>
                  </a:cubicBezTo>
                  <a:cubicBezTo>
                    <a:pt x="247" y="491"/>
                    <a:pt x="247" y="491"/>
                    <a:pt x="247" y="491"/>
                  </a:cubicBezTo>
                  <a:cubicBezTo>
                    <a:pt x="247" y="490"/>
                    <a:pt x="248" y="490"/>
                    <a:pt x="248" y="489"/>
                  </a:cubicBezTo>
                  <a:cubicBezTo>
                    <a:pt x="249" y="489"/>
                    <a:pt x="249" y="489"/>
                    <a:pt x="249" y="489"/>
                  </a:cubicBezTo>
                  <a:cubicBezTo>
                    <a:pt x="250" y="488"/>
                    <a:pt x="250" y="486"/>
                    <a:pt x="250" y="485"/>
                  </a:cubicBezTo>
                  <a:cubicBezTo>
                    <a:pt x="250" y="483"/>
                    <a:pt x="250" y="482"/>
                    <a:pt x="249" y="480"/>
                  </a:cubicBezTo>
                  <a:cubicBezTo>
                    <a:pt x="249" y="480"/>
                    <a:pt x="249" y="480"/>
                    <a:pt x="248" y="480"/>
                  </a:cubicBezTo>
                  <a:cubicBezTo>
                    <a:pt x="248" y="479"/>
                    <a:pt x="248" y="479"/>
                    <a:pt x="248" y="479"/>
                  </a:cubicBezTo>
                  <a:cubicBezTo>
                    <a:pt x="247" y="478"/>
                    <a:pt x="248" y="477"/>
                    <a:pt x="248" y="476"/>
                  </a:cubicBezTo>
                  <a:cubicBezTo>
                    <a:pt x="248" y="476"/>
                    <a:pt x="248" y="476"/>
                    <a:pt x="248" y="476"/>
                  </a:cubicBezTo>
                  <a:cubicBezTo>
                    <a:pt x="248" y="475"/>
                    <a:pt x="248" y="475"/>
                    <a:pt x="248" y="475"/>
                  </a:cubicBezTo>
                  <a:cubicBezTo>
                    <a:pt x="248" y="475"/>
                    <a:pt x="249" y="474"/>
                    <a:pt x="249" y="474"/>
                  </a:cubicBezTo>
                  <a:cubicBezTo>
                    <a:pt x="249" y="474"/>
                    <a:pt x="249" y="474"/>
                    <a:pt x="249" y="474"/>
                  </a:cubicBezTo>
                  <a:cubicBezTo>
                    <a:pt x="249" y="473"/>
                    <a:pt x="250" y="473"/>
                    <a:pt x="250" y="473"/>
                  </a:cubicBezTo>
                  <a:cubicBezTo>
                    <a:pt x="250" y="472"/>
                    <a:pt x="250" y="472"/>
                    <a:pt x="250" y="472"/>
                  </a:cubicBezTo>
                  <a:cubicBezTo>
                    <a:pt x="251" y="472"/>
                    <a:pt x="251" y="471"/>
                    <a:pt x="251" y="470"/>
                  </a:cubicBezTo>
                  <a:cubicBezTo>
                    <a:pt x="251" y="470"/>
                    <a:pt x="252" y="469"/>
                    <a:pt x="252" y="468"/>
                  </a:cubicBezTo>
                  <a:cubicBezTo>
                    <a:pt x="252" y="467"/>
                    <a:pt x="251" y="466"/>
                    <a:pt x="250" y="466"/>
                  </a:cubicBezTo>
                  <a:cubicBezTo>
                    <a:pt x="249" y="466"/>
                    <a:pt x="249" y="466"/>
                    <a:pt x="249" y="466"/>
                  </a:cubicBezTo>
                  <a:cubicBezTo>
                    <a:pt x="248" y="466"/>
                    <a:pt x="247" y="466"/>
                    <a:pt x="246" y="467"/>
                  </a:cubicBezTo>
                  <a:cubicBezTo>
                    <a:pt x="246" y="467"/>
                    <a:pt x="246" y="467"/>
                    <a:pt x="246" y="467"/>
                  </a:cubicBezTo>
                  <a:cubicBezTo>
                    <a:pt x="246" y="468"/>
                    <a:pt x="245" y="468"/>
                    <a:pt x="245" y="468"/>
                  </a:cubicBezTo>
                  <a:cubicBezTo>
                    <a:pt x="245" y="468"/>
                    <a:pt x="244" y="468"/>
                    <a:pt x="244" y="468"/>
                  </a:cubicBezTo>
                  <a:cubicBezTo>
                    <a:pt x="244" y="468"/>
                    <a:pt x="245" y="467"/>
                    <a:pt x="245" y="467"/>
                  </a:cubicBezTo>
                  <a:cubicBezTo>
                    <a:pt x="245" y="467"/>
                    <a:pt x="246" y="466"/>
                    <a:pt x="246" y="465"/>
                  </a:cubicBezTo>
                  <a:cubicBezTo>
                    <a:pt x="246" y="465"/>
                    <a:pt x="245" y="463"/>
                    <a:pt x="242" y="463"/>
                  </a:cubicBezTo>
                  <a:cubicBezTo>
                    <a:pt x="242" y="463"/>
                    <a:pt x="242" y="463"/>
                    <a:pt x="242" y="463"/>
                  </a:cubicBezTo>
                  <a:cubicBezTo>
                    <a:pt x="241" y="463"/>
                    <a:pt x="241" y="463"/>
                    <a:pt x="240" y="463"/>
                  </a:cubicBezTo>
                  <a:cubicBezTo>
                    <a:pt x="240" y="463"/>
                    <a:pt x="239" y="463"/>
                    <a:pt x="239" y="463"/>
                  </a:cubicBezTo>
                  <a:cubicBezTo>
                    <a:pt x="237" y="463"/>
                    <a:pt x="236" y="464"/>
                    <a:pt x="235" y="464"/>
                  </a:cubicBezTo>
                  <a:cubicBezTo>
                    <a:pt x="235" y="464"/>
                    <a:pt x="234" y="465"/>
                    <a:pt x="234" y="465"/>
                  </a:cubicBezTo>
                  <a:cubicBezTo>
                    <a:pt x="233" y="465"/>
                    <a:pt x="233" y="466"/>
                    <a:pt x="232" y="466"/>
                  </a:cubicBezTo>
                  <a:cubicBezTo>
                    <a:pt x="232" y="466"/>
                    <a:pt x="232" y="466"/>
                    <a:pt x="232" y="466"/>
                  </a:cubicBezTo>
                  <a:cubicBezTo>
                    <a:pt x="232" y="466"/>
                    <a:pt x="232" y="466"/>
                    <a:pt x="232" y="466"/>
                  </a:cubicBezTo>
                  <a:cubicBezTo>
                    <a:pt x="232" y="466"/>
                    <a:pt x="232" y="466"/>
                    <a:pt x="231" y="466"/>
                  </a:cubicBezTo>
                  <a:cubicBezTo>
                    <a:pt x="231" y="466"/>
                    <a:pt x="231" y="466"/>
                    <a:pt x="231" y="466"/>
                  </a:cubicBezTo>
                  <a:cubicBezTo>
                    <a:pt x="231" y="466"/>
                    <a:pt x="231" y="466"/>
                    <a:pt x="231" y="466"/>
                  </a:cubicBezTo>
                  <a:cubicBezTo>
                    <a:pt x="230" y="466"/>
                    <a:pt x="230" y="466"/>
                    <a:pt x="229" y="467"/>
                  </a:cubicBezTo>
                  <a:cubicBezTo>
                    <a:pt x="229" y="467"/>
                    <a:pt x="229" y="467"/>
                    <a:pt x="228" y="467"/>
                  </a:cubicBezTo>
                  <a:cubicBezTo>
                    <a:pt x="228" y="467"/>
                    <a:pt x="228" y="467"/>
                    <a:pt x="228" y="467"/>
                  </a:cubicBezTo>
                  <a:cubicBezTo>
                    <a:pt x="227" y="467"/>
                    <a:pt x="227" y="467"/>
                    <a:pt x="227" y="466"/>
                  </a:cubicBezTo>
                  <a:cubicBezTo>
                    <a:pt x="226" y="466"/>
                    <a:pt x="226" y="466"/>
                    <a:pt x="225" y="466"/>
                  </a:cubicBezTo>
                  <a:cubicBezTo>
                    <a:pt x="225" y="465"/>
                    <a:pt x="225" y="465"/>
                    <a:pt x="225" y="465"/>
                  </a:cubicBezTo>
                  <a:cubicBezTo>
                    <a:pt x="224" y="465"/>
                    <a:pt x="224" y="465"/>
                    <a:pt x="224" y="465"/>
                  </a:cubicBezTo>
                  <a:cubicBezTo>
                    <a:pt x="223" y="464"/>
                    <a:pt x="222" y="464"/>
                    <a:pt x="221" y="465"/>
                  </a:cubicBezTo>
                  <a:cubicBezTo>
                    <a:pt x="220" y="466"/>
                    <a:pt x="220" y="466"/>
                    <a:pt x="220" y="467"/>
                  </a:cubicBezTo>
                  <a:cubicBezTo>
                    <a:pt x="220" y="467"/>
                    <a:pt x="220" y="468"/>
                    <a:pt x="220" y="468"/>
                  </a:cubicBezTo>
                  <a:cubicBezTo>
                    <a:pt x="220" y="468"/>
                    <a:pt x="220" y="467"/>
                    <a:pt x="220" y="467"/>
                  </a:cubicBezTo>
                  <a:cubicBezTo>
                    <a:pt x="219" y="467"/>
                    <a:pt x="219" y="467"/>
                    <a:pt x="219" y="467"/>
                  </a:cubicBezTo>
                  <a:cubicBezTo>
                    <a:pt x="218" y="466"/>
                    <a:pt x="218" y="466"/>
                    <a:pt x="217" y="466"/>
                  </a:cubicBezTo>
                  <a:cubicBezTo>
                    <a:pt x="217" y="465"/>
                    <a:pt x="217" y="465"/>
                    <a:pt x="216" y="465"/>
                  </a:cubicBezTo>
                  <a:cubicBezTo>
                    <a:pt x="216" y="465"/>
                    <a:pt x="215" y="465"/>
                    <a:pt x="214" y="466"/>
                  </a:cubicBezTo>
                  <a:cubicBezTo>
                    <a:pt x="214" y="466"/>
                    <a:pt x="214" y="466"/>
                    <a:pt x="214" y="466"/>
                  </a:cubicBezTo>
                  <a:cubicBezTo>
                    <a:pt x="214" y="467"/>
                    <a:pt x="214" y="467"/>
                    <a:pt x="214" y="467"/>
                  </a:cubicBezTo>
                  <a:cubicBezTo>
                    <a:pt x="214" y="467"/>
                    <a:pt x="214" y="467"/>
                    <a:pt x="214" y="467"/>
                  </a:cubicBezTo>
                  <a:cubicBezTo>
                    <a:pt x="214" y="467"/>
                    <a:pt x="214" y="467"/>
                    <a:pt x="214" y="467"/>
                  </a:cubicBezTo>
                  <a:cubicBezTo>
                    <a:pt x="212" y="466"/>
                    <a:pt x="211" y="466"/>
                    <a:pt x="210" y="467"/>
                  </a:cubicBezTo>
                  <a:cubicBezTo>
                    <a:pt x="209" y="468"/>
                    <a:pt x="209" y="469"/>
                    <a:pt x="209" y="469"/>
                  </a:cubicBezTo>
                  <a:cubicBezTo>
                    <a:pt x="209" y="469"/>
                    <a:pt x="209" y="469"/>
                    <a:pt x="209" y="469"/>
                  </a:cubicBezTo>
                  <a:cubicBezTo>
                    <a:pt x="209" y="469"/>
                    <a:pt x="208" y="469"/>
                    <a:pt x="208" y="469"/>
                  </a:cubicBezTo>
                  <a:cubicBezTo>
                    <a:pt x="208" y="469"/>
                    <a:pt x="208" y="469"/>
                    <a:pt x="208" y="469"/>
                  </a:cubicBezTo>
                  <a:cubicBezTo>
                    <a:pt x="208" y="469"/>
                    <a:pt x="207" y="469"/>
                    <a:pt x="207" y="469"/>
                  </a:cubicBezTo>
                  <a:cubicBezTo>
                    <a:pt x="207" y="469"/>
                    <a:pt x="207" y="469"/>
                    <a:pt x="207" y="469"/>
                  </a:cubicBezTo>
                  <a:cubicBezTo>
                    <a:pt x="207" y="469"/>
                    <a:pt x="206" y="469"/>
                    <a:pt x="206" y="469"/>
                  </a:cubicBezTo>
                  <a:cubicBezTo>
                    <a:pt x="206" y="469"/>
                    <a:pt x="206" y="468"/>
                    <a:pt x="206" y="468"/>
                  </a:cubicBezTo>
                  <a:cubicBezTo>
                    <a:pt x="205" y="468"/>
                    <a:pt x="204" y="467"/>
                    <a:pt x="203" y="466"/>
                  </a:cubicBezTo>
                  <a:cubicBezTo>
                    <a:pt x="202" y="466"/>
                    <a:pt x="201" y="466"/>
                    <a:pt x="201" y="466"/>
                  </a:cubicBezTo>
                  <a:cubicBezTo>
                    <a:pt x="200" y="467"/>
                    <a:pt x="199" y="466"/>
                    <a:pt x="199" y="466"/>
                  </a:cubicBezTo>
                  <a:cubicBezTo>
                    <a:pt x="198" y="466"/>
                    <a:pt x="196" y="466"/>
                    <a:pt x="195" y="466"/>
                  </a:cubicBezTo>
                  <a:cubicBezTo>
                    <a:pt x="195" y="466"/>
                    <a:pt x="195" y="466"/>
                    <a:pt x="195" y="466"/>
                  </a:cubicBezTo>
                  <a:cubicBezTo>
                    <a:pt x="194" y="467"/>
                    <a:pt x="194" y="467"/>
                    <a:pt x="193" y="467"/>
                  </a:cubicBezTo>
                  <a:cubicBezTo>
                    <a:pt x="193" y="467"/>
                    <a:pt x="193" y="467"/>
                    <a:pt x="192" y="467"/>
                  </a:cubicBezTo>
                  <a:cubicBezTo>
                    <a:pt x="192" y="467"/>
                    <a:pt x="192" y="467"/>
                    <a:pt x="192" y="467"/>
                  </a:cubicBezTo>
                  <a:cubicBezTo>
                    <a:pt x="191" y="467"/>
                    <a:pt x="190" y="467"/>
                    <a:pt x="189" y="468"/>
                  </a:cubicBezTo>
                  <a:cubicBezTo>
                    <a:pt x="189" y="468"/>
                    <a:pt x="188" y="468"/>
                    <a:pt x="187" y="468"/>
                  </a:cubicBezTo>
                  <a:cubicBezTo>
                    <a:pt x="187" y="468"/>
                    <a:pt x="187" y="469"/>
                    <a:pt x="187" y="469"/>
                  </a:cubicBezTo>
                  <a:cubicBezTo>
                    <a:pt x="187" y="469"/>
                    <a:pt x="187" y="468"/>
                    <a:pt x="187" y="468"/>
                  </a:cubicBezTo>
                  <a:cubicBezTo>
                    <a:pt x="186" y="468"/>
                    <a:pt x="186" y="468"/>
                    <a:pt x="185" y="468"/>
                  </a:cubicBezTo>
                  <a:cubicBezTo>
                    <a:pt x="184" y="468"/>
                    <a:pt x="183" y="468"/>
                    <a:pt x="182" y="469"/>
                  </a:cubicBezTo>
                  <a:cubicBezTo>
                    <a:pt x="182" y="469"/>
                    <a:pt x="182" y="469"/>
                    <a:pt x="181" y="469"/>
                  </a:cubicBezTo>
                  <a:cubicBezTo>
                    <a:pt x="180" y="470"/>
                    <a:pt x="180" y="470"/>
                    <a:pt x="179" y="470"/>
                  </a:cubicBezTo>
                  <a:cubicBezTo>
                    <a:pt x="179" y="470"/>
                    <a:pt x="179" y="470"/>
                    <a:pt x="179" y="470"/>
                  </a:cubicBezTo>
                  <a:cubicBezTo>
                    <a:pt x="178" y="470"/>
                    <a:pt x="178" y="470"/>
                    <a:pt x="178" y="470"/>
                  </a:cubicBezTo>
                  <a:cubicBezTo>
                    <a:pt x="177" y="469"/>
                    <a:pt x="176" y="469"/>
                    <a:pt x="174" y="470"/>
                  </a:cubicBezTo>
                  <a:cubicBezTo>
                    <a:pt x="174" y="470"/>
                    <a:pt x="173" y="471"/>
                    <a:pt x="173" y="471"/>
                  </a:cubicBezTo>
                  <a:cubicBezTo>
                    <a:pt x="172" y="471"/>
                    <a:pt x="172" y="471"/>
                    <a:pt x="171" y="472"/>
                  </a:cubicBezTo>
                  <a:cubicBezTo>
                    <a:pt x="170" y="472"/>
                    <a:pt x="169" y="473"/>
                    <a:pt x="168" y="474"/>
                  </a:cubicBezTo>
                  <a:cubicBezTo>
                    <a:pt x="168" y="474"/>
                    <a:pt x="167" y="474"/>
                    <a:pt x="167" y="475"/>
                  </a:cubicBezTo>
                  <a:cubicBezTo>
                    <a:pt x="167" y="475"/>
                    <a:pt x="166" y="476"/>
                    <a:pt x="166" y="476"/>
                  </a:cubicBezTo>
                  <a:cubicBezTo>
                    <a:pt x="165" y="475"/>
                    <a:pt x="165" y="475"/>
                    <a:pt x="164" y="475"/>
                  </a:cubicBezTo>
                  <a:cubicBezTo>
                    <a:pt x="164" y="475"/>
                    <a:pt x="164" y="475"/>
                    <a:pt x="164" y="475"/>
                  </a:cubicBezTo>
                  <a:cubicBezTo>
                    <a:pt x="163" y="475"/>
                    <a:pt x="163" y="475"/>
                    <a:pt x="163" y="475"/>
                  </a:cubicBezTo>
                  <a:cubicBezTo>
                    <a:pt x="163" y="475"/>
                    <a:pt x="163" y="475"/>
                    <a:pt x="163" y="475"/>
                  </a:cubicBezTo>
                  <a:cubicBezTo>
                    <a:pt x="162" y="476"/>
                    <a:pt x="162" y="476"/>
                    <a:pt x="162" y="476"/>
                  </a:cubicBezTo>
                  <a:cubicBezTo>
                    <a:pt x="162" y="476"/>
                    <a:pt x="162" y="476"/>
                    <a:pt x="162" y="476"/>
                  </a:cubicBezTo>
                  <a:cubicBezTo>
                    <a:pt x="161" y="476"/>
                    <a:pt x="160" y="476"/>
                    <a:pt x="159" y="476"/>
                  </a:cubicBezTo>
                  <a:cubicBezTo>
                    <a:pt x="158" y="477"/>
                    <a:pt x="157" y="479"/>
                    <a:pt x="156" y="480"/>
                  </a:cubicBezTo>
                  <a:cubicBezTo>
                    <a:pt x="156" y="480"/>
                    <a:pt x="156" y="480"/>
                    <a:pt x="156" y="480"/>
                  </a:cubicBezTo>
                  <a:cubicBezTo>
                    <a:pt x="156" y="480"/>
                    <a:pt x="155" y="480"/>
                    <a:pt x="155" y="480"/>
                  </a:cubicBezTo>
                  <a:cubicBezTo>
                    <a:pt x="155" y="481"/>
                    <a:pt x="155" y="481"/>
                    <a:pt x="155" y="481"/>
                  </a:cubicBezTo>
                  <a:cubicBezTo>
                    <a:pt x="155" y="481"/>
                    <a:pt x="155" y="481"/>
                    <a:pt x="155" y="481"/>
                  </a:cubicBezTo>
                  <a:cubicBezTo>
                    <a:pt x="154" y="481"/>
                    <a:pt x="154" y="481"/>
                    <a:pt x="153" y="481"/>
                  </a:cubicBezTo>
                  <a:cubicBezTo>
                    <a:pt x="153" y="481"/>
                    <a:pt x="153" y="481"/>
                    <a:pt x="153" y="481"/>
                  </a:cubicBezTo>
                  <a:cubicBezTo>
                    <a:pt x="152" y="481"/>
                    <a:pt x="152" y="481"/>
                    <a:pt x="151" y="481"/>
                  </a:cubicBezTo>
                  <a:cubicBezTo>
                    <a:pt x="151" y="481"/>
                    <a:pt x="151" y="481"/>
                    <a:pt x="151" y="481"/>
                  </a:cubicBezTo>
                  <a:cubicBezTo>
                    <a:pt x="151" y="481"/>
                    <a:pt x="151" y="481"/>
                    <a:pt x="150" y="481"/>
                  </a:cubicBezTo>
                  <a:cubicBezTo>
                    <a:pt x="147" y="481"/>
                    <a:pt x="147" y="481"/>
                    <a:pt x="147" y="481"/>
                  </a:cubicBezTo>
                  <a:cubicBezTo>
                    <a:pt x="148" y="481"/>
                    <a:pt x="148" y="481"/>
                    <a:pt x="148" y="481"/>
                  </a:cubicBezTo>
                  <a:cubicBezTo>
                    <a:pt x="147" y="481"/>
                    <a:pt x="147" y="481"/>
                    <a:pt x="147" y="481"/>
                  </a:cubicBezTo>
                  <a:cubicBezTo>
                    <a:pt x="147" y="481"/>
                    <a:pt x="147" y="481"/>
                    <a:pt x="147" y="482"/>
                  </a:cubicBezTo>
                  <a:cubicBezTo>
                    <a:pt x="147" y="481"/>
                    <a:pt x="147" y="480"/>
                    <a:pt x="145" y="479"/>
                  </a:cubicBezTo>
                  <a:cubicBezTo>
                    <a:pt x="144" y="478"/>
                    <a:pt x="143" y="479"/>
                    <a:pt x="142" y="480"/>
                  </a:cubicBezTo>
                  <a:cubicBezTo>
                    <a:pt x="142" y="480"/>
                    <a:pt x="142" y="481"/>
                    <a:pt x="142" y="481"/>
                  </a:cubicBezTo>
                  <a:cubicBezTo>
                    <a:pt x="142" y="481"/>
                    <a:pt x="141" y="480"/>
                    <a:pt x="141" y="480"/>
                  </a:cubicBezTo>
                  <a:cubicBezTo>
                    <a:pt x="141" y="480"/>
                    <a:pt x="141" y="480"/>
                    <a:pt x="140" y="480"/>
                  </a:cubicBezTo>
                  <a:cubicBezTo>
                    <a:pt x="139" y="480"/>
                    <a:pt x="138" y="480"/>
                    <a:pt x="137" y="480"/>
                  </a:cubicBezTo>
                  <a:cubicBezTo>
                    <a:pt x="137" y="480"/>
                    <a:pt x="137" y="480"/>
                    <a:pt x="137" y="480"/>
                  </a:cubicBezTo>
                  <a:cubicBezTo>
                    <a:pt x="136" y="480"/>
                    <a:pt x="136" y="480"/>
                    <a:pt x="136" y="480"/>
                  </a:cubicBezTo>
                  <a:cubicBezTo>
                    <a:pt x="135" y="481"/>
                    <a:pt x="135" y="481"/>
                    <a:pt x="135" y="481"/>
                  </a:cubicBezTo>
                  <a:cubicBezTo>
                    <a:pt x="133" y="481"/>
                    <a:pt x="132" y="481"/>
                    <a:pt x="131" y="480"/>
                  </a:cubicBezTo>
                  <a:cubicBezTo>
                    <a:pt x="130" y="480"/>
                    <a:pt x="130" y="479"/>
                    <a:pt x="130" y="478"/>
                  </a:cubicBezTo>
                  <a:cubicBezTo>
                    <a:pt x="129" y="477"/>
                    <a:pt x="129" y="475"/>
                    <a:pt x="127" y="475"/>
                  </a:cubicBezTo>
                  <a:cubicBezTo>
                    <a:pt x="127" y="475"/>
                    <a:pt x="126" y="475"/>
                    <a:pt x="126" y="475"/>
                  </a:cubicBezTo>
                  <a:cubicBezTo>
                    <a:pt x="127" y="474"/>
                    <a:pt x="128" y="473"/>
                    <a:pt x="130" y="471"/>
                  </a:cubicBezTo>
                  <a:close/>
                  <a:moveTo>
                    <a:pt x="265" y="456"/>
                  </a:moveTo>
                  <a:cubicBezTo>
                    <a:pt x="265" y="455"/>
                    <a:pt x="265" y="455"/>
                    <a:pt x="265" y="455"/>
                  </a:cubicBezTo>
                  <a:cubicBezTo>
                    <a:pt x="265" y="455"/>
                    <a:pt x="265" y="455"/>
                    <a:pt x="265" y="455"/>
                  </a:cubicBezTo>
                  <a:cubicBezTo>
                    <a:pt x="265" y="455"/>
                    <a:pt x="265" y="455"/>
                    <a:pt x="265" y="455"/>
                  </a:cubicBezTo>
                  <a:cubicBezTo>
                    <a:pt x="265" y="456"/>
                    <a:pt x="265" y="456"/>
                    <a:pt x="265" y="456"/>
                  </a:cubicBezTo>
                  <a:close/>
                  <a:moveTo>
                    <a:pt x="15" y="645"/>
                  </a:moveTo>
                  <a:cubicBezTo>
                    <a:pt x="15" y="645"/>
                    <a:pt x="15" y="645"/>
                    <a:pt x="15" y="645"/>
                  </a:cubicBezTo>
                  <a:cubicBezTo>
                    <a:pt x="15" y="645"/>
                    <a:pt x="15" y="645"/>
                    <a:pt x="15" y="645"/>
                  </a:cubicBezTo>
                  <a:cubicBezTo>
                    <a:pt x="15" y="645"/>
                    <a:pt x="15" y="645"/>
                    <a:pt x="15" y="645"/>
                  </a:cubicBezTo>
                  <a:close/>
                  <a:moveTo>
                    <a:pt x="29" y="743"/>
                  </a:moveTo>
                  <a:cubicBezTo>
                    <a:pt x="29" y="744"/>
                    <a:pt x="29" y="744"/>
                    <a:pt x="29" y="744"/>
                  </a:cubicBezTo>
                  <a:cubicBezTo>
                    <a:pt x="28" y="743"/>
                    <a:pt x="28" y="743"/>
                    <a:pt x="28" y="743"/>
                  </a:cubicBezTo>
                  <a:lnTo>
                    <a:pt x="29" y="743"/>
                  </a:lnTo>
                  <a:close/>
                  <a:moveTo>
                    <a:pt x="214" y="841"/>
                  </a:moveTo>
                  <a:cubicBezTo>
                    <a:pt x="214" y="841"/>
                    <a:pt x="214" y="841"/>
                    <a:pt x="214" y="841"/>
                  </a:cubicBezTo>
                  <a:cubicBezTo>
                    <a:pt x="214" y="841"/>
                    <a:pt x="214" y="841"/>
                    <a:pt x="214" y="841"/>
                  </a:cubicBezTo>
                  <a:close/>
                  <a:moveTo>
                    <a:pt x="1023" y="716"/>
                  </a:moveTo>
                  <a:cubicBezTo>
                    <a:pt x="1023" y="716"/>
                    <a:pt x="1023" y="716"/>
                    <a:pt x="1023" y="716"/>
                  </a:cubicBezTo>
                  <a:cubicBezTo>
                    <a:pt x="1023" y="716"/>
                    <a:pt x="1023" y="716"/>
                    <a:pt x="1023" y="716"/>
                  </a:cubicBezTo>
                  <a:cubicBezTo>
                    <a:pt x="1023" y="717"/>
                    <a:pt x="1023" y="717"/>
                    <a:pt x="1023" y="717"/>
                  </a:cubicBezTo>
                  <a:cubicBezTo>
                    <a:pt x="1023" y="717"/>
                    <a:pt x="1023" y="717"/>
                    <a:pt x="1023" y="717"/>
                  </a:cubicBezTo>
                  <a:lnTo>
                    <a:pt x="1023" y="716"/>
                  </a:lnTo>
                  <a:close/>
                  <a:moveTo>
                    <a:pt x="1122" y="259"/>
                  </a:moveTo>
                  <a:cubicBezTo>
                    <a:pt x="1122" y="259"/>
                    <a:pt x="1122" y="260"/>
                    <a:pt x="1122" y="260"/>
                  </a:cubicBezTo>
                  <a:cubicBezTo>
                    <a:pt x="1122" y="260"/>
                    <a:pt x="1123" y="260"/>
                    <a:pt x="1123" y="260"/>
                  </a:cubicBezTo>
                  <a:cubicBezTo>
                    <a:pt x="1122" y="260"/>
                    <a:pt x="1122" y="260"/>
                    <a:pt x="1122" y="260"/>
                  </a:cubicBezTo>
                  <a:cubicBezTo>
                    <a:pt x="1122" y="260"/>
                    <a:pt x="1122" y="259"/>
                    <a:pt x="1121" y="258"/>
                  </a:cubicBezTo>
                  <a:cubicBezTo>
                    <a:pt x="1122" y="258"/>
                    <a:pt x="1122" y="259"/>
                    <a:pt x="1122" y="259"/>
                  </a:cubicBezTo>
                  <a:close/>
                  <a:moveTo>
                    <a:pt x="1133" y="175"/>
                  </a:moveTo>
                  <a:cubicBezTo>
                    <a:pt x="1133" y="175"/>
                    <a:pt x="1133" y="175"/>
                    <a:pt x="1133" y="175"/>
                  </a:cubicBezTo>
                  <a:cubicBezTo>
                    <a:pt x="1133" y="175"/>
                    <a:pt x="1133" y="175"/>
                    <a:pt x="1133" y="175"/>
                  </a:cubicBezTo>
                  <a:close/>
                  <a:moveTo>
                    <a:pt x="1154" y="173"/>
                  </a:moveTo>
                  <a:cubicBezTo>
                    <a:pt x="1154" y="173"/>
                    <a:pt x="1154" y="173"/>
                    <a:pt x="1154" y="173"/>
                  </a:cubicBezTo>
                  <a:cubicBezTo>
                    <a:pt x="1154" y="173"/>
                    <a:pt x="1154" y="173"/>
                    <a:pt x="1154" y="173"/>
                  </a:cubicBezTo>
                  <a:cubicBezTo>
                    <a:pt x="1154" y="173"/>
                    <a:pt x="1154" y="173"/>
                    <a:pt x="1154" y="173"/>
                  </a:cubicBezTo>
                  <a:close/>
                  <a:moveTo>
                    <a:pt x="791" y="47"/>
                  </a:moveTo>
                  <a:cubicBezTo>
                    <a:pt x="791" y="47"/>
                    <a:pt x="791" y="47"/>
                    <a:pt x="791" y="48"/>
                  </a:cubicBezTo>
                  <a:cubicBezTo>
                    <a:pt x="791" y="48"/>
                    <a:pt x="791" y="48"/>
                    <a:pt x="791" y="48"/>
                  </a:cubicBezTo>
                  <a:cubicBezTo>
                    <a:pt x="790" y="48"/>
                    <a:pt x="789" y="49"/>
                    <a:pt x="789" y="51"/>
                  </a:cubicBezTo>
                  <a:cubicBezTo>
                    <a:pt x="789" y="50"/>
                    <a:pt x="789" y="50"/>
                    <a:pt x="789" y="50"/>
                  </a:cubicBezTo>
                  <a:cubicBezTo>
                    <a:pt x="788" y="50"/>
                    <a:pt x="786" y="50"/>
                    <a:pt x="785" y="51"/>
                  </a:cubicBezTo>
                  <a:cubicBezTo>
                    <a:pt x="785" y="52"/>
                    <a:pt x="784" y="52"/>
                    <a:pt x="783" y="52"/>
                  </a:cubicBezTo>
                  <a:cubicBezTo>
                    <a:pt x="783" y="52"/>
                    <a:pt x="782" y="52"/>
                    <a:pt x="782" y="52"/>
                  </a:cubicBezTo>
                  <a:cubicBezTo>
                    <a:pt x="781" y="52"/>
                    <a:pt x="781" y="52"/>
                    <a:pt x="781" y="52"/>
                  </a:cubicBezTo>
                  <a:cubicBezTo>
                    <a:pt x="781" y="52"/>
                    <a:pt x="781" y="51"/>
                    <a:pt x="781" y="51"/>
                  </a:cubicBezTo>
                  <a:cubicBezTo>
                    <a:pt x="782" y="49"/>
                    <a:pt x="784" y="48"/>
                    <a:pt x="785" y="47"/>
                  </a:cubicBezTo>
                  <a:cubicBezTo>
                    <a:pt x="786" y="47"/>
                    <a:pt x="786" y="47"/>
                    <a:pt x="786" y="47"/>
                  </a:cubicBezTo>
                  <a:cubicBezTo>
                    <a:pt x="787" y="46"/>
                    <a:pt x="788" y="45"/>
                    <a:pt x="788" y="43"/>
                  </a:cubicBezTo>
                  <a:cubicBezTo>
                    <a:pt x="788" y="43"/>
                    <a:pt x="788" y="42"/>
                    <a:pt x="788" y="42"/>
                  </a:cubicBezTo>
                  <a:cubicBezTo>
                    <a:pt x="789" y="42"/>
                    <a:pt x="789" y="41"/>
                    <a:pt x="789" y="41"/>
                  </a:cubicBezTo>
                  <a:cubicBezTo>
                    <a:pt x="789" y="42"/>
                    <a:pt x="789" y="42"/>
                    <a:pt x="789" y="42"/>
                  </a:cubicBezTo>
                  <a:cubicBezTo>
                    <a:pt x="789" y="42"/>
                    <a:pt x="789" y="42"/>
                    <a:pt x="789" y="43"/>
                  </a:cubicBezTo>
                  <a:cubicBezTo>
                    <a:pt x="789" y="43"/>
                    <a:pt x="789" y="44"/>
                    <a:pt x="789" y="45"/>
                  </a:cubicBezTo>
                  <a:cubicBezTo>
                    <a:pt x="789" y="46"/>
                    <a:pt x="790" y="47"/>
                    <a:pt x="791" y="47"/>
                  </a:cubicBezTo>
                  <a:close/>
                  <a:moveTo>
                    <a:pt x="679" y="44"/>
                  </a:moveTo>
                  <a:cubicBezTo>
                    <a:pt x="679" y="44"/>
                    <a:pt x="679" y="44"/>
                    <a:pt x="679" y="44"/>
                  </a:cubicBezTo>
                  <a:cubicBezTo>
                    <a:pt x="679" y="44"/>
                    <a:pt x="679" y="44"/>
                    <a:pt x="679" y="44"/>
                  </a:cubicBezTo>
                  <a:cubicBezTo>
                    <a:pt x="679" y="44"/>
                    <a:pt x="679" y="44"/>
                    <a:pt x="679" y="44"/>
                  </a:cubicBezTo>
                  <a:cubicBezTo>
                    <a:pt x="679" y="44"/>
                    <a:pt x="679" y="44"/>
                    <a:pt x="679" y="44"/>
                  </a:cubicBezTo>
                  <a:close/>
                  <a:moveTo>
                    <a:pt x="649" y="79"/>
                  </a:moveTo>
                  <a:cubicBezTo>
                    <a:pt x="649" y="79"/>
                    <a:pt x="649" y="79"/>
                    <a:pt x="649" y="80"/>
                  </a:cubicBezTo>
                  <a:cubicBezTo>
                    <a:pt x="649" y="80"/>
                    <a:pt x="649" y="80"/>
                    <a:pt x="649" y="80"/>
                  </a:cubicBezTo>
                  <a:cubicBezTo>
                    <a:pt x="649" y="80"/>
                    <a:pt x="648" y="79"/>
                    <a:pt x="647" y="78"/>
                  </a:cubicBezTo>
                  <a:cubicBezTo>
                    <a:pt x="648" y="79"/>
                    <a:pt x="648" y="79"/>
                    <a:pt x="649" y="79"/>
                  </a:cubicBezTo>
                  <a:close/>
                  <a:moveTo>
                    <a:pt x="568" y="122"/>
                  </a:moveTo>
                  <a:cubicBezTo>
                    <a:pt x="568" y="122"/>
                    <a:pt x="568" y="122"/>
                    <a:pt x="568" y="122"/>
                  </a:cubicBezTo>
                  <a:cubicBezTo>
                    <a:pt x="568" y="122"/>
                    <a:pt x="568" y="122"/>
                    <a:pt x="568" y="122"/>
                  </a:cubicBezTo>
                  <a:close/>
                  <a:moveTo>
                    <a:pt x="565" y="124"/>
                  </a:moveTo>
                  <a:cubicBezTo>
                    <a:pt x="565" y="124"/>
                    <a:pt x="565" y="124"/>
                    <a:pt x="566" y="124"/>
                  </a:cubicBezTo>
                  <a:cubicBezTo>
                    <a:pt x="566" y="124"/>
                    <a:pt x="566" y="125"/>
                    <a:pt x="566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5"/>
                    <a:pt x="565" y="125"/>
                    <a:pt x="565" y="125"/>
                  </a:cubicBezTo>
                  <a:cubicBezTo>
                    <a:pt x="565" y="124"/>
                    <a:pt x="565" y="124"/>
                    <a:pt x="565" y="124"/>
                  </a:cubicBezTo>
                  <a:cubicBezTo>
                    <a:pt x="565" y="124"/>
                    <a:pt x="565" y="124"/>
                    <a:pt x="565" y="124"/>
                  </a:cubicBezTo>
                  <a:close/>
                  <a:moveTo>
                    <a:pt x="466" y="169"/>
                  </a:moveTo>
                  <a:cubicBezTo>
                    <a:pt x="466" y="169"/>
                    <a:pt x="466" y="169"/>
                    <a:pt x="466" y="169"/>
                  </a:cubicBezTo>
                  <a:cubicBezTo>
                    <a:pt x="466" y="169"/>
                    <a:pt x="466" y="169"/>
                    <a:pt x="466" y="169"/>
                  </a:cubicBezTo>
                  <a:close/>
                  <a:moveTo>
                    <a:pt x="428" y="113"/>
                  </a:moveTo>
                  <a:cubicBezTo>
                    <a:pt x="428" y="113"/>
                    <a:pt x="428" y="113"/>
                    <a:pt x="428" y="113"/>
                  </a:cubicBezTo>
                  <a:cubicBezTo>
                    <a:pt x="428" y="113"/>
                    <a:pt x="428" y="113"/>
                    <a:pt x="428" y="113"/>
                  </a:cubicBezTo>
                  <a:close/>
                  <a:moveTo>
                    <a:pt x="352" y="113"/>
                  </a:moveTo>
                  <a:cubicBezTo>
                    <a:pt x="352" y="113"/>
                    <a:pt x="352" y="113"/>
                    <a:pt x="352" y="113"/>
                  </a:cubicBezTo>
                  <a:cubicBezTo>
                    <a:pt x="352" y="113"/>
                    <a:pt x="352" y="113"/>
                    <a:pt x="351" y="113"/>
                  </a:cubicBezTo>
                  <a:cubicBezTo>
                    <a:pt x="351" y="113"/>
                    <a:pt x="351" y="113"/>
                    <a:pt x="351" y="113"/>
                  </a:cubicBezTo>
                  <a:cubicBezTo>
                    <a:pt x="352" y="113"/>
                    <a:pt x="352" y="113"/>
                    <a:pt x="352" y="113"/>
                  </a:cubicBezTo>
                  <a:close/>
                  <a:moveTo>
                    <a:pt x="334" y="130"/>
                  </a:moveTo>
                  <a:cubicBezTo>
                    <a:pt x="334" y="130"/>
                    <a:pt x="334" y="131"/>
                    <a:pt x="334" y="131"/>
                  </a:cubicBezTo>
                  <a:cubicBezTo>
                    <a:pt x="334" y="131"/>
                    <a:pt x="334" y="131"/>
                    <a:pt x="334" y="131"/>
                  </a:cubicBezTo>
                  <a:lnTo>
                    <a:pt x="334" y="130"/>
                  </a:lnTo>
                  <a:close/>
                  <a:moveTo>
                    <a:pt x="159" y="396"/>
                  </a:moveTo>
                  <a:cubicBezTo>
                    <a:pt x="159" y="396"/>
                    <a:pt x="159" y="396"/>
                    <a:pt x="159" y="396"/>
                  </a:cubicBezTo>
                  <a:cubicBezTo>
                    <a:pt x="159" y="396"/>
                    <a:pt x="159" y="396"/>
                    <a:pt x="159" y="396"/>
                  </a:cubicBezTo>
                  <a:close/>
                  <a:moveTo>
                    <a:pt x="196" y="795"/>
                  </a:moveTo>
                  <a:cubicBezTo>
                    <a:pt x="196" y="795"/>
                    <a:pt x="196" y="795"/>
                    <a:pt x="196" y="795"/>
                  </a:cubicBezTo>
                  <a:cubicBezTo>
                    <a:pt x="196" y="795"/>
                    <a:pt x="196" y="795"/>
                    <a:pt x="196" y="795"/>
                  </a:cubicBezTo>
                  <a:cubicBezTo>
                    <a:pt x="196" y="795"/>
                    <a:pt x="196" y="795"/>
                    <a:pt x="196" y="795"/>
                  </a:cubicBezTo>
                  <a:close/>
                  <a:moveTo>
                    <a:pt x="247" y="917"/>
                  </a:moveTo>
                  <a:cubicBezTo>
                    <a:pt x="247" y="917"/>
                    <a:pt x="247" y="917"/>
                    <a:pt x="247" y="917"/>
                  </a:cubicBezTo>
                  <a:cubicBezTo>
                    <a:pt x="247" y="917"/>
                    <a:pt x="247" y="917"/>
                    <a:pt x="247" y="917"/>
                  </a:cubicBezTo>
                  <a:close/>
                  <a:moveTo>
                    <a:pt x="532" y="540"/>
                  </a:moveTo>
                  <a:cubicBezTo>
                    <a:pt x="532" y="540"/>
                    <a:pt x="532" y="540"/>
                    <a:pt x="532" y="540"/>
                  </a:cubicBezTo>
                  <a:cubicBezTo>
                    <a:pt x="532" y="540"/>
                    <a:pt x="532" y="540"/>
                    <a:pt x="532" y="540"/>
                  </a:cubicBezTo>
                  <a:cubicBezTo>
                    <a:pt x="532" y="540"/>
                    <a:pt x="532" y="540"/>
                    <a:pt x="532" y="540"/>
                  </a:cubicBezTo>
                  <a:close/>
                  <a:moveTo>
                    <a:pt x="720" y="619"/>
                  </a:move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ubicBezTo>
                    <a:pt x="720" y="619"/>
                    <a:pt x="720" y="619"/>
                    <a:pt x="720" y="6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5585" y="1895"/>
              <a:ext cx="33" cy="94"/>
            </a:xfrm>
            <a:custGeom>
              <a:avLst/>
              <a:gdLst>
                <a:gd name="T0" fmla="*/ 0 w 14"/>
                <a:gd name="T1" fmla="*/ 23 h 40"/>
                <a:gd name="T2" fmla="*/ 0 w 14"/>
                <a:gd name="T3" fmla="*/ 24 h 40"/>
                <a:gd name="T4" fmla="*/ 0 w 14"/>
                <a:gd name="T5" fmla="*/ 25 h 40"/>
                <a:gd name="T6" fmla="*/ 0 w 14"/>
                <a:gd name="T7" fmla="*/ 27 h 40"/>
                <a:gd name="T8" fmla="*/ 2 w 14"/>
                <a:gd name="T9" fmla="*/ 27 h 40"/>
                <a:gd name="T10" fmla="*/ 2 w 14"/>
                <a:gd name="T11" fmla="*/ 27 h 40"/>
                <a:gd name="T12" fmla="*/ 1 w 14"/>
                <a:gd name="T13" fmla="*/ 27 h 40"/>
                <a:gd name="T14" fmla="*/ 1 w 14"/>
                <a:gd name="T15" fmla="*/ 28 h 40"/>
                <a:gd name="T16" fmla="*/ 2 w 14"/>
                <a:gd name="T17" fmla="*/ 31 h 40"/>
                <a:gd name="T18" fmla="*/ 4 w 14"/>
                <a:gd name="T19" fmla="*/ 33 h 40"/>
                <a:gd name="T20" fmla="*/ 7 w 14"/>
                <a:gd name="T21" fmla="*/ 34 h 40"/>
                <a:gd name="T22" fmla="*/ 7 w 14"/>
                <a:gd name="T23" fmla="*/ 36 h 40"/>
                <a:gd name="T24" fmla="*/ 7 w 14"/>
                <a:gd name="T25" fmla="*/ 36 h 40"/>
                <a:gd name="T26" fmla="*/ 7 w 14"/>
                <a:gd name="T27" fmla="*/ 37 h 40"/>
                <a:gd name="T28" fmla="*/ 8 w 14"/>
                <a:gd name="T29" fmla="*/ 40 h 40"/>
                <a:gd name="T30" fmla="*/ 10 w 14"/>
                <a:gd name="T31" fmla="*/ 40 h 40"/>
                <a:gd name="T32" fmla="*/ 12 w 14"/>
                <a:gd name="T33" fmla="*/ 38 h 40"/>
                <a:gd name="T34" fmla="*/ 12 w 14"/>
                <a:gd name="T35" fmla="*/ 35 h 40"/>
                <a:gd name="T36" fmla="*/ 12 w 14"/>
                <a:gd name="T37" fmla="*/ 34 h 40"/>
                <a:gd name="T38" fmla="*/ 12 w 14"/>
                <a:gd name="T39" fmla="*/ 32 h 40"/>
                <a:gd name="T40" fmla="*/ 12 w 14"/>
                <a:gd name="T41" fmla="*/ 31 h 40"/>
                <a:gd name="T42" fmla="*/ 12 w 14"/>
                <a:gd name="T43" fmla="*/ 30 h 40"/>
                <a:gd name="T44" fmla="*/ 12 w 14"/>
                <a:gd name="T45" fmla="*/ 29 h 40"/>
                <a:gd name="T46" fmla="*/ 13 w 14"/>
                <a:gd name="T47" fmla="*/ 25 h 40"/>
                <a:gd name="T48" fmla="*/ 13 w 14"/>
                <a:gd name="T49" fmla="*/ 24 h 40"/>
                <a:gd name="T50" fmla="*/ 13 w 14"/>
                <a:gd name="T51" fmla="*/ 22 h 40"/>
                <a:gd name="T52" fmla="*/ 13 w 14"/>
                <a:gd name="T53" fmla="*/ 22 h 40"/>
                <a:gd name="T54" fmla="*/ 13 w 14"/>
                <a:gd name="T55" fmla="*/ 19 h 40"/>
                <a:gd name="T56" fmla="*/ 14 w 14"/>
                <a:gd name="T57" fmla="*/ 18 h 40"/>
                <a:gd name="T58" fmla="*/ 14 w 14"/>
                <a:gd name="T59" fmla="*/ 15 h 40"/>
                <a:gd name="T60" fmla="*/ 14 w 14"/>
                <a:gd name="T61" fmla="*/ 13 h 40"/>
                <a:gd name="T62" fmla="*/ 14 w 14"/>
                <a:gd name="T63" fmla="*/ 12 h 40"/>
                <a:gd name="T64" fmla="*/ 14 w 14"/>
                <a:gd name="T65" fmla="*/ 9 h 40"/>
                <a:gd name="T66" fmla="*/ 13 w 14"/>
                <a:gd name="T67" fmla="*/ 7 h 40"/>
                <a:gd name="T68" fmla="*/ 14 w 14"/>
                <a:gd name="T69" fmla="*/ 5 h 40"/>
                <a:gd name="T70" fmla="*/ 14 w 14"/>
                <a:gd name="T71" fmla="*/ 4 h 40"/>
                <a:gd name="T72" fmla="*/ 12 w 14"/>
                <a:gd name="T73" fmla="*/ 3 h 40"/>
                <a:gd name="T74" fmla="*/ 12 w 14"/>
                <a:gd name="T75" fmla="*/ 3 h 40"/>
                <a:gd name="T76" fmla="*/ 11 w 14"/>
                <a:gd name="T77" fmla="*/ 2 h 40"/>
                <a:gd name="T78" fmla="*/ 10 w 14"/>
                <a:gd name="T79" fmla="*/ 2 h 40"/>
                <a:gd name="T80" fmla="*/ 8 w 14"/>
                <a:gd name="T81" fmla="*/ 0 h 40"/>
                <a:gd name="T82" fmla="*/ 7 w 14"/>
                <a:gd name="T83" fmla="*/ 1 h 40"/>
                <a:gd name="T84" fmla="*/ 6 w 14"/>
                <a:gd name="T85" fmla="*/ 2 h 40"/>
                <a:gd name="T86" fmla="*/ 5 w 14"/>
                <a:gd name="T87" fmla="*/ 3 h 40"/>
                <a:gd name="T88" fmla="*/ 5 w 14"/>
                <a:gd name="T89" fmla="*/ 3 h 40"/>
                <a:gd name="T90" fmla="*/ 3 w 14"/>
                <a:gd name="T91" fmla="*/ 5 h 40"/>
                <a:gd name="T92" fmla="*/ 3 w 14"/>
                <a:gd name="T93" fmla="*/ 6 h 40"/>
                <a:gd name="T94" fmla="*/ 3 w 14"/>
                <a:gd name="T95" fmla="*/ 7 h 40"/>
                <a:gd name="T96" fmla="*/ 1 w 14"/>
                <a:gd name="T97" fmla="*/ 11 h 40"/>
                <a:gd name="T98" fmla="*/ 1 w 14"/>
                <a:gd name="T99" fmla="*/ 14 h 40"/>
                <a:gd name="T100" fmla="*/ 2 w 14"/>
                <a:gd name="T101" fmla="*/ 14 h 40"/>
                <a:gd name="T102" fmla="*/ 2 w 14"/>
                <a:gd name="T103" fmla="*/ 14 h 40"/>
                <a:gd name="T104" fmla="*/ 1 w 14"/>
                <a:gd name="T105" fmla="*/ 15 h 40"/>
                <a:gd name="T106" fmla="*/ 1 w 14"/>
                <a:gd name="T107" fmla="*/ 16 h 40"/>
                <a:gd name="T108" fmla="*/ 0 w 14"/>
                <a:gd name="T109" fmla="*/ 21 h 40"/>
                <a:gd name="T110" fmla="*/ 0 w 14"/>
                <a:gd name="T111" fmla="*/ 22 h 40"/>
                <a:gd name="T112" fmla="*/ 0 w 14"/>
                <a:gd name="T113" fmla="*/ 23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" h="40">
                  <a:moveTo>
                    <a:pt x="0" y="23"/>
                  </a:moveTo>
                  <a:cubicBezTo>
                    <a:pt x="0" y="23"/>
                    <a:pt x="0" y="23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1" y="29"/>
                    <a:pt x="1" y="30"/>
                    <a:pt x="2" y="31"/>
                  </a:cubicBezTo>
                  <a:cubicBezTo>
                    <a:pt x="3" y="31"/>
                    <a:pt x="4" y="32"/>
                    <a:pt x="4" y="33"/>
                  </a:cubicBezTo>
                  <a:cubicBezTo>
                    <a:pt x="5" y="33"/>
                    <a:pt x="6" y="34"/>
                    <a:pt x="7" y="34"/>
                  </a:cubicBezTo>
                  <a:cubicBezTo>
                    <a:pt x="7" y="35"/>
                    <a:pt x="7" y="35"/>
                    <a:pt x="7" y="36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7" y="36"/>
                    <a:pt x="7" y="37"/>
                    <a:pt x="7" y="37"/>
                  </a:cubicBezTo>
                  <a:cubicBezTo>
                    <a:pt x="7" y="38"/>
                    <a:pt x="7" y="39"/>
                    <a:pt x="8" y="40"/>
                  </a:cubicBezTo>
                  <a:cubicBezTo>
                    <a:pt x="9" y="40"/>
                    <a:pt x="9" y="40"/>
                    <a:pt x="10" y="40"/>
                  </a:cubicBezTo>
                  <a:cubicBezTo>
                    <a:pt x="11" y="40"/>
                    <a:pt x="12" y="40"/>
                    <a:pt x="12" y="38"/>
                  </a:cubicBezTo>
                  <a:cubicBezTo>
                    <a:pt x="12" y="37"/>
                    <a:pt x="12" y="36"/>
                    <a:pt x="12" y="35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3"/>
                    <a:pt x="12" y="33"/>
                    <a:pt x="12" y="32"/>
                  </a:cubicBezTo>
                  <a:cubicBezTo>
                    <a:pt x="12" y="32"/>
                    <a:pt x="12" y="31"/>
                    <a:pt x="12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3" y="28"/>
                    <a:pt x="13" y="27"/>
                    <a:pt x="13" y="25"/>
                  </a:cubicBezTo>
                  <a:cubicBezTo>
                    <a:pt x="13" y="25"/>
                    <a:pt x="13" y="24"/>
                    <a:pt x="13" y="24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1"/>
                    <a:pt x="13" y="20"/>
                    <a:pt x="13" y="1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7"/>
                    <a:pt x="14" y="16"/>
                    <a:pt x="14" y="15"/>
                  </a:cubicBezTo>
                  <a:cubicBezTo>
                    <a:pt x="14" y="14"/>
                    <a:pt x="14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4" y="11"/>
                    <a:pt x="14" y="10"/>
                    <a:pt x="14" y="9"/>
                  </a:cubicBezTo>
                  <a:cubicBezTo>
                    <a:pt x="13" y="8"/>
                    <a:pt x="13" y="7"/>
                    <a:pt x="13" y="7"/>
                  </a:cubicBezTo>
                  <a:cubicBezTo>
                    <a:pt x="14" y="6"/>
                    <a:pt x="14" y="6"/>
                    <a:pt x="14" y="5"/>
                  </a:cubicBezTo>
                  <a:cubicBezTo>
                    <a:pt x="14" y="5"/>
                    <a:pt x="14" y="4"/>
                    <a:pt x="14" y="4"/>
                  </a:cubicBezTo>
                  <a:cubicBezTo>
                    <a:pt x="13" y="3"/>
                    <a:pt x="13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1" y="2"/>
                    <a:pt x="11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1"/>
                    <a:pt x="9" y="0"/>
                    <a:pt x="8" y="0"/>
                  </a:cubicBezTo>
                  <a:cubicBezTo>
                    <a:pt x="8" y="0"/>
                    <a:pt x="7" y="1"/>
                    <a:pt x="7" y="1"/>
                  </a:cubicBezTo>
                  <a:cubicBezTo>
                    <a:pt x="6" y="1"/>
                    <a:pt x="6" y="2"/>
                    <a:pt x="6" y="2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4"/>
                    <a:pt x="4" y="4"/>
                    <a:pt x="3" y="5"/>
                  </a:cubicBezTo>
                  <a:cubicBezTo>
                    <a:pt x="3" y="5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2" y="8"/>
                    <a:pt x="1" y="9"/>
                    <a:pt x="1" y="11"/>
                  </a:cubicBezTo>
                  <a:cubicBezTo>
                    <a:pt x="1" y="12"/>
                    <a:pt x="1" y="13"/>
                    <a:pt x="1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" y="15"/>
                    <a:pt x="1" y="16"/>
                    <a:pt x="1" y="16"/>
                  </a:cubicBezTo>
                  <a:cubicBezTo>
                    <a:pt x="0" y="18"/>
                    <a:pt x="0" y="19"/>
                    <a:pt x="0" y="21"/>
                  </a:cubicBezTo>
                  <a:cubicBezTo>
                    <a:pt x="0" y="21"/>
                    <a:pt x="0" y="21"/>
                    <a:pt x="0" y="22"/>
                  </a:cubicBezTo>
                  <a:cubicBezTo>
                    <a:pt x="0" y="22"/>
                    <a:pt x="0" y="22"/>
                    <a:pt x="0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3416" y="1206"/>
              <a:ext cx="14" cy="14"/>
            </a:xfrm>
            <a:custGeom>
              <a:avLst/>
              <a:gdLst>
                <a:gd name="T0" fmla="*/ 6 w 6"/>
                <a:gd name="T1" fmla="*/ 3 h 6"/>
                <a:gd name="T2" fmla="*/ 6 w 6"/>
                <a:gd name="T3" fmla="*/ 3 h 6"/>
                <a:gd name="T4" fmla="*/ 5 w 6"/>
                <a:gd name="T5" fmla="*/ 1 h 6"/>
                <a:gd name="T6" fmla="*/ 3 w 6"/>
                <a:gd name="T7" fmla="*/ 1 h 6"/>
                <a:gd name="T8" fmla="*/ 2 w 6"/>
                <a:gd name="T9" fmla="*/ 2 h 6"/>
                <a:gd name="T10" fmla="*/ 0 w 6"/>
                <a:gd name="T11" fmla="*/ 5 h 6"/>
                <a:gd name="T12" fmla="*/ 2 w 6"/>
                <a:gd name="T13" fmla="*/ 6 h 6"/>
                <a:gd name="T14" fmla="*/ 3 w 6"/>
                <a:gd name="T15" fmla="*/ 6 h 6"/>
                <a:gd name="T16" fmla="*/ 5 w 6"/>
                <a:gd name="T17" fmla="*/ 6 h 6"/>
                <a:gd name="T18" fmla="*/ 4 w 6"/>
                <a:gd name="T19" fmla="*/ 5 h 6"/>
                <a:gd name="T20" fmla="*/ 6 w 6"/>
                <a:gd name="T21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" h="6">
                  <a:moveTo>
                    <a:pt x="6" y="3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6" y="1"/>
                    <a:pt x="5" y="1"/>
                  </a:cubicBezTo>
                  <a:cubicBezTo>
                    <a:pt x="5" y="0"/>
                    <a:pt x="4" y="0"/>
                    <a:pt x="3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5"/>
                    <a:pt x="1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6" y="5"/>
                    <a:pt x="6" y="4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9" name="Freeform 18"/>
            <p:cNvSpPr>
              <a:spLocks noEditPoints="1"/>
            </p:cNvSpPr>
            <p:nvPr/>
          </p:nvSpPr>
          <p:spPr bwMode="auto">
            <a:xfrm>
              <a:off x="3250" y="865"/>
              <a:ext cx="152" cy="97"/>
            </a:xfrm>
            <a:custGeom>
              <a:avLst/>
              <a:gdLst>
                <a:gd name="T0" fmla="*/ 5 w 64"/>
                <a:gd name="T1" fmla="*/ 29 h 41"/>
                <a:gd name="T2" fmla="*/ 4 w 64"/>
                <a:gd name="T3" fmla="*/ 34 h 41"/>
                <a:gd name="T4" fmla="*/ 11 w 64"/>
                <a:gd name="T5" fmla="*/ 34 h 41"/>
                <a:gd name="T6" fmla="*/ 14 w 64"/>
                <a:gd name="T7" fmla="*/ 34 h 41"/>
                <a:gd name="T8" fmla="*/ 19 w 64"/>
                <a:gd name="T9" fmla="*/ 38 h 41"/>
                <a:gd name="T10" fmla="*/ 24 w 64"/>
                <a:gd name="T11" fmla="*/ 41 h 41"/>
                <a:gd name="T12" fmla="*/ 33 w 64"/>
                <a:gd name="T13" fmla="*/ 37 h 41"/>
                <a:gd name="T14" fmla="*/ 37 w 64"/>
                <a:gd name="T15" fmla="*/ 37 h 41"/>
                <a:gd name="T16" fmla="*/ 47 w 64"/>
                <a:gd name="T17" fmla="*/ 31 h 41"/>
                <a:gd name="T18" fmla="*/ 53 w 64"/>
                <a:gd name="T19" fmla="*/ 30 h 41"/>
                <a:gd name="T20" fmla="*/ 55 w 64"/>
                <a:gd name="T21" fmla="*/ 30 h 41"/>
                <a:gd name="T22" fmla="*/ 56 w 64"/>
                <a:gd name="T23" fmla="*/ 27 h 41"/>
                <a:gd name="T24" fmla="*/ 60 w 64"/>
                <a:gd name="T25" fmla="*/ 25 h 41"/>
                <a:gd name="T26" fmla="*/ 62 w 64"/>
                <a:gd name="T27" fmla="*/ 21 h 41"/>
                <a:gd name="T28" fmla="*/ 62 w 64"/>
                <a:gd name="T29" fmla="*/ 15 h 41"/>
                <a:gd name="T30" fmla="*/ 61 w 64"/>
                <a:gd name="T31" fmla="*/ 13 h 41"/>
                <a:gd name="T32" fmla="*/ 61 w 64"/>
                <a:gd name="T33" fmla="*/ 10 h 41"/>
                <a:gd name="T34" fmla="*/ 62 w 64"/>
                <a:gd name="T35" fmla="*/ 6 h 41"/>
                <a:gd name="T36" fmla="*/ 57 w 64"/>
                <a:gd name="T37" fmla="*/ 7 h 41"/>
                <a:gd name="T38" fmla="*/ 54 w 64"/>
                <a:gd name="T39" fmla="*/ 2 h 41"/>
                <a:gd name="T40" fmla="*/ 50 w 64"/>
                <a:gd name="T41" fmla="*/ 7 h 41"/>
                <a:gd name="T42" fmla="*/ 47 w 64"/>
                <a:gd name="T43" fmla="*/ 7 h 41"/>
                <a:gd name="T44" fmla="*/ 44 w 64"/>
                <a:gd name="T45" fmla="*/ 7 h 41"/>
                <a:gd name="T46" fmla="*/ 37 w 64"/>
                <a:gd name="T47" fmla="*/ 6 h 41"/>
                <a:gd name="T48" fmla="*/ 32 w 64"/>
                <a:gd name="T49" fmla="*/ 7 h 41"/>
                <a:gd name="T50" fmla="*/ 28 w 64"/>
                <a:gd name="T51" fmla="*/ 6 h 41"/>
                <a:gd name="T52" fmla="*/ 25 w 64"/>
                <a:gd name="T53" fmla="*/ 10 h 41"/>
                <a:gd name="T54" fmla="*/ 24 w 64"/>
                <a:gd name="T55" fmla="*/ 9 h 41"/>
                <a:gd name="T56" fmla="*/ 23 w 64"/>
                <a:gd name="T57" fmla="*/ 5 h 41"/>
                <a:gd name="T58" fmla="*/ 17 w 64"/>
                <a:gd name="T59" fmla="*/ 0 h 41"/>
                <a:gd name="T60" fmla="*/ 11 w 64"/>
                <a:gd name="T61" fmla="*/ 4 h 41"/>
                <a:gd name="T62" fmla="*/ 10 w 64"/>
                <a:gd name="T63" fmla="*/ 4 h 41"/>
                <a:gd name="T64" fmla="*/ 8 w 64"/>
                <a:gd name="T65" fmla="*/ 8 h 41"/>
                <a:gd name="T66" fmla="*/ 5 w 64"/>
                <a:gd name="T67" fmla="*/ 10 h 41"/>
                <a:gd name="T68" fmla="*/ 6 w 64"/>
                <a:gd name="T69" fmla="*/ 15 h 41"/>
                <a:gd name="T70" fmla="*/ 11 w 64"/>
                <a:gd name="T71" fmla="*/ 14 h 41"/>
                <a:gd name="T72" fmla="*/ 13 w 64"/>
                <a:gd name="T73" fmla="*/ 14 h 41"/>
                <a:gd name="T74" fmla="*/ 12 w 64"/>
                <a:gd name="T75" fmla="*/ 17 h 41"/>
                <a:gd name="T76" fmla="*/ 9 w 64"/>
                <a:gd name="T77" fmla="*/ 17 h 41"/>
                <a:gd name="T78" fmla="*/ 5 w 64"/>
                <a:gd name="T79" fmla="*/ 18 h 41"/>
                <a:gd name="T80" fmla="*/ 0 w 64"/>
                <a:gd name="T81" fmla="*/ 17 h 41"/>
                <a:gd name="T82" fmla="*/ 1 w 64"/>
                <a:gd name="T83" fmla="*/ 21 h 41"/>
                <a:gd name="T84" fmla="*/ 4 w 64"/>
                <a:gd name="T85" fmla="*/ 22 h 41"/>
                <a:gd name="T86" fmla="*/ 9 w 64"/>
                <a:gd name="T87" fmla="*/ 23 h 41"/>
                <a:gd name="T88" fmla="*/ 10 w 64"/>
                <a:gd name="T89" fmla="*/ 26 h 41"/>
                <a:gd name="T90" fmla="*/ 8 w 64"/>
                <a:gd name="T91" fmla="*/ 28 h 41"/>
                <a:gd name="T92" fmla="*/ 21 w 64"/>
                <a:gd name="T93" fmla="*/ 13 h 41"/>
                <a:gd name="T94" fmla="*/ 22 w 64"/>
                <a:gd name="T95" fmla="*/ 13 h 41"/>
                <a:gd name="T96" fmla="*/ 15 w 64"/>
                <a:gd name="T97" fmla="*/ 6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4" h="41">
                  <a:moveTo>
                    <a:pt x="8" y="28"/>
                  </a:moveTo>
                  <a:cubicBezTo>
                    <a:pt x="8" y="28"/>
                    <a:pt x="7" y="29"/>
                    <a:pt x="5" y="29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4" y="29"/>
                    <a:pt x="3" y="29"/>
                    <a:pt x="2" y="30"/>
                  </a:cubicBezTo>
                  <a:cubicBezTo>
                    <a:pt x="2" y="31"/>
                    <a:pt x="2" y="31"/>
                    <a:pt x="2" y="32"/>
                  </a:cubicBezTo>
                  <a:cubicBezTo>
                    <a:pt x="2" y="33"/>
                    <a:pt x="3" y="34"/>
                    <a:pt x="4" y="34"/>
                  </a:cubicBezTo>
                  <a:cubicBezTo>
                    <a:pt x="5" y="34"/>
                    <a:pt x="7" y="33"/>
                    <a:pt x="9" y="33"/>
                  </a:cubicBezTo>
                  <a:cubicBezTo>
                    <a:pt x="9" y="33"/>
                    <a:pt x="10" y="33"/>
                    <a:pt x="10" y="33"/>
                  </a:cubicBezTo>
                  <a:cubicBezTo>
                    <a:pt x="10" y="33"/>
                    <a:pt x="11" y="34"/>
                    <a:pt x="11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2" y="34"/>
                    <a:pt x="13" y="34"/>
                    <a:pt x="13" y="34"/>
                  </a:cubicBezTo>
                  <a:cubicBezTo>
                    <a:pt x="13" y="34"/>
                    <a:pt x="13" y="34"/>
                    <a:pt x="14" y="34"/>
                  </a:cubicBezTo>
                  <a:cubicBezTo>
                    <a:pt x="14" y="35"/>
                    <a:pt x="15" y="36"/>
                    <a:pt x="16" y="37"/>
                  </a:cubicBezTo>
                  <a:cubicBezTo>
                    <a:pt x="17" y="38"/>
                    <a:pt x="18" y="38"/>
                    <a:pt x="19" y="38"/>
                  </a:cubicBezTo>
                  <a:cubicBezTo>
                    <a:pt x="19" y="38"/>
                    <a:pt x="19" y="38"/>
                    <a:pt x="19" y="38"/>
                  </a:cubicBezTo>
                  <a:cubicBezTo>
                    <a:pt x="19" y="39"/>
                    <a:pt x="20" y="39"/>
                    <a:pt x="20" y="39"/>
                  </a:cubicBezTo>
                  <a:cubicBezTo>
                    <a:pt x="21" y="40"/>
                    <a:pt x="22" y="40"/>
                    <a:pt x="23" y="41"/>
                  </a:cubicBezTo>
                  <a:cubicBezTo>
                    <a:pt x="23" y="41"/>
                    <a:pt x="24" y="41"/>
                    <a:pt x="24" y="41"/>
                  </a:cubicBezTo>
                  <a:cubicBezTo>
                    <a:pt x="25" y="41"/>
                    <a:pt x="26" y="41"/>
                    <a:pt x="27" y="40"/>
                  </a:cubicBezTo>
                  <a:cubicBezTo>
                    <a:pt x="27" y="40"/>
                    <a:pt x="28" y="39"/>
                    <a:pt x="29" y="39"/>
                  </a:cubicBezTo>
                  <a:cubicBezTo>
                    <a:pt x="30" y="39"/>
                    <a:pt x="31" y="39"/>
                    <a:pt x="33" y="37"/>
                  </a:cubicBezTo>
                  <a:cubicBezTo>
                    <a:pt x="33" y="37"/>
                    <a:pt x="33" y="37"/>
                    <a:pt x="34" y="37"/>
                  </a:cubicBezTo>
                  <a:cubicBezTo>
                    <a:pt x="36" y="37"/>
                    <a:pt x="36" y="37"/>
                    <a:pt x="36" y="37"/>
                  </a:cubicBezTo>
                  <a:cubicBezTo>
                    <a:pt x="36" y="37"/>
                    <a:pt x="37" y="37"/>
                    <a:pt x="37" y="37"/>
                  </a:cubicBezTo>
                  <a:cubicBezTo>
                    <a:pt x="37" y="36"/>
                    <a:pt x="37" y="36"/>
                    <a:pt x="38" y="36"/>
                  </a:cubicBezTo>
                  <a:cubicBezTo>
                    <a:pt x="39" y="36"/>
                    <a:pt x="41" y="35"/>
                    <a:pt x="46" y="32"/>
                  </a:cubicBezTo>
                  <a:cubicBezTo>
                    <a:pt x="46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8" y="34"/>
                    <a:pt x="51" y="33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5" y="30"/>
                    <a:pt x="55" y="30"/>
                  </a:cubicBezTo>
                  <a:cubicBezTo>
                    <a:pt x="56" y="29"/>
                    <a:pt x="56" y="28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8" y="27"/>
                    <a:pt x="58" y="27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4"/>
                    <a:pt x="61" y="24"/>
                    <a:pt x="62" y="24"/>
                  </a:cubicBezTo>
                  <a:cubicBezTo>
                    <a:pt x="62" y="23"/>
                    <a:pt x="63" y="22"/>
                    <a:pt x="63" y="22"/>
                  </a:cubicBezTo>
                  <a:cubicBezTo>
                    <a:pt x="63" y="21"/>
                    <a:pt x="63" y="21"/>
                    <a:pt x="62" y="21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3" y="19"/>
                    <a:pt x="63" y="19"/>
                    <a:pt x="64" y="18"/>
                  </a:cubicBezTo>
                  <a:cubicBezTo>
                    <a:pt x="64" y="17"/>
                    <a:pt x="63" y="16"/>
                    <a:pt x="62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2" y="14"/>
                    <a:pt x="61" y="14"/>
                    <a:pt x="61" y="13"/>
                  </a:cubicBezTo>
                  <a:cubicBezTo>
                    <a:pt x="61" y="13"/>
                    <a:pt x="61" y="13"/>
                    <a:pt x="61" y="13"/>
                  </a:cubicBezTo>
                  <a:cubicBezTo>
                    <a:pt x="61" y="12"/>
                    <a:pt x="62" y="11"/>
                    <a:pt x="61" y="11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1" y="10"/>
                    <a:pt x="61" y="10"/>
                  </a:cubicBezTo>
                  <a:cubicBezTo>
                    <a:pt x="61" y="10"/>
                    <a:pt x="62" y="9"/>
                    <a:pt x="62" y="9"/>
                  </a:cubicBezTo>
                  <a:cubicBezTo>
                    <a:pt x="63" y="9"/>
                    <a:pt x="64" y="8"/>
                    <a:pt x="64" y="7"/>
                  </a:cubicBezTo>
                  <a:cubicBezTo>
                    <a:pt x="63" y="7"/>
                    <a:pt x="63" y="6"/>
                    <a:pt x="62" y="6"/>
                  </a:cubicBezTo>
                  <a:cubicBezTo>
                    <a:pt x="61" y="6"/>
                    <a:pt x="60" y="6"/>
                    <a:pt x="60" y="6"/>
                  </a:cubicBezTo>
                  <a:cubicBezTo>
                    <a:pt x="60" y="6"/>
                    <a:pt x="60" y="6"/>
                    <a:pt x="59" y="6"/>
                  </a:cubicBezTo>
                  <a:cubicBezTo>
                    <a:pt x="58" y="6"/>
                    <a:pt x="58" y="7"/>
                    <a:pt x="57" y="7"/>
                  </a:cubicBezTo>
                  <a:cubicBezTo>
                    <a:pt x="57" y="6"/>
                    <a:pt x="57" y="5"/>
                    <a:pt x="57" y="5"/>
                  </a:cubicBezTo>
                  <a:cubicBezTo>
                    <a:pt x="57" y="4"/>
                    <a:pt x="57" y="3"/>
                    <a:pt x="57" y="3"/>
                  </a:cubicBezTo>
                  <a:cubicBezTo>
                    <a:pt x="56" y="2"/>
                    <a:pt x="55" y="2"/>
                    <a:pt x="54" y="2"/>
                  </a:cubicBezTo>
                  <a:cubicBezTo>
                    <a:pt x="54" y="2"/>
                    <a:pt x="53" y="2"/>
                    <a:pt x="52" y="3"/>
                  </a:cubicBezTo>
                  <a:cubicBezTo>
                    <a:pt x="51" y="4"/>
                    <a:pt x="50" y="6"/>
                    <a:pt x="50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9" y="7"/>
                    <a:pt x="49" y="7"/>
                    <a:pt x="48" y="7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7"/>
                    <a:pt x="48" y="7"/>
                    <a:pt x="47" y="7"/>
                  </a:cubicBezTo>
                  <a:cubicBezTo>
                    <a:pt x="46" y="7"/>
                    <a:pt x="46" y="7"/>
                    <a:pt x="45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8"/>
                    <a:pt x="44" y="8"/>
                    <a:pt x="44" y="7"/>
                  </a:cubicBezTo>
                  <a:cubicBezTo>
                    <a:pt x="43" y="7"/>
                    <a:pt x="42" y="6"/>
                    <a:pt x="41" y="6"/>
                  </a:cubicBezTo>
                  <a:cubicBezTo>
                    <a:pt x="41" y="6"/>
                    <a:pt x="40" y="6"/>
                    <a:pt x="40" y="7"/>
                  </a:cubicBezTo>
                  <a:cubicBezTo>
                    <a:pt x="39" y="6"/>
                    <a:pt x="38" y="6"/>
                    <a:pt x="37" y="6"/>
                  </a:cubicBezTo>
                  <a:cubicBezTo>
                    <a:pt x="36" y="6"/>
                    <a:pt x="35" y="6"/>
                    <a:pt x="34" y="6"/>
                  </a:cubicBezTo>
                  <a:cubicBezTo>
                    <a:pt x="33" y="6"/>
                    <a:pt x="33" y="7"/>
                    <a:pt x="33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6"/>
                    <a:pt x="31" y="6"/>
                    <a:pt x="30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29" y="6"/>
                    <a:pt x="28" y="6"/>
                    <a:pt x="28" y="6"/>
                  </a:cubicBezTo>
                  <a:cubicBezTo>
                    <a:pt x="27" y="7"/>
                    <a:pt x="27" y="8"/>
                    <a:pt x="27" y="9"/>
                  </a:cubicBezTo>
                  <a:cubicBezTo>
                    <a:pt x="27" y="9"/>
                    <a:pt x="27" y="10"/>
                    <a:pt x="26" y="10"/>
                  </a:cubicBezTo>
                  <a:cubicBezTo>
                    <a:pt x="26" y="10"/>
                    <a:pt x="25" y="10"/>
                    <a:pt x="25" y="10"/>
                  </a:cubicBezTo>
                  <a:cubicBezTo>
                    <a:pt x="24" y="10"/>
                    <a:pt x="24" y="10"/>
                    <a:pt x="23" y="11"/>
                  </a:cubicBezTo>
                  <a:cubicBezTo>
                    <a:pt x="23" y="11"/>
                    <a:pt x="23" y="10"/>
                    <a:pt x="23" y="10"/>
                  </a:cubicBezTo>
                  <a:cubicBezTo>
                    <a:pt x="23" y="9"/>
                    <a:pt x="24" y="9"/>
                    <a:pt x="24" y="9"/>
                  </a:cubicBezTo>
                  <a:cubicBezTo>
                    <a:pt x="24" y="8"/>
                    <a:pt x="24" y="6"/>
                    <a:pt x="23" y="6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4"/>
                    <a:pt x="23" y="3"/>
                    <a:pt x="21" y="3"/>
                  </a:cubicBezTo>
                  <a:cubicBezTo>
                    <a:pt x="21" y="3"/>
                    <a:pt x="21" y="2"/>
                    <a:pt x="20" y="2"/>
                  </a:cubicBezTo>
                  <a:cubicBezTo>
                    <a:pt x="20" y="1"/>
                    <a:pt x="19" y="0"/>
                    <a:pt x="17" y="0"/>
                  </a:cubicBezTo>
                  <a:cubicBezTo>
                    <a:pt x="16" y="0"/>
                    <a:pt x="14" y="1"/>
                    <a:pt x="14" y="2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3"/>
                    <a:pt x="11" y="3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4"/>
                    <a:pt x="9" y="4"/>
                    <a:pt x="9" y="5"/>
                  </a:cubicBezTo>
                  <a:cubicBezTo>
                    <a:pt x="9" y="5"/>
                    <a:pt x="9" y="6"/>
                    <a:pt x="9" y="6"/>
                  </a:cubicBezTo>
                  <a:cubicBezTo>
                    <a:pt x="8" y="6"/>
                    <a:pt x="8" y="7"/>
                    <a:pt x="8" y="8"/>
                  </a:cubicBezTo>
                  <a:cubicBezTo>
                    <a:pt x="7" y="8"/>
                    <a:pt x="6" y="9"/>
                    <a:pt x="6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3" y="9"/>
                    <a:pt x="2" y="10"/>
                    <a:pt x="2" y="11"/>
                  </a:cubicBezTo>
                  <a:cubicBezTo>
                    <a:pt x="1" y="13"/>
                    <a:pt x="4" y="15"/>
                    <a:pt x="4" y="15"/>
                  </a:cubicBezTo>
                  <a:cubicBezTo>
                    <a:pt x="5" y="15"/>
                    <a:pt x="5" y="15"/>
                    <a:pt x="6" y="15"/>
                  </a:cubicBezTo>
                  <a:cubicBezTo>
                    <a:pt x="7" y="15"/>
                    <a:pt x="7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4"/>
                    <a:pt x="11" y="14"/>
                  </a:cubicBezTo>
                  <a:cubicBezTo>
                    <a:pt x="11" y="14"/>
                    <a:pt x="11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2" y="14"/>
                    <a:pt x="12" y="15"/>
                    <a:pt x="12" y="16"/>
                  </a:cubicBezTo>
                  <a:cubicBezTo>
                    <a:pt x="12" y="16"/>
                    <a:pt x="12" y="17"/>
                    <a:pt x="12" y="17"/>
                  </a:cubicBezTo>
                  <a:cubicBezTo>
                    <a:pt x="12" y="17"/>
                    <a:pt x="12" y="17"/>
                    <a:pt x="11" y="17"/>
                  </a:cubicBezTo>
                  <a:cubicBezTo>
                    <a:pt x="11" y="17"/>
                    <a:pt x="11" y="17"/>
                    <a:pt x="10" y="17"/>
                  </a:cubicBezTo>
                  <a:cubicBezTo>
                    <a:pt x="10" y="17"/>
                    <a:pt x="9" y="17"/>
                    <a:pt x="9" y="17"/>
                  </a:cubicBezTo>
                  <a:cubicBezTo>
                    <a:pt x="9" y="17"/>
                    <a:pt x="8" y="17"/>
                    <a:pt x="8" y="17"/>
                  </a:cubicBezTo>
                  <a:cubicBezTo>
                    <a:pt x="8" y="17"/>
                    <a:pt x="8" y="17"/>
                    <a:pt x="7" y="17"/>
                  </a:cubicBezTo>
                  <a:cubicBezTo>
                    <a:pt x="7" y="17"/>
                    <a:pt x="6" y="17"/>
                    <a:pt x="5" y="18"/>
                  </a:cubicBezTo>
                  <a:cubicBezTo>
                    <a:pt x="5" y="18"/>
                    <a:pt x="4" y="17"/>
                    <a:pt x="4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2" y="16"/>
                    <a:pt x="1" y="16"/>
                    <a:pt x="0" y="17"/>
                  </a:cubicBezTo>
                  <a:cubicBezTo>
                    <a:pt x="0" y="18"/>
                    <a:pt x="0" y="19"/>
                    <a:pt x="0" y="19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0"/>
                    <a:pt x="1" y="21"/>
                  </a:cubicBezTo>
                  <a:cubicBezTo>
                    <a:pt x="1" y="21"/>
                    <a:pt x="1" y="22"/>
                    <a:pt x="2" y="22"/>
                  </a:cubicBezTo>
                  <a:cubicBezTo>
                    <a:pt x="2" y="23"/>
                    <a:pt x="2" y="23"/>
                    <a:pt x="3" y="23"/>
                  </a:cubicBezTo>
                  <a:cubicBezTo>
                    <a:pt x="3" y="23"/>
                    <a:pt x="4" y="22"/>
                    <a:pt x="4" y="22"/>
                  </a:cubicBezTo>
                  <a:cubicBezTo>
                    <a:pt x="5" y="22"/>
                    <a:pt x="5" y="22"/>
                    <a:pt x="7" y="22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2"/>
                    <a:pt x="9" y="22"/>
                    <a:pt x="9" y="23"/>
                  </a:cubicBezTo>
                  <a:cubicBezTo>
                    <a:pt x="9" y="23"/>
                    <a:pt x="9" y="24"/>
                    <a:pt x="9" y="25"/>
                  </a:cubicBezTo>
                  <a:cubicBezTo>
                    <a:pt x="9" y="25"/>
                    <a:pt x="9" y="26"/>
                    <a:pt x="10" y="26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0" y="26"/>
                    <a:pt x="10" y="27"/>
                    <a:pt x="10" y="27"/>
                  </a:cubicBezTo>
                  <a:cubicBezTo>
                    <a:pt x="10" y="27"/>
                    <a:pt x="9" y="27"/>
                    <a:pt x="9" y="28"/>
                  </a:cubicBezTo>
                  <a:cubicBezTo>
                    <a:pt x="9" y="28"/>
                    <a:pt x="9" y="28"/>
                    <a:pt x="8" y="28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1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3"/>
                    <a:pt x="22" y="12"/>
                    <a:pt x="22" y="12"/>
                  </a:cubicBezTo>
                  <a:cubicBezTo>
                    <a:pt x="22" y="13"/>
                    <a:pt x="22" y="13"/>
                    <a:pt x="22" y="13"/>
                  </a:cubicBezTo>
                  <a:close/>
                  <a:moveTo>
                    <a:pt x="15" y="5"/>
                  </a:moveTo>
                  <a:cubicBezTo>
                    <a:pt x="15" y="5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6"/>
                    <a:pt x="14" y="5"/>
                    <a:pt x="14" y="5"/>
                  </a:cubicBezTo>
                  <a:cubicBezTo>
                    <a:pt x="14" y="5"/>
                    <a:pt x="15" y="5"/>
                    <a:pt x="15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0" name="Freeform 19"/>
            <p:cNvSpPr>
              <a:spLocks noEditPoints="1"/>
            </p:cNvSpPr>
            <p:nvPr/>
          </p:nvSpPr>
          <p:spPr bwMode="auto">
            <a:xfrm>
              <a:off x="5686" y="1336"/>
              <a:ext cx="201" cy="417"/>
            </a:xfrm>
            <a:custGeom>
              <a:avLst/>
              <a:gdLst>
                <a:gd name="T0" fmla="*/ 1 w 85"/>
                <a:gd name="T1" fmla="*/ 147 h 176"/>
                <a:gd name="T2" fmla="*/ 5 w 85"/>
                <a:gd name="T3" fmla="*/ 158 h 176"/>
                <a:gd name="T4" fmla="*/ 13 w 85"/>
                <a:gd name="T5" fmla="*/ 161 h 176"/>
                <a:gd name="T6" fmla="*/ 12 w 85"/>
                <a:gd name="T7" fmla="*/ 169 h 176"/>
                <a:gd name="T8" fmla="*/ 19 w 85"/>
                <a:gd name="T9" fmla="*/ 176 h 176"/>
                <a:gd name="T10" fmla="*/ 24 w 85"/>
                <a:gd name="T11" fmla="*/ 163 h 176"/>
                <a:gd name="T12" fmla="*/ 24 w 85"/>
                <a:gd name="T13" fmla="*/ 155 h 176"/>
                <a:gd name="T14" fmla="*/ 26 w 85"/>
                <a:gd name="T15" fmla="*/ 154 h 176"/>
                <a:gd name="T16" fmla="*/ 31 w 85"/>
                <a:gd name="T17" fmla="*/ 150 h 176"/>
                <a:gd name="T18" fmla="*/ 35 w 85"/>
                <a:gd name="T19" fmla="*/ 147 h 176"/>
                <a:gd name="T20" fmla="*/ 40 w 85"/>
                <a:gd name="T21" fmla="*/ 145 h 176"/>
                <a:gd name="T22" fmla="*/ 45 w 85"/>
                <a:gd name="T23" fmla="*/ 145 h 176"/>
                <a:gd name="T24" fmla="*/ 51 w 85"/>
                <a:gd name="T25" fmla="*/ 141 h 176"/>
                <a:gd name="T26" fmla="*/ 53 w 85"/>
                <a:gd name="T27" fmla="*/ 132 h 176"/>
                <a:gd name="T28" fmla="*/ 61 w 85"/>
                <a:gd name="T29" fmla="*/ 132 h 176"/>
                <a:gd name="T30" fmla="*/ 65 w 85"/>
                <a:gd name="T31" fmla="*/ 129 h 176"/>
                <a:gd name="T32" fmla="*/ 70 w 85"/>
                <a:gd name="T33" fmla="*/ 129 h 176"/>
                <a:gd name="T34" fmla="*/ 77 w 85"/>
                <a:gd name="T35" fmla="*/ 120 h 176"/>
                <a:gd name="T36" fmla="*/ 73 w 85"/>
                <a:gd name="T37" fmla="*/ 104 h 176"/>
                <a:gd name="T38" fmla="*/ 71 w 85"/>
                <a:gd name="T39" fmla="*/ 88 h 176"/>
                <a:gd name="T40" fmla="*/ 70 w 85"/>
                <a:gd name="T41" fmla="*/ 77 h 176"/>
                <a:gd name="T42" fmla="*/ 58 w 85"/>
                <a:gd name="T43" fmla="*/ 58 h 176"/>
                <a:gd name="T44" fmla="*/ 52 w 85"/>
                <a:gd name="T45" fmla="*/ 48 h 176"/>
                <a:gd name="T46" fmla="*/ 57 w 85"/>
                <a:gd name="T47" fmla="*/ 45 h 176"/>
                <a:gd name="T48" fmla="*/ 65 w 85"/>
                <a:gd name="T49" fmla="*/ 43 h 176"/>
                <a:gd name="T50" fmla="*/ 68 w 85"/>
                <a:gd name="T51" fmla="*/ 36 h 176"/>
                <a:gd name="T52" fmla="*/ 70 w 85"/>
                <a:gd name="T53" fmla="*/ 26 h 176"/>
                <a:gd name="T54" fmla="*/ 73 w 85"/>
                <a:gd name="T55" fmla="*/ 18 h 176"/>
                <a:gd name="T56" fmla="*/ 85 w 85"/>
                <a:gd name="T57" fmla="*/ 15 h 176"/>
                <a:gd name="T58" fmla="*/ 83 w 85"/>
                <a:gd name="T59" fmla="*/ 0 h 176"/>
                <a:gd name="T60" fmla="*/ 75 w 85"/>
                <a:gd name="T61" fmla="*/ 5 h 176"/>
                <a:gd name="T62" fmla="*/ 74 w 85"/>
                <a:gd name="T63" fmla="*/ 12 h 176"/>
                <a:gd name="T64" fmla="*/ 64 w 85"/>
                <a:gd name="T65" fmla="*/ 18 h 176"/>
                <a:gd name="T66" fmla="*/ 61 w 85"/>
                <a:gd name="T67" fmla="*/ 19 h 176"/>
                <a:gd name="T68" fmla="*/ 39 w 85"/>
                <a:gd name="T69" fmla="*/ 9 h 176"/>
                <a:gd name="T70" fmla="*/ 39 w 85"/>
                <a:gd name="T71" fmla="*/ 23 h 176"/>
                <a:gd name="T72" fmla="*/ 37 w 85"/>
                <a:gd name="T73" fmla="*/ 31 h 176"/>
                <a:gd name="T74" fmla="*/ 36 w 85"/>
                <a:gd name="T75" fmla="*/ 43 h 176"/>
                <a:gd name="T76" fmla="*/ 45 w 85"/>
                <a:gd name="T77" fmla="*/ 55 h 176"/>
                <a:gd name="T78" fmla="*/ 49 w 85"/>
                <a:gd name="T79" fmla="*/ 54 h 176"/>
                <a:gd name="T80" fmla="*/ 48 w 85"/>
                <a:gd name="T81" fmla="*/ 65 h 176"/>
                <a:gd name="T82" fmla="*/ 53 w 85"/>
                <a:gd name="T83" fmla="*/ 80 h 176"/>
                <a:gd name="T84" fmla="*/ 51 w 85"/>
                <a:gd name="T85" fmla="*/ 100 h 176"/>
                <a:gd name="T86" fmla="*/ 42 w 85"/>
                <a:gd name="T87" fmla="*/ 98 h 176"/>
                <a:gd name="T88" fmla="*/ 39 w 85"/>
                <a:gd name="T89" fmla="*/ 112 h 176"/>
                <a:gd name="T90" fmla="*/ 33 w 85"/>
                <a:gd name="T91" fmla="*/ 119 h 176"/>
                <a:gd name="T92" fmla="*/ 23 w 85"/>
                <a:gd name="T93" fmla="*/ 121 h 176"/>
                <a:gd name="T94" fmla="*/ 13 w 85"/>
                <a:gd name="T95" fmla="*/ 131 h 176"/>
                <a:gd name="T96" fmla="*/ 7 w 85"/>
                <a:gd name="T97" fmla="*/ 141 h 176"/>
                <a:gd name="T98" fmla="*/ 36 w 85"/>
                <a:gd name="T99" fmla="*/ 136 h 176"/>
                <a:gd name="T100" fmla="*/ 23 w 85"/>
                <a:gd name="T101" fmla="*/ 139 h 176"/>
                <a:gd name="T102" fmla="*/ 21 w 85"/>
                <a:gd name="T103" fmla="*/ 145 h 176"/>
                <a:gd name="T104" fmla="*/ 19 w 85"/>
                <a:gd name="T105" fmla="*/ 143 h 176"/>
                <a:gd name="T106" fmla="*/ 14 w 85"/>
                <a:gd name="T107" fmla="*/ 143 h 176"/>
                <a:gd name="T108" fmla="*/ 19 w 85"/>
                <a:gd name="T109" fmla="*/ 148 h 176"/>
                <a:gd name="T110" fmla="*/ 27 w 85"/>
                <a:gd name="T111" fmla="*/ 137 h 176"/>
                <a:gd name="T112" fmla="*/ 25 w 85"/>
                <a:gd name="T113" fmla="*/ 136 h 176"/>
                <a:gd name="T114" fmla="*/ 52 w 85"/>
                <a:gd name="T115" fmla="*/ 57 h 176"/>
                <a:gd name="T116" fmla="*/ 38 w 85"/>
                <a:gd name="T117" fmla="*/ 138 h 176"/>
                <a:gd name="T118" fmla="*/ 33 w 85"/>
                <a:gd name="T119" fmla="*/ 134 h 176"/>
                <a:gd name="T120" fmla="*/ 40 w 85"/>
                <a:gd name="T121" fmla="*/ 132 h 176"/>
                <a:gd name="T122" fmla="*/ 68 w 85"/>
                <a:gd name="T123" fmla="*/ 21 h 176"/>
                <a:gd name="T124" fmla="*/ 28 w 85"/>
                <a:gd name="T125" fmla="*/ 122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5" h="176">
                  <a:moveTo>
                    <a:pt x="6" y="142"/>
                  </a:moveTo>
                  <a:cubicBezTo>
                    <a:pt x="6" y="142"/>
                    <a:pt x="6" y="142"/>
                    <a:pt x="6" y="143"/>
                  </a:cubicBezTo>
                  <a:cubicBezTo>
                    <a:pt x="6" y="143"/>
                    <a:pt x="6" y="143"/>
                    <a:pt x="6" y="143"/>
                  </a:cubicBezTo>
                  <a:cubicBezTo>
                    <a:pt x="5" y="143"/>
                    <a:pt x="5" y="143"/>
                    <a:pt x="4" y="144"/>
                  </a:cubicBezTo>
                  <a:cubicBezTo>
                    <a:pt x="4" y="144"/>
                    <a:pt x="4" y="145"/>
                    <a:pt x="4" y="145"/>
                  </a:cubicBezTo>
                  <a:cubicBezTo>
                    <a:pt x="3" y="145"/>
                    <a:pt x="3" y="145"/>
                    <a:pt x="2" y="147"/>
                  </a:cubicBezTo>
                  <a:cubicBezTo>
                    <a:pt x="2" y="147"/>
                    <a:pt x="1" y="147"/>
                    <a:pt x="1" y="147"/>
                  </a:cubicBezTo>
                  <a:cubicBezTo>
                    <a:pt x="1" y="148"/>
                    <a:pt x="0" y="149"/>
                    <a:pt x="1" y="150"/>
                  </a:cubicBezTo>
                  <a:cubicBezTo>
                    <a:pt x="2" y="150"/>
                    <a:pt x="2" y="151"/>
                    <a:pt x="2" y="151"/>
                  </a:cubicBezTo>
                  <a:cubicBezTo>
                    <a:pt x="2" y="151"/>
                    <a:pt x="2" y="152"/>
                    <a:pt x="2" y="153"/>
                  </a:cubicBezTo>
                  <a:cubicBezTo>
                    <a:pt x="2" y="154"/>
                    <a:pt x="3" y="155"/>
                    <a:pt x="3" y="155"/>
                  </a:cubicBezTo>
                  <a:cubicBezTo>
                    <a:pt x="4" y="156"/>
                    <a:pt x="4" y="156"/>
                    <a:pt x="4" y="156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4" y="158"/>
                    <a:pt x="4" y="158"/>
                    <a:pt x="5" y="158"/>
                  </a:cubicBezTo>
                  <a:cubicBezTo>
                    <a:pt x="5" y="160"/>
                    <a:pt x="8" y="160"/>
                    <a:pt x="9" y="158"/>
                  </a:cubicBezTo>
                  <a:cubicBezTo>
                    <a:pt x="9" y="159"/>
                    <a:pt x="9" y="159"/>
                    <a:pt x="10" y="159"/>
                  </a:cubicBezTo>
                  <a:cubicBezTo>
                    <a:pt x="10" y="159"/>
                    <a:pt x="11" y="158"/>
                    <a:pt x="11" y="158"/>
                  </a:cubicBezTo>
                  <a:cubicBezTo>
                    <a:pt x="11" y="158"/>
                    <a:pt x="11" y="158"/>
                    <a:pt x="11" y="158"/>
                  </a:cubicBezTo>
                  <a:cubicBezTo>
                    <a:pt x="12" y="159"/>
                    <a:pt x="12" y="160"/>
                    <a:pt x="12" y="160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12" y="161"/>
                    <a:pt x="12" y="161"/>
                    <a:pt x="12" y="161"/>
                  </a:cubicBezTo>
                  <a:cubicBezTo>
                    <a:pt x="11" y="161"/>
                    <a:pt x="10" y="161"/>
                    <a:pt x="10" y="162"/>
                  </a:cubicBezTo>
                  <a:cubicBezTo>
                    <a:pt x="10" y="164"/>
                    <a:pt x="11" y="165"/>
                    <a:pt x="11" y="165"/>
                  </a:cubicBezTo>
                  <a:cubicBezTo>
                    <a:pt x="11" y="165"/>
                    <a:pt x="11" y="165"/>
                    <a:pt x="11" y="165"/>
                  </a:cubicBezTo>
                  <a:cubicBezTo>
                    <a:pt x="11" y="166"/>
                    <a:pt x="12" y="167"/>
                    <a:pt x="12" y="167"/>
                  </a:cubicBezTo>
                  <a:cubicBezTo>
                    <a:pt x="12" y="168"/>
                    <a:pt x="12" y="168"/>
                    <a:pt x="12" y="169"/>
                  </a:cubicBezTo>
                  <a:cubicBezTo>
                    <a:pt x="12" y="169"/>
                    <a:pt x="12" y="169"/>
                    <a:pt x="12" y="169"/>
                  </a:cubicBezTo>
                  <a:cubicBezTo>
                    <a:pt x="12" y="170"/>
                    <a:pt x="12" y="171"/>
                    <a:pt x="13" y="172"/>
                  </a:cubicBezTo>
                  <a:cubicBezTo>
                    <a:pt x="13" y="173"/>
                    <a:pt x="14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6" y="174"/>
                    <a:pt x="17" y="174"/>
                    <a:pt x="17" y="174"/>
                  </a:cubicBezTo>
                  <a:cubicBezTo>
                    <a:pt x="18" y="174"/>
                    <a:pt x="18" y="175"/>
                    <a:pt x="18" y="175"/>
                  </a:cubicBezTo>
                  <a:cubicBezTo>
                    <a:pt x="18" y="175"/>
                    <a:pt x="19" y="176"/>
                    <a:pt x="19" y="176"/>
                  </a:cubicBezTo>
                  <a:cubicBezTo>
                    <a:pt x="20" y="176"/>
                    <a:pt x="21" y="175"/>
                    <a:pt x="21" y="174"/>
                  </a:cubicBezTo>
                  <a:cubicBezTo>
                    <a:pt x="22" y="174"/>
                    <a:pt x="23" y="173"/>
                    <a:pt x="23" y="171"/>
                  </a:cubicBezTo>
                  <a:cubicBezTo>
                    <a:pt x="24" y="171"/>
                    <a:pt x="24" y="170"/>
                    <a:pt x="25" y="169"/>
                  </a:cubicBezTo>
                  <a:cubicBezTo>
                    <a:pt x="25" y="168"/>
                    <a:pt x="24" y="166"/>
                    <a:pt x="24" y="165"/>
                  </a:cubicBezTo>
                  <a:cubicBezTo>
                    <a:pt x="24" y="165"/>
                    <a:pt x="24" y="165"/>
                    <a:pt x="24" y="165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24" y="163"/>
                    <a:pt x="24" y="163"/>
                    <a:pt x="24" y="163"/>
                  </a:cubicBezTo>
                  <a:cubicBezTo>
                    <a:pt x="24" y="163"/>
                    <a:pt x="24" y="162"/>
                    <a:pt x="24" y="162"/>
                  </a:cubicBezTo>
                  <a:cubicBezTo>
                    <a:pt x="24" y="161"/>
                    <a:pt x="24" y="161"/>
                    <a:pt x="23" y="161"/>
                  </a:cubicBezTo>
                  <a:cubicBezTo>
                    <a:pt x="23" y="160"/>
                    <a:pt x="23" y="160"/>
                    <a:pt x="23" y="160"/>
                  </a:cubicBezTo>
                  <a:cubicBezTo>
                    <a:pt x="23" y="159"/>
                    <a:pt x="23" y="159"/>
                    <a:pt x="24" y="159"/>
                  </a:cubicBezTo>
                  <a:cubicBezTo>
                    <a:pt x="24" y="158"/>
                    <a:pt x="25" y="157"/>
                    <a:pt x="24" y="156"/>
                  </a:cubicBezTo>
                  <a:cubicBezTo>
                    <a:pt x="24" y="156"/>
                    <a:pt x="24" y="156"/>
                    <a:pt x="24" y="156"/>
                  </a:cubicBezTo>
                  <a:cubicBezTo>
                    <a:pt x="24" y="156"/>
                    <a:pt x="24" y="155"/>
                    <a:pt x="24" y="155"/>
                  </a:cubicBezTo>
                  <a:cubicBezTo>
                    <a:pt x="25" y="154"/>
                    <a:pt x="25" y="153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5" y="153"/>
                    <a:pt x="25" y="153"/>
                  </a:cubicBezTo>
                  <a:cubicBezTo>
                    <a:pt x="25" y="154"/>
                    <a:pt x="26" y="154"/>
                    <a:pt x="26" y="154"/>
                  </a:cubicBezTo>
                  <a:cubicBezTo>
                    <a:pt x="26" y="155"/>
                    <a:pt x="27" y="155"/>
                    <a:pt x="28" y="155"/>
                  </a:cubicBezTo>
                  <a:cubicBezTo>
                    <a:pt x="28" y="155"/>
                    <a:pt x="28" y="155"/>
                    <a:pt x="28" y="155"/>
                  </a:cubicBezTo>
                  <a:cubicBezTo>
                    <a:pt x="29" y="155"/>
                    <a:pt x="29" y="155"/>
                    <a:pt x="29" y="154"/>
                  </a:cubicBezTo>
                  <a:cubicBezTo>
                    <a:pt x="30" y="154"/>
                    <a:pt x="31" y="154"/>
                    <a:pt x="31" y="153"/>
                  </a:cubicBezTo>
                  <a:cubicBezTo>
                    <a:pt x="32" y="153"/>
                    <a:pt x="31" y="152"/>
                    <a:pt x="31" y="151"/>
                  </a:cubicBezTo>
                  <a:cubicBezTo>
                    <a:pt x="31" y="151"/>
                    <a:pt x="31" y="150"/>
                    <a:pt x="31" y="150"/>
                  </a:cubicBezTo>
                  <a:cubicBezTo>
                    <a:pt x="31" y="150"/>
                    <a:pt x="31" y="150"/>
                    <a:pt x="31" y="150"/>
                  </a:cubicBezTo>
                  <a:cubicBezTo>
                    <a:pt x="32" y="150"/>
                    <a:pt x="33" y="149"/>
                    <a:pt x="32" y="148"/>
                  </a:cubicBezTo>
                  <a:cubicBezTo>
                    <a:pt x="32" y="148"/>
                    <a:pt x="32" y="148"/>
                    <a:pt x="32" y="147"/>
                  </a:cubicBezTo>
                  <a:cubicBezTo>
                    <a:pt x="32" y="147"/>
                    <a:pt x="32" y="147"/>
                    <a:pt x="32" y="147"/>
                  </a:cubicBezTo>
                  <a:cubicBezTo>
                    <a:pt x="32" y="147"/>
                    <a:pt x="32" y="147"/>
                    <a:pt x="33" y="146"/>
                  </a:cubicBezTo>
                  <a:cubicBezTo>
                    <a:pt x="33" y="146"/>
                    <a:pt x="33" y="146"/>
                    <a:pt x="34" y="146"/>
                  </a:cubicBezTo>
                  <a:cubicBezTo>
                    <a:pt x="34" y="146"/>
                    <a:pt x="34" y="146"/>
                    <a:pt x="34" y="146"/>
                  </a:cubicBezTo>
                  <a:cubicBezTo>
                    <a:pt x="35" y="146"/>
                    <a:pt x="35" y="147"/>
                    <a:pt x="35" y="147"/>
                  </a:cubicBezTo>
                  <a:cubicBezTo>
                    <a:pt x="35" y="147"/>
                    <a:pt x="35" y="147"/>
                    <a:pt x="36" y="147"/>
                  </a:cubicBezTo>
                  <a:cubicBezTo>
                    <a:pt x="36" y="147"/>
                    <a:pt x="36" y="147"/>
                    <a:pt x="36" y="148"/>
                  </a:cubicBezTo>
                  <a:cubicBezTo>
                    <a:pt x="36" y="148"/>
                    <a:pt x="36" y="148"/>
                    <a:pt x="36" y="148"/>
                  </a:cubicBezTo>
                  <a:cubicBezTo>
                    <a:pt x="36" y="148"/>
                    <a:pt x="36" y="148"/>
                    <a:pt x="37" y="149"/>
                  </a:cubicBezTo>
                  <a:cubicBezTo>
                    <a:pt x="37" y="149"/>
                    <a:pt x="37" y="149"/>
                    <a:pt x="38" y="149"/>
                  </a:cubicBezTo>
                  <a:cubicBezTo>
                    <a:pt x="38" y="149"/>
                    <a:pt x="39" y="149"/>
                    <a:pt x="40" y="147"/>
                  </a:cubicBezTo>
                  <a:cubicBezTo>
                    <a:pt x="40" y="147"/>
                    <a:pt x="40" y="146"/>
                    <a:pt x="40" y="145"/>
                  </a:cubicBezTo>
                  <a:cubicBezTo>
                    <a:pt x="40" y="144"/>
                    <a:pt x="40" y="144"/>
                    <a:pt x="40" y="144"/>
                  </a:cubicBezTo>
                  <a:cubicBezTo>
                    <a:pt x="40" y="144"/>
                    <a:pt x="40" y="144"/>
                    <a:pt x="40" y="143"/>
                  </a:cubicBezTo>
                  <a:cubicBezTo>
                    <a:pt x="40" y="143"/>
                    <a:pt x="41" y="143"/>
                    <a:pt x="41" y="142"/>
                  </a:cubicBezTo>
                  <a:cubicBezTo>
                    <a:pt x="41" y="142"/>
                    <a:pt x="41" y="141"/>
                    <a:pt x="41" y="141"/>
                  </a:cubicBezTo>
                  <a:cubicBezTo>
                    <a:pt x="41" y="141"/>
                    <a:pt x="41" y="141"/>
                    <a:pt x="41" y="141"/>
                  </a:cubicBezTo>
                  <a:cubicBezTo>
                    <a:pt x="42" y="142"/>
                    <a:pt x="43" y="142"/>
                    <a:pt x="44" y="143"/>
                  </a:cubicBezTo>
                  <a:cubicBezTo>
                    <a:pt x="44" y="143"/>
                    <a:pt x="44" y="144"/>
                    <a:pt x="45" y="145"/>
                  </a:cubicBezTo>
                  <a:cubicBezTo>
                    <a:pt x="46" y="145"/>
                    <a:pt x="47" y="145"/>
                    <a:pt x="47" y="145"/>
                  </a:cubicBezTo>
                  <a:cubicBezTo>
                    <a:pt x="48" y="145"/>
                    <a:pt x="48" y="146"/>
                    <a:pt x="49" y="146"/>
                  </a:cubicBezTo>
                  <a:cubicBezTo>
                    <a:pt x="49" y="146"/>
                    <a:pt x="50" y="146"/>
                    <a:pt x="51" y="144"/>
                  </a:cubicBezTo>
                  <a:cubicBezTo>
                    <a:pt x="49" y="144"/>
                    <a:pt x="49" y="144"/>
                    <a:pt x="49" y="144"/>
                  </a:cubicBezTo>
                  <a:cubicBezTo>
                    <a:pt x="51" y="144"/>
                    <a:pt x="51" y="144"/>
                    <a:pt x="51" y="144"/>
                  </a:cubicBezTo>
                  <a:cubicBezTo>
                    <a:pt x="51" y="143"/>
                    <a:pt x="51" y="143"/>
                    <a:pt x="51" y="142"/>
                  </a:cubicBezTo>
                  <a:cubicBezTo>
                    <a:pt x="51" y="141"/>
                    <a:pt x="51" y="141"/>
                    <a:pt x="51" y="141"/>
                  </a:cubicBezTo>
                  <a:cubicBezTo>
                    <a:pt x="52" y="140"/>
                    <a:pt x="52" y="140"/>
                    <a:pt x="52" y="139"/>
                  </a:cubicBezTo>
                  <a:cubicBezTo>
                    <a:pt x="52" y="139"/>
                    <a:pt x="52" y="138"/>
                    <a:pt x="52" y="138"/>
                  </a:cubicBezTo>
                  <a:cubicBezTo>
                    <a:pt x="52" y="137"/>
                    <a:pt x="52" y="136"/>
                    <a:pt x="52" y="136"/>
                  </a:cubicBezTo>
                  <a:cubicBezTo>
                    <a:pt x="52" y="136"/>
                    <a:pt x="52" y="136"/>
                    <a:pt x="52" y="136"/>
                  </a:cubicBezTo>
                  <a:cubicBezTo>
                    <a:pt x="53" y="136"/>
                    <a:pt x="53" y="135"/>
                    <a:pt x="54" y="135"/>
                  </a:cubicBezTo>
                  <a:cubicBezTo>
                    <a:pt x="54" y="134"/>
                    <a:pt x="54" y="134"/>
                    <a:pt x="54" y="133"/>
                  </a:cubicBezTo>
                  <a:cubicBezTo>
                    <a:pt x="54" y="133"/>
                    <a:pt x="53" y="132"/>
                    <a:pt x="53" y="132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53" y="132"/>
                    <a:pt x="53" y="132"/>
                    <a:pt x="54" y="132"/>
                  </a:cubicBezTo>
                  <a:cubicBezTo>
                    <a:pt x="54" y="132"/>
                    <a:pt x="54" y="132"/>
                    <a:pt x="54" y="132"/>
                  </a:cubicBezTo>
                  <a:cubicBezTo>
                    <a:pt x="55" y="132"/>
                    <a:pt x="55" y="132"/>
                    <a:pt x="56" y="132"/>
                  </a:cubicBezTo>
                  <a:cubicBezTo>
                    <a:pt x="56" y="132"/>
                    <a:pt x="56" y="131"/>
                    <a:pt x="57" y="131"/>
                  </a:cubicBezTo>
                  <a:cubicBezTo>
                    <a:pt x="57" y="131"/>
                    <a:pt x="57" y="131"/>
                    <a:pt x="58" y="131"/>
                  </a:cubicBezTo>
                  <a:cubicBezTo>
                    <a:pt x="59" y="131"/>
                    <a:pt x="60" y="131"/>
                    <a:pt x="61" y="132"/>
                  </a:cubicBezTo>
                  <a:cubicBezTo>
                    <a:pt x="62" y="133"/>
                    <a:pt x="64" y="132"/>
                    <a:pt x="64" y="131"/>
                  </a:cubicBezTo>
                  <a:cubicBezTo>
                    <a:pt x="64" y="130"/>
                    <a:pt x="64" y="129"/>
                    <a:pt x="64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128"/>
                    <a:pt x="64" y="128"/>
                    <a:pt x="64" y="128"/>
                  </a:cubicBezTo>
                  <a:cubicBezTo>
                    <a:pt x="64" y="128"/>
                    <a:pt x="64" y="128"/>
                    <a:pt x="65" y="128"/>
                  </a:cubicBezTo>
                  <a:cubicBezTo>
                    <a:pt x="65" y="128"/>
                    <a:pt x="65" y="128"/>
                    <a:pt x="65" y="128"/>
                  </a:cubicBezTo>
                  <a:cubicBezTo>
                    <a:pt x="65" y="129"/>
                    <a:pt x="65" y="129"/>
                    <a:pt x="65" y="129"/>
                  </a:cubicBezTo>
                  <a:cubicBezTo>
                    <a:pt x="65" y="130"/>
                    <a:pt x="65" y="131"/>
                    <a:pt x="65" y="131"/>
                  </a:cubicBezTo>
                  <a:cubicBezTo>
                    <a:pt x="65" y="132"/>
                    <a:pt x="66" y="132"/>
                    <a:pt x="67" y="132"/>
                  </a:cubicBezTo>
                  <a:cubicBezTo>
                    <a:pt x="67" y="132"/>
                    <a:pt x="67" y="132"/>
                    <a:pt x="67" y="132"/>
                  </a:cubicBezTo>
                  <a:cubicBezTo>
                    <a:pt x="67" y="132"/>
                    <a:pt x="69" y="131"/>
                    <a:pt x="69" y="129"/>
                  </a:cubicBezTo>
                  <a:cubicBezTo>
                    <a:pt x="69" y="129"/>
                    <a:pt x="69" y="129"/>
                    <a:pt x="69" y="128"/>
                  </a:cubicBezTo>
                  <a:cubicBezTo>
                    <a:pt x="69" y="128"/>
                    <a:pt x="69" y="128"/>
                    <a:pt x="69" y="128"/>
                  </a:cubicBezTo>
                  <a:cubicBezTo>
                    <a:pt x="69" y="129"/>
                    <a:pt x="70" y="129"/>
                    <a:pt x="70" y="129"/>
                  </a:cubicBezTo>
                  <a:cubicBezTo>
                    <a:pt x="71" y="129"/>
                    <a:pt x="71" y="128"/>
                    <a:pt x="71" y="128"/>
                  </a:cubicBezTo>
                  <a:cubicBezTo>
                    <a:pt x="72" y="128"/>
                    <a:pt x="73" y="128"/>
                    <a:pt x="73" y="127"/>
                  </a:cubicBezTo>
                  <a:cubicBezTo>
                    <a:pt x="74" y="127"/>
                    <a:pt x="74" y="126"/>
                    <a:pt x="74" y="125"/>
                  </a:cubicBezTo>
                  <a:cubicBezTo>
                    <a:pt x="74" y="124"/>
                    <a:pt x="74" y="124"/>
                    <a:pt x="75" y="124"/>
                  </a:cubicBezTo>
                  <a:cubicBezTo>
                    <a:pt x="75" y="124"/>
                    <a:pt x="75" y="123"/>
                    <a:pt x="76" y="123"/>
                  </a:cubicBezTo>
                  <a:cubicBezTo>
                    <a:pt x="76" y="123"/>
                    <a:pt x="78" y="122"/>
                    <a:pt x="77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7" y="119"/>
                    <a:pt x="77" y="119"/>
                    <a:pt x="77" y="119"/>
                  </a:cubicBezTo>
                  <a:cubicBezTo>
                    <a:pt x="79" y="117"/>
                    <a:pt x="78" y="115"/>
                    <a:pt x="76" y="113"/>
                  </a:cubicBezTo>
                  <a:cubicBezTo>
                    <a:pt x="75" y="112"/>
                    <a:pt x="75" y="112"/>
                    <a:pt x="75" y="111"/>
                  </a:cubicBezTo>
                  <a:cubicBezTo>
                    <a:pt x="75" y="111"/>
                    <a:pt x="75" y="110"/>
                    <a:pt x="75" y="109"/>
                  </a:cubicBezTo>
                  <a:cubicBezTo>
                    <a:pt x="74" y="108"/>
                    <a:pt x="74" y="108"/>
                    <a:pt x="74" y="107"/>
                  </a:cubicBezTo>
                  <a:cubicBezTo>
                    <a:pt x="74" y="107"/>
                    <a:pt x="74" y="106"/>
                    <a:pt x="74" y="105"/>
                  </a:cubicBezTo>
                  <a:cubicBezTo>
                    <a:pt x="73" y="105"/>
                    <a:pt x="73" y="104"/>
                    <a:pt x="73" y="104"/>
                  </a:cubicBezTo>
                  <a:cubicBezTo>
                    <a:pt x="73" y="104"/>
                    <a:pt x="73" y="104"/>
                    <a:pt x="73" y="104"/>
                  </a:cubicBezTo>
                  <a:cubicBezTo>
                    <a:pt x="74" y="103"/>
                    <a:pt x="75" y="101"/>
                    <a:pt x="73" y="99"/>
                  </a:cubicBezTo>
                  <a:cubicBezTo>
                    <a:pt x="73" y="98"/>
                    <a:pt x="72" y="97"/>
                    <a:pt x="72" y="96"/>
                  </a:cubicBezTo>
                  <a:cubicBezTo>
                    <a:pt x="72" y="95"/>
                    <a:pt x="72" y="94"/>
                    <a:pt x="71" y="93"/>
                  </a:cubicBezTo>
                  <a:cubicBezTo>
                    <a:pt x="71" y="92"/>
                    <a:pt x="68" y="89"/>
                    <a:pt x="68" y="88"/>
                  </a:cubicBezTo>
                  <a:cubicBezTo>
                    <a:pt x="68" y="88"/>
                    <a:pt x="68" y="88"/>
                    <a:pt x="68" y="88"/>
                  </a:cubicBezTo>
                  <a:cubicBezTo>
                    <a:pt x="69" y="89"/>
                    <a:pt x="70" y="89"/>
                    <a:pt x="71" y="88"/>
                  </a:cubicBezTo>
                  <a:cubicBezTo>
                    <a:pt x="71" y="88"/>
                    <a:pt x="71" y="87"/>
                    <a:pt x="71" y="86"/>
                  </a:cubicBezTo>
                  <a:cubicBezTo>
                    <a:pt x="71" y="85"/>
                    <a:pt x="71" y="85"/>
                    <a:pt x="70" y="84"/>
                  </a:cubicBezTo>
                  <a:cubicBezTo>
                    <a:pt x="71" y="84"/>
                    <a:pt x="70" y="83"/>
                    <a:pt x="70" y="82"/>
                  </a:cubicBezTo>
                  <a:cubicBezTo>
                    <a:pt x="70" y="82"/>
                    <a:pt x="70" y="82"/>
                    <a:pt x="70" y="82"/>
                  </a:cubicBezTo>
                  <a:cubicBezTo>
                    <a:pt x="70" y="81"/>
                    <a:pt x="70" y="80"/>
                    <a:pt x="70" y="80"/>
                  </a:cubicBezTo>
                  <a:cubicBezTo>
                    <a:pt x="70" y="79"/>
                    <a:pt x="71" y="79"/>
                    <a:pt x="71" y="79"/>
                  </a:cubicBezTo>
                  <a:cubicBezTo>
                    <a:pt x="71" y="78"/>
                    <a:pt x="71" y="77"/>
                    <a:pt x="70" y="77"/>
                  </a:cubicBezTo>
                  <a:cubicBezTo>
                    <a:pt x="70" y="76"/>
                    <a:pt x="70" y="76"/>
                    <a:pt x="70" y="76"/>
                  </a:cubicBezTo>
                  <a:cubicBezTo>
                    <a:pt x="71" y="76"/>
                    <a:pt x="71" y="75"/>
                    <a:pt x="71" y="75"/>
                  </a:cubicBezTo>
                  <a:cubicBezTo>
                    <a:pt x="71" y="74"/>
                    <a:pt x="70" y="73"/>
                    <a:pt x="69" y="73"/>
                  </a:cubicBezTo>
                  <a:cubicBezTo>
                    <a:pt x="69" y="72"/>
                    <a:pt x="68" y="71"/>
                    <a:pt x="67" y="71"/>
                  </a:cubicBezTo>
                  <a:cubicBezTo>
                    <a:pt x="67" y="70"/>
                    <a:pt x="66" y="67"/>
                    <a:pt x="63" y="64"/>
                  </a:cubicBezTo>
                  <a:cubicBezTo>
                    <a:pt x="62" y="62"/>
                    <a:pt x="62" y="62"/>
                    <a:pt x="62" y="62"/>
                  </a:cubicBezTo>
                  <a:cubicBezTo>
                    <a:pt x="59" y="60"/>
                    <a:pt x="58" y="59"/>
                    <a:pt x="58" y="58"/>
                  </a:cubicBezTo>
                  <a:cubicBezTo>
                    <a:pt x="58" y="57"/>
                    <a:pt x="57" y="56"/>
                    <a:pt x="57" y="55"/>
                  </a:cubicBezTo>
                  <a:cubicBezTo>
                    <a:pt x="56" y="55"/>
                    <a:pt x="56" y="54"/>
                    <a:pt x="56" y="54"/>
                  </a:cubicBezTo>
                  <a:cubicBezTo>
                    <a:pt x="56" y="53"/>
                    <a:pt x="55" y="51"/>
                    <a:pt x="53" y="51"/>
                  </a:cubicBezTo>
                  <a:cubicBezTo>
                    <a:pt x="53" y="51"/>
                    <a:pt x="53" y="51"/>
                    <a:pt x="52" y="51"/>
                  </a:cubicBezTo>
                  <a:cubicBezTo>
                    <a:pt x="52" y="51"/>
                    <a:pt x="52" y="51"/>
                    <a:pt x="52" y="51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2" y="49"/>
                    <a:pt x="52" y="49"/>
                    <a:pt x="52" y="48"/>
                  </a:cubicBezTo>
                  <a:cubicBezTo>
                    <a:pt x="51" y="47"/>
                    <a:pt x="46" y="44"/>
                    <a:pt x="46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4"/>
                    <a:pt x="47" y="44"/>
                    <a:pt x="48" y="43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50" y="42"/>
                    <a:pt x="50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4" y="42"/>
                    <a:pt x="56" y="44"/>
                    <a:pt x="57" y="45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8" y="46"/>
                    <a:pt x="59" y="47"/>
                    <a:pt x="60" y="47"/>
                  </a:cubicBezTo>
                  <a:cubicBezTo>
                    <a:pt x="60" y="47"/>
                    <a:pt x="61" y="47"/>
                    <a:pt x="63" y="48"/>
                  </a:cubicBezTo>
                  <a:cubicBezTo>
                    <a:pt x="64" y="49"/>
                    <a:pt x="65" y="48"/>
                    <a:pt x="66" y="47"/>
                  </a:cubicBezTo>
                  <a:cubicBezTo>
                    <a:pt x="67" y="46"/>
                    <a:pt x="66" y="45"/>
                    <a:pt x="65" y="43"/>
                  </a:cubicBezTo>
                  <a:cubicBezTo>
                    <a:pt x="65" y="42"/>
                    <a:pt x="65" y="42"/>
                    <a:pt x="64" y="42"/>
                  </a:cubicBezTo>
                  <a:cubicBezTo>
                    <a:pt x="64" y="41"/>
                    <a:pt x="64" y="40"/>
                    <a:pt x="64" y="40"/>
                  </a:cubicBezTo>
                  <a:cubicBezTo>
                    <a:pt x="65" y="39"/>
                    <a:pt x="65" y="38"/>
                    <a:pt x="65" y="37"/>
                  </a:cubicBezTo>
                  <a:cubicBezTo>
                    <a:pt x="65" y="36"/>
                    <a:pt x="65" y="36"/>
                    <a:pt x="65" y="35"/>
                  </a:cubicBezTo>
                  <a:cubicBezTo>
                    <a:pt x="65" y="35"/>
                    <a:pt x="65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7" y="35"/>
                    <a:pt x="68" y="36"/>
                    <a:pt x="68" y="36"/>
                  </a:cubicBezTo>
                  <a:cubicBezTo>
                    <a:pt x="69" y="36"/>
                    <a:pt x="70" y="36"/>
                    <a:pt x="70" y="34"/>
                  </a:cubicBezTo>
                  <a:cubicBezTo>
                    <a:pt x="70" y="34"/>
                    <a:pt x="70" y="34"/>
                    <a:pt x="70" y="34"/>
                  </a:cubicBezTo>
                  <a:cubicBezTo>
                    <a:pt x="71" y="34"/>
                    <a:pt x="71" y="33"/>
                    <a:pt x="72" y="32"/>
                  </a:cubicBezTo>
                  <a:cubicBezTo>
                    <a:pt x="72" y="32"/>
                    <a:pt x="73" y="32"/>
                    <a:pt x="73" y="32"/>
                  </a:cubicBezTo>
                  <a:cubicBezTo>
                    <a:pt x="75" y="32"/>
                    <a:pt x="76" y="31"/>
                    <a:pt x="76" y="30"/>
                  </a:cubicBezTo>
                  <a:cubicBezTo>
                    <a:pt x="76" y="29"/>
                    <a:pt x="73" y="28"/>
                    <a:pt x="71" y="27"/>
                  </a:cubicBezTo>
                  <a:cubicBezTo>
                    <a:pt x="71" y="27"/>
                    <a:pt x="70" y="26"/>
                    <a:pt x="70" y="26"/>
                  </a:cubicBezTo>
                  <a:cubicBezTo>
                    <a:pt x="69" y="26"/>
                    <a:pt x="69" y="25"/>
                    <a:pt x="69" y="24"/>
                  </a:cubicBezTo>
                  <a:cubicBezTo>
                    <a:pt x="69" y="25"/>
                    <a:pt x="70" y="25"/>
                    <a:pt x="70" y="25"/>
                  </a:cubicBezTo>
                  <a:cubicBezTo>
                    <a:pt x="71" y="25"/>
                    <a:pt x="71" y="25"/>
                    <a:pt x="72" y="24"/>
                  </a:cubicBezTo>
                  <a:cubicBezTo>
                    <a:pt x="72" y="23"/>
                    <a:pt x="72" y="23"/>
                    <a:pt x="72" y="22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0"/>
                    <a:pt x="72" y="19"/>
                    <a:pt x="72" y="19"/>
                  </a:cubicBezTo>
                  <a:cubicBezTo>
                    <a:pt x="72" y="19"/>
                    <a:pt x="72" y="18"/>
                    <a:pt x="73" y="18"/>
                  </a:cubicBezTo>
                  <a:cubicBezTo>
                    <a:pt x="73" y="17"/>
                    <a:pt x="74" y="16"/>
                    <a:pt x="74" y="16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8" y="14"/>
                    <a:pt x="79" y="12"/>
                    <a:pt x="79" y="10"/>
                  </a:cubicBezTo>
                  <a:cubicBezTo>
                    <a:pt x="79" y="9"/>
                    <a:pt x="79" y="9"/>
                    <a:pt x="79" y="9"/>
                  </a:cubicBezTo>
                  <a:cubicBezTo>
                    <a:pt x="79" y="9"/>
                    <a:pt x="79" y="8"/>
                    <a:pt x="79" y="8"/>
                  </a:cubicBezTo>
                  <a:cubicBezTo>
                    <a:pt x="85" y="15"/>
                    <a:pt x="85" y="15"/>
                    <a:pt x="85" y="15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2" y="7"/>
                    <a:pt x="82" y="7"/>
                    <a:pt x="82" y="6"/>
                  </a:cubicBezTo>
                  <a:cubicBezTo>
                    <a:pt x="83" y="6"/>
                    <a:pt x="83" y="6"/>
                    <a:pt x="83" y="6"/>
                  </a:cubicBezTo>
                  <a:cubicBezTo>
                    <a:pt x="83" y="6"/>
                    <a:pt x="83" y="5"/>
                    <a:pt x="83" y="5"/>
                  </a:cubicBezTo>
                  <a:cubicBezTo>
                    <a:pt x="84" y="5"/>
                    <a:pt x="85" y="4"/>
                    <a:pt x="85" y="3"/>
                  </a:cubicBezTo>
                  <a:cubicBezTo>
                    <a:pt x="85" y="3"/>
                    <a:pt x="85" y="2"/>
                    <a:pt x="85" y="1"/>
                  </a:cubicBezTo>
                  <a:cubicBezTo>
                    <a:pt x="84" y="0"/>
                    <a:pt x="83" y="0"/>
                    <a:pt x="83" y="0"/>
                  </a:cubicBezTo>
                  <a:cubicBezTo>
                    <a:pt x="81" y="0"/>
                    <a:pt x="80" y="1"/>
                    <a:pt x="80" y="2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79" y="3"/>
                    <a:pt x="79" y="3"/>
                    <a:pt x="78" y="3"/>
                  </a:cubicBezTo>
                  <a:cubicBezTo>
                    <a:pt x="78" y="3"/>
                    <a:pt x="77" y="3"/>
                    <a:pt x="76" y="4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75" y="8"/>
                    <a:pt x="75" y="8"/>
                    <a:pt x="75" y="8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5" y="11"/>
                    <a:pt x="75" y="11"/>
                    <a:pt x="74" y="11"/>
                  </a:cubicBezTo>
                  <a:cubicBezTo>
                    <a:pt x="74" y="12"/>
                    <a:pt x="74" y="12"/>
                    <a:pt x="74" y="13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3" y="13"/>
                    <a:pt x="73" y="13"/>
                    <a:pt x="73" y="13"/>
                  </a:cubicBezTo>
                  <a:cubicBezTo>
                    <a:pt x="73" y="13"/>
                    <a:pt x="70" y="13"/>
                    <a:pt x="69" y="15"/>
                  </a:cubicBezTo>
                  <a:cubicBezTo>
                    <a:pt x="69" y="15"/>
                    <a:pt x="69" y="16"/>
                    <a:pt x="69" y="16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6" y="17"/>
                    <a:pt x="66" y="17"/>
                    <a:pt x="66" y="17"/>
                  </a:cubicBezTo>
                  <a:cubicBezTo>
                    <a:pt x="65" y="17"/>
                    <a:pt x="65" y="17"/>
                    <a:pt x="64" y="18"/>
                  </a:cubicBezTo>
                  <a:cubicBezTo>
                    <a:pt x="64" y="18"/>
                    <a:pt x="64" y="18"/>
                    <a:pt x="64" y="18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3" y="19"/>
                    <a:pt x="63" y="20"/>
                  </a:cubicBezTo>
                  <a:cubicBezTo>
                    <a:pt x="63" y="20"/>
                    <a:pt x="63" y="20"/>
                    <a:pt x="62" y="21"/>
                  </a:cubicBezTo>
                  <a:cubicBezTo>
                    <a:pt x="62" y="21"/>
                    <a:pt x="62" y="21"/>
                    <a:pt x="62" y="21"/>
                  </a:cubicBezTo>
                  <a:cubicBezTo>
                    <a:pt x="61" y="21"/>
                    <a:pt x="61" y="20"/>
                    <a:pt x="61" y="20"/>
                  </a:cubicBezTo>
                  <a:cubicBezTo>
                    <a:pt x="61" y="20"/>
                    <a:pt x="61" y="20"/>
                    <a:pt x="61" y="19"/>
                  </a:cubicBezTo>
                  <a:cubicBezTo>
                    <a:pt x="60" y="18"/>
                    <a:pt x="59" y="18"/>
                    <a:pt x="59" y="18"/>
                  </a:cubicBezTo>
                  <a:cubicBezTo>
                    <a:pt x="58" y="18"/>
                    <a:pt x="57" y="18"/>
                    <a:pt x="57" y="19"/>
                  </a:cubicBezTo>
                  <a:cubicBezTo>
                    <a:pt x="57" y="19"/>
                    <a:pt x="56" y="19"/>
                    <a:pt x="56" y="19"/>
                  </a:cubicBezTo>
                  <a:cubicBezTo>
                    <a:pt x="56" y="18"/>
                    <a:pt x="55" y="18"/>
                    <a:pt x="54" y="18"/>
                  </a:cubicBezTo>
                  <a:cubicBezTo>
                    <a:pt x="54" y="17"/>
                    <a:pt x="53" y="17"/>
                    <a:pt x="52" y="17"/>
                  </a:cubicBezTo>
                  <a:cubicBezTo>
                    <a:pt x="50" y="17"/>
                    <a:pt x="48" y="16"/>
                    <a:pt x="47" y="14"/>
                  </a:cubicBezTo>
                  <a:cubicBezTo>
                    <a:pt x="45" y="11"/>
                    <a:pt x="42" y="10"/>
                    <a:pt x="39" y="9"/>
                  </a:cubicBezTo>
                  <a:cubicBezTo>
                    <a:pt x="39" y="9"/>
                    <a:pt x="38" y="9"/>
                    <a:pt x="37" y="8"/>
                  </a:cubicBezTo>
                  <a:cubicBezTo>
                    <a:pt x="37" y="8"/>
                    <a:pt x="37" y="7"/>
                    <a:pt x="37" y="7"/>
                  </a:cubicBezTo>
                  <a:cubicBezTo>
                    <a:pt x="37" y="6"/>
                    <a:pt x="36" y="5"/>
                    <a:pt x="35" y="5"/>
                  </a:cubicBezTo>
                  <a:cubicBezTo>
                    <a:pt x="34" y="5"/>
                    <a:pt x="33" y="6"/>
                    <a:pt x="33" y="7"/>
                  </a:cubicBezTo>
                  <a:cubicBezTo>
                    <a:pt x="31" y="10"/>
                    <a:pt x="34" y="13"/>
                    <a:pt x="36" y="16"/>
                  </a:cubicBezTo>
                  <a:cubicBezTo>
                    <a:pt x="36" y="16"/>
                    <a:pt x="37" y="17"/>
                    <a:pt x="37" y="17"/>
                  </a:cubicBezTo>
                  <a:cubicBezTo>
                    <a:pt x="38" y="19"/>
                    <a:pt x="38" y="21"/>
                    <a:pt x="39" y="23"/>
                  </a:cubicBezTo>
                  <a:cubicBezTo>
                    <a:pt x="39" y="23"/>
                    <a:pt x="39" y="24"/>
                    <a:pt x="40" y="25"/>
                  </a:cubicBezTo>
                  <a:cubicBezTo>
                    <a:pt x="40" y="25"/>
                    <a:pt x="40" y="26"/>
                    <a:pt x="40" y="27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9"/>
                    <a:pt x="41" y="30"/>
                    <a:pt x="42" y="32"/>
                  </a:cubicBezTo>
                  <a:cubicBezTo>
                    <a:pt x="42" y="32"/>
                    <a:pt x="42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0" y="31"/>
                    <a:pt x="38" y="30"/>
                    <a:pt x="37" y="31"/>
                  </a:cubicBezTo>
                  <a:cubicBezTo>
                    <a:pt x="36" y="31"/>
                    <a:pt x="36" y="31"/>
                    <a:pt x="36" y="32"/>
                  </a:cubicBezTo>
                  <a:cubicBezTo>
                    <a:pt x="35" y="33"/>
                    <a:pt x="37" y="36"/>
                    <a:pt x="38" y="36"/>
                  </a:cubicBezTo>
                  <a:cubicBezTo>
                    <a:pt x="38" y="37"/>
                    <a:pt x="38" y="37"/>
                    <a:pt x="37" y="38"/>
                  </a:cubicBezTo>
                  <a:cubicBezTo>
                    <a:pt x="37" y="39"/>
                    <a:pt x="37" y="39"/>
                    <a:pt x="36" y="39"/>
                  </a:cubicBezTo>
                  <a:cubicBezTo>
                    <a:pt x="35" y="39"/>
                    <a:pt x="35" y="40"/>
                    <a:pt x="35" y="40"/>
                  </a:cubicBezTo>
                  <a:cubicBezTo>
                    <a:pt x="35" y="41"/>
                    <a:pt x="35" y="42"/>
                    <a:pt x="36" y="42"/>
                  </a:cubicBezTo>
                  <a:cubicBezTo>
                    <a:pt x="36" y="43"/>
                    <a:pt x="36" y="43"/>
                    <a:pt x="36" y="43"/>
                  </a:cubicBezTo>
                  <a:cubicBezTo>
                    <a:pt x="36" y="45"/>
                    <a:pt x="38" y="46"/>
                    <a:pt x="40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51"/>
                    <a:pt x="41" y="52"/>
                    <a:pt x="42" y="54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55"/>
                    <a:pt x="45" y="55"/>
                  </a:cubicBezTo>
                  <a:cubicBezTo>
                    <a:pt x="46" y="55"/>
                    <a:pt x="47" y="53"/>
                    <a:pt x="47" y="52"/>
                  </a:cubicBezTo>
                  <a:cubicBezTo>
                    <a:pt x="47" y="51"/>
                    <a:pt x="47" y="50"/>
                    <a:pt x="47" y="50"/>
                  </a:cubicBezTo>
                  <a:cubicBezTo>
                    <a:pt x="48" y="50"/>
                    <a:pt x="48" y="50"/>
                    <a:pt x="48" y="50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51"/>
                    <a:pt x="48" y="51"/>
                    <a:pt x="48" y="51"/>
                  </a:cubicBezTo>
                  <a:cubicBezTo>
                    <a:pt x="48" y="51"/>
                    <a:pt x="48" y="52"/>
                    <a:pt x="49" y="53"/>
                  </a:cubicBezTo>
                  <a:cubicBezTo>
                    <a:pt x="49" y="53"/>
                    <a:pt x="49" y="53"/>
                    <a:pt x="49" y="54"/>
                  </a:cubicBezTo>
                  <a:cubicBezTo>
                    <a:pt x="49" y="54"/>
                    <a:pt x="49" y="54"/>
                    <a:pt x="49" y="54"/>
                  </a:cubicBezTo>
                  <a:cubicBezTo>
                    <a:pt x="47" y="54"/>
                    <a:pt x="47" y="54"/>
                    <a:pt x="46" y="55"/>
                  </a:cubicBezTo>
                  <a:cubicBezTo>
                    <a:pt x="46" y="56"/>
                    <a:pt x="46" y="57"/>
                    <a:pt x="47" y="57"/>
                  </a:cubicBezTo>
                  <a:cubicBezTo>
                    <a:pt x="47" y="58"/>
                    <a:pt x="47" y="60"/>
                    <a:pt x="47" y="60"/>
                  </a:cubicBezTo>
                  <a:cubicBezTo>
                    <a:pt x="46" y="61"/>
                    <a:pt x="46" y="61"/>
                    <a:pt x="46" y="62"/>
                  </a:cubicBezTo>
                  <a:cubicBezTo>
                    <a:pt x="46" y="63"/>
                    <a:pt x="46" y="64"/>
                    <a:pt x="47" y="65"/>
                  </a:cubicBezTo>
                  <a:cubicBezTo>
                    <a:pt x="47" y="65"/>
                    <a:pt x="48" y="65"/>
                    <a:pt x="48" y="65"/>
                  </a:cubicBezTo>
                  <a:cubicBezTo>
                    <a:pt x="47" y="67"/>
                    <a:pt x="48" y="68"/>
                    <a:pt x="49" y="69"/>
                  </a:cubicBezTo>
                  <a:cubicBezTo>
                    <a:pt x="48" y="71"/>
                    <a:pt x="48" y="72"/>
                    <a:pt x="48" y="72"/>
                  </a:cubicBezTo>
                  <a:cubicBezTo>
                    <a:pt x="49" y="73"/>
                    <a:pt x="50" y="73"/>
                    <a:pt x="51" y="73"/>
                  </a:cubicBezTo>
                  <a:cubicBezTo>
                    <a:pt x="51" y="75"/>
                    <a:pt x="51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8"/>
                    <a:pt x="52" y="79"/>
                    <a:pt x="53" y="80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2" y="84"/>
                    <a:pt x="52" y="85"/>
                    <a:pt x="53" y="87"/>
                  </a:cubicBezTo>
                  <a:cubicBezTo>
                    <a:pt x="53" y="88"/>
                    <a:pt x="54" y="90"/>
                    <a:pt x="53" y="92"/>
                  </a:cubicBezTo>
                  <a:cubicBezTo>
                    <a:pt x="52" y="93"/>
                    <a:pt x="52" y="94"/>
                    <a:pt x="52" y="95"/>
                  </a:cubicBezTo>
                  <a:cubicBezTo>
                    <a:pt x="52" y="95"/>
                    <a:pt x="52" y="95"/>
                    <a:pt x="52" y="96"/>
                  </a:cubicBezTo>
                  <a:cubicBezTo>
                    <a:pt x="51" y="97"/>
                    <a:pt x="51" y="98"/>
                    <a:pt x="51" y="99"/>
                  </a:cubicBezTo>
                  <a:cubicBezTo>
                    <a:pt x="51" y="99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0" y="101"/>
                    <a:pt x="47" y="103"/>
                    <a:pt x="46" y="105"/>
                  </a:cubicBezTo>
                  <a:cubicBezTo>
                    <a:pt x="45" y="104"/>
                    <a:pt x="45" y="103"/>
                    <a:pt x="44" y="103"/>
                  </a:cubicBezTo>
                  <a:cubicBezTo>
                    <a:pt x="45" y="103"/>
                    <a:pt x="45" y="102"/>
                    <a:pt x="45" y="102"/>
                  </a:cubicBezTo>
                  <a:cubicBezTo>
                    <a:pt x="45" y="101"/>
                    <a:pt x="45" y="100"/>
                    <a:pt x="44" y="99"/>
                  </a:cubicBezTo>
                  <a:cubicBezTo>
                    <a:pt x="44" y="99"/>
                    <a:pt x="43" y="98"/>
                    <a:pt x="42" y="98"/>
                  </a:cubicBezTo>
                  <a:cubicBezTo>
                    <a:pt x="42" y="98"/>
                    <a:pt x="42" y="98"/>
                    <a:pt x="41" y="98"/>
                  </a:cubicBezTo>
                  <a:cubicBezTo>
                    <a:pt x="41" y="98"/>
                    <a:pt x="39" y="99"/>
                    <a:pt x="38" y="101"/>
                  </a:cubicBezTo>
                  <a:cubicBezTo>
                    <a:pt x="38" y="101"/>
                    <a:pt x="38" y="102"/>
                    <a:pt x="38" y="103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5"/>
                    <a:pt x="40" y="107"/>
                    <a:pt x="41" y="108"/>
                  </a:cubicBezTo>
                  <a:cubicBezTo>
                    <a:pt x="40" y="108"/>
                    <a:pt x="40" y="110"/>
                    <a:pt x="40" y="111"/>
                  </a:cubicBezTo>
                  <a:cubicBezTo>
                    <a:pt x="40" y="112"/>
                    <a:pt x="39" y="112"/>
                    <a:pt x="39" y="112"/>
                  </a:cubicBezTo>
                  <a:cubicBezTo>
                    <a:pt x="39" y="112"/>
                    <a:pt x="39" y="113"/>
                    <a:pt x="39" y="114"/>
                  </a:cubicBezTo>
                  <a:cubicBezTo>
                    <a:pt x="39" y="114"/>
                    <a:pt x="38" y="115"/>
                    <a:pt x="38" y="116"/>
                  </a:cubicBezTo>
                  <a:cubicBezTo>
                    <a:pt x="38" y="118"/>
                    <a:pt x="38" y="119"/>
                    <a:pt x="38" y="120"/>
                  </a:cubicBezTo>
                  <a:cubicBezTo>
                    <a:pt x="38" y="120"/>
                    <a:pt x="37" y="120"/>
                    <a:pt x="37" y="120"/>
                  </a:cubicBezTo>
                  <a:cubicBezTo>
                    <a:pt x="36" y="119"/>
                    <a:pt x="36" y="118"/>
                    <a:pt x="35" y="118"/>
                  </a:cubicBezTo>
                  <a:cubicBezTo>
                    <a:pt x="34" y="118"/>
                    <a:pt x="34" y="119"/>
                    <a:pt x="33" y="119"/>
                  </a:cubicBezTo>
                  <a:cubicBezTo>
                    <a:pt x="33" y="119"/>
                    <a:pt x="33" y="119"/>
                    <a:pt x="33" y="119"/>
                  </a:cubicBezTo>
                  <a:cubicBezTo>
                    <a:pt x="33" y="119"/>
                    <a:pt x="33" y="119"/>
                    <a:pt x="33" y="119"/>
                  </a:cubicBezTo>
                  <a:cubicBezTo>
                    <a:pt x="32" y="119"/>
                    <a:pt x="31" y="119"/>
                    <a:pt x="31" y="119"/>
                  </a:cubicBezTo>
                  <a:cubicBezTo>
                    <a:pt x="30" y="119"/>
                    <a:pt x="29" y="120"/>
                    <a:pt x="28" y="121"/>
                  </a:cubicBezTo>
                  <a:cubicBezTo>
                    <a:pt x="28" y="121"/>
                    <a:pt x="28" y="121"/>
                    <a:pt x="28" y="121"/>
                  </a:cubicBezTo>
                  <a:cubicBezTo>
                    <a:pt x="27" y="120"/>
                    <a:pt x="25" y="120"/>
                    <a:pt x="24" y="121"/>
                  </a:cubicBezTo>
                  <a:cubicBezTo>
                    <a:pt x="24" y="121"/>
                    <a:pt x="24" y="121"/>
                    <a:pt x="24" y="121"/>
                  </a:cubicBezTo>
                  <a:cubicBezTo>
                    <a:pt x="24" y="121"/>
                    <a:pt x="23" y="121"/>
                    <a:pt x="23" y="121"/>
                  </a:cubicBezTo>
                  <a:cubicBezTo>
                    <a:pt x="23" y="121"/>
                    <a:pt x="22" y="121"/>
                    <a:pt x="21" y="121"/>
                  </a:cubicBezTo>
                  <a:cubicBezTo>
                    <a:pt x="21" y="121"/>
                    <a:pt x="19" y="121"/>
                    <a:pt x="19" y="122"/>
                  </a:cubicBezTo>
                  <a:cubicBezTo>
                    <a:pt x="19" y="122"/>
                    <a:pt x="17" y="123"/>
                    <a:pt x="17" y="123"/>
                  </a:cubicBezTo>
                  <a:cubicBezTo>
                    <a:pt x="16" y="124"/>
                    <a:pt x="16" y="125"/>
                    <a:pt x="16" y="125"/>
                  </a:cubicBezTo>
                  <a:cubicBezTo>
                    <a:pt x="16" y="125"/>
                    <a:pt x="16" y="126"/>
                    <a:pt x="16" y="126"/>
                  </a:cubicBezTo>
                  <a:cubicBezTo>
                    <a:pt x="15" y="127"/>
                    <a:pt x="14" y="128"/>
                    <a:pt x="14" y="129"/>
                  </a:cubicBezTo>
                  <a:cubicBezTo>
                    <a:pt x="14" y="130"/>
                    <a:pt x="14" y="131"/>
                    <a:pt x="13" y="131"/>
                  </a:cubicBezTo>
                  <a:cubicBezTo>
                    <a:pt x="12" y="132"/>
                    <a:pt x="11" y="132"/>
                    <a:pt x="11" y="134"/>
                  </a:cubicBezTo>
                  <a:cubicBezTo>
                    <a:pt x="11" y="134"/>
                    <a:pt x="11" y="135"/>
                    <a:pt x="11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10" y="135"/>
                    <a:pt x="10" y="135"/>
                    <a:pt x="10" y="135"/>
                  </a:cubicBezTo>
                  <a:cubicBezTo>
                    <a:pt x="9" y="135"/>
                    <a:pt x="7" y="135"/>
                    <a:pt x="6" y="136"/>
                  </a:cubicBezTo>
                  <a:cubicBezTo>
                    <a:pt x="6" y="136"/>
                    <a:pt x="6" y="137"/>
                    <a:pt x="6" y="138"/>
                  </a:cubicBezTo>
                  <a:cubicBezTo>
                    <a:pt x="6" y="139"/>
                    <a:pt x="6" y="140"/>
                    <a:pt x="7" y="141"/>
                  </a:cubicBezTo>
                  <a:cubicBezTo>
                    <a:pt x="7" y="141"/>
                    <a:pt x="7" y="141"/>
                    <a:pt x="7" y="141"/>
                  </a:cubicBezTo>
                  <a:lnTo>
                    <a:pt x="6" y="142"/>
                  </a:lnTo>
                  <a:close/>
                  <a:moveTo>
                    <a:pt x="43" y="43"/>
                  </a:moveTo>
                  <a:cubicBezTo>
                    <a:pt x="43" y="43"/>
                    <a:pt x="43" y="43"/>
                    <a:pt x="43" y="43"/>
                  </a:cubicBezTo>
                  <a:cubicBezTo>
                    <a:pt x="43" y="43"/>
                    <a:pt x="44" y="43"/>
                    <a:pt x="44" y="44"/>
                  </a:cubicBezTo>
                  <a:cubicBezTo>
                    <a:pt x="44" y="43"/>
                    <a:pt x="43" y="43"/>
                    <a:pt x="43" y="43"/>
                  </a:cubicBezTo>
                  <a:close/>
                  <a:moveTo>
                    <a:pt x="36" y="136"/>
                  </a:moveTo>
                  <a:cubicBezTo>
                    <a:pt x="36" y="136"/>
                    <a:pt x="36" y="136"/>
                    <a:pt x="36" y="136"/>
                  </a:cubicBezTo>
                  <a:cubicBezTo>
                    <a:pt x="36" y="136"/>
                    <a:pt x="36" y="136"/>
                    <a:pt x="36" y="136"/>
                  </a:cubicBezTo>
                  <a:close/>
                  <a:moveTo>
                    <a:pt x="21" y="141"/>
                  </a:moveTo>
                  <a:cubicBezTo>
                    <a:pt x="21" y="140"/>
                    <a:pt x="21" y="139"/>
                    <a:pt x="21" y="139"/>
                  </a:cubicBezTo>
                  <a:cubicBezTo>
                    <a:pt x="22" y="139"/>
                    <a:pt x="22" y="139"/>
                    <a:pt x="22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39"/>
                    <a:pt x="23" y="139"/>
                    <a:pt x="23" y="139"/>
                  </a:cubicBezTo>
                  <a:cubicBezTo>
                    <a:pt x="23" y="140"/>
                    <a:pt x="23" y="140"/>
                    <a:pt x="23" y="141"/>
                  </a:cubicBezTo>
                  <a:cubicBezTo>
                    <a:pt x="23" y="141"/>
                    <a:pt x="23" y="142"/>
                    <a:pt x="23" y="142"/>
                  </a:cubicBezTo>
                  <a:cubicBezTo>
                    <a:pt x="23" y="142"/>
                    <a:pt x="23" y="143"/>
                    <a:pt x="23" y="143"/>
                  </a:cubicBezTo>
                  <a:cubicBezTo>
                    <a:pt x="23" y="143"/>
                    <a:pt x="23" y="143"/>
                    <a:pt x="22" y="144"/>
                  </a:cubicBezTo>
                  <a:cubicBezTo>
                    <a:pt x="22" y="144"/>
                    <a:pt x="22" y="144"/>
                    <a:pt x="22" y="144"/>
                  </a:cubicBezTo>
                  <a:cubicBezTo>
                    <a:pt x="21" y="145"/>
                    <a:pt x="21" y="145"/>
                    <a:pt x="21" y="145"/>
                  </a:cubicBezTo>
                  <a:cubicBezTo>
                    <a:pt x="21" y="145"/>
                    <a:pt x="21" y="145"/>
                    <a:pt x="21" y="145"/>
                  </a:cubicBezTo>
                  <a:cubicBezTo>
                    <a:pt x="20" y="146"/>
                    <a:pt x="20" y="146"/>
                    <a:pt x="20" y="147"/>
                  </a:cubicBezTo>
                  <a:cubicBezTo>
                    <a:pt x="20" y="147"/>
                    <a:pt x="20" y="147"/>
                    <a:pt x="20" y="147"/>
                  </a:cubicBezTo>
                  <a:cubicBezTo>
                    <a:pt x="19" y="147"/>
                    <a:pt x="19" y="147"/>
                    <a:pt x="19" y="147"/>
                  </a:cubicBezTo>
                  <a:cubicBezTo>
                    <a:pt x="20" y="146"/>
                    <a:pt x="19" y="144"/>
                    <a:pt x="18" y="143"/>
                  </a:cubicBezTo>
                  <a:cubicBezTo>
                    <a:pt x="18" y="143"/>
                    <a:pt x="18" y="143"/>
                    <a:pt x="18" y="143"/>
                  </a:cubicBezTo>
                  <a:cubicBezTo>
                    <a:pt x="18" y="143"/>
                    <a:pt x="18" y="143"/>
                    <a:pt x="19" y="143"/>
                  </a:cubicBezTo>
                  <a:cubicBezTo>
                    <a:pt x="19" y="143"/>
                    <a:pt x="19" y="143"/>
                    <a:pt x="19" y="143"/>
                  </a:cubicBezTo>
                  <a:cubicBezTo>
                    <a:pt x="20" y="143"/>
                    <a:pt x="20" y="143"/>
                    <a:pt x="20" y="142"/>
                  </a:cubicBezTo>
                  <a:cubicBezTo>
                    <a:pt x="21" y="142"/>
                    <a:pt x="21" y="141"/>
                    <a:pt x="21" y="141"/>
                  </a:cubicBezTo>
                  <a:close/>
                  <a:moveTo>
                    <a:pt x="15" y="143"/>
                  </a:moveTo>
                  <a:cubicBezTo>
                    <a:pt x="15" y="143"/>
                    <a:pt x="15" y="143"/>
                    <a:pt x="15" y="143"/>
                  </a:cubicBezTo>
                  <a:cubicBezTo>
                    <a:pt x="15" y="143"/>
                    <a:pt x="15" y="143"/>
                    <a:pt x="15" y="143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43"/>
                    <a:pt x="14" y="143"/>
                    <a:pt x="14" y="143"/>
                  </a:cubicBezTo>
                  <a:cubicBezTo>
                    <a:pt x="14" y="143"/>
                    <a:pt x="14" y="143"/>
                    <a:pt x="14" y="142"/>
                  </a:cubicBezTo>
                  <a:cubicBezTo>
                    <a:pt x="14" y="143"/>
                    <a:pt x="15" y="142"/>
                    <a:pt x="16" y="142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2"/>
                    <a:pt x="17" y="143"/>
                    <a:pt x="17" y="143"/>
                  </a:cubicBezTo>
                  <a:cubicBezTo>
                    <a:pt x="16" y="143"/>
                    <a:pt x="15" y="143"/>
                    <a:pt x="15" y="143"/>
                  </a:cubicBezTo>
                  <a:close/>
                  <a:moveTo>
                    <a:pt x="19" y="148"/>
                  </a:moveTo>
                  <a:cubicBezTo>
                    <a:pt x="19" y="148"/>
                    <a:pt x="19" y="148"/>
                    <a:pt x="19" y="148"/>
                  </a:cubicBezTo>
                  <a:cubicBezTo>
                    <a:pt x="19" y="148"/>
                    <a:pt x="19" y="148"/>
                    <a:pt x="19" y="148"/>
                  </a:cubicBezTo>
                  <a:close/>
                  <a:moveTo>
                    <a:pt x="28" y="135"/>
                  </a:moveTo>
                  <a:cubicBezTo>
                    <a:pt x="28" y="136"/>
                    <a:pt x="28" y="137"/>
                    <a:pt x="28" y="137"/>
                  </a:cubicBezTo>
                  <a:cubicBezTo>
                    <a:pt x="28" y="137"/>
                    <a:pt x="28" y="137"/>
                    <a:pt x="28" y="137"/>
                  </a:cubicBezTo>
                  <a:cubicBezTo>
                    <a:pt x="28" y="137"/>
                    <a:pt x="28" y="137"/>
                    <a:pt x="28" y="137"/>
                  </a:cubicBezTo>
                  <a:cubicBezTo>
                    <a:pt x="28" y="137"/>
                    <a:pt x="27" y="137"/>
                    <a:pt x="27" y="137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7" y="136"/>
                    <a:pt x="28" y="136"/>
                    <a:pt x="28" y="135"/>
                  </a:cubicBezTo>
                  <a:cubicBezTo>
                    <a:pt x="28" y="135"/>
                    <a:pt x="28" y="135"/>
                    <a:pt x="29" y="135"/>
                  </a:cubicBezTo>
                  <a:cubicBezTo>
                    <a:pt x="29" y="135"/>
                    <a:pt x="29" y="135"/>
                    <a:pt x="28" y="135"/>
                  </a:cubicBezTo>
                  <a:close/>
                  <a:moveTo>
                    <a:pt x="25" y="136"/>
                  </a:moveTo>
                  <a:cubicBezTo>
                    <a:pt x="25" y="136"/>
                    <a:pt x="25" y="136"/>
                    <a:pt x="25" y="136"/>
                  </a:cubicBezTo>
                  <a:cubicBezTo>
                    <a:pt x="25" y="136"/>
                    <a:pt x="25" y="136"/>
                    <a:pt x="25" y="136"/>
                  </a:cubicBezTo>
                  <a:close/>
                  <a:moveTo>
                    <a:pt x="35" y="136"/>
                  </a:moveTo>
                  <a:cubicBezTo>
                    <a:pt x="35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lose/>
                  <a:moveTo>
                    <a:pt x="52" y="57"/>
                  </a:moveTo>
                  <a:cubicBezTo>
                    <a:pt x="52" y="57"/>
                    <a:pt x="52" y="57"/>
                    <a:pt x="52" y="56"/>
                  </a:cubicBezTo>
                  <a:cubicBezTo>
                    <a:pt x="52" y="56"/>
                    <a:pt x="52" y="56"/>
                    <a:pt x="52" y="56"/>
                  </a:cubicBezTo>
                  <a:cubicBezTo>
                    <a:pt x="52" y="57"/>
                    <a:pt x="52" y="57"/>
                    <a:pt x="52" y="57"/>
                  </a:cubicBezTo>
                  <a:cubicBezTo>
                    <a:pt x="52" y="57"/>
                    <a:pt x="52" y="57"/>
                    <a:pt x="52" y="57"/>
                  </a:cubicBezTo>
                  <a:close/>
                  <a:moveTo>
                    <a:pt x="35" y="145"/>
                  </a:moveTo>
                  <a:cubicBezTo>
                    <a:pt x="35" y="145"/>
                    <a:pt x="35" y="145"/>
                    <a:pt x="35" y="145"/>
                  </a:cubicBezTo>
                  <a:cubicBezTo>
                    <a:pt x="35" y="145"/>
                    <a:pt x="35" y="145"/>
                    <a:pt x="35" y="145"/>
                  </a:cubicBezTo>
                  <a:close/>
                  <a:moveTo>
                    <a:pt x="39" y="138"/>
                  </a:moveTo>
                  <a:cubicBezTo>
                    <a:pt x="39" y="138"/>
                    <a:pt x="39" y="138"/>
                    <a:pt x="38" y="138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8" y="138"/>
                    <a:pt x="38" y="138"/>
                    <a:pt x="38" y="138"/>
                  </a:cubicBezTo>
                  <a:cubicBezTo>
                    <a:pt x="38" y="138"/>
                    <a:pt x="38" y="138"/>
                    <a:pt x="38" y="137"/>
                  </a:cubicBezTo>
                  <a:cubicBezTo>
                    <a:pt x="38" y="137"/>
                    <a:pt x="38" y="137"/>
                    <a:pt x="38" y="137"/>
                  </a:cubicBezTo>
                  <a:cubicBezTo>
                    <a:pt x="38" y="136"/>
                    <a:pt x="37" y="135"/>
                    <a:pt x="36" y="135"/>
                  </a:cubicBezTo>
                  <a:cubicBezTo>
                    <a:pt x="36" y="135"/>
                    <a:pt x="36" y="135"/>
                    <a:pt x="36" y="135"/>
                  </a:cubicBezTo>
                  <a:cubicBezTo>
                    <a:pt x="36" y="134"/>
                    <a:pt x="35" y="134"/>
                    <a:pt x="35" y="134"/>
                  </a:cubicBezTo>
                  <a:cubicBezTo>
                    <a:pt x="34" y="133"/>
                    <a:pt x="33" y="133"/>
                    <a:pt x="33" y="134"/>
                  </a:cubicBezTo>
                  <a:cubicBezTo>
                    <a:pt x="33" y="134"/>
                    <a:pt x="32" y="134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3"/>
                    <a:pt x="33" y="132"/>
                    <a:pt x="33" y="132"/>
                  </a:cubicBezTo>
                  <a:cubicBezTo>
                    <a:pt x="33" y="132"/>
                    <a:pt x="34" y="132"/>
                    <a:pt x="34" y="132"/>
                  </a:cubicBezTo>
                  <a:cubicBezTo>
                    <a:pt x="36" y="133"/>
                    <a:pt x="38" y="133"/>
                    <a:pt x="39" y="132"/>
                  </a:cubicBezTo>
                  <a:cubicBezTo>
                    <a:pt x="39" y="132"/>
                    <a:pt x="40" y="132"/>
                    <a:pt x="40" y="132"/>
                  </a:cubicBezTo>
                  <a:cubicBezTo>
                    <a:pt x="40" y="132"/>
                    <a:pt x="40" y="132"/>
                    <a:pt x="40" y="132"/>
                  </a:cubicBezTo>
                  <a:cubicBezTo>
                    <a:pt x="39" y="133"/>
                    <a:pt x="38" y="134"/>
                    <a:pt x="38" y="135"/>
                  </a:cubicBezTo>
                  <a:cubicBezTo>
                    <a:pt x="38" y="135"/>
                    <a:pt x="39" y="136"/>
                    <a:pt x="40" y="136"/>
                  </a:cubicBezTo>
                  <a:cubicBezTo>
                    <a:pt x="40" y="137"/>
                    <a:pt x="40" y="138"/>
                    <a:pt x="40" y="139"/>
                  </a:cubicBezTo>
                  <a:cubicBezTo>
                    <a:pt x="40" y="139"/>
                    <a:pt x="40" y="139"/>
                    <a:pt x="40" y="139"/>
                  </a:cubicBezTo>
                  <a:cubicBezTo>
                    <a:pt x="40" y="139"/>
                    <a:pt x="39" y="138"/>
                    <a:pt x="39" y="138"/>
                  </a:cubicBezTo>
                  <a:close/>
                  <a:moveTo>
                    <a:pt x="68" y="20"/>
                  </a:moveTo>
                  <a:cubicBezTo>
                    <a:pt x="68" y="21"/>
                    <a:pt x="68" y="21"/>
                    <a:pt x="68" y="21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19"/>
                    <a:pt x="67" y="19"/>
                    <a:pt x="67" y="19"/>
                  </a:cubicBezTo>
                  <a:cubicBezTo>
                    <a:pt x="68" y="19"/>
                    <a:pt x="68" y="19"/>
                    <a:pt x="68" y="19"/>
                  </a:cubicBezTo>
                  <a:cubicBezTo>
                    <a:pt x="68" y="19"/>
                    <a:pt x="68" y="20"/>
                    <a:pt x="68" y="20"/>
                  </a:cubicBezTo>
                  <a:close/>
                  <a:moveTo>
                    <a:pt x="28" y="122"/>
                  </a:moveTo>
                  <a:cubicBezTo>
                    <a:pt x="28" y="122"/>
                    <a:pt x="28" y="122"/>
                    <a:pt x="28" y="122"/>
                  </a:cubicBezTo>
                  <a:cubicBezTo>
                    <a:pt x="28" y="122"/>
                    <a:pt x="28" y="122"/>
                    <a:pt x="28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1" name="Freeform 20"/>
            <p:cNvSpPr>
              <a:spLocks noEditPoints="1"/>
            </p:cNvSpPr>
            <p:nvPr/>
          </p:nvSpPr>
          <p:spPr bwMode="auto">
            <a:xfrm>
              <a:off x="5906" y="1286"/>
              <a:ext cx="10" cy="17"/>
            </a:xfrm>
            <a:custGeom>
              <a:avLst/>
              <a:gdLst>
                <a:gd name="T0" fmla="*/ 0 w 4"/>
                <a:gd name="T1" fmla="*/ 4 h 7"/>
                <a:gd name="T2" fmla="*/ 0 w 4"/>
                <a:gd name="T3" fmla="*/ 5 h 7"/>
                <a:gd name="T4" fmla="*/ 0 w 4"/>
                <a:gd name="T5" fmla="*/ 6 h 7"/>
                <a:gd name="T6" fmla="*/ 1 w 4"/>
                <a:gd name="T7" fmla="*/ 7 h 7"/>
                <a:gd name="T8" fmla="*/ 1 w 4"/>
                <a:gd name="T9" fmla="*/ 7 h 7"/>
                <a:gd name="T10" fmla="*/ 2 w 4"/>
                <a:gd name="T11" fmla="*/ 7 h 7"/>
                <a:gd name="T12" fmla="*/ 3 w 4"/>
                <a:gd name="T13" fmla="*/ 6 h 7"/>
                <a:gd name="T14" fmla="*/ 3 w 4"/>
                <a:gd name="T15" fmla="*/ 5 h 7"/>
                <a:gd name="T16" fmla="*/ 4 w 4"/>
                <a:gd name="T17" fmla="*/ 4 h 7"/>
                <a:gd name="T18" fmla="*/ 4 w 4"/>
                <a:gd name="T19" fmla="*/ 3 h 7"/>
                <a:gd name="T20" fmla="*/ 4 w 4"/>
                <a:gd name="T21" fmla="*/ 3 h 7"/>
                <a:gd name="T22" fmla="*/ 4 w 4"/>
                <a:gd name="T23" fmla="*/ 1 h 7"/>
                <a:gd name="T24" fmla="*/ 2 w 4"/>
                <a:gd name="T25" fmla="*/ 1 h 7"/>
                <a:gd name="T26" fmla="*/ 0 w 4"/>
                <a:gd name="T27" fmla="*/ 2 h 7"/>
                <a:gd name="T28" fmla="*/ 0 w 4"/>
                <a:gd name="T29" fmla="*/ 3 h 7"/>
                <a:gd name="T30" fmla="*/ 0 w 4"/>
                <a:gd name="T31" fmla="*/ 4 h 7"/>
                <a:gd name="T32" fmla="*/ 1 w 4"/>
                <a:gd name="T33" fmla="*/ 4 h 7"/>
                <a:gd name="T34" fmla="*/ 1 w 4"/>
                <a:gd name="T35" fmla="*/ 4 h 7"/>
                <a:gd name="T36" fmla="*/ 0 w 4"/>
                <a:gd name="T37" fmla="*/ 4 h 7"/>
                <a:gd name="T38" fmla="*/ 1 w 4"/>
                <a:gd name="T39" fmla="*/ 4 h 7"/>
                <a:gd name="T40" fmla="*/ 1 w 4"/>
                <a:gd name="T41" fmla="*/ 4 h 7"/>
                <a:gd name="T42" fmla="*/ 1 w 4"/>
                <a:gd name="T43" fmla="*/ 5 h 7"/>
                <a:gd name="T44" fmla="*/ 1 w 4"/>
                <a:gd name="T45" fmla="*/ 4 h 7"/>
                <a:gd name="T46" fmla="*/ 2 w 4"/>
                <a:gd name="T47" fmla="*/ 5 h 7"/>
                <a:gd name="T48" fmla="*/ 2 w 4"/>
                <a:gd name="T49" fmla="*/ 5 h 7"/>
                <a:gd name="T50" fmla="*/ 2 w 4"/>
                <a:gd name="T51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" h="7">
                  <a:moveTo>
                    <a:pt x="0" y="4"/>
                  </a:moveTo>
                  <a:cubicBezTo>
                    <a:pt x="0" y="4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5"/>
                    <a:pt x="4" y="5"/>
                    <a:pt x="4" y="4"/>
                  </a:cubicBezTo>
                  <a:cubicBezTo>
                    <a:pt x="4" y="4"/>
                    <a:pt x="4" y="4"/>
                    <a:pt x="4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2"/>
                    <a:pt x="4" y="2"/>
                    <a:pt x="4" y="1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1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lnTo>
                    <a:pt x="0" y="4"/>
                  </a:lnTo>
                  <a:close/>
                  <a:moveTo>
                    <a:pt x="1" y="4"/>
                  </a:move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lnTo>
                    <a:pt x="1" y="4"/>
                  </a:lnTo>
                  <a:close/>
                  <a:moveTo>
                    <a:pt x="2" y="5"/>
                  </a:move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2" name="Freeform 21"/>
            <p:cNvSpPr>
              <a:spLocks/>
            </p:cNvSpPr>
            <p:nvPr/>
          </p:nvSpPr>
          <p:spPr bwMode="auto">
            <a:xfrm>
              <a:off x="5885" y="1312"/>
              <a:ext cx="19" cy="29"/>
            </a:xfrm>
            <a:custGeom>
              <a:avLst/>
              <a:gdLst>
                <a:gd name="T0" fmla="*/ 1 w 8"/>
                <a:gd name="T1" fmla="*/ 12 h 12"/>
                <a:gd name="T2" fmla="*/ 2 w 8"/>
                <a:gd name="T3" fmla="*/ 12 h 12"/>
                <a:gd name="T4" fmla="*/ 6 w 8"/>
                <a:gd name="T5" fmla="*/ 7 h 12"/>
                <a:gd name="T6" fmla="*/ 6 w 8"/>
                <a:gd name="T7" fmla="*/ 5 h 12"/>
                <a:gd name="T8" fmla="*/ 6 w 8"/>
                <a:gd name="T9" fmla="*/ 5 h 12"/>
                <a:gd name="T10" fmla="*/ 7 w 8"/>
                <a:gd name="T11" fmla="*/ 4 h 12"/>
                <a:gd name="T12" fmla="*/ 8 w 8"/>
                <a:gd name="T13" fmla="*/ 2 h 12"/>
                <a:gd name="T14" fmla="*/ 7 w 8"/>
                <a:gd name="T15" fmla="*/ 1 h 12"/>
                <a:gd name="T16" fmla="*/ 6 w 8"/>
                <a:gd name="T17" fmla="*/ 0 h 12"/>
                <a:gd name="T18" fmla="*/ 3 w 8"/>
                <a:gd name="T19" fmla="*/ 2 h 12"/>
                <a:gd name="T20" fmla="*/ 2 w 8"/>
                <a:gd name="T21" fmla="*/ 5 h 12"/>
                <a:gd name="T22" fmla="*/ 2 w 8"/>
                <a:gd name="T23" fmla="*/ 5 h 12"/>
                <a:gd name="T24" fmla="*/ 2 w 8"/>
                <a:gd name="T25" fmla="*/ 5 h 12"/>
                <a:gd name="T26" fmla="*/ 1 w 8"/>
                <a:gd name="T27" fmla="*/ 7 h 12"/>
                <a:gd name="T28" fmla="*/ 1 w 8"/>
                <a:gd name="T29" fmla="*/ 11 h 12"/>
                <a:gd name="T30" fmla="*/ 1 w 8"/>
                <a:gd name="T31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" h="12">
                  <a:moveTo>
                    <a:pt x="1" y="12"/>
                  </a:moveTo>
                  <a:cubicBezTo>
                    <a:pt x="2" y="12"/>
                    <a:pt x="2" y="12"/>
                    <a:pt x="2" y="12"/>
                  </a:cubicBezTo>
                  <a:cubicBezTo>
                    <a:pt x="3" y="12"/>
                    <a:pt x="4" y="10"/>
                    <a:pt x="6" y="7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7" y="5"/>
                    <a:pt x="7" y="4"/>
                  </a:cubicBezTo>
                  <a:cubicBezTo>
                    <a:pt x="7" y="4"/>
                    <a:pt x="8" y="3"/>
                    <a:pt x="8" y="2"/>
                  </a:cubicBezTo>
                  <a:cubicBezTo>
                    <a:pt x="8" y="2"/>
                    <a:pt x="8" y="1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4" y="0"/>
                    <a:pt x="3" y="2"/>
                    <a:pt x="3" y="2"/>
                  </a:cubicBezTo>
                  <a:cubicBezTo>
                    <a:pt x="2" y="3"/>
                    <a:pt x="2" y="4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1" y="6"/>
                    <a:pt x="1" y="7"/>
                  </a:cubicBezTo>
                  <a:cubicBezTo>
                    <a:pt x="0" y="8"/>
                    <a:pt x="0" y="10"/>
                    <a:pt x="1" y="11"/>
                  </a:cubicBezTo>
                  <a:lnTo>
                    <a:pt x="1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5842" y="2704"/>
              <a:ext cx="31" cy="36"/>
            </a:xfrm>
            <a:custGeom>
              <a:avLst/>
              <a:gdLst>
                <a:gd name="T0" fmla="*/ 12 w 13"/>
                <a:gd name="T1" fmla="*/ 1 h 15"/>
                <a:gd name="T2" fmla="*/ 11 w 13"/>
                <a:gd name="T3" fmla="*/ 0 h 15"/>
                <a:gd name="T4" fmla="*/ 8 w 13"/>
                <a:gd name="T5" fmla="*/ 1 h 15"/>
                <a:gd name="T6" fmla="*/ 7 w 13"/>
                <a:gd name="T7" fmla="*/ 2 h 15"/>
                <a:gd name="T8" fmla="*/ 5 w 13"/>
                <a:gd name="T9" fmla="*/ 4 h 15"/>
                <a:gd name="T10" fmla="*/ 5 w 13"/>
                <a:gd name="T11" fmla="*/ 5 h 15"/>
                <a:gd name="T12" fmla="*/ 5 w 13"/>
                <a:gd name="T13" fmla="*/ 6 h 15"/>
                <a:gd name="T14" fmla="*/ 5 w 13"/>
                <a:gd name="T15" fmla="*/ 6 h 15"/>
                <a:gd name="T16" fmla="*/ 4 w 13"/>
                <a:gd name="T17" fmla="*/ 7 h 15"/>
                <a:gd name="T18" fmla="*/ 3 w 13"/>
                <a:gd name="T19" fmla="*/ 10 h 15"/>
                <a:gd name="T20" fmla="*/ 1 w 13"/>
                <a:gd name="T21" fmla="*/ 11 h 15"/>
                <a:gd name="T22" fmla="*/ 1 w 13"/>
                <a:gd name="T23" fmla="*/ 14 h 15"/>
                <a:gd name="T24" fmla="*/ 3 w 13"/>
                <a:gd name="T25" fmla="*/ 15 h 15"/>
                <a:gd name="T26" fmla="*/ 6 w 13"/>
                <a:gd name="T27" fmla="*/ 14 h 15"/>
                <a:gd name="T28" fmla="*/ 7 w 13"/>
                <a:gd name="T29" fmla="*/ 12 h 15"/>
                <a:gd name="T30" fmla="*/ 7 w 13"/>
                <a:gd name="T31" fmla="*/ 11 h 15"/>
                <a:gd name="T32" fmla="*/ 9 w 13"/>
                <a:gd name="T33" fmla="*/ 9 h 15"/>
                <a:gd name="T34" fmla="*/ 9 w 13"/>
                <a:gd name="T35" fmla="*/ 8 h 15"/>
                <a:gd name="T36" fmla="*/ 12 w 13"/>
                <a:gd name="T37" fmla="*/ 3 h 15"/>
                <a:gd name="T38" fmla="*/ 12 w 13"/>
                <a:gd name="T39" fmla="*/ 3 h 15"/>
                <a:gd name="T40" fmla="*/ 12 w 13"/>
                <a:gd name="T41" fmla="*/ 3 h 15"/>
                <a:gd name="T42" fmla="*/ 12 w 13"/>
                <a:gd name="T43" fmla="*/ 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15">
                  <a:moveTo>
                    <a:pt x="12" y="1"/>
                  </a:moveTo>
                  <a:cubicBezTo>
                    <a:pt x="12" y="0"/>
                    <a:pt x="11" y="0"/>
                    <a:pt x="11" y="0"/>
                  </a:cubicBezTo>
                  <a:cubicBezTo>
                    <a:pt x="10" y="0"/>
                    <a:pt x="8" y="1"/>
                    <a:pt x="8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3"/>
                    <a:pt x="5" y="4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4" y="6"/>
                    <a:pt x="4" y="7"/>
                  </a:cubicBezTo>
                  <a:cubicBezTo>
                    <a:pt x="4" y="7"/>
                    <a:pt x="3" y="8"/>
                    <a:pt x="3" y="10"/>
                  </a:cubicBezTo>
                  <a:cubicBezTo>
                    <a:pt x="2" y="10"/>
                    <a:pt x="1" y="11"/>
                    <a:pt x="1" y="11"/>
                  </a:cubicBezTo>
                  <a:cubicBezTo>
                    <a:pt x="0" y="12"/>
                    <a:pt x="0" y="13"/>
                    <a:pt x="1" y="14"/>
                  </a:cubicBezTo>
                  <a:cubicBezTo>
                    <a:pt x="1" y="15"/>
                    <a:pt x="2" y="15"/>
                    <a:pt x="3" y="15"/>
                  </a:cubicBezTo>
                  <a:cubicBezTo>
                    <a:pt x="4" y="15"/>
                    <a:pt x="5" y="15"/>
                    <a:pt x="6" y="14"/>
                  </a:cubicBezTo>
                  <a:cubicBezTo>
                    <a:pt x="7" y="14"/>
                    <a:pt x="7" y="13"/>
                    <a:pt x="7" y="12"/>
                  </a:cubicBezTo>
                  <a:cubicBezTo>
                    <a:pt x="7" y="12"/>
                    <a:pt x="7" y="11"/>
                    <a:pt x="7" y="11"/>
                  </a:cubicBezTo>
                  <a:cubicBezTo>
                    <a:pt x="7" y="11"/>
                    <a:pt x="8" y="10"/>
                    <a:pt x="9" y="9"/>
                  </a:cubicBezTo>
                  <a:cubicBezTo>
                    <a:pt x="9" y="9"/>
                    <a:pt x="9" y="8"/>
                    <a:pt x="9" y="8"/>
                  </a:cubicBezTo>
                  <a:cubicBezTo>
                    <a:pt x="11" y="7"/>
                    <a:pt x="12" y="5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3" y="2"/>
                    <a:pt x="12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5909" y="2664"/>
              <a:ext cx="21" cy="40"/>
            </a:xfrm>
            <a:custGeom>
              <a:avLst/>
              <a:gdLst>
                <a:gd name="T0" fmla="*/ 9 w 9"/>
                <a:gd name="T1" fmla="*/ 7 h 17"/>
                <a:gd name="T2" fmla="*/ 9 w 9"/>
                <a:gd name="T3" fmla="*/ 5 h 17"/>
                <a:gd name="T4" fmla="*/ 9 w 9"/>
                <a:gd name="T5" fmla="*/ 5 h 17"/>
                <a:gd name="T6" fmla="*/ 9 w 9"/>
                <a:gd name="T7" fmla="*/ 4 h 17"/>
                <a:gd name="T8" fmla="*/ 8 w 9"/>
                <a:gd name="T9" fmla="*/ 1 h 17"/>
                <a:gd name="T10" fmla="*/ 3 w 9"/>
                <a:gd name="T11" fmla="*/ 1 h 17"/>
                <a:gd name="T12" fmla="*/ 3 w 9"/>
                <a:gd name="T13" fmla="*/ 3 h 17"/>
                <a:gd name="T14" fmla="*/ 3 w 9"/>
                <a:gd name="T15" fmla="*/ 4 h 17"/>
                <a:gd name="T16" fmla="*/ 3 w 9"/>
                <a:gd name="T17" fmla="*/ 5 h 17"/>
                <a:gd name="T18" fmla="*/ 3 w 9"/>
                <a:gd name="T19" fmla="*/ 5 h 17"/>
                <a:gd name="T20" fmla="*/ 2 w 9"/>
                <a:gd name="T21" fmla="*/ 5 h 17"/>
                <a:gd name="T22" fmla="*/ 1 w 9"/>
                <a:gd name="T23" fmla="*/ 6 h 17"/>
                <a:gd name="T24" fmla="*/ 2 w 9"/>
                <a:gd name="T25" fmla="*/ 8 h 17"/>
                <a:gd name="T26" fmla="*/ 2 w 9"/>
                <a:gd name="T27" fmla="*/ 8 h 17"/>
                <a:gd name="T28" fmla="*/ 1 w 9"/>
                <a:gd name="T29" fmla="*/ 10 h 17"/>
                <a:gd name="T30" fmla="*/ 0 w 9"/>
                <a:gd name="T31" fmla="*/ 12 h 17"/>
                <a:gd name="T32" fmla="*/ 1 w 9"/>
                <a:gd name="T33" fmla="*/ 14 h 17"/>
                <a:gd name="T34" fmla="*/ 2 w 9"/>
                <a:gd name="T35" fmla="*/ 16 h 17"/>
                <a:gd name="T36" fmla="*/ 3 w 9"/>
                <a:gd name="T37" fmla="*/ 17 h 17"/>
                <a:gd name="T38" fmla="*/ 3 w 9"/>
                <a:gd name="T39" fmla="*/ 17 h 17"/>
                <a:gd name="T40" fmla="*/ 6 w 9"/>
                <a:gd name="T41" fmla="*/ 14 h 17"/>
                <a:gd name="T42" fmla="*/ 6 w 9"/>
                <a:gd name="T43" fmla="*/ 12 h 17"/>
                <a:gd name="T44" fmla="*/ 7 w 9"/>
                <a:gd name="T45" fmla="*/ 11 h 17"/>
                <a:gd name="T46" fmla="*/ 8 w 9"/>
                <a:gd name="T47" fmla="*/ 10 h 17"/>
                <a:gd name="T48" fmla="*/ 9 w 9"/>
                <a:gd name="T49" fmla="*/ 9 h 17"/>
                <a:gd name="T50" fmla="*/ 9 w 9"/>
                <a:gd name="T51" fmla="*/ 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" h="17">
                  <a:moveTo>
                    <a:pt x="9" y="7"/>
                  </a:moveTo>
                  <a:cubicBezTo>
                    <a:pt x="9" y="6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3"/>
                    <a:pt x="9" y="2"/>
                    <a:pt x="8" y="1"/>
                  </a:cubicBezTo>
                  <a:cubicBezTo>
                    <a:pt x="7" y="0"/>
                    <a:pt x="5" y="0"/>
                    <a:pt x="3" y="1"/>
                  </a:cubicBezTo>
                  <a:cubicBezTo>
                    <a:pt x="3" y="1"/>
                    <a:pt x="3" y="2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7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0"/>
                    <a:pt x="0" y="11"/>
                    <a:pt x="0" y="12"/>
                  </a:cubicBezTo>
                  <a:cubicBezTo>
                    <a:pt x="0" y="13"/>
                    <a:pt x="1" y="14"/>
                    <a:pt x="1" y="14"/>
                  </a:cubicBezTo>
                  <a:cubicBezTo>
                    <a:pt x="1" y="15"/>
                    <a:pt x="1" y="16"/>
                    <a:pt x="2" y="16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4" y="17"/>
                    <a:pt x="5" y="16"/>
                    <a:pt x="6" y="14"/>
                  </a:cubicBezTo>
                  <a:cubicBezTo>
                    <a:pt x="6" y="14"/>
                    <a:pt x="6" y="13"/>
                    <a:pt x="6" y="12"/>
                  </a:cubicBezTo>
                  <a:cubicBezTo>
                    <a:pt x="6" y="12"/>
                    <a:pt x="7" y="11"/>
                    <a:pt x="7" y="11"/>
                  </a:cubicBezTo>
                  <a:cubicBezTo>
                    <a:pt x="7" y="11"/>
                    <a:pt x="8" y="10"/>
                    <a:pt x="8" y="10"/>
                  </a:cubicBezTo>
                  <a:cubicBezTo>
                    <a:pt x="8" y="10"/>
                    <a:pt x="8" y="10"/>
                    <a:pt x="9" y="9"/>
                  </a:cubicBezTo>
                  <a:cubicBezTo>
                    <a:pt x="9" y="9"/>
                    <a:pt x="9" y="8"/>
                    <a:pt x="9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5" name="Freeform 24"/>
            <p:cNvSpPr>
              <a:spLocks noEditPoints="1"/>
            </p:cNvSpPr>
            <p:nvPr/>
          </p:nvSpPr>
          <p:spPr bwMode="auto">
            <a:xfrm>
              <a:off x="5750" y="2713"/>
              <a:ext cx="26" cy="15"/>
            </a:xfrm>
            <a:custGeom>
              <a:avLst/>
              <a:gdLst>
                <a:gd name="T0" fmla="*/ 6 w 11"/>
                <a:gd name="T1" fmla="*/ 1 h 6"/>
                <a:gd name="T2" fmla="*/ 5 w 11"/>
                <a:gd name="T3" fmla="*/ 1 h 6"/>
                <a:gd name="T4" fmla="*/ 4 w 11"/>
                <a:gd name="T5" fmla="*/ 1 h 6"/>
                <a:gd name="T6" fmla="*/ 4 w 11"/>
                <a:gd name="T7" fmla="*/ 1 h 6"/>
                <a:gd name="T8" fmla="*/ 2 w 11"/>
                <a:gd name="T9" fmla="*/ 2 h 6"/>
                <a:gd name="T10" fmla="*/ 1 w 11"/>
                <a:gd name="T11" fmla="*/ 2 h 6"/>
                <a:gd name="T12" fmla="*/ 0 w 11"/>
                <a:gd name="T13" fmla="*/ 4 h 6"/>
                <a:gd name="T14" fmla="*/ 0 w 11"/>
                <a:gd name="T15" fmla="*/ 5 h 6"/>
                <a:gd name="T16" fmla="*/ 2 w 11"/>
                <a:gd name="T17" fmla="*/ 6 h 6"/>
                <a:gd name="T18" fmla="*/ 3 w 11"/>
                <a:gd name="T19" fmla="*/ 6 h 6"/>
                <a:gd name="T20" fmla="*/ 4 w 11"/>
                <a:gd name="T21" fmla="*/ 6 h 6"/>
                <a:gd name="T22" fmla="*/ 4 w 11"/>
                <a:gd name="T23" fmla="*/ 6 h 6"/>
                <a:gd name="T24" fmla="*/ 5 w 11"/>
                <a:gd name="T25" fmla="*/ 6 h 6"/>
                <a:gd name="T26" fmla="*/ 6 w 11"/>
                <a:gd name="T27" fmla="*/ 6 h 6"/>
                <a:gd name="T28" fmla="*/ 8 w 11"/>
                <a:gd name="T29" fmla="*/ 5 h 6"/>
                <a:gd name="T30" fmla="*/ 9 w 11"/>
                <a:gd name="T31" fmla="*/ 5 h 6"/>
                <a:gd name="T32" fmla="*/ 9 w 11"/>
                <a:gd name="T33" fmla="*/ 5 h 6"/>
                <a:gd name="T34" fmla="*/ 11 w 11"/>
                <a:gd name="T35" fmla="*/ 4 h 6"/>
                <a:gd name="T36" fmla="*/ 10 w 11"/>
                <a:gd name="T37" fmla="*/ 2 h 6"/>
                <a:gd name="T38" fmla="*/ 9 w 11"/>
                <a:gd name="T39" fmla="*/ 1 h 6"/>
                <a:gd name="T40" fmla="*/ 7 w 11"/>
                <a:gd name="T41" fmla="*/ 0 h 6"/>
                <a:gd name="T42" fmla="*/ 6 w 11"/>
                <a:gd name="T43" fmla="*/ 1 h 6"/>
                <a:gd name="T44" fmla="*/ 7 w 11"/>
                <a:gd name="T45" fmla="*/ 2 h 6"/>
                <a:gd name="T46" fmla="*/ 7 w 11"/>
                <a:gd name="T47" fmla="*/ 2 h 6"/>
                <a:gd name="T48" fmla="*/ 6 w 11"/>
                <a:gd name="T49" fmla="*/ 1 h 6"/>
                <a:gd name="T50" fmla="*/ 8 w 11"/>
                <a:gd name="T51" fmla="*/ 1 h 6"/>
                <a:gd name="T52" fmla="*/ 8 w 11"/>
                <a:gd name="T53" fmla="*/ 1 h 6"/>
                <a:gd name="T54" fmla="*/ 8 w 11"/>
                <a:gd name="T55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" h="6">
                  <a:moveTo>
                    <a:pt x="6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3"/>
                    <a:pt x="0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6"/>
                    <a:pt x="1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7" y="6"/>
                    <a:pt x="8" y="5"/>
                  </a:cubicBezTo>
                  <a:cubicBezTo>
                    <a:pt x="8" y="5"/>
                    <a:pt x="8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11" y="5"/>
                    <a:pt x="11" y="4"/>
                  </a:cubicBezTo>
                  <a:cubicBezTo>
                    <a:pt x="11" y="4"/>
                    <a:pt x="11" y="3"/>
                    <a:pt x="10" y="2"/>
                  </a:cubicBezTo>
                  <a:cubicBezTo>
                    <a:pt x="10" y="2"/>
                    <a:pt x="10" y="1"/>
                    <a:pt x="9" y="1"/>
                  </a:cubicBezTo>
                  <a:cubicBezTo>
                    <a:pt x="9" y="1"/>
                    <a:pt x="9" y="0"/>
                    <a:pt x="7" y="0"/>
                  </a:cubicBezTo>
                  <a:cubicBezTo>
                    <a:pt x="7" y="0"/>
                    <a:pt x="6" y="1"/>
                    <a:pt x="6" y="1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lnTo>
                    <a:pt x="6" y="1"/>
                  </a:lnTo>
                  <a:close/>
                  <a:moveTo>
                    <a:pt x="8" y="1"/>
                  </a:move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6" name="Freeform 25"/>
            <p:cNvSpPr>
              <a:spLocks noEditPoints="1"/>
            </p:cNvSpPr>
            <p:nvPr/>
          </p:nvSpPr>
          <p:spPr bwMode="auto">
            <a:xfrm>
              <a:off x="5701" y="2725"/>
              <a:ext cx="42" cy="19"/>
            </a:xfrm>
            <a:custGeom>
              <a:avLst/>
              <a:gdLst>
                <a:gd name="T0" fmla="*/ 2 w 18"/>
                <a:gd name="T1" fmla="*/ 7 h 8"/>
                <a:gd name="T2" fmla="*/ 3 w 18"/>
                <a:gd name="T3" fmla="*/ 7 h 8"/>
                <a:gd name="T4" fmla="*/ 4 w 18"/>
                <a:gd name="T5" fmla="*/ 8 h 8"/>
                <a:gd name="T6" fmla="*/ 4 w 18"/>
                <a:gd name="T7" fmla="*/ 7 h 8"/>
                <a:gd name="T8" fmla="*/ 6 w 18"/>
                <a:gd name="T9" fmla="*/ 6 h 8"/>
                <a:gd name="T10" fmla="*/ 6 w 18"/>
                <a:gd name="T11" fmla="*/ 6 h 8"/>
                <a:gd name="T12" fmla="*/ 7 w 18"/>
                <a:gd name="T13" fmla="*/ 5 h 8"/>
                <a:gd name="T14" fmla="*/ 7 w 18"/>
                <a:gd name="T15" fmla="*/ 5 h 8"/>
                <a:gd name="T16" fmla="*/ 7 w 18"/>
                <a:gd name="T17" fmla="*/ 6 h 8"/>
                <a:gd name="T18" fmla="*/ 8 w 18"/>
                <a:gd name="T19" fmla="*/ 7 h 8"/>
                <a:gd name="T20" fmla="*/ 10 w 18"/>
                <a:gd name="T21" fmla="*/ 5 h 8"/>
                <a:gd name="T22" fmla="*/ 12 w 18"/>
                <a:gd name="T23" fmla="*/ 6 h 8"/>
                <a:gd name="T24" fmla="*/ 13 w 18"/>
                <a:gd name="T25" fmla="*/ 6 h 8"/>
                <a:gd name="T26" fmla="*/ 14 w 18"/>
                <a:gd name="T27" fmla="*/ 5 h 8"/>
                <a:gd name="T28" fmla="*/ 15 w 18"/>
                <a:gd name="T29" fmla="*/ 5 h 8"/>
                <a:gd name="T30" fmla="*/ 18 w 18"/>
                <a:gd name="T31" fmla="*/ 3 h 8"/>
                <a:gd name="T32" fmla="*/ 18 w 18"/>
                <a:gd name="T33" fmla="*/ 1 h 8"/>
                <a:gd name="T34" fmla="*/ 15 w 18"/>
                <a:gd name="T35" fmla="*/ 1 h 8"/>
                <a:gd name="T36" fmla="*/ 15 w 18"/>
                <a:gd name="T37" fmla="*/ 0 h 8"/>
                <a:gd name="T38" fmla="*/ 14 w 18"/>
                <a:gd name="T39" fmla="*/ 0 h 8"/>
                <a:gd name="T40" fmla="*/ 13 w 18"/>
                <a:gd name="T41" fmla="*/ 0 h 8"/>
                <a:gd name="T42" fmla="*/ 12 w 18"/>
                <a:gd name="T43" fmla="*/ 0 h 8"/>
                <a:gd name="T44" fmla="*/ 10 w 18"/>
                <a:gd name="T45" fmla="*/ 1 h 8"/>
                <a:gd name="T46" fmla="*/ 10 w 18"/>
                <a:gd name="T47" fmla="*/ 1 h 8"/>
                <a:gd name="T48" fmla="*/ 9 w 18"/>
                <a:gd name="T49" fmla="*/ 1 h 8"/>
                <a:gd name="T50" fmla="*/ 9 w 18"/>
                <a:gd name="T51" fmla="*/ 1 h 8"/>
                <a:gd name="T52" fmla="*/ 7 w 18"/>
                <a:gd name="T53" fmla="*/ 2 h 8"/>
                <a:gd name="T54" fmla="*/ 6 w 18"/>
                <a:gd name="T55" fmla="*/ 2 h 8"/>
                <a:gd name="T56" fmla="*/ 4 w 18"/>
                <a:gd name="T57" fmla="*/ 2 h 8"/>
                <a:gd name="T58" fmla="*/ 4 w 18"/>
                <a:gd name="T59" fmla="*/ 3 h 8"/>
                <a:gd name="T60" fmla="*/ 3 w 18"/>
                <a:gd name="T61" fmla="*/ 3 h 8"/>
                <a:gd name="T62" fmla="*/ 2 w 18"/>
                <a:gd name="T63" fmla="*/ 3 h 8"/>
                <a:gd name="T64" fmla="*/ 1 w 18"/>
                <a:gd name="T65" fmla="*/ 4 h 8"/>
                <a:gd name="T66" fmla="*/ 1 w 18"/>
                <a:gd name="T67" fmla="*/ 4 h 8"/>
                <a:gd name="T68" fmla="*/ 0 w 18"/>
                <a:gd name="T69" fmla="*/ 6 h 8"/>
                <a:gd name="T70" fmla="*/ 1 w 18"/>
                <a:gd name="T71" fmla="*/ 7 h 8"/>
                <a:gd name="T72" fmla="*/ 2 w 18"/>
                <a:gd name="T73" fmla="*/ 7 h 8"/>
                <a:gd name="T74" fmla="*/ 9 w 18"/>
                <a:gd name="T75" fmla="*/ 4 h 8"/>
                <a:gd name="T76" fmla="*/ 10 w 18"/>
                <a:gd name="T77" fmla="*/ 5 h 8"/>
                <a:gd name="T78" fmla="*/ 10 w 18"/>
                <a:gd name="T79" fmla="*/ 5 h 8"/>
                <a:gd name="T80" fmla="*/ 10 w 18"/>
                <a:gd name="T81" fmla="*/ 5 h 8"/>
                <a:gd name="T82" fmla="*/ 9 w 18"/>
                <a:gd name="T83" fmla="*/ 4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" h="8">
                  <a:moveTo>
                    <a:pt x="2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5"/>
                    <a:pt x="7" y="6"/>
                    <a:pt x="7" y="6"/>
                  </a:cubicBezTo>
                  <a:cubicBezTo>
                    <a:pt x="7" y="6"/>
                    <a:pt x="8" y="7"/>
                    <a:pt x="8" y="7"/>
                  </a:cubicBezTo>
                  <a:cubicBezTo>
                    <a:pt x="9" y="7"/>
                    <a:pt x="10" y="6"/>
                    <a:pt x="10" y="5"/>
                  </a:cubicBezTo>
                  <a:cubicBezTo>
                    <a:pt x="10" y="5"/>
                    <a:pt x="11" y="6"/>
                    <a:pt x="12" y="6"/>
                  </a:cubicBezTo>
                  <a:cubicBezTo>
                    <a:pt x="12" y="6"/>
                    <a:pt x="12" y="6"/>
                    <a:pt x="13" y="6"/>
                  </a:cubicBezTo>
                  <a:cubicBezTo>
                    <a:pt x="13" y="5"/>
                    <a:pt x="14" y="5"/>
                    <a:pt x="14" y="5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7" y="5"/>
                    <a:pt x="18" y="4"/>
                    <a:pt x="18" y="3"/>
                  </a:cubicBezTo>
                  <a:cubicBezTo>
                    <a:pt x="18" y="3"/>
                    <a:pt x="18" y="2"/>
                    <a:pt x="18" y="1"/>
                  </a:cubicBezTo>
                  <a:cubicBezTo>
                    <a:pt x="17" y="1"/>
                    <a:pt x="16" y="1"/>
                    <a:pt x="15" y="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3" y="0"/>
                    <a:pt x="12" y="0"/>
                    <a:pt x="12" y="0"/>
                  </a:cubicBezTo>
                  <a:cubicBezTo>
                    <a:pt x="11" y="0"/>
                    <a:pt x="10" y="0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7" y="2"/>
                    <a:pt x="7" y="2"/>
                  </a:cubicBezTo>
                  <a:cubicBezTo>
                    <a:pt x="7" y="2"/>
                    <a:pt x="6" y="2"/>
                    <a:pt x="6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0" y="6"/>
                    <a:pt x="0" y="6"/>
                    <a:pt x="1" y="7"/>
                  </a:cubicBezTo>
                  <a:cubicBezTo>
                    <a:pt x="1" y="7"/>
                    <a:pt x="1" y="7"/>
                    <a:pt x="2" y="7"/>
                  </a:cubicBezTo>
                  <a:close/>
                  <a:moveTo>
                    <a:pt x="9" y="4"/>
                  </a:move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lnTo>
                    <a:pt x="9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7" name="Freeform 26"/>
            <p:cNvSpPr>
              <a:spLocks noEditPoints="1"/>
            </p:cNvSpPr>
            <p:nvPr/>
          </p:nvSpPr>
          <p:spPr bwMode="auto">
            <a:xfrm>
              <a:off x="5632" y="2725"/>
              <a:ext cx="69" cy="26"/>
            </a:xfrm>
            <a:custGeom>
              <a:avLst/>
              <a:gdLst>
                <a:gd name="T0" fmla="*/ 12 w 29"/>
                <a:gd name="T1" fmla="*/ 11 h 11"/>
                <a:gd name="T2" fmla="*/ 12 w 29"/>
                <a:gd name="T3" fmla="*/ 11 h 11"/>
                <a:gd name="T4" fmla="*/ 16 w 29"/>
                <a:gd name="T5" fmla="*/ 10 h 11"/>
                <a:gd name="T6" fmla="*/ 17 w 29"/>
                <a:gd name="T7" fmla="*/ 9 h 11"/>
                <a:gd name="T8" fmla="*/ 17 w 29"/>
                <a:gd name="T9" fmla="*/ 9 h 11"/>
                <a:gd name="T10" fmla="*/ 18 w 29"/>
                <a:gd name="T11" fmla="*/ 10 h 11"/>
                <a:gd name="T12" fmla="*/ 20 w 29"/>
                <a:gd name="T13" fmla="*/ 10 h 11"/>
                <a:gd name="T14" fmla="*/ 20 w 29"/>
                <a:gd name="T15" fmla="*/ 10 h 11"/>
                <a:gd name="T16" fmla="*/ 21 w 29"/>
                <a:gd name="T17" fmla="*/ 10 h 11"/>
                <a:gd name="T18" fmla="*/ 21 w 29"/>
                <a:gd name="T19" fmla="*/ 10 h 11"/>
                <a:gd name="T20" fmla="*/ 22 w 29"/>
                <a:gd name="T21" fmla="*/ 10 h 11"/>
                <a:gd name="T22" fmla="*/ 25 w 29"/>
                <a:gd name="T23" fmla="*/ 9 h 11"/>
                <a:gd name="T24" fmla="*/ 25 w 29"/>
                <a:gd name="T25" fmla="*/ 8 h 11"/>
                <a:gd name="T26" fmla="*/ 26 w 29"/>
                <a:gd name="T27" fmla="*/ 8 h 11"/>
                <a:gd name="T28" fmla="*/ 27 w 29"/>
                <a:gd name="T29" fmla="*/ 7 h 11"/>
                <a:gd name="T30" fmla="*/ 28 w 29"/>
                <a:gd name="T31" fmla="*/ 6 h 11"/>
                <a:gd name="T32" fmla="*/ 28 w 29"/>
                <a:gd name="T33" fmla="*/ 5 h 11"/>
                <a:gd name="T34" fmla="*/ 29 w 29"/>
                <a:gd name="T35" fmla="*/ 2 h 11"/>
                <a:gd name="T36" fmla="*/ 27 w 29"/>
                <a:gd name="T37" fmla="*/ 0 h 11"/>
                <a:gd name="T38" fmla="*/ 25 w 29"/>
                <a:gd name="T39" fmla="*/ 1 h 11"/>
                <a:gd name="T40" fmla="*/ 24 w 29"/>
                <a:gd name="T41" fmla="*/ 3 h 11"/>
                <a:gd name="T42" fmla="*/ 24 w 29"/>
                <a:gd name="T43" fmla="*/ 3 h 11"/>
                <a:gd name="T44" fmla="*/ 23 w 29"/>
                <a:gd name="T45" fmla="*/ 4 h 11"/>
                <a:gd name="T46" fmla="*/ 23 w 29"/>
                <a:gd name="T47" fmla="*/ 4 h 11"/>
                <a:gd name="T48" fmla="*/ 22 w 29"/>
                <a:gd name="T49" fmla="*/ 5 h 11"/>
                <a:gd name="T50" fmla="*/ 21 w 29"/>
                <a:gd name="T51" fmla="*/ 5 h 11"/>
                <a:gd name="T52" fmla="*/ 21 w 29"/>
                <a:gd name="T53" fmla="*/ 4 h 11"/>
                <a:gd name="T54" fmla="*/ 19 w 29"/>
                <a:gd name="T55" fmla="*/ 4 h 11"/>
                <a:gd name="T56" fmla="*/ 19 w 29"/>
                <a:gd name="T57" fmla="*/ 4 h 11"/>
                <a:gd name="T58" fmla="*/ 18 w 29"/>
                <a:gd name="T59" fmla="*/ 4 h 11"/>
                <a:gd name="T60" fmla="*/ 17 w 29"/>
                <a:gd name="T61" fmla="*/ 4 h 11"/>
                <a:gd name="T62" fmla="*/ 16 w 29"/>
                <a:gd name="T63" fmla="*/ 5 h 11"/>
                <a:gd name="T64" fmla="*/ 15 w 29"/>
                <a:gd name="T65" fmla="*/ 4 h 11"/>
                <a:gd name="T66" fmla="*/ 14 w 29"/>
                <a:gd name="T67" fmla="*/ 3 h 11"/>
                <a:gd name="T68" fmla="*/ 13 w 29"/>
                <a:gd name="T69" fmla="*/ 3 h 11"/>
                <a:gd name="T70" fmla="*/ 12 w 29"/>
                <a:gd name="T71" fmla="*/ 2 h 11"/>
                <a:gd name="T72" fmla="*/ 11 w 29"/>
                <a:gd name="T73" fmla="*/ 1 h 11"/>
                <a:gd name="T74" fmla="*/ 10 w 29"/>
                <a:gd name="T75" fmla="*/ 1 h 11"/>
                <a:gd name="T76" fmla="*/ 9 w 29"/>
                <a:gd name="T77" fmla="*/ 1 h 11"/>
                <a:gd name="T78" fmla="*/ 8 w 29"/>
                <a:gd name="T79" fmla="*/ 1 h 11"/>
                <a:gd name="T80" fmla="*/ 7 w 29"/>
                <a:gd name="T81" fmla="*/ 1 h 11"/>
                <a:gd name="T82" fmla="*/ 5 w 29"/>
                <a:gd name="T83" fmla="*/ 2 h 11"/>
                <a:gd name="T84" fmla="*/ 4 w 29"/>
                <a:gd name="T85" fmla="*/ 2 h 11"/>
                <a:gd name="T86" fmla="*/ 2 w 29"/>
                <a:gd name="T87" fmla="*/ 3 h 11"/>
                <a:gd name="T88" fmla="*/ 0 w 29"/>
                <a:gd name="T89" fmla="*/ 5 h 11"/>
                <a:gd name="T90" fmla="*/ 1 w 29"/>
                <a:gd name="T91" fmla="*/ 9 h 11"/>
                <a:gd name="T92" fmla="*/ 3 w 29"/>
                <a:gd name="T93" fmla="*/ 10 h 11"/>
                <a:gd name="T94" fmla="*/ 4 w 29"/>
                <a:gd name="T95" fmla="*/ 10 h 11"/>
                <a:gd name="T96" fmla="*/ 5 w 29"/>
                <a:gd name="T97" fmla="*/ 10 h 11"/>
                <a:gd name="T98" fmla="*/ 6 w 29"/>
                <a:gd name="T99" fmla="*/ 10 h 11"/>
                <a:gd name="T100" fmla="*/ 6 w 29"/>
                <a:gd name="T101" fmla="*/ 10 h 11"/>
                <a:gd name="T102" fmla="*/ 8 w 29"/>
                <a:gd name="T103" fmla="*/ 10 h 11"/>
                <a:gd name="T104" fmla="*/ 8 w 29"/>
                <a:gd name="T105" fmla="*/ 10 h 11"/>
                <a:gd name="T106" fmla="*/ 9 w 29"/>
                <a:gd name="T107" fmla="*/ 10 h 11"/>
                <a:gd name="T108" fmla="*/ 11 w 29"/>
                <a:gd name="T109" fmla="*/ 11 h 11"/>
                <a:gd name="T110" fmla="*/ 12 w 29"/>
                <a:gd name="T111" fmla="*/ 11 h 11"/>
                <a:gd name="T112" fmla="*/ 25 w 29"/>
                <a:gd name="T113" fmla="*/ 3 h 11"/>
                <a:gd name="T114" fmla="*/ 25 w 29"/>
                <a:gd name="T115" fmla="*/ 4 h 11"/>
                <a:gd name="T116" fmla="*/ 25 w 29"/>
                <a:gd name="T117" fmla="*/ 4 h 11"/>
                <a:gd name="T118" fmla="*/ 25 w 29"/>
                <a:gd name="T119" fmla="*/ 3 h 11"/>
                <a:gd name="T120" fmla="*/ 25 w 29"/>
                <a:gd name="T121" fmla="*/ 3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" h="11"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3" y="11"/>
                    <a:pt x="15" y="11"/>
                    <a:pt x="16" y="10"/>
                  </a:cubicBezTo>
                  <a:cubicBezTo>
                    <a:pt x="16" y="10"/>
                    <a:pt x="16" y="9"/>
                    <a:pt x="17" y="9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0"/>
                    <a:pt x="19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1" y="10"/>
                    <a:pt x="21" y="10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10"/>
                    <a:pt x="24" y="9"/>
                    <a:pt x="25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6" y="8"/>
                  </a:cubicBezTo>
                  <a:cubicBezTo>
                    <a:pt x="26" y="8"/>
                    <a:pt x="26" y="8"/>
                    <a:pt x="27" y="7"/>
                  </a:cubicBezTo>
                  <a:cubicBezTo>
                    <a:pt x="27" y="7"/>
                    <a:pt x="28" y="6"/>
                    <a:pt x="28" y="6"/>
                  </a:cubicBezTo>
                  <a:cubicBezTo>
                    <a:pt x="28" y="6"/>
                    <a:pt x="28" y="6"/>
                    <a:pt x="28" y="5"/>
                  </a:cubicBezTo>
                  <a:cubicBezTo>
                    <a:pt x="29" y="5"/>
                    <a:pt x="29" y="3"/>
                    <a:pt x="29" y="2"/>
                  </a:cubicBezTo>
                  <a:cubicBezTo>
                    <a:pt x="29" y="1"/>
                    <a:pt x="28" y="0"/>
                    <a:pt x="27" y="0"/>
                  </a:cubicBezTo>
                  <a:cubicBezTo>
                    <a:pt x="26" y="0"/>
                    <a:pt x="26" y="0"/>
                    <a:pt x="25" y="1"/>
                  </a:cubicBezTo>
                  <a:cubicBezTo>
                    <a:pt x="25" y="1"/>
                    <a:pt x="24" y="2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5"/>
                    <a:pt x="22" y="5"/>
                    <a:pt x="22" y="5"/>
                  </a:cubicBezTo>
                  <a:cubicBezTo>
                    <a:pt x="22" y="5"/>
                    <a:pt x="22" y="5"/>
                    <a:pt x="21" y="5"/>
                  </a:cubicBezTo>
                  <a:cubicBezTo>
                    <a:pt x="21" y="5"/>
                    <a:pt x="21" y="4"/>
                    <a:pt x="21" y="4"/>
                  </a:cubicBezTo>
                  <a:cubicBezTo>
                    <a:pt x="20" y="4"/>
                    <a:pt x="20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7" y="4"/>
                    <a:pt x="17" y="4"/>
                  </a:cubicBezTo>
                  <a:cubicBezTo>
                    <a:pt x="16" y="4"/>
                    <a:pt x="16" y="5"/>
                    <a:pt x="16" y="5"/>
                  </a:cubicBezTo>
                  <a:cubicBezTo>
                    <a:pt x="16" y="5"/>
                    <a:pt x="15" y="5"/>
                    <a:pt x="15" y="4"/>
                  </a:cubicBezTo>
                  <a:cubicBezTo>
                    <a:pt x="15" y="4"/>
                    <a:pt x="15" y="4"/>
                    <a:pt x="14" y="3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6" y="2"/>
                    <a:pt x="6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3" y="2"/>
                    <a:pt x="2" y="3"/>
                  </a:cubicBezTo>
                  <a:cubicBezTo>
                    <a:pt x="2" y="3"/>
                    <a:pt x="1" y="4"/>
                    <a:pt x="0" y="5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1" y="9"/>
                    <a:pt x="2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6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11"/>
                    <a:pt x="10" y="11"/>
                    <a:pt x="11" y="11"/>
                  </a:cubicBezTo>
                  <a:cubicBezTo>
                    <a:pt x="11" y="11"/>
                    <a:pt x="11" y="11"/>
                    <a:pt x="12" y="11"/>
                  </a:cubicBezTo>
                  <a:close/>
                  <a:moveTo>
                    <a:pt x="25" y="3"/>
                  </a:moveTo>
                  <a:cubicBezTo>
                    <a:pt x="25" y="4"/>
                    <a:pt x="25" y="4"/>
                    <a:pt x="25" y="4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5" y="3"/>
                    <a:pt x="25" y="3"/>
                    <a:pt x="25" y="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5845" y="2524"/>
              <a:ext cx="28" cy="19"/>
            </a:xfrm>
            <a:custGeom>
              <a:avLst/>
              <a:gdLst>
                <a:gd name="T0" fmla="*/ 11 w 12"/>
                <a:gd name="T1" fmla="*/ 5 h 8"/>
                <a:gd name="T2" fmla="*/ 11 w 12"/>
                <a:gd name="T3" fmla="*/ 3 h 8"/>
                <a:gd name="T4" fmla="*/ 10 w 12"/>
                <a:gd name="T5" fmla="*/ 2 h 8"/>
                <a:gd name="T6" fmla="*/ 10 w 12"/>
                <a:gd name="T7" fmla="*/ 1 h 8"/>
                <a:gd name="T8" fmla="*/ 8 w 12"/>
                <a:gd name="T9" fmla="*/ 0 h 8"/>
                <a:gd name="T10" fmla="*/ 7 w 12"/>
                <a:gd name="T11" fmla="*/ 0 h 8"/>
                <a:gd name="T12" fmla="*/ 5 w 12"/>
                <a:gd name="T13" fmla="*/ 1 h 8"/>
                <a:gd name="T14" fmla="*/ 4 w 12"/>
                <a:gd name="T15" fmla="*/ 1 h 8"/>
                <a:gd name="T16" fmla="*/ 1 w 12"/>
                <a:gd name="T17" fmla="*/ 3 h 8"/>
                <a:gd name="T18" fmla="*/ 1 w 12"/>
                <a:gd name="T19" fmla="*/ 5 h 8"/>
                <a:gd name="T20" fmla="*/ 3 w 12"/>
                <a:gd name="T21" fmla="*/ 7 h 8"/>
                <a:gd name="T22" fmla="*/ 4 w 12"/>
                <a:gd name="T23" fmla="*/ 7 h 8"/>
                <a:gd name="T24" fmla="*/ 4 w 12"/>
                <a:gd name="T25" fmla="*/ 7 h 8"/>
                <a:gd name="T26" fmla="*/ 6 w 12"/>
                <a:gd name="T27" fmla="*/ 8 h 8"/>
                <a:gd name="T28" fmla="*/ 7 w 12"/>
                <a:gd name="T29" fmla="*/ 7 h 8"/>
                <a:gd name="T30" fmla="*/ 8 w 12"/>
                <a:gd name="T31" fmla="*/ 6 h 8"/>
                <a:gd name="T32" fmla="*/ 9 w 12"/>
                <a:gd name="T33" fmla="*/ 6 h 8"/>
                <a:gd name="T34" fmla="*/ 9 w 12"/>
                <a:gd name="T35" fmla="*/ 5 h 8"/>
                <a:gd name="T36" fmla="*/ 9 w 12"/>
                <a:gd name="T37" fmla="*/ 6 h 8"/>
                <a:gd name="T38" fmla="*/ 11 w 12"/>
                <a:gd name="T39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" h="8">
                  <a:moveTo>
                    <a:pt x="11" y="5"/>
                  </a:moveTo>
                  <a:cubicBezTo>
                    <a:pt x="12" y="5"/>
                    <a:pt x="12" y="4"/>
                    <a:pt x="11" y="3"/>
                  </a:cubicBezTo>
                  <a:cubicBezTo>
                    <a:pt x="11" y="2"/>
                    <a:pt x="10" y="2"/>
                    <a:pt x="10" y="2"/>
                  </a:cubicBezTo>
                  <a:cubicBezTo>
                    <a:pt x="10" y="2"/>
                    <a:pt x="10" y="2"/>
                    <a:pt x="10" y="1"/>
                  </a:cubicBezTo>
                  <a:cubicBezTo>
                    <a:pt x="10" y="1"/>
                    <a:pt x="10" y="0"/>
                    <a:pt x="8" y="0"/>
                  </a:cubicBezTo>
                  <a:cubicBezTo>
                    <a:pt x="8" y="0"/>
                    <a:pt x="7" y="0"/>
                    <a:pt x="7" y="0"/>
                  </a:cubicBezTo>
                  <a:cubicBezTo>
                    <a:pt x="6" y="0"/>
                    <a:pt x="6" y="0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1" y="1"/>
                    <a:pt x="1" y="3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2" y="6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5" y="8"/>
                    <a:pt x="6" y="8"/>
                  </a:cubicBezTo>
                  <a:cubicBezTo>
                    <a:pt x="6" y="8"/>
                    <a:pt x="7" y="8"/>
                    <a:pt x="7" y="7"/>
                  </a:cubicBezTo>
                  <a:cubicBezTo>
                    <a:pt x="7" y="7"/>
                    <a:pt x="8" y="7"/>
                    <a:pt x="8" y="6"/>
                  </a:cubicBezTo>
                  <a:cubicBezTo>
                    <a:pt x="8" y="6"/>
                    <a:pt x="9" y="6"/>
                    <a:pt x="9" y="6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1" y="6"/>
                    <a:pt x="1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29" name="Freeform 28"/>
            <p:cNvSpPr>
              <a:spLocks noEditPoints="1"/>
            </p:cNvSpPr>
            <p:nvPr/>
          </p:nvSpPr>
          <p:spPr bwMode="auto">
            <a:xfrm>
              <a:off x="5783" y="2465"/>
              <a:ext cx="41" cy="88"/>
            </a:xfrm>
            <a:custGeom>
              <a:avLst/>
              <a:gdLst>
                <a:gd name="T0" fmla="*/ 10 w 17"/>
                <a:gd name="T1" fmla="*/ 24 h 37"/>
                <a:gd name="T2" fmla="*/ 11 w 17"/>
                <a:gd name="T3" fmla="*/ 23 h 37"/>
                <a:gd name="T4" fmla="*/ 12 w 17"/>
                <a:gd name="T5" fmla="*/ 24 h 37"/>
                <a:gd name="T6" fmla="*/ 16 w 17"/>
                <a:gd name="T7" fmla="*/ 25 h 37"/>
                <a:gd name="T8" fmla="*/ 15 w 17"/>
                <a:gd name="T9" fmla="*/ 21 h 37"/>
                <a:gd name="T10" fmla="*/ 14 w 17"/>
                <a:gd name="T11" fmla="*/ 18 h 37"/>
                <a:gd name="T12" fmla="*/ 14 w 17"/>
                <a:gd name="T13" fmla="*/ 17 h 37"/>
                <a:gd name="T14" fmla="*/ 13 w 17"/>
                <a:gd name="T15" fmla="*/ 9 h 37"/>
                <a:gd name="T16" fmla="*/ 9 w 17"/>
                <a:gd name="T17" fmla="*/ 10 h 37"/>
                <a:gd name="T18" fmla="*/ 8 w 17"/>
                <a:gd name="T19" fmla="*/ 8 h 37"/>
                <a:gd name="T20" fmla="*/ 9 w 17"/>
                <a:gd name="T21" fmla="*/ 7 h 37"/>
                <a:gd name="T22" fmla="*/ 13 w 17"/>
                <a:gd name="T23" fmla="*/ 7 h 37"/>
                <a:gd name="T24" fmla="*/ 12 w 17"/>
                <a:gd name="T25" fmla="*/ 0 h 37"/>
                <a:gd name="T26" fmla="*/ 9 w 17"/>
                <a:gd name="T27" fmla="*/ 2 h 37"/>
                <a:gd name="T28" fmla="*/ 8 w 17"/>
                <a:gd name="T29" fmla="*/ 3 h 37"/>
                <a:gd name="T30" fmla="*/ 8 w 17"/>
                <a:gd name="T31" fmla="*/ 4 h 37"/>
                <a:gd name="T32" fmla="*/ 4 w 17"/>
                <a:gd name="T33" fmla="*/ 7 h 37"/>
                <a:gd name="T34" fmla="*/ 4 w 17"/>
                <a:gd name="T35" fmla="*/ 7 h 37"/>
                <a:gd name="T36" fmla="*/ 4 w 17"/>
                <a:gd name="T37" fmla="*/ 8 h 37"/>
                <a:gd name="T38" fmla="*/ 3 w 17"/>
                <a:gd name="T39" fmla="*/ 10 h 37"/>
                <a:gd name="T40" fmla="*/ 2 w 17"/>
                <a:gd name="T41" fmla="*/ 12 h 37"/>
                <a:gd name="T42" fmla="*/ 2 w 17"/>
                <a:gd name="T43" fmla="*/ 18 h 37"/>
                <a:gd name="T44" fmla="*/ 4 w 17"/>
                <a:gd name="T45" fmla="*/ 22 h 37"/>
                <a:gd name="T46" fmla="*/ 4 w 17"/>
                <a:gd name="T47" fmla="*/ 26 h 37"/>
                <a:gd name="T48" fmla="*/ 4 w 17"/>
                <a:gd name="T49" fmla="*/ 29 h 37"/>
                <a:gd name="T50" fmla="*/ 1 w 17"/>
                <a:gd name="T51" fmla="*/ 29 h 37"/>
                <a:gd name="T52" fmla="*/ 1 w 17"/>
                <a:gd name="T53" fmla="*/ 33 h 37"/>
                <a:gd name="T54" fmla="*/ 4 w 17"/>
                <a:gd name="T55" fmla="*/ 36 h 37"/>
                <a:gd name="T56" fmla="*/ 8 w 17"/>
                <a:gd name="T57" fmla="*/ 35 h 37"/>
                <a:gd name="T58" fmla="*/ 11 w 17"/>
                <a:gd name="T59" fmla="*/ 37 h 37"/>
                <a:gd name="T60" fmla="*/ 12 w 17"/>
                <a:gd name="T61" fmla="*/ 36 h 37"/>
                <a:gd name="T62" fmla="*/ 10 w 17"/>
                <a:gd name="T63" fmla="*/ 28 h 37"/>
                <a:gd name="T64" fmla="*/ 9 w 17"/>
                <a:gd name="T65" fmla="*/ 24 h 37"/>
                <a:gd name="T66" fmla="*/ 9 w 17"/>
                <a:gd name="T67" fmla="*/ 23 h 37"/>
                <a:gd name="T68" fmla="*/ 10 w 17"/>
                <a:gd name="T69" fmla="*/ 2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7" h="37">
                  <a:moveTo>
                    <a:pt x="9" y="23"/>
                  </a:moveTo>
                  <a:cubicBezTo>
                    <a:pt x="9" y="23"/>
                    <a:pt x="10" y="24"/>
                    <a:pt x="10" y="24"/>
                  </a:cubicBezTo>
                  <a:cubicBezTo>
                    <a:pt x="10" y="23"/>
                    <a:pt x="10" y="23"/>
                    <a:pt x="10" y="23"/>
                  </a:cubicBez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2" y="23"/>
                    <a:pt x="12" y="23"/>
                  </a:cubicBezTo>
                  <a:cubicBezTo>
                    <a:pt x="12" y="23"/>
                    <a:pt x="12" y="24"/>
                    <a:pt x="12" y="24"/>
                  </a:cubicBezTo>
                  <a:cubicBezTo>
                    <a:pt x="13" y="24"/>
                    <a:pt x="13" y="25"/>
                    <a:pt x="14" y="25"/>
                  </a:cubicBezTo>
                  <a:cubicBezTo>
                    <a:pt x="15" y="26"/>
                    <a:pt x="16" y="25"/>
                    <a:pt x="16" y="25"/>
                  </a:cubicBezTo>
                  <a:cubicBezTo>
                    <a:pt x="17" y="24"/>
                    <a:pt x="16" y="23"/>
                    <a:pt x="16" y="22"/>
                  </a:cubicBezTo>
                  <a:cubicBezTo>
                    <a:pt x="15" y="21"/>
                    <a:pt x="15" y="21"/>
                    <a:pt x="15" y="21"/>
                  </a:cubicBezTo>
                  <a:cubicBezTo>
                    <a:pt x="15" y="20"/>
                    <a:pt x="15" y="20"/>
                    <a:pt x="15" y="20"/>
                  </a:cubicBezTo>
                  <a:cubicBezTo>
                    <a:pt x="15" y="19"/>
                    <a:pt x="15" y="18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4" y="17"/>
                    <a:pt x="14" y="17"/>
                  </a:cubicBezTo>
                  <a:cubicBezTo>
                    <a:pt x="16" y="16"/>
                    <a:pt x="15" y="14"/>
                    <a:pt x="15" y="12"/>
                  </a:cubicBezTo>
                  <a:cubicBezTo>
                    <a:pt x="15" y="10"/>
                    <a:pt x="14" y="9"/>
                    <a:pt x="13" y="9"/>
                  </a:cubicBezTo>
                  <a:cubicBezTo>
                    <a:pt x="12" y="9"/>
                    <a:pt x="11" y="10"/>
                    <a:pt x="10" y="10"/>
                  </a:cubicBez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9" y="9"/>
                    <a:pt x="9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8"/>
                    <a:pt x="10" y="8"/>
                    <a:pt x="10" y="8"/>
                  </a:cubicBezTo>
                  <a:cubicBezTo>
                    <a:pt x="11" y="8"/>
                    <a:pt x="12" y="7"/>
                    <a:pt x="13" y="7"/>
                  </a:cubicBezTo>
                  <a:cubicBezTo>
                    <a:pt x="14" y="5"/>
                    <a:pt x="14" y="4"/>
                    <a:pt x="14" y="2"/>
                  </a:cubicBezTo>
                  <a:cubicBezTo>
                    <a:pt x="14" y="1"/>
                    <a:pt x="13" y="0"/>
                    <a:pt x="12" y="0"/>
                  </a:cubicBezTo>
                  <a:cubicBezTo>
                    <a:pt x="11" y="0"/>
                    <a:pt x="10" y="0"/>
                    <a:pt x="9" y="1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6" y="4"/>
                    <a:pt x="5" y="5"/>
                    <a:pt x="5" y="6"/>
                  </a:cubicBezTo>
                  <a:cubicBezTo>
                    <a:pt x="5" y="6"/>
                    <a:pt x="4" y="6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8"/>
                    <a:pt x="4" y="8"/>
                    <a:pt x="3" y="9"/>
                  </a:cubicBezTo>
                  <a:cubicBezTo>
                    <a:pt x="3" y="9"/>
                    <a:pt x="3" y="9"/>
                    <a:pt x="3" y="10"/>
                  </a:cubicBezTo>
                  <a:cubicBezTo>
                    <a:pt x="3" y="10"/>
                    <a:pt x="3" y="10"/>
                    <a:pt x="3" y="11"/>
                  </a:cubicBezTo>
                  <a:cubicBezTo>
                    <a:pt x="2" y="11"/>
                    <a:pt x="2" y="11"/>
                    <a:pt x="2" y="12"/>
                  </a:cubicBezTo>
                  <a:cubicBezTo>
                    <a:pt x="1" y="13"/>
                    <a:pt x="1" y="15"/>
                    <a:pt x="2" y="16"/>
                  </a:cubicBezTo>
                  <a:cubicBezTo>
                    <a:pt x="3" y="17"/>
                    <a:pt x="3" y="17"/>
                    <a:pt x="2" y="18"/>
                  </a:cubicBezTo>
                  <a:cubicBezTo>
                    <a:pt x="2" y="19"/>
                    <a:pt x="2" y="20"/>
                    <a:pt x="2" y="21"/>
                  </a:cubicBezTo>
                  <a:cubicBezTo>
                    <a:pt x="2" y="22"/>
                    <a:pt x="3" y="22"/>
                    <a:pt x="4" y="22"/>
                  </a:cubicBezTo>
                  <a:cubicBezTo>
                    <a:pt x="4" y="23"/>
                    <a:pt x="3" y="23"/>
                    <a:pt x="3" y="23"/>
                  </a:cubicBezTo>
                  <a:cubicBezTo>
                    <a:pt x="3" y="24"/>
                    <a:pt x="3" y="26"/>
                    <a:pt x="4" y="26"/>
                  </a:cubicBezTo>
                  <a:cubicBezTo>
                    <a:pt x="4" y="27"/>
                    <a:pt x="4" y="27"/>
                    <a:pt x="4" y="27"/>
                  </a:cubicBezTo>
                  <a:cubicBezTo>
                    <a:pt x="4" y="28"/>
                    <a:pt x="4" y="28"/>
                    <a:pt x="4" y="29"/>
                  </a:cubicBezTo>
                  <a:cubicBezTo>
                    <a:pt x="4" y="29"/>
                    <a:pt x="3" y="29"/>
                    <a:pt x="3" y="29"/>
                  </a:cubicBezTo>
                  <a:cubicBezTo>
                    <a:pt x="3" y="29"/>
                    <a:pt x="2" y="29"/>
                    <a:pt x="1" y="29"/>
                  </a:cubicBezTo>
                  <a:cubicBezTo>
                    <a:pt x="0" y="30"/>
                    <a:pt x="1" y="32"/>
                    <a:pt x="1" y="32"/>
                  </a:cubicBezTo>
                  <a:cubicBezTo>
                    <a:pt x="1" y="33"/>
                    <a:pt x="1" y="33"/>
                    <a:pt x="1" y="33"/>
                  </a:cubicBezTo>
                  <a:cubicBezTo>
                    <a:pt x="1" y="34"/>
                    <a:pt x="1" y="35"/>
                    <a:pt x="1" y="35"/>
                  </a:cubicBezTo>
                  <a:cubicBezTo>
                    <a:pt x="2" y="36"/>
                    <a:pt x="3" y="36"/>
                    <a:pt x="4" y="36"/>
                  </a:cubicBezTo>
                  <a:cubicBezTo>
                    <a:pt x="5" y="36"/>
                    <a:pt x="5" y="36"/>
                    <a:pt x="6" y="36"/>
                  </a:cubicBezTo>
                  <a:cubicBezTo>
                    <a:pt x="6" y="36"/>
                    <a:pt x="7" y="36"/>
                    <a:pt x="8" y="35"/>
                  </a:cubicBezTo>
                  <a:cubicBezTo>
                    <a:pt x="8" y="35"/>
                    <a:pt x="8" y="35"/>
                    <a:pt x="8" y="34"/>
                  </a:cubicBezTo>
                  <a:cubicBezTo>
                    <a:pt x="9" y="36"/>
                    <a:pt x="10" y="37"/>
                    <a:pt x="11" y="37"/>
                  </a:cubicBezTo>
                  <a:cubicBezTo>
                    <a:pt x="11" y="37"/>
                    <a:pt x="11" y="37"/>
                    <a:pt x="11" y="37"/>
                  </a:cubicBezTo>
                  <a:cubicBezTo>
                    <a:pt x="11" y="37"/>
                    <a:pt x="12" y="37"/>
                    <a:pt x="12" y="36"/>
                  </a:cubicBezTo>
                  <a:cubicBezTo>
                    <a:pt x="13" y="35"/>
                    <a:pt x="12" y="33"/>
                    <a:pt x="11" y="31"/>
                  </a:cubicBezTo>
                  <a:cubicBezTo>
                    <a:pt x="10" y="30"/>
                    <a:pt x="10" y="29"/>
                    <a:pt x="10" y="28"/>
                  </a:cubicBezTo>
                  <a:cubicBezTo>
                    <a:pt x="10" y="27"/>
                    <a:pt x="10" y="26"/>
                    <a:pt x="9" y="25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4"/>
                    <a:pt x="9" y="24"/>
                  </a:cubicBezTo>
                  <a:cubicBezTo>
                    <a:pt x="9" y="24"/>
                    <a:pt x="9" y="23"/>
                    <a:pt x="9" y="23"/>
                  </a:cubicBezTo>
                  <a:close/>
                  <a:moveTo>
                    <a:pt x="10" y="22"/>
                  </a:moveTo>
                  <a:cubicBezTo>
                    <a:pt x="10" y="22"/>
                    <a:pt x="10" y="22"/>
                    <a:pt x="10" y="22"/>
                  </a:cubicBezTo>
                  <a:cubicBezTo>
                    <a:pt x="10" y="22"/>
                    <a:pt x="10" y="22"/>
                    <a:pt x="10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0" name="Freeform 29"/>
            <p:cNvSpPr>
              <a:spLocks noEditPoints="1"/>
            </p:cNvSpPr>
            <p:nvPr/>
          </p:nvSpPr>
          <p:spPr bwMode="auto">
            <a:xfrm>
              <a:off x="5426" y="2351"/>
              <a:ext cx="206" cy="282"/>
            </a:xfrm>
            <a:custGeom>
              <a:avLst/>
              <a:gdLst>
                <a:gd name="T0" fmla="*/ 53 w 87"/>
                <a:gd name="T1" fmla="*/ 117 h 119"/>
                <a:gd name="T2" fmla="*/ 58 w 87"/>
                <a:gd name="T3" fmla="*/ 115 h 119"/>
                <a:gd name="T4" fmla="*/ 64 w 87"/>
                <a:gd name="T5" fmla="*/ 112 h 119"/>
                <a:gd name="T6" fmla="*/ 63 w 87"/>
                <a:gd name="T7" fmla="*/ 107 h 119"/>
                <a:gd name="T8" fmla="*/ 65 w 87"/>
                <a:gd name="T9" fmla="*/ 103 h 119"/>
                <a:gd name="T10" fmla="*/ 65 w 87"/>
                <a:gd name="T11" fmla="*/ 92 h 119"/>
                <a:gd name="T12" fmla="*/ 68 w 87"/>
                <a:gd name="T13" fmla="*/ 87 h 119"/>
                <a:gd name="T14" fmla="*/ 75 w 87"/>
                <a:gd name="T15" fmla="*/ 83 h 119"/>
                <a:gd name="T16" fmla="*/ 75 w 87"/>
                <a:gd name="T17" fmla="*/ 79 h 119"/>
                <a:gd name="T18" fmla="*/ 74 w 87"/>
                <a:gd name="T19" fmla="*/ 74 h 119"/>
                <a:gd name="T20" fmla="*/ 76 w 87"/>
                <a:gd name="T21" fmla="*/ 69 h 119"/>
                <a:gd name="T22" fmla="*/ 81 w 87"/>
                <a:gd name="T23" fmla="*/ 67 h 119"/>
                <a:gd name="T24" fmla="*/ 83 w 87"/>
                <a:gd name="T25" fmla="*/ 60 h 119"/>
                <a:gd name="T26" fmla="*/ 79 w 87"/>
                <a:gd name="T27" fmla="*/ 55 h 119"/>
                <a:gd name="T28" fmla="*/ 77 w 87"/>
                <a:gd name="T29" fmla="*/ 52 h 119"/>
                <a:gd name="T30" fmla="*/ 75 w 87"/>
                <a:gd name="T31" fmla="*/ 45 h 119"/>
                <a:gd name="T32" fmla="*/ 75 w 87"/>
                <a:gd name="T33" fmla="*/ 45 h 119"/>
                <a:gd name="T34" fmla="*/ 73 w 87"/>
                <a:gd name="T35" fmla="*/ 39 h 119"/>
                <a:gd name="T36" fmla="*/ 74 w 87"/>
                <a:gd name="T37" fmla="*/ 36 h 119"/>
                <a:gd name="T38" fmla="*/ 74 w 87"/>
                <a:gd name="T39" fmla="*/ 31 h 119"/>
                <a:gd name="T40" fmla="*/ 80 w 87"/>
                <a:gd name="T41" fmla="*/ 31 h 119"/>
                <a:gd name="T42" fmla="*/ 80 w 87"/>
                <a:gd name="T43" fmla="*/ 25 h 119"/>
                <a:gd name="T44" fmla="*/ 84 w 87"/>
                <a:gd name="T45" fmla="*/ 23 h 119"/>
                <a:gd name="T46" fmla="*/ 84 w 87"/>
                <a:gd name="T47" fmla="*/ 17 h 119"/>
                <a:gd name="T48" fmla="*/ 81 w 87"/>
                <a:gd name="T49" fmla="*/ 14 h 119"/>
                <a:gd name="T50" fmla="*/ 76 w 87"/>
                <a:gd name="T51" fmla="*/ 14 h 119"/>
                <a:gd name="T52" fmla="*/ 74 w 87"/>
                <a:gd name="T53" fmla="*/ 9 h 119"/>
                <a:gd name="T54" fmla="*/ 71 w 87"/>
                <a:gd name="T55" fmla="*/ 4 h 119"/>
                <a:gd name="T56" fmla="*/ 64 w 87"/>
                <a:gd name="T57" fmla="*/ 0 h 119"/>
                <a:gd name="T58" fmla="*/ 60 w 87"/>
                <a:gd name="T59" fmla="*/ 8 h 119"/>
                <a:gd name="T60" fmla="*/ 57 w 87"/>
                <a:gd name="T61" fmla="*/ 15 h 119"/>
                <a:gd name="T62" fmla="*/ 52 w 87"/>
                <a:gd name="T63" fmla="*/ 19 h 119"/>
                <a:gd name="T64" fmla="*/ 46 w 87"/>
                <a:gd name="T65" fmla="*/ 23 h 119"/>
                <a:gd name="T66" fmla="*/ 42 w 87"/>
                <a:gd name="T67" fmla="*/ 26 h 119"/>
                <a:gd name="T68" fmla="*/ 41 w 87"/>
                <a:gd name="T69" fmla="*/ 27 h 119"/>
                <a:gd name="T70" fmla="*/ 39 w 87"/>
                <a:gd name="T71" fmla="*/ 34 h 119"/>
                <a:gd name="T72" fmla="*/ 35 w 87"/>
                <a:gd name="T73" fmla="*/ 39 h 119"/>
                <a:gd name="T74" fmla="*/ 30 w 87"/>
                <a:gd name="T75" fmla="*/ 42 h 119"/>
                <a:gd name="T76" fmla="*/ 21 w 87"/>
                <a:gd name="T77" fmla="*/ 46 h 119"/>
                <a:gd name="T78" fmla="*/ 21 w 87"/>
                <a:gd name="T79" fmla="*/ 54 h 119"/>
                <a:gd name="T80" fmla="*/ 18 w 87"/>
                <a:gd name="T81" fmla="*/ 58 h 119"/>
                <a:gd name="T82" fmla="*/ 12 w 87"/>
                <a:gd name="T83" fmla="*/ 55 h 119"/>
                <a:gd name="T84" fmla="*/ 9 w 87"/>
                <a:gd name="T85" fmla="*/ 52 h 119"/>
                <a:gd name="T86" fmla="*/ 7 w 87"/>
                <a:gd name="T87" fmla="*/ 52 h 119"/>
                <a:gd name="T88" fmla="*/ 2 w 87"/>
                <a:gd name="T89" fmla="*/ 62 h 119"/>
                <a:gd name="T90" fmla="*/ 3 w 87"/>
                <a:gd name="T91" fmla="*/ 69 h 119"/>
                <a:gd name="T92" fmla="*/ 2 w 87"/>
                <a:gd name="T93" fmla="*/ 74 h 119"/>
                <a:gd name="T94" fmla="*/ 4 w 87"/>
                <a:gd name="T95" fmla="*/ 81 h 119"/>
                <a:gd name="T96" fmla="*/ 6 w 87"/>
                <a:gd name="T97" fmla="*/ 85 h 119"/>
                <a:gd name="T98" fmla="*/ 10 w 87"/>
                <a:gd name="T99" fmla="*/ 87 h 119"/>
                <a:gd name="T100" fmla="*/ 11 w 87"/>
                <a:gd name="T101" fmla="*/ 95 h 119"/>
                <a:gd name="T102" fmla="*/ 13 w 87"/>
                <a:gd name="T103" fmla="*/ 102 h 119"/>
                <a:gd name="T104" fmla="*/ 18 w 87"/>
                <a:gd name="T105" fmla="*/ 107 h 119"/>
                <a:gd name="T106" fmla="*/ 25 w 87"/>
                <a:gd name="T107" fmla="*/ 106 h 119"/>
                <a:gd name="T108" fmla="*/ 29 w 87"/>
                <a:gd name="T109" fmla="*/ 109 h 119"/>
                <a:gd name="T110" fmla="*/ 33 w 87"/>
                <a:gd name="T111" fmla="*/ 109 h 119"/>
                <a:gd name="T112" fmla="*/ 39 w 87"/>
                <a:gd name="T113" fmla="*/ 109 h 119"/>
                <a:gd name="T114" fmla="*/ 44 w 87"/>
                <a:gd name="T115" fmla="*/ 111 h 119"/>
                <a:gd name="T116" fmla="*/ 47 w 87"/>
                <a:gd name="T117" fmla="*/ 112 h 119"/>
                <a:gd name="T118" fmla="*/ 26 w 87"/>
                <a:gd name="T119" fmla="*/ 106 h 119"/>
                <a:gd name="T120" fmla="*/ 78 w 87"/>
                <a:gd name="T121" fmla="*/ 66 h 119"/>
                <a:gd name="T122" fmla="*/ 55 w 87"/>
                <a:gd name="T123" fmla="*/ 17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7" h="119">
                  <a:moveTo>
                    <a:pt x="47" y="115"/>
                  </a:moveTo>
                  <a:cubicBezTo>
                    <a:pt x="47" y="116"/>
                    <a:pt x="47" y="118"/>
                    <a:pt x="48" y="119"/>
                  </a:cubicBezTo>
                  <a:cubicBezTo>
                    <a:pt x="49" y="119"/>
                    <a:pt x="49" y="119"/>
                    <a:pt x="50" y="119"/>
                  </a:cubicBezTo>
                  <a:cubicBezTo>
                    <a:pt x="51" y="119"/>
                    <a:pt x="52" y="118"/>
                    <a:pt x="53" y="118"/>
                  </a:cubicBezTo>
                  <a:cubicBezTo>
                    <a:pt x="53" y="117"/>
                    <a:pt x="53" y="117"/>
                    <a:pt x="53" y="117"/>
                  </a:cubicBezTo>
                  <a:cubicBezTo>
                    <a:pt x="53" y="116"/>
                    <a:pt x="54" y="116"/>
                    <a:pt x="54" y="116"/>
                  </a:cubicBezTo>
                  <a:cubicBezTo>
                    <a:pt x="54" y="116"/>
                    <a:pt x="54" y="116"/>
                    <a:pt x="55" y="116"/>
                  </a:cubicBezTo>
                  <a:cubicBezTo>
                    <a:pt x="55" y="116"/>
                    <a:pt x="56" y="116"/>
                    <a:pt x="57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58" y="116"/>
                    <a:pt x="58" y="117"/>
                    <a:pt x="59" y="118"/>
                  </a:cubicBezTo>
                  <a:cubicBezTo>
                    <a:pt x="59" y="118"/>
                    <a:pt x="60" y="118"/>
                    <a:pt x="60" y="118"/>
                  </a:cubicBezTo>
                  <a:cubicBezTo>
                    <a:pt x="61" y="118"/>
                    <a:pt x="62" y="118"/>
                    <a:pt x="62" y="117"/>
                  </a:cubicBezTo>
                  <a:cubicBezTo>
                    <a:pt x="64" y="116"/>
                    <a:pt x="64" y="114"/>
                    <a:pt x="63" y="113"/>
                  </a:cubicBezTo>
                  <a:cubicBezTo>
                    <a:pt x="63" y="112"/>
                    <a:pt x="63" y="112"/>
                    <a:pt x="64" y="112"/>
                  </a:cubicBezTo>
                  <a:cubicBezTo>
                    <a:pt x="64" y="111"/>
                    <a:pt x="64" y="111"/>
                    <a:pt x="64" y="111"/>
                  </a:cubicBezTo>
                  <a:cubicBezTo>
                    <a:pt x="64" y="111"/>
                    <a:pt x="64" y="110"/>
                    <a:pt x="63" y="110"/>
                  </a:cubicBezTo>
                  <a:cubicBezTo>
                    <a:pt x="63" y="109"/>
                    <a:pt x="63" y="109"/>
                    <a:pt x="63" y="109"/>
                  </a:cubicBezTo>
                  <a:cubicBezTo>
                    <a:pt x="63" y="109"/>
                    <a:pt x="64" y="108"/>
                    <a:pt x="64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64" y="107"/>
                    <a:pt x="65" y="106"/>
                    <a:pt x="65" y="105"/>
                  </a:cubicBezTo>
                  <a:cubicBezTo>
                    <a:pt x="65" y="104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6" y="102"/>
                    <a:pt x="66" y="102"/>
                    <a:pt x="66" y="101"/>
                  </a:cubicBezTo>
                  <a:cubicBezTo>
                    <a:pt x="66" y="101"/>
                    <a:pt x="67" y="98"/>
                    <a:pt x="66" y="97"/>
                  </a:cubicBezTo>
                  <a:cubicBezTo>
                    <a:pt x="66" y="96"/>
                    <a:pt x="66" y="96"/>
                    <a:pt x="65" y="96"/>
                  </a:cubicBezTo>
                  <a:cubicBezTo>
                    <a:pt x="66" y="95"/>
                    <a:pt x="66" y="94"/>
                    <a:pt x="65" y="93"/>
                  </a:cubicBezTo>
                  <a:cubicBezTo>
                    <a:pt x="65" y="93"/>
                    <a:pt x="65" y="93"/>
                    <a:pt x="65" y="92"/>
                  </a:cubicBezTo>
                  <a:cubicBezTo>
                    <a:pt x="65" y="92"/>
                    <a:pt x="66" y="92"/>
                    <a:pt x="66" y="92"/>
                  </a:cubicBezTo>
                  <a:cubicBezTo>
                    <a:pt x="66" y="91"/>
                    <a:pt x="67" y="91"/>
                    <a:pt x="67" y="91"/>
                  </a:cubicBezTo>
                  <a:cubicBezTo>
                    <a:pt x="68" y="90"/>
                    <a:pt x="68" y="89"/>
                    <a:pt x="68" y="88"/>
                  </a:cubicBezTo>
                  <a:cubicBezTo>
                    <a:pt x="67" y="88"/>
                    <a:pt x="67" y="87"/>
                    <a:pt x="67" y="87"/>
                  </a:cubicBezTo>
                  <a:cubicBezTo>
                    <a:pt x="68" y="87"/>
                    <a:pt x="68" y="87"/>
                    <a:pt x="68" y="87"/>
                  </a:cubicBezTo>
                  <a:cubicBezTo>
                    <a:pt x="68" y="87"/>
                    <a:pt x="69" y="87"/>
                    <a:pt x="69" y="87"/>
                  </a:cubicBezTo>
                  <a:cubicBezTo>
                    <a:pt x="70" y="86"/>
                    <a:pt x="71" y="86"/>
                    <a:pt x="71" y="85"/>
                  </a:cubicBezTo>
                  <a:cubicBezTo>
                    <a:pt x="71" y="85"/>
                    <a:pt x="71" y="85"/>
                    <a:pt x="72" y="85"/>
                  </a:cubicBezTo>
                  <a:cubicBezTo>
                    <a:pt x="73" y="86"/>
                    <a:pt x="74" y="85"/>
                    <a:pt x="74" y="85"/>
                  </a:cubicBezTo>
                  <a:cubicBezTo>
                    <a:pt x="75" y="84"/>
                    <a:pt x="75" y="83"/>
                    <a:pt x="75" y="83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5" y="82"/>
                    <a:pt x="75" y="82"/>
                    <a:pt x="75" y="82"/>
                  </a:cubicBezTo>
                  <a:cubicBezTo>
                    <a:pt x="75" y="82"/>
                    <a:pt x="75" y="82"/>
                    <a:pt x="75" y="81"/>
                  </a:cubicBezTo>
                  <a:cubicBezTo>
                    <a:pt x="75" y="81"/>
                    <a:pt x="75" y="81"/>
                    <a:pt x="75" y="80"/>
                  </a:cubicBezTo>
                  <a:cubicBezTo>
                    <a:pt x="75" y="79"/>
                    <a:pt x="75" y="79"/>
                    <a:pt x="75" y="79"/>
                  </a:cubicBezTo>
                  <a:cubicBezTo>
                    <a:pt x="74" y="79"/>
                    <a:pt x="74" y="79"/>
                    <a:pt x="74" y="79"/>
                  </a:cubicBezTo>
                  <a:cubicBezTo>
                    <a:pt x="74" y="79"/>
                    <a:pt x="74" y="78"/>
                    <a:pt x="74" y="78"/>
                  </a:cubicBezTo>
                  <a:cubicBezTo>
                    <a:pt x="74" y="78"/>
                    <a:pt x="74" y="78"/>
                    <a:pt x="74" y="78"/>
                  </a:cubicBezTo>
                  <a:cubicBezTo>
                    <a:pt x="74" y="77"/>
                    <a:pt x="75" y="76"/>
                    <a:pt x="75" y="75"/>
                  </a:cubicBezTo>
                  <a:cubicBezTo>
                    <a:pt x="75" y="75"/>
                    <a:pt x="74" y="74"/>
                    <a:pt x="74" y="74"/>
                  </a:cubicBezTo>
                  <a:cubicBezTo>
                    <a:pt x="74" y="74"/>
                    <a:pt x="74" y="73"/>
                    <a:pt x="74" y="73"/>
                  </a:cubicBezTo>
                  <a:cubicBezTo>
                    <a:pt x="74" y="73"/>
                    <a:pt x="75" y="72"/>
                    <a:pt x="75" y="72"/>
                  </a:cubicBezTo>
                  <a:cubicBezTo>
                    <a:pt x="75" y="72"/>
                    <a:pt x="75" y="71"/>
                    <a:pt x="75" y="70"/>
                  </a:cubicBezTo>
                  <a:cubicBezTo>
                    <a:pt x="76" y="70"/>
                    <a:pt x="76" y="70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7" y="68"/>
                    <a:pt x="77" y="68"/>
                    <a:pt x="78" y="67"/>
                  </a:cubicBezTo>
                  <a:cubicBezTo>
                    <a:pt x="78" y="68"/>
                    <a:pt x="79" y="68"/>
                    <a:pt x="79" y="68"/>
                  </a:cubicBezTo>
                  <a:cubicBezTo>
                    <a:pt x="80" y="68"/>
                    <a:pt x="81" y="68"/>
                    <a:pt x="81" y="67"/>
                  </a:cubicBezTo>
                  <a:cubicBezTo>
                    <a:pt x="81" y="67"/>
                    <a:pt x="81" y="67"/>
                    <a:pt x="81" y="67"/>
                  </a:cubicBezTo>
                  <a:cubicBezTo>
                    <a:pt x="83" y="68"/>
                    <a:pt x="84" y="67"/>
                    <a:pt x="84" y="67"/>
                  </a:cubicBezTo>
                  <a:cubicBezTo>
                    <a:pt x="85" y="66"/>
                    <a:pt x="85" y="65"/>
                    <a:pt x="86" y="65"/>
                  </a:cubicBezTo>
                  <a:cubicBezTo>
                    <a:pt x="86" y="64"/>
                    <a:pt x="85" y="63"/>
                    <a:pt x="85" y="62"/>
                  </a:cubicBezTo>
                  <a:cubicBezTo>
                    <a:pt x="84" y="62"/>
                    <a:pt x="84" y="62"/>
                    <a:pt x="84" y="61"/>
                  </a:cubicBezTo>
                  <a:cubicBezTo>
                    <a:pt x="83" y="61"/>
                    <a:pt x="83" y="61"/>
                    <a:pt x="83" y="60"/>
                  </a:cubicBezTo>
                  <a:cubicBezTo>
                    <a:pt x="82" y="60"/>
                    <a:pt x="82" y="59"/>
                    <a:pt x="81" y="59"/>
                  </a:cubicBezTo>
                  <a:cubicBezTo>
                    <a:pt x="80" y="58"/>
                    <a:pt x="80" y="58"/>
                    <a:pt x="79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5"/>
                  </a:cubicBezTo>
                  <a:cubicBezTo>
                    <a:pt x="78" y="55"/>
                    <a:pt x="78" y="54"/>
                    <a:pt x="78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3"/>
                    <a:pt x="77" y="53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7" y="52"/>
                    <a:pt x="77" y="52"/>
                  </a:cubicBezTo>
                  <a:cubicBezTo>
                    <a:pt x="77" y="52"/>
                    <a:pt x="79" y="51"/>
                    <a:pt x="79" y="50"/>
                  </a:cubicBezTo>
                  <a:cubicBezTo>
                    <a:pt x="79" y="49"/>
                    <a:pt x="78" y="48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6"/>
                    <a:pt x="76" y="46"/>
                    <a:pt x="76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4" y="43"/>
                    <a:pt x="74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1"/>
                    <a:pt x="74" y="40"/>
                    <a:pt x="73" y="39"/>
                  </a:cubicBezTo>
                  <a:cubicBezTo>
                    <a:pt x="73" y="39"/>
                    <a:pt x="72" y="38"/>
                    <a:pt x="72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2" y="37"/>
                  </a:cubicBezTo>
                  <a:cubicBezTo>
                    <a:pt x="72" y="37"/>
                    <a:pt x="74" y="37"/>
                    <a:pt x="74" y="36"/>
                  </a:cubicBezTo>
                  <a:cubicBezTo>
                    <a:pt x="75" y="35"/>
                    <a:pt x="74" y="34"/>
                    <a:pt x="73" y="33"/>
                  </a:cubicBezTo>
                  <a:cubicBezTo>
                    <a:pt x="74" y="33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5" y="31"/>
                    <a:pt x="75" y="31"/>
                  </a:cubicBezTo>
                  <a:cubicBezTo>
                    <a:pt x="75" y="32"/>
                    <a:pt x="76" y="32"/>
                    <a:pt x="76" y="32"/>
                  </a:cubicBezTo>
                  <a:cubicBezTo>
                    <a:pt x="77" y="33"/>
                    <a:pt x="77" y="33"/>
                    <a:pt x="78" y="33"/>
                  </a:cubicBezTo>
                  <a:cubicBezTo>
                    <a:pt x="79" y="33"/>
                    <a:pt x="80" y="32"/>
                    <a:pt x="80" y="31"/>
                  </a:cubicBezTo>
                  <a:cubicBezTo>
                    <a:pt x="80" y="31"/>
                    <a:pt x="81" y="31"/>
                    <a:pt x="81" y="31"/>
                  </a:cubicBezTo>
                  <a:cubicBezTo>
                    <a:pt x="81" y="30"/>
                    <a:pt x="83" y="29"/>
                    <a:pt x="82" y="27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0" y="26"/>
                    <a:pt x="80" y="25"/>
                    <a:pt x="80" y="25"/>
                  </a:cubicBezTo>
                  <a:cubicBezTo>
                    <a:pt x="80" y="25"/>
                    <a:pt x="80" y="25"/>
                    <a:pt x="80" y="25"/>
                  </a:cubicBezTo>
                  <a:cubicBezTo>
                    <a:pt x="80" y="25"/>
                    <a:pt x="80" y="25"/>
                    <a:pt x="80" y="24"/>
                  </a:cubicBezTo>
                  <a:cubicBezTo>
                    <a:pt x="80" y="24"/>
                    <a:pt x="80" y="24"/>
                    <a:pt x="80" y="25"/>
                  </a:cubicBezTo>
                  <a:cubicBezTo>
                    <a:pt x="80" y="25"/>
                    <a:pt x="81" y="25"/>
                    <a:pt x="81" y="25"/>
                  </a:cubicBezTo>
                  <a:cubicBezTo>
                    <a:pt x="82" y="25"/>
                    <a:pt x="83" y="24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5" y="23"/>
                  </a:cubicBezTo>
                  <a:cubicBezTo>
                    <a:pt x="85" y="22"/>
                    <a:pt x="86" y="22"/>
                    <a:pt x="86" y="22"/>
                  </a:cubicBezTo>
                  <a:cubicBezTo>
                    <a:pt x="87" y="21"/>
                    <a:pt x="87" y="21"/>
                    <a:pt x="87" y="20"/>
                  </a:cubicBezTo>
                  <a:cubicBezTo>
                    <a:pt x="87" y="19"/>
                    <a:pt x="87" y="18"/>
                    <a:pt x="87" y="17"/>
                  </a:cubicBezTo>
                  <a:cubicBezTo>
                    <a:pt x="86" y="16"/>
                    <a:pt x="84" y="17"/>
                    <a:pt x="84" y="17"/>
                  </a:cubicBezTo>
                  <a:cubicBezTo>
                    <a:pt x="84" y="17"/>
                    <a:pt x="84" y="17"/>
                    <a:pt x="83" y="17"/>
                  </a:cubicBezTo>
                  <a:cubicBezTo>
                    <a:pt x="83" y="16"/>
                    <a:pt x="83" y="16"/>
                    <a:pt x="83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82" y="15"/>
                    <a:pt x="82" y="15"/>
                    <a:pt x="82" y="15"/>
                  </a:cubicBezTo>
                  <a:cubicBezTo>
                    <a:pt x="81" y="14"/>
                    <a:pt x="81" y="14"/>
                    <a:pt x="81" y="14"/>
                  </a:cubicBezTo>
                  <a:cubicBezTo>
                    <a:pt x="80" y="13"/>
                    <a:pt x="79" y="13"/>
                    <a:pt x="79" y="13"/>
                  </a:cubicBezTo>
                  <a:cubicBezTo>
                    <a:pt x="78" y="13"/>
                    <a:pt x="77" y="13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5" y="13"/>
                    <a:pt x="75" y="12"/>
                    <a:pt x="74" y="12"/>
                  </a:cubicBezTo>
                  <a:cubicBezTo>
                    <a:pt x="74" y="12"/>
                    <a:pt x="74" y="12"/>
                    <a:pt x="74" y="12"/>
                  </a:cubicBezTo>
                  <a:cubicBezTo>
                    <a:pt x="74" y="12"/>
                    <a:pt x="74" y="11"/>
                    <a:pt x="74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4" y="10"/>
                    <a:pt x="74" y="10"/>
                    <a:pt x="74" y="9"/>
                  </a:cubicBezTo>
                  <a:cubicBezTo>
                    <a:pt x="75" y="8"/>
                    <a:pt x="74" y="7"/>
                    <a:pt x="74" y="6"/>
                  </a:cubicBezTo>
                  <a:cubicBezTo>
                    <a:pt x="73" y="6"/>
                    <a:pt x="72" y="5"/>
                    <a:pt x="72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5"/>
                  </a:cubicBezTo>
                  <a:cubicBezTo>
                    <a:pt x="71" y="5"/>
                    <a:pt x="71" y="5"/>
                    <a:pt x="71" y="4"/>
                  </a:cubicBezTo>
                  <a:cubicBezTo>
                    <a:pt x="71" y="4"/>
                    <a:pt x="71" y="3"/>
                    <a:pt x="71" y="3"/>
                  </a:cubicBezTo>
                  <a:cubicBezTo>
                    <a:pt x="70" y="2"/>
                    <a:pt x="69" y="1"/>
                    <a:pt x="68" y="1"/>
                  </a:cubicBezTo>
                  <a:cubicBezTo>
                    <a:pt x="68" y="1"/>
                    <a:pt x="68" y="1"/>
                    <a:pt x="68" y="1"/>
                  </a:cubicBezTo>
                  <a:cubicBezTo>
                    <a:pt x="67" y="1"/>
                    <a:pt x="67" y="1"/>
                    <a:pt x="66" y="2"/>
                  </a:cubicBezTo>
                  <a:cubicBezTo>
                    <a:pt x="66" y="1"/>
                    <a:pt x="65" y="0"/>
                    <a:pt x="64" y="0"/>
                  </a:cubicBezTo>
                  <a:cubicBezTo>
                    <a:pt x="63" y="0"/>
                    <a:pt x="63" y="0"/>
                    <a:pt x="63" y="0"/>
                  </a:cubicBezTo>
                  <a:cubicBezTo>
                    <a:pt x="61" y="1"/>
                    <a:pt x="61" y="3"/>
                    <a:pt x="62" y="4"/>
                  </a:cubicBezTo>
                  <a:cubicBezTo>
                    <a:pt x="62" y="4"/>
                    <a:pt x="62" y="4"/>
                    <a:pt x="62" y="5"/>
                  </a:cubicBezTo>
                  <a:cubicBezTo>
                    <a:pt x="62" y="5"/>
                    <a:pt x="62" y="5"/>
                    <a:pt x="61" y="6"/>
                  </a:cubicBezTo>
                  <a:cubicBezTo>
                    <a:pt x="61" y="7"/>
                    <a:pt x="60" y="8"/>
                    <a:pt x="60" y="8"/>
                  </a:cubicBezTo>
                  <a:cubicBezTo>
                    <a:pt x="60" y="8"/>
                    <a:pt x="60" y="9"/>
                    <a:pt x="60" y="9"/>
                  </a:cubicBezTo>
                  <a:cubicBezTo>
                    <a:pt x="60" y="9"/>
                    <a:pt x="59" y="10"/>
                    <a:pt x="59" y="11"/>
                  </a:cubicBezTo>
                  <a:cubicBezTo>
                    <a:pt x="59" y="11"/>
                    <a:pt x="58" y="12"/>
                    <a:pt x="58" y="13"/>
                  </a:cubicBezTo>
                  <a:cubicBezTo>
                    <a:pt x="58" y="14"/>
                    <a:pt x="58" y="14"/>
                    <a:pt x="57" y="14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7" y="15"/>
                  </a:cubicBezTo>
                  <a:cubicBezTo>
                    <a:pt x="57" y="15"/>
                    <a:pt x="57" y="15"/>
                    <a:pt x="56" y="15"/>
                  </a:cubicBezTo>
                  <a:cubicBezTo>
                    <a:pt x="56" y="15"/>
                    <a:pt x="56" y="15"/>
                    <a:pt x="55" y="15"/>
                  </a:cubicBezTo>
                  <a:cubicBezTo>
                    <a:pt x="55" y="15"/>
                    <a:pt x="54" y="16"/>
                    <a:pt x="54" y="16"/>
                  </a:cubicBezTo>
                  <a:cubicBezTo>
                    <a:pt x="53" y="17"/>
                    <a:pt x="52" y="18"/>
                    <a:pt x="52" y="19"/>
                  </a:cubicBezTo>
                  <a:cubicBezTo>
                    <a:pt x="52" y="19"/>
                    <a:pt x="52" y="19"/>
                    <a:pt x="51" y="19"/>
                  </a:cubicBezTo>
                  <a:cubicBezTo>
                    <a:pt x="50" y="19"/>
                    <a:pt x="49" y="20"/>
                    <a:pt x="49" y="20"/>
                  </a:cubicBezTo>
                  <a:cubicBezTo>
                    <a:pt x="48" y="21"/>
                    <a:pt x="48" y="21"/>
                    <a:pt x="48" y="21"/>
                  </a:cubicBezTo>
                  <a:cubicBezTo>
                    <a:pt x="48" y="22"/>
                    <a:pt x="47" y="22"/>
                    <a:pt x="47" y="23"/>
                  </a:cubicBezTo>
                  <a:cubicBezTo>
                    <a:pt x="47" y="23"/>
                    <a:pt x="47" y="23"/>
                    <a:pt x="46" y="23"/>
                  </a:cubicBezTo>
                  <a:cubicBezTo>
                    <a:pt x="46" y="23"/>
                    <a:pt x="45" y="23"/>
                    <a:pt x="45" y="24"/>
                  </a:cubicBezTo>
                  <a:cubicBezTo>
                    <a:pt x="44" y="24"/>
                    <a:pt x="44" y="24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30"/>
                    <a:pt x="40" y="31"/>
                    <a:pt x="39" y="32"/>
                  </a:cubicBezTo>
                  <a:cubicBezTo>
                    <a:pt x="39" y="32"/>
                    <a:pt x="39" y="33"/>
                    <a:pt x="39" y="34"/>
                  </a:cubicBezTo>
                  <a:cubicBezTo>
                    <a:pt x="39" y="34"/>
                    <a:pt x="38" y="34"/>
                    <a:pt x="38" y="34"/>
                  </a:cubicBezTo>
                  <a:cubicBezTo>
                    <a:pt x="38" y="35"/>
                    <a:pt x="37" y="35"/>
                    <a:pt x="37" y="35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6" y="36"/>
                    <a:pt x="35" y="37"/>
                    <a:pt x="35" y="38"/>
                  </a:cubicBez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40"/>
                    <a:pt x="34" y="40"/>
                  </a:cubicBezTo>
                  <a:cubicBezTo>
                    <a:pt x="34" y="40"/>
                    <a:pt x="33" y="40"/>
                    <a:pt x="33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1" y="41"/>
                    <a:pt x="31" y="41"/>
                  </a:cubicBezTo>
                  <a:cubicBezTo>
                    <a:pt x="30" y="41"/>
                    <a:pt x="30" y="42"/>
                    <a:pt x="30" y="42"/>
                  </a:cubicBezTo>
                  <a:cubicBezTo>
                    <a:pt x="29" y="42"/>
                    <a:pt x="28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6" y="44"/>
                    <a:pt x="25" y="44"/>
                    <a:pt x="25" y="44"/>
                  </a:cubicBezTo>
                  <a:cubicBezTo>
                    <a:pt x="24" y="44"/>
                    <a:pt x="24" y="44"/>
                    <a:pt x="24" y="44"/>
                  </a:cubicBezTo>
                  <a:cubicBezTo>
                    <a:pt x="23" y="44"/>
                    <a:pt x="22" y="45"/>
                    <a:pt x="21" y="46"/>
                  </a:cubicBezTo>
                  <a:cubicBezTo>
                    <a:pt x="20" y="47"/>
                    <a:pt x="20" y="48"/>
                    <a:pt x="20" y="49"/>
                  </a:cubicBezTo>
                  <a:cubicBezTo>
                    <a:pt x="20" y="50"/>
                    <a:pt x="20" y="50"/>
                    <a:pt x="20" y="50"/>
                  </a:cubicBezTo>
                  <a:cubicBezTo>
                    <a:pt x="20" y="51"/>
                    <a:pt x="20" y="52"/>
                    <a:pt x="21" y="52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1" y="53"/>
                    <a:pt x="21" y="53"/>
                    <a:pt x="21" y="54"/>
                  </a:cubicBezTo>
                  <a:cubicBezTo>
                    <a:pt x="20" y="54"/>
                    <a:pt x="20" y="54"/>
                    <a:pt x="20" y="55"/>
                  </a:cubicBezTo>
                  <a:cubicBezTo>
                    <a:pt x="20" y="55"/>
                    <a:pt x="20" y="56"/>
                    <a:pt x="20" y="56"/>
                  </a:cubicBezTo>
                  <a:cubicBezTo>
                    <a:pt x="20" y="56"/>
                    <a:pt x="19" y="57"/>
                    <a:pt x="19" y="57"/>
                  </a:cubicBezTo>
                  <a:cubicBezTo>
                    <a:pt x="19" y="57"/>
                    <a:pt x="19" y="58"/>
                    <a:pt x="19" y="58"/>
                  </a:cubicBezTo>
                  <a:cubicBezTo>
                    <a:pt x="19" y="58"/>
                    <a:pt x="18" y="58"/>
                    <a:pt x="18" y="58"/>
                  </a:cubicBezTo>
                  <a:cubicBezTo>
                    <a:pt x="18" y="57"/>
                    <a:pt x="18" y="57"/>
                    <a:pt x="18" y="57"/>
                  </a:cubicBezTo>
                  <a:cubicBezTo>
                    <a:pt x="17" y="56"/>
                    <a:pt x="17" y="56"/>
                    <a:pt x="17" y="55"/>
                  </a:cubicBezTo>
                  <a:cubicBezTo>
                    <a:pt x="16" y="54"/>
                    <a:pt x="14" y="53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1" y="55"/>
                    <a:pt x="11" y="54"/>
                    <a:pt x="11" y="54"/>
                  </a:cubicBezTo>
                  <a:cubicBezTo>
                    <a:pt x="11" y="53"/>
                    <a:pt x="11" y="53"/>
                    <a:pt x="11" y="52"/>
                  </a:cubicBezTo>
                  <a:cubicBezTo>
                    <a:pt x="11" y="52"/>
                    <a:pt x="11" y="52"/>
                    <a:pt x="11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9" y="52"/>
                    <a:pt x="9" y="52"/>
                    <a:pt x="9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7" y="52"/>
                    <a:pt x="7" y="52"/>
                  </a:cubicBezTo>
                  <a:cubicBezTo>
                    <a:pt x="7" y="53"/>
                    <a:pt x="6" y="53"/>
                    <a:pt x="6" y="54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4" y="55"/>
                    <a:pt x="3" y="57"/>
                    <a:pt x="3" y="58"/>
                  </a:cubicBezTo>
                  <a:cubicBezTo>
                    <a:pt x="3" y="58"/>
                    <a:pt x="3" y="59"/>
                    <a:pt x="2" y="59"/>
                  </a:cubicBezTo>
                  <a:cubicBezTo>
                    <a:pt x="2" y="60"/>
                    <a:pt x="2" y="62"/>
                    <a:pt x="2" y="62"/>
                  </a:cubicBezTo>
                  <a:cubicBezTo>
                    <a:pt x="2" y="63"/>
                    <a:pt x="2" y="63"/>
                    <a:pt x="2" y="63"/>
                  </a:cubicBezTo>
                  <a:cubicBezTo>
                    <a:pt x="2" y="64"/>
                    <a:pt x="2" y="65"/>
                    <a:pt x="2" y="66"/>
                  </a:cubicBezTo>
                  <a:cubicBezTo>
                    <a:pt x="1" y="67"/>
                    <a:pt x="1" y="68"/>
                    <a:pt x="2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3" y="69"/>
                    <a:pt x="3" y="69"/>
                    <a:pt x="3" y="69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0"/>
                    <a:pt x="2" y="70"/>
                    <a:pt x="2" y="69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0" y="71"/>
                    <a:pt x="0" y="72"/>
                    <a:pt x="1" y="73"/>
                  </a:cubicBezTo>
                  <a:cubicBezTo>
                    <a:pt x="1" y="73"/>
                    <a:pt x="2" y="74"/>
                    <a:pt x="2" y="74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4"/>
                    <a:pt x="3" y="75"/>
                    <a:pt x="4" y="75"/>
                  </a:cubicBezTo>
                  <a:cubicBezTo>
                    <a:pt x="4" y="75"/>
                    <a:pt x="3" y="76"/>
                    <a:pt x="3" y="76"/>
                  </a:cubicBezTo>
                  <a:cubicBezTo>
                    <a:pt x="3" y="76"/>
                    <a:pt x="3" y="77"/>
                    <a:pt x="3" y="77"/>
                  </a:cubicBezTo>
                  <a:cubicBezTo>
                    <a:pt x="2" y="79"/>
                    <a:pt x="3" y="80"/>
                    <a:pt x="4" y="81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5" y="82"/>
                    <a:pt x="5" y="82"/>
                    <a:pt x="5" y="82"/>
                  </a:cubicBezTo>
                  <a:cubicBezTo>
                    <a:pt x="4" y="82"/>
                    <a:pt x="4" y="83"/>
                    <a:pt x="4" y="83"/>
                  </a:cubicBezTo>
                  <a:cubicBezTo>
                    <a:pt x="4" y="84"/>
                    <a:pt x="5" y="85"/>
                    <a:pt x="6" y="85"/>
                  </a:cubicBezTo>
                  <a:cubicBezTo>
                    <a:pt x="6" y="85"/>
                    <a:pt x="6" y="85"/>
                    <a:pt x="6" y="85"/>
                  </a:cubicBezTo>
                  <a:cubicBezTo>
                    <a:pt x="5" y="85"/>
                    <a:pt x="5" y="85"/>
                    <a:pt x="5" y="86"/>
                  </a:cubicBezTo>
                  <a:cubicBezTo>
                    <a:pt x="5" y="86"/>
                    <a:pt x="5" y="86"/>
                    <a:pt x="5" y="86"/>
                  </a:cubicBezTo>
                  <a:cubicBezTo>
                    <a:pt x="5" y="87"/>
                    <a:pt x="5" y="88"/>
                    <a:pt x="6" y="89"/>
                  </a:cubicBezTo>
                  <a:cubicBezTo>
                    <a:pt x="6" y="89"/>
                    <a:pt x="6" y="90"/>
                    <a:pt x="7" y="90"/>
                  </a:cubicBezTo>
                  <a:cubicBezTo>
                    <a:pt x="9" y="90"/>
                    <a:pt x="10" y="89"/>
                    <a:pt x="10" y="87"/>
                  </a:cubicBezTo>
                  <a:cubicBezTo>
                    <a:pt x="10" y="88"/>
                    <a:pt x="11" y="88"/>
                    <a:pt x="11" y="88"/>
                  </a:cubicBezTo>
                  <a:cubicBezTo>
                    <a:pt x="11" y="88"/>
                    <a:pt x="11" y="89"/>
                    <a:pt x="11" y="89"/>
                  </a:cubicBezTo>
                  <a:cubicBezTo>
                    <a:pt x="10" y="89"/>
                    <a:pt x="9" y="90"/>
                    <a:pt x="10" y="92"/>
                  </a:cubicBezTo>
                  <a:cubicBezTo>
                    <a:pt x="10" y="92"/>
                    <a:pt x="10" y="93"/>
                    <a:pt x="10" y="94"/>
                  </a:cubicBezTo>
                  <a:cubicBezTo>
                    <a:pt x="11" y="94"/>
                    <a:pt x="11" y="94"/>
                    <a:pt x="11" y="95"/>
                  </a:cubicBezTo>
                  <a:cubicBezTo>
                    <a:pt x="11" y="95"/>
                    <a:pt x="11" y="96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8"/>
                    <a:pt x="11" y="99"/>
                    <a:pt x="11" y="100"/>
                  </a:cubicBezTo>
                  <a:cubicBezTo>
                    <a:pt x="12" y="100"/>
                    <a:pt x="12" y="101"/>
                    <a:pt x="12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3"/>
                    <a:pt x="11" y="105"/>
                    <a:pt x="13" y="106"/>
                  </a:cubicBezTo>
                  <a:cubicBezTo>
                    <a:pt x="13" y="106"/>
                    <a:pt x="14" y="106"/>
                    <a:pt x="14" y="106"/>
                  </a:cubicBezTo>
                  <a:cubicBezTo>
                    <a:pt x="14" y="106"/>
                    <a:pt x="15" y="107"/>
                    <a:pt x="15" y="107"/>
                  </a:cubicBezTo>
                  <a:cubicBezTo>
                    <a:pt x="16" y="108"/>
                    <a:pt x="17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9" y="108"/>
                    <a:pt x="20" y="108"/>
                  </a:cubicBezTo>
                  <a:cubicBezTo>
                    <a:pt x="21" y="108"/>
                    <a:pt x="21" y="107"/>
                    <a:pt x="22" y="107"/>
                  </a:cubicBezTo>
                  <a:cubicBezTo>
                    <a:pt x="22" y="106"/>
                    <a:pt x="23" y="106"/>
                    <a:pt x="24" y="106"/>
                  </a:cubicBezTo>
                  <a:cubicBezTo>
                    <a:pt x="24" y="106"/>
                    <a:pt x="24" y="106"/>
                    <a:pt x="25" y="106"/>
                  </a:cubicBezTo>
                  <a:cubicBezTo>
                    <a:pt x="25" y="107"/>
                    <a:pt x="24" y="109"/>
                    <a:pt x="25" y="110"/>
                  </a:cubicBezTo>
                  <a:cubicBezTo>
                    <a:pt x="25" y="110"/>
                    <a:pt x="26" y="111"/>
                    <a:pt x="27" y="111"/>
                  </a:cubicBezTo>
                  <a:cubicBezTo>
                    <a:pt x="27" y="111"/>
                    <a:pt x="28" y="110"/>
                    <a:pt x="28" y="110"/>
                  </a:cubicBezTo>
                  <a:cubicBezTo>
                    <a:pt x="28" y="110"/>
                    <a:pt x="28" y="110"/>
                    <a:pt x="29" y="110"/>
                  </a:cubicBezTo>
                  <a:cubicBezTo>
                    <a:pt x="29" y="109"/>
                    <a:pt x="29" y="109"/>
                    <a:pt x="29" y="109"/>
                  </a:cubicBezTo>
                  <a:cubicBezTo>
                    <a:pt x="29" y="110"/>
                    <a:pt x="29" y="110"/>
                    <a:pt x="29" y="110"/>
                  </a:cubicBezTo>
                  <a:cubicBezTo>
                    <a:pt x="30" y="111"/>
                    <a:pt x="30" y="111"/>
                    <a:pt x="31" y="111"/>
                  </a:cubicBezTo>
                  <a:cubicBezTo>
                    <a:pt x="32" y="111"/>
                    <a:pt x="32" y="111"/>
                    <a:pt x="33" y="110"/>
                  </a:cubicBezTo>
                  <a:cubicBezTo>
                    <a:pt x="33" y="110"/>
                    <a:pt x="33" y="110"/>
                    <a:pt x="33" y="110"/>
                  </a:cubicBezTo>
                  <a:cubicBezTo>
                    <a:pt x="33" y="109"/>
                    <a:pt x="33" y="109"/>
                    <a:pt x="33" y="109"/>
                  </a:cubicBezTo>
                  <a:cubicBezTo>
                    <a:pt x="34" y="110"/>
                    <a:pt x="34" y="110"/>
                    <a:pt x="34" y="110"/>
                  </a:cubicBezTo>
                  <a:cubicBezTo>
                    <a:pt x="34" y="110"/>
                    <a:pt x="35" y="110"/>
                    <a:pt x="36" y="109"/>
                  </a:cubicBezTo>
                  <a:cubicBezTo>
                    <a:pt x="36" y="109"/>
                    <a:pt x="36" y="108"/>
                    <a:pt x="37" y="108"/>
                  </a:cubicBezTo>
                  <a:cubicBezTo>
                    <a:pt x="37" y="108"/>
                    <a:pt x="37" y="108"/>
                    <a:pt x="38" y="109"/>
                  </a:cubicBezTo>
                  <a:cubicBezTo>
                    <a:pt x="38" y="109"/>
                    <a:pt x="39" y="109"/>
                    <a:pt x="39" y="109"/>
                  </a:cubicBezTo>
                  <a:cubicBezTo>
                    <a:pt x="39" y="109"/>
                    <a:pt x="39" y="109"/>
                    <a:pt x="39" y="109"/>
                  </a:cubicBezTo>
                  <a:cubicBezTo>
                    <a:pt x="39" y="109"/>
                    <a:pt x="39" y="110"/>
                    <a:pt x="40" y="111"/>
                  </a:cubicBezTo>
                  <a:cubicBezTo>
                    <a:pt x="40" y="112"/>
                    <a:pt x="41" y="112"/>
                    <a:pt x="42" y="112"/>
                  </a:cubicBezTo>
                  <a:cubicBezTo>
                    <a:pt x="43" y="112"/>
                    <a:pt x="43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1"/>
                    <a:pt x="46" y="111"/>
                    <a:pt x="46" y="111"/>
                  </a:cubicBezTo>
                  <a:cubicBezTo>
                    <a:pt x="46" y="111"/>
                    <a:pt x="47" y="111"/>
                    <a:pt x="47" y="111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47" y="113"/>
                    <a:pt x="47" y="113"/>
                    <a:pt x="47" y="114"/>
                  </a:cubicBezTo>
                  <a:lnTo>
                    <a:pt x="47" y="115"/>
                  </a:lnTo>
                  <a:close/>
                  <a:moveTo>
                    <a:pt x="26" y="105"/>
                  </a:moveTo>
                  <a:cubicBezTo>
                    <a:pt x="26" y="106"/>
                    <a:pt x="26" y="106"/>
                    <a:pt x="26" y="106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5"/>
                    <a:pt x="26" y="105"/>
                    <a:pt x="26" y="105"/>
                  </a:cubicBezTo>
                  <a:close/>
                  <a:moveTo>
                    <a:pt x="77" y="65"/>
                  </a:moveTo>
                  <a:cubicBezTo>
                    <a:pt x="78" y="65"/>
                    <a:pt x="78" y="65"/>
                    <a:pt x="78" y="65"/>
                  </a:cubicBezTo>
                  <a:cubicBezTo>
                    <a:pt x="78" y="65"/>
                    <a:pt x="78" y="65"/>
                    <a:pt x="78" y="66"/>
                  </a:cubicBezTo>
                  <a:cubicBezTo>
                    <a:pt x="78" y="66"/>
                    <a:pt x="78" y="66"/>
                    <a:pt x="78" y="66"/>
                  </a:cubicBezTo>
                  <a:cubicBezTo>
                    <a:pt x="78" y="66"/>
                    <a:pt x="78" y="66"/>
                    <a:pt x="78" y="66"/>
                  </a:cubicBezTo>
                  <a:lnTo>
                    <a:pt x="77" y="65"/>
                  </a:lnTo>
                  <a:close/>
                  <a:moveTo>
                    <a:pt x="55" y="17"/>
                  </a:moveTo>
                  <a:cubicBezTo>
                    <a:pt x="55" y="17"/>
                    <a:pt x="55" y="17"/>
                    <a:pt x="55" y="17"/>
                  </a:cubicBezTo>
                  <a:cubicBezTo>
                    <a:pt x="55" y="17"/>
                    <a:pt x="55" y="17"/>
                    <a:pt x="55" y="17"/>
                  </a:cubicBezTo>
                  <a:close/>
                  <a:moveTo>
                    <a:pt x="9" y="86"/>
                  </a:move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1" name="Freeform 30"/>
            <p:cNvSpPr>
              <a:spLocks noEditPoints="1"/>
            </p:cNvSpPr>
            <p:nvPr/>
          </p:nvSpPr>
          <p:spPr bwMode="auto">
            <a:xfrm>
              <a:off x="5615" y="2484"/>
              <a:ext cx="138" cy="187"/>
            </a:xfrm>
            <a:custGeom>
              <a:avLst/>
              <a:gdLst>
                <a:gd name="T0" fmla="*/ 18 w 58"/>
                <a:gd name="T1" fmla="*/ 14 h 79"/>
                <a:gd name="T2" fmla="*/ 24 w 58"/>
                <a:gd name="T3" fmla="*/ 14 h 79"/>
                <a:gd name="T4" fmla="*/ 27 w 58"/>
                <a:gd name="T5" fmla="*/ 15 h 79"/>
                <a:gd name="T6" fmla="*/ 33 w 58"/>
                <a:gd name="T7" fmla="*/ 14 h 79"/>
                <a:gd name="T8" fmla="*/ 39 w 58"/>
                <a:gd name="T9" fmla="*/ 15 h 79"/>
                <a:gd name="T10" fmla="*/ 43 w 58"/>
                <a:gd name="T11" fmla="*/ 15 h 79"/>
                <a:gd name="T12" fmla="*/ 50 w 58"/>
                <a:gd name="T13" fmla="*/ 14 h 79"/>
                <a:gd name="T14" fmla="*/ 52 w 58"/>
                <a:gd name="T15" fmla="*/ 11 h 79"/>
                <a:gd name="T16" fmla="*/ 56 w 58"/>
                <a:gd name="T17" fmla="*/ 6 h 79"/>
                <a:gd name="T18" fmla="*/ 51 w 58"/>
                <a:gd name="T19" fmla="*/ 1 h 79"/>
                <a:gd name="T20" fmla="*/ 43 w 58"/>
                <a:gd name="T21" fmla="*/ 8 h 79"/>
                <a:gd name="T22" fmla="*/ 41 w 58"/>
                <a:gd name="T23" fmla="*/ 7 h 79"/>
                <a:gd name="T24" fmla="*/ 35 w 58"/>
                <a:gd name="T25" fmla="*/ 7 h 79"/>
                <a:gd name="T26" fmla="*/ 28 w 58"/>
                <a:gd name="T27" fmla="*/ 6 h 79"/>
                <a:gd name="T28" fmla="*/ 24 w 58"/>
                <a:gd name="T29" fmla="*/ 3 h 79"/>
                <a:gd name="T30" fmla="*/ 24 w 58"/>
                <a:gd name="T31" fmla="*/ 4 h 79"/>
                <a:gd name="T32" fmla="*/ 19 w 58"/>
                <a:gd name="T33" fmla="*/ 7 h 79"/>
                <a:gd name="T34" fmla="*/ 14 w 58"/>
                <a:gd name="T35" fmla="*/ 9 h 79"/>
                <a:gd name="T36" fmla="*/ 13 w 58"/>
                <a:gd name="T37" fmla="*/ 12 h 79"/>
                <a:gd name="T38" fmla="*/ 10 w 58"/>
                <a:gd name="T39" fmla="*/ 21 h 79"/>
                <a:gd name="T40" fmla="*/ 9 w 58"/>
                <a:gd name="T41" fmla="*/ 27 h 79"/>
                <a:gd name="T42" fmla="*/ 6 w 58"/>
                <a:gd name="T43" fmla="*/ 34 h 79"/>
                <a:gd name="T44" fmla="*/ 6 w 58"/>
                <a:gd name="T45" fmla="*/ 40 h 79"/>
                <a:gd name="T46" fmla="*/ 4 w 58"/>
                <a:gd name="T47" fmla="*/ 45 h 79"/>
                <a:gd name="T48" fmla="*/ 1 w 58"/>
                <a:gd name="T49" fmla="*/ 50 h 79"/>
                <a:gd name="T50" fmla="*/ 7 w 58"/>
                <a:gd name="T51" fmla="*/ 56 h 79"/>
                <a:gd name="T52" fmla="*/ 8 w 58"/>
                <a:gd name="T53" fmla="*/ 62 h 79"/>
                <a:gd name="T54" fmla="*/ 8 w 58"/>
                <a:gd name="T55" fmla="*/ 67 h 79"/>
                <a:gd name="T56" fmla="*/ 10 w 58"/>
                <a:gd name="T57" fmla="*/ 78 h 79"/>
                <a:gd name="T58" fmla="*/ 15 w 58"/>
                <a:gd name="T59" fmla="*/ 77 h 79"/>
                <a:gd name="T60" fmla="*/ 17 w 58"/>
                <a:gd name="T61" fmla="*/ 69 h 79"/>
                <a:gd name="T62" fmla="*/ 17 w 58"/>
                <a:gd name="T63" fmla="*/ 55 h 79"/>
                <a:gd name="T64" fmla="*/ 17 w 58"/>
                <a:gd name="T65" fmla="*/ 49 h 79"/>
                <a:gd name="T66" fmla="*/ 21 w 58"/>
                <a:gd name="T67" fmla="*/ 50 h 79"/>
                <a:gd name="T68" fmla="*/ 24 w 58"/>
                <a:gd name="T69" fmla="*/ 61 h 79"/>
                <a:gd name="T70" fmla="*/ 27 w 58"/>
                <a:gd name="T71" fmla="*/ 69 h 79"/>
                <a:gd name="T72" fmla="*/ 31 w 58"/>
                <a:gd name="T73" fmla="*/ 70 h 79"/>
                <a:gd name="T74" fmla="*/ 25 w 58"/>
                <a:gd name="T75" fmla="*/ 72 h 79"/>
                <a:gd name="T76" fmla="*/ 30 w 58"/>
                <a:gd name="T77" fmla="*/ 75 h 79"/>
                <a:gd name="T78" fmla="*/ 35 w 58"/>
                <a:gd name="T79" fmla="*/ 79 h 79"/>
                <a:gd name="T80" fmla="*/ 39 w 58"/>
                <a:gd name="T81" fmla="*/ 71 h 79"/>
                <a:gd name="T82" fmla="*/ 40 w 58"/>
                <a:gd name="T83" fmla="*/ 65 h 79"/>
                <a:gd name="T84" fmla="*/ 37 w 58"/>
                <a:gd name="T85" fmla="*/ 61 h 79"/>
                <a:gd name="T86" fmla="*/ 32 w 58"/>
                <a:gd name="T87" fmla="*/ 55 h 79"/>
                <a:gd name="T88" fmla="*/ 33 w 58"/>
                <a:gd name="T89" fmla="*/ 49 h 79"/>
                <a:gd name="T90" fmla="*/ 26 w 58"/>
                <a:gd name="T91" fmla="*/ 39 h 79"/>
                <a:gd name="T92" fmla="*/ 29 w 58"/>
                <a:gd name="T93" fmla="*/ 37 h 79"/>
                <a:gd name="T94" fmla="*/ 34 w 58"/>
                <a:gd name="T95" fmla="*/ 34 h 79"/>
                <a:gd name="T96" fmla="*/ 39 w 58"/>
                <a:gd name="T97" fmla="*/ 37 h 79"/>
                <a:gd name="T98" fmla="*/ 43 w 58"/>
                <a:gd name="T99" fmla="*/ 31 h 79"/>
                <a:gd name="T100" fmla="*/ 37 w 58"/>
                <a:gd name="T101" fmla="*/ 22 h 79"/>
                <a:gd name="T102" fmla="*/ 30 w 58"/>
                <a:gd name="T103" fmla="*/ 26 h 79"/>
                <a:gd name="T104" fmla="*/ 24 w 58"/>
                <a:gd name="T105" fmla="*/ 28 h 79"/>
                <a:gd name="T106" fmla="*/ 20 w 58"/>
                <a:gd name="T107" fmla="*/ 30 h 79"/>
                <a:gd name="T108" fmla="*/ 17 w 58"/>
                <a:gd name="T109" fmla="*/ 25 h 79"/>
                <a:gd name="T110" fmla="*/ 16 w 58"/>
                <a:gd name="T111" fmla="*/ 21 h 79"/>
                <a:gd name="T112" fmla="*/ 31 w 58"/>
                <a:gd name="T113" fmla="*/ 66 h 79"/>
                <a:gd name="T114" fmla="*/ 32 w 58"/>
                <a:gd name="T115" fmla="*/ 66 h 79"/>
                <a:gd name="T116" fmla="*/ 33 w 58"/>
                <a:gd name="T117" fmla="*/ 66 h 79"/>
                <a:gd name="T118" fmla="*/ 21 w 58"/>
                <a:gd name="T119" fmla="*/ 48 h 79"/>
                <a:gd name="T120" fmla="*/ 35 w 58"/>
                <a:gd name="T121" fmla="*/ 78 h 79"/>
                <a:gd name="T122" fmla="*/ 35 w 58"/>
                <a:gd name="T123" fmla="*/ 6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8" h="79">
                  <a:moveTo>
                    <a:pt x="16" y="18"/>
                  </a:moveTo>
                  <a:cubicBezTo>
                    <a:pt x="16" y="17"/>
                    <a:pt x="17" y="16"/>
                    <a:pt x="18" y="15"/>
                  </a:cubicBezTo>
                  <a:cubicBezTo>
                    <a:pt x="18" y="15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8" y="14"/>
                    <a:pt x="18" y="14"/>
                    <a:pt x="18" y="14"/>
                  </a:cubicBezTo>
                  <a:cubicBezTo>
                    <a:pt x="19" y="14"/>
                    <a:pt x="19" y="15"/>
                    <a:pt x="20" y="15"/>
                  </a:cubicBezTo>
                  <a:cubicBezTo>
                    <a:pt x="20" y="15"/>
                    <a:pt x="21" y="15"/>
                    <a:pt x="22" y="15"/>
                  </a:cubicBezTo>
                  <a:cubicBezTo>
                    <a:pt x="22" y="15"/>
                    <a:pt x="23" y="15"/>
                    <a:pt x="23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5"/>
                    <a:pt x="27" y="15"/>
                    <a:pt x="27" y="15"/>
                  </a:cubicBezTo>
                  <a:cubicBezTo>
                    <a:pt x="27" y="15"/>
                    <a:pt x="27" y="15"/>
                    <a:pt x="27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9" y="15"/>
                    <a:pt x="29" y="15"/>
                  </a:cubicBezTo>
                  <a:cubicBezTo>
                    <a:pt x="29" y="15"/>
                    <a:pt x="29" y="15"/>
                    <a:pt x="30" y="15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1" y="14"/>
                    <a:pt x="32" y="14"/>
                    <a:pt x="33" y="14"/>
                  </a:cubicBezTo>
                  <a:cubicBezTo>
                    <a:pt x="33" y="14"/>
                    <a:pt x="34" y="14"/>
                    <a:pt x="34" y="14"/>
                  </a:cubicBezTo>
                  <a:cubicBezTo>
                    <a:pt x="35" y="14"/>
                    <a:pt x="35" y="14"/>
                    <a:pt x="36" y="14"/>
                  </a:cubicBezTo>
                  <a:cubicBezTo>
                    <a:pt x="36" y="14"/>
                    <a:pt x="36" y="14"/>
                    <a:pt x="37" y="14"/>
                  </a:cubicBezTo>
                  <a:cubicBezTo>
                    <a:pt x="37" y="15"/>
                    <a:pt x="38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3" y="15"/>
                    <a:pt x="43" y="15"/>
                    <a:pt x="43" y="15"/>
                  </a:cubicBezTo>
                  <a:cubicBezTo>
                    <a:pt x="43" y="15"/>
                    <a:pt x="44" y="15"/>
                    <a:pt x="45" y="15"/>
                  </a:cubicBezTo>
                  <a:cubicBezTo>
                    <a:pt x="45" y="15"/>
                    <a:pt x="46" y="15"/>
                    <a:pt x="47" y="15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9" y="14"/>
                    <a:pt x="50" y="14"/>
                  </a:cubicBezTo>
                  <a:cubicBezTo>
                    <a:pt x="51" y="13"/>
                    <a:pt x="51" y="13"/>
                    <a:pt x="51" y="13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1" y="12"/>
                    <a:pt x="52" y="12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2" y="11"/>
                    <a:pt x="52" y="11"/>
                    <a:pt x="52" y="11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10"/>
                    <a:pt x="54" y="9"/>
                    <a:pt x="55" y="9"/>
                  </a:cubicBezTo>
                  <a:cubicBezTo>
                    <a:pt x="55" y="9"/>
                    <a:pt x="55" y="8"/>
                    <a:pt x="56" y="8"/>
                  </a:cubicBezTo>
                  <a:cubicBezTo>
                    <a:pt x="56" y="7"/>
                    <a:pt x="56" y="6"/>
                    <a:pt x="56" y="6"/>
                  </a:cubicBezTo>
                  <a:cubicBezTo>
                    <a:pt x="56" y="6"/>
                    <a:pt x="56" y="6"/>
                    <a:pt x="56" y="6"/>
                  </a:cubicBezTo>
                  <a:cubicBezTo>
                    <a:pt x="56" y="6"/>
                    <a:pt x="57" y="5"/>
                    <a:pt x="57" y="5"/>
                  </a:cubicBezTo>
                  <a:cubicBezTo>
                    <a:pt x="57" y="5"/>
                    <a:pt x="58" y="3"/>
                    <a:pt x="57" y="2"/>
                  </a:cubicBezTo>
                  <a:cubicBezTo>
                    <a:pt x="57" y="1"/>
                    <a:pt x="55" y="0"/>
                    <a:pt x="54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3" y="0"/>
                    <a:pt x="52" y="1"/>
                    <a:pt x="51" y="1"/>
                  </a:cubicBezTo>
                  <a:cubicBezTo>
                    <a:pt x="51" y="1"/>
                    <a:pt x="51" y="2"/>
                    <a:pt x="51" y="2"/>
                  </a:cubicBezTo>
                  <a:cubicBezTo>
                    <a:pt x="50" y="2"/>
                    <a:pt x="49" y="3"/>
                    <a:pt x="48" y="4"/>
                  </a:cubicBezTo>
                  <a:cubicBezTo>
                    <a:pt x="47" y="5"/>
                    <a:pt x="46" y="6"/>
                    <a:pt x="45" y="7"/>
                  </a:cubicBezTo>
                  <a:cubicBezTo>
                    <a:pt x="44" y="7"/>
                    <a:pt x="44" y="7"/>
                    <a:pt x="43" y="7"/>
                  </a:cubicBezTo>
                  <a:cubicBezTo>
                    <a:pt x="43" y="8"/>
                    <a:pt x="43" y="8"/>
                    <a:pt x="43" y="8"/>
                  </a:cubicBezTo>
                  <a:cubicBezTo>
                    <a:pt x="43" y="7"/>
                    <a:pt x="43" y="7"/>
                    <a:pt x="43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2" y="7"/>
                    <a:pt x="41" y="7"/>
                    <a:pt x="41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1" y="7"/>
                    <a:pt x="40" y="7"/>
                    <a:pt x="40" y="7"/>
                  </a:cubicBezTo>
                  <a:cubicBezTo>
                    <a:pt x="39" y="6"/>
                    <a:pt x="38" y="7"/>
                    <a:pt x="37" y="7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6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7"/>
                    <a:pt x="35" y="7"/>
                    <a:pt x="34" y="7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33" y="6"/>
                    <a:pt x="32" y="6"/>
                    <a:pt x="30" y="6"/>
                  </a:cubicBezTo>
                  <a:cubicBezTo>
                    <a:pt x="29" y="6"/>
                    <a:pt x="28" y="6"/>
                    <a:pt x="28" y="6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8" y="6"/>
                    <a:pt x="27" y="6"/>
                    <a:pt x="27" y="6"/>
                  </a:cubicBezTo>
                  <a:cubicBezTo>
                    <a:pt x="27" y="6"/>
                    <a:pt x="28" y="4"/>
                    <a:pt x="27" y="3"/>
                  </a:cubicBezTo>
                  <a:cubicBezTo>
                    <a:pt x="26" y="3"/>
                    <a:pt x="25" y="3"/>
                    <a:pt x="24" y="3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19" y="3"/>
                    <a:pt x="19" y="5"/>
                  </a:cubicBezTo>
                  <a:cubicBezTo>
                    <a:pt x="19" y="6"/>
                    <a:pt x="19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8" y="7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8" y="7"/>
                    <a:pt x="17" y="7"/>
                    <a:pt x="17" y="7"/>
                  </a:cubicBezTo>
                  <a:cubicBezTo>
                    <a:pt x="15" y="7"/>
                    <a:pt x="15" y="8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10"/>
                    <a:pt x="13" y="10"/>
                    <a:pt x="13" y="11"/>
                  </a:cubicBezTo>
                  <a:cubicBezTo>
                    <a:pt x="13" y="11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4"/>
                    <a:pt x="11" y="15"/>
                    <a:pt x="11" y="16"/>
                  </a:cubicBezTo>
                  <a:cubicBezTo>
                    <a:pt x="11" y="16"/>
                    <a:pt x="10" y="16"/>
                    <a:pt x="10" y="17"/>
                  </a:cubicBezTo>
                  <a:cubicBezTo>
                    <a:pt x="9" y="17"/>
                    <a:pt x="9" y="18"/>
                    <a:pt x="10" y="19"/>
                  </a:cubicBezTo>
                  <a:cubicBezTo>
                    <a:pt x="10" y="20"/>
                    <a:pt x="10" y="20"/>
                    <a:pt x="10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11" y="21"/>
                    <a:pt x="11" y="21"/>
                    <a:pt x="11" y="22"/>
                  </a:cubicBezTo>
                  <a:cubicBezTo>
                    <a:pt x="10" y="22"/>
                    <a:pt x="10" y="23"/>
                    <a:pt x="10" y="24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9" y="25"/>
                    <a:pt x="9" y="26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8" y="28"/>
                    <a:pt x="8" y="28"/>
                  </a:cubicBezTo>
                  <a:cubicBezTo>
                    <a:pt x="8" y="28"/>
                    <a:pt x="7" y="29"/>
                    <a:pt x="7" y="29"/>
                  </a:cubicBezTo>
                  <a:cubicBezTo>
                    <a:pt x="6" y="30"/>
                    <a:pt x="6" y="31"/>
                    <a:pt x="6" y="32"/>
                  </a:cubicBezTo>
                  <a:cubicBezTo>
                    <a:pt x="6" y="33"/>
                    <a:pt x="6" y="34"/>
                    <a:pt x="6" y="34"/>
                  </a:cubicBezTo>
                  <a:cubicBezTo>
                    <a:pt x="6" y="35"/>
                    <a:pt x="6" y="35"/>
                    <a:pt x="6" y="35"/>
                  </a:cubicBezTo>
                  <a:cubicBezTo>
                    <a:pt x="6" y="35"/>
                    <a:pt x="6" y="36"/>
                    <a:pt x="6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8"/>
                    <a:pt x="5" y="39"/>
                    <a:pt x="6" y="40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6" y="41"/>
                    <a:pt x="6" y="42"/>
                    <a:pt x="6" y="42"/>
                  </a:cubicBezTo>
                  <a:cubicBezTo>
                    <a:pt x="6" y="43"/>
                    <a:pt x="6" y="43"/>
                    <a:pt x="6" y="44"/>
                  </a:cubicBezTo>
                  <a:cubicBezTo>
                    <a:pt x="5" y="44"/>
                    <a:pt x="5" y="44"/>
                    <a:pt x="5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4" y="45"/>
                  </a:cubicBezTo>
                  <a:cubicBezTo>
                    <a:pt x="4" y="45"/>
                    <a:pt x="4" y="45"/>
                    <a:pt x="4" y="45"/>
                  </a:cubicBezTo>
                  <a:cubicBezTo>
                    <a:pt x="3" y="45"/>
                    <a:pt x="2" y="45"/>
                    <a:pt x="2" y="47"/>
                  </a:cubicBezTo>
                  <a:cubicBezTo>
                    <a:pt x="1" y="47"/>
                    <a:pt x="2" y="48"/>
                    <a:pt x="2" y="49"/>
                  </a:cubicBezTo>
                  <a:cubicBezTo>
                    <a:pt x="2" y="49"/>
                    <a:pt x="2" y="49"/>
                    <a:pt x="2" y="49"/>
                  </a:cubicBezTo>
                  <a:cubicBezTo>
                    <a:pt x="2" y="49"/>
                    <a:pt x="1" y="49"/>
                    <a:pt x="1" y="50"/>
                  </a:cubicBezTo>
                  <a:cubicBezTo>
                    <a:pt x="0" y="51"/>
                    <a:pt x="1" y="52"/>
                    <a:pt x="1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4"/>
                    <a:pt x="2" y="55"/>
                    <a:pt x="2" y="55"/>
                  </a:cubicBezTo>
                  <a:cubicBezTo>
                    <a:pt x="2" y="57"/>
                    <a:pt x="4" y="58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7"/>
                    <a:pt x="7" y="57"/>
                  </a:cubicBezTo>
                  <a:cubicBezTo>
                    <a:pt x="7" y="58"/>
                    <a:pt x="7" y="59"/>
                    <a:pt x="8" y="60"/>
                  </a:cubicBezTo>
                  <a:cubicBezTo>
                    <a:pt x="8" y="61"/>
                    <a:pt x="8" y="61"/>
                    <a:pt x="8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3"/>
                    <a:pt x="8" y="63"/>
                  </a:cubicBezTo>
                  <a:cubicBezTo>
                    <a:pt x="8" y="64"/>
                    <a:pt x="8" y="64"/>
                    <a:pt x="8" y="64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5"/>
                    <a:pt x="8" y="66"/>
                    <a:pt x="8" y="67"/>
                  </a:cubicBezTo>
                  <a:cubicBezTo>
                    <a:pt x="8" y="67"/>
                    <a:pt x="8" y="67"/>
                    <a:pt x="8" y="67"/>
                  </a:cubicBezTo>
                  <a:cubicBezTo>
                    <a:pt x="7" y="67"/>
                    <a:pt x="7" y="68"/>
                    <a:pt x="7" y="69"/>
                  </a:cubicBezTo>
                  <a:cubicBezTo>
                    <a:pt x="7" y="69"/>
                    <a:pt x="7" y="70"/>
                    <a:pt x="6" y="70"/>
                  </a:cubicBezTo>
                  <a:cubicBezTo>
                    <a:pt x="6" y="71"/>
                    <a:pt x="6" y="73"/>
                    <a:pt x="6" y="74"/>
                  </a:cubicBezTo>
                  <a:cubicBezTo>
                    <a:pt x="6" y="75"/>
                    <a:pt x="6" y="77"/>
                    <a:pt x="8" y="78"/>
                  </a:cubicBezTo>
                  <a:cubicBezTo>
                    <a:pt x="8" y="78"/>
                    <a:pt x="9" y="78"/>
                    <a:pt x="10" y="78"/>
                  </a:cubicBezTo>
                  <a:cubicBezTo>
                    <a:pt x="11" y="78"/>
                    <a:pt x="11" y="78"/>
                    <a:pt x="12" y="78"/>
                  </a:cubicBezTo>
                  <a:cubicBezTo>
                    <a:pt x="12" y="78"/>
                    <a:pt x="12" y="77"/>
                    <a:pt x="13" y="77"/>
                  </a:cubicBez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77"/>
                    <a:pt x="14" y="77"/>
                  </a:cubicBezTo>
                  <a:cubicBezTo>
                    <a:pt x="14" y="77"/>
                    <a:pt x="15" y="77"/>
                    <a:pt x="15" y="77"/>
                  </a:cubicBezTo>
                  <a:cubicBezTo>
                    <a:pt x="16" y="77"/>
                    <a:pt x="16" y="77"/>
                    <a:pt x="17" y="77"/>
                  </a:cubicBezTo>
                  <a:cubicBezTo>
                    <a:pt x="18" y="76"/>
                    <a:pt x="17" y="75"/>
                    <a:pt x="17" y="74"/>
                  </a:cubicBezTo>
                  <a:cubicBezTo>
                    <a:pt x="16" y="73"/>
                    <a:pt x="16" y="73"/>
                    <a:pt x="16" y="72"/>
                  </a:cubicBezTo>
                  <a:cubicBezTo>
                    <a:pt x="16" y="71"/>
                    <a:pt x="16" y="70"/>
                    <a:pt x="16" y="69"/>
                  </a:cubicBezTo>
                  <a:cubicBezTo>
                    <a:pt x="16" y="69"/>
                    <a:pt x="17" y="69"/>
                    <a:pt x="17" y="69"/>
                  </a:cubicBezTo>
                  <a:cubicBezTo>
                    <a:pt x="19" y="68"/>
                    <a:pt x="18" y="66"/>
                    <a:pt x="17" y="65"/>
                  </a:cubicBezTo>
                  <a:cubicBezTo>
                    <a:pt x="17" y="64"/>
                    <a:pt x="17" y="64"/>
                    <a:pt x="17" y="64"/>
                  </a:cubicBezTo>
                  <a:cubicBezTo>
                    <a:pt x="17" y="63"/>
                    <a:pt x="17" y="62"/>
                    <a:pt x="17" y="61"/>
                  </a:cubicBezTo>
                  <a:cubicBezTo>
                    <a:pt x="17" y="60"/>
                    <a:pt x="17" y="60"/>
                    <a:pt x="17" y="60"/>
                  </a:cubicBezTo>
                  <a:cubicBezTo>
                    <a:pt x="17" y="58"/>
                    <a:pt x="17" y="56"/>
                    <a:pt x="17" y="55"/>
                  </a:cubicBezTo>
                  <a:cubicBezTo>
                    <a:pt x="17" y="54"/>
                    <a:pt x="18" y="54"/>
                    <a:pt x="18" y="54"/>
                  </a:cubicBezTo>
                  <a:cubicBezTo>
                    <a:pt x="18" y="53"/>
                    <a:pt x="18" y="53"/>
                    <a:pt x="18" y="52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8" y="51"/>
                    <a:pt x="18" y="51"/>
                    <a:pt x="18" y="51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8" y="49"/>
                    <a:pt x="19" y="49"/>
                    <a:pt x="19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21" y="48"/>
                    <a:pt x="21" y="49"/>
                    <a:pt x="21" y="50"/>
                  </a:cubicBezTo>
                  <a:cubicBezTo>
                    <a:pt x="21" y="50"/>
                    <a:pt x="20" y="51"/>
                    <a:pt x="20" y="52"/>
                  </a:cubicBezTo>
                  <a:cubicBezTo>
                    <a:pt x="20" y="53"/>
                    <a:pt x="19" y="55"/>
                    <a:pt x="20" y="56"/>
                  </a:cubicBezTo>
                  <a:cubicBezTo>
                    <a:pt x="21" y="58"/>
                    <a:pt x="22" y="59"/>
                    <a:pt x="24" y="60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4" y="61"/>
                    <a:pt x="24" y="61"/>
                    <a:pt x="24" y="61"/>
                  </a:cubicBezTo>
                  <a:cubicBezTo>
                    <a:pt x="23" y="62"/>
                    <a:pt x="23" y="64"/>
                    <a:pt x="24" y="64"/>
                  </a:cubicBezTo>
                  <a:cubicBezTo>
                    <a:pt x="24" y="64"/>
                    <a:pt x="24" y="65"/>
                    <a:pt x="24" y="65"/>
                  </a:cubicBezTo>
                  <a:cubicBezTo>
                    <a:pt x="24" y="65"/>
                    <a:pt x="24" y="65"/>
                    <a:pt x="24" y="65"/>
                  </a:cubicBezTo>
                  <a:cubicBezTo>
                    <a:pt x="24" y="66"/>
                    <a:pt x="23" y="67"/>
                    <a:pt x="25" y="68"/>
                  </a:cubicBezTo>
                  <a:cubicBezTo>
                    <a:pt x="26" y="69"/>
                    <a:pt x="26" y="69"/>
                    <a:pt x="27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70"/>
                    <a:pt x="29" y="70"/>
                    <a:pt x="29" y="70"/>
                  </a:cubicBezTo>
                  <a:cubicBezTo>
                    <a:pt x="29" y="70"/>
                    <a:pt x="30" y="70"/>
                    <a:pt x="30" y="69"/>
                  </a:cubicBezTo>
                  <a:cubicBezTo>
                    <a:pt x="30" y="69"/>
                    <a:pt x="30" y="69"/>
                    <a:pt x="30" y="70"/>
                  </a:cubicBezTo>
                  <a:cubicBezTo>
                    <a:pt x="30" y="70"/>
                    <a:pt x="31" y="70"/>
                    <a:pt x="31" y="70"/>
                  </a:cubicBezTo>
                  <a:cubicBezTo>
                    <a:pt x="31" y="71"/>
                    <a:pt x="30" y="71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29" y="71"/>
                    <a:pt x="29" y="71"/>
                  </a:cubicBezTo>
                  <a:cubicBezTo>
                    <a:pt x="28" y="70"/>
                    <a:pt x="26" y="70"/>
                    <a:pt x="25" y="72"/>
                  </a:cubicBezTo>
                  <a:cubicBezTo>
                    <a:pt x="24" y="73"/>
                    <a:pt x="25" y="74"/>
                    <a:pt x="26" y="75"/>
                  </a:cubicBezTo>
                  <a:cubicBezTo>
                    <a:pt x="26" y="76"/>
                    <a:pt x="27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9" y="76"/>
                    <a:pt x="29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1" y="76"/>
                    <a:pt x="31" y="76"/>
                    <a:pt x="32" y="75"/>
                  </a:cubicBezTo>
                  <a:cubicBezTo>
                    <a:pt x="32" y="75"/>
                    <a:pt x="32" y="76"/>
                    <a:pt x="33" y="76"/>
                  </a:cubicBezTo>
                  <a:cubicBezTo>
                    <a:pt x="33" y="76"/>
                    <a:pt x="33" y="76"/>
                    <a:pt x="33" y="76"/>
                  </a:cubicBezTo>
                  <a:cubicBezTo>
                    <a:pt x="32" y="77"/>
                    <a:pt x="33" y="78"/>
                    <a:pt x="33" y="78"/>
                  </a:cubicBezTo>
                  <a:cubicBezTo>
                    <a:pt x="34" y="79"/>
                    <a:pt x="34" y="79"/>
                    <a:pt x="35" y="79"/>
                  </a:cubicBezTo>
                  <a:cubicBezTo>
                    <a:pt x="36" y="79"/>
                    <a:pt x="36" y="79"/>
                    <a:pt x="36" y="79"/>
                  </a:cubicBezTo>
                  <a:cubicBezTo>
                    <a:pt x="37" y="79"/>
                    <a:pt x="37" y="79"/>
                    <a:pt x="37" y="79"/>
                  </a:cubicBezTo>
                  <a:cubicBezTo>
                    <a:pt x="37" y="78"/>
                    <a:pt x="37" y="78"/>
                    <a:pt x="37" y="78"/>
                  </a:cubicBezTo>
                  <a:cubicBezTo>
                    <a:pt x="37" y="77"/>
                    <a:pt x="38" y="76"/>
                    <a:pt x="38" y="76"/>
                  </a:cubicBezTo>
                  <a:cubicBezTo>
                    <a:pt x="39" y="75"/>
                    <a:pt x="40" y="74"/>
                    <a:pt x="39" y="71"/>
                  </a:cubicBezTo>
                  <a:cubicBezTo>
                    <a:pt x="39" y="71"/>
                    <a:pt x="39" y="71"/>
                    <a:pt x="39" y="71"/>
                  </a:cubicBezTo>
                  <a:cubicBezTo>
                    <a:pt x="38" y="71"/>
                    <a:pt x="38" y="70"/>
                    <a:pt x="39" y="70"/>
                  </a:cubicBezTo>
                  <a:cubicBezTo>
                    <a:pt x="39" y="70"/>
                    <a:pt x="39" y="70"/>
                    <a:pt x="39" y="70"/>
                  </a:cubicBezTo>
                  <a:cubicBezTo>
                    <a:pt x="39" y="70"/>
                    <a:pt x="39" y="70"/>
                    <a:pt x="40" y="69"/>
                  </a:cubicBezTo>
                  <a:cubicBezTo>
                    <a:pt x="41" y="68"/>
                    <a:pt x="40" y="67"/>
                    <a:pt x="40" y="65"/>
                  </a:cubicBezTo>
                  <a:cubicBezTo>
                    <a:pt x="39" y="66"/>
                    <a:pt x="39" y="66"/>
                    <a:pt x="39" y="66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0" y="64"/>
                    <a:pt x="39" y="63"/>
                    <a:pt x="38" y="63"/>
                  </a:cubicBezTo>
                  <a:cubicBezTo>
                    <a:pt x="38" y="63"/>
                    <a:pt x="37" y="63"/>
                    <a:pt x="37" y="64"/>
                  </a:cubicBezTo>
                  <a:cubicBezTo>
                    <a:pt x="37" y="63"/>
                    <a:pt x="37" y="62"/>
                    <a:pt x="37" y="61"/>
                  </a:cubicBezTo>
                  <a:cubicBezTo>
                    <a:pt x="36" y="60"/>
                    <a:pt x="35" y="60"/>
                    <a:pt x="34" y="60"/>
                  </a:cubicBezTo>
                  <a:cubicBezTo>
                    <a:pt x="34" y="60"/>
                    <a:pt x="34" y="59"/>
                    <a:pt x="34" y="59"/>
                  </a:cubicBezTo>
                  <a:cubicBezTo>
                    <a:pt x="34" y="58"/>
                    <a:pt x="34" y="58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4"/>
                  </a:cubicBezTo>
                  <a:cubicBezTo>
                    <a:pt x="31" y="54"/>
                    <a:pt x="31" y="53"/>
                    <a:pt x="31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1"/>
                    <a:pt x="33" y="50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8"/>
                    <a:pt x="32" y="47"/>
                    <a:pt x="32" y="46"/>
                  </a:cubicBezTo>
                  <a:cubicBezTo>
                    <a:pt x="31" y="45"/>
                    <a:pt x="31" y="44"/>
                    <a:pt x="30" y="43"/>
                  </a:cubicBezTo>
                  <a:cubicBezTo>
                    <a:pt x="29" y="42"/>
                    <a:pt x="28" y="41"/>
                    <a:pt x="27" y="40"/>
                  </a:cubicBezTo>
                  <a:cubicBezTo>
                    <a:pt x="27" y="40"/>
                    <a:pt x="27" y="39"/>
                    <a:pt x="26" y="39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8"/>
                    <a:pt x="28" y="38"/>
                    <a:pt x="28" y="38"/>
                  </a:cubicBezTo>
                  <a:cubicBezTo>
                    <a:pt x="28" y="37"/>
                    <a:pt x="28" y="37"/>
                    <a:pt x="28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1" y="36"/>
                    <a:pt x="31" y="36"/>
                    <a:pt x="32" y="36"/>
                  </a:cubicBezTo>
                  <a:cubicBezTo>
                    <a:pt x="32" y="36"/>
                    <a:pt x="33" y="35"/>
                    <a:pt x="34" y="34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34" y="34"/>
                    <a:pt x="34" y="35"/>
                    <a:pt x="35" y="35"/>
                  </a:cubicBezTo>
                  <a:cubicBezTo>
                    <a:pt x="35" y="36"/>
                    <a:pt x="36" y="36"/>
                    <a:pt x="37" y="36"/>
                  </a:cubicBezTo>
                  <a:cubicBezTo>
                    <a:pt x="37" y="36"/>
                    <a:pt x="37" y="36"/>
                    <a:pt x="37" y="36"/>
                  </a:cubicBezTo>
                  <a:cubicBezTo>
                    <a:pt x="37" y="37"/>
                    <a:pt x="37" y="37"/>
                    <a:pt x="38" y="37"/>
                  </a:cubicBezTo>
                  <a:cubicBezTo>
                    <a:pt x="38" y="37"/>
                    <a:pt x="39" y="37"/>
                    <a:pt x="39" y="37"/>
                  </a:cubicBezTo>
                  <a:cubicBezTo>
                    <a:pt x="40" y="36"/>
                    <a:pt x="40" y="36"/>
                    <a:pt x="40" y="35"/>
                  </a:cubicBezTo>
                  <a:cubicBezTo>
                    <a:pt x="41" y="35"/>
                    <a:pt x="41" y="35"/>
                    <a:pt x="41" y="35"/>
                  </a:cubicBezTo>
                  <a:cubicBezTo>
                    <a:pt x="42" y="35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3" y="33"/>
                    <a:pt x="44" y="32"/>
                    <a:pt x="43" y="31"/>
                  </a:cubicBezTo>
                  <a:cubicBezTo>
                    <a:pt x="43" y="30"/>
                    <a:pt x="42" y="30"/>
                    <a:pt x="42" y="29"/>
                  </a:cubicBezTo>
                  <a:cubicBezTo>
                    <a:pt x="42" y="29"/>
                    <a:pt x="42" y="27"/>
                    <a:pt x="42" y="26"/>
                  </a:cubicBezTo>
                  <a:cubicBezTo>
                    <a:pt x="42" y="24"/>
                    <a:pt x="41" y="24"/>
                    <a:pt x="40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8" y="23"/>
                    <a:pt x="37" y="22"/>
                    <a:pt x="37" y="22"/>
                  </a:cubicBezTo>
                  <a:cubicBezTo>
                    <a:pt x="35" y="22"/>
                    <a:pt x="35" y="23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3" y="24"/>
                    <a:pt x="33" y="24"/>
                    <a:pt x="33" y="24"/>
                  </a:cubicBezTo>
                  <a:cubicBezTo>
                    <a:pt x="32" y="24"/>
                    <a:pt x="32" y="24"/>
                    <a:pt x="31" y="25"/>
                  </a:cubicBezTo>
                  <a:cubicBezTo>
                    <a:pt x="31" y="25"/>
                    <a:pt x="31" y="25"/>
                    <a:pt x="30" y="26"/>
                  </a:cubicBezTo>
                  <a:cubicBezTo>
                    <a:pt x="30" y="26"/>
                    <a:pt x="30" y="26"/>
                    <a:pt x="29" y="26"/>
                  </a:cubicBezTo>
                  <a:cubicBezTo>
                    <a:pt x="29" y="26"/>
                    <a:pt x="29" y="26"/>
                    <a:pt x="28" y="26"/>
                  </a:cubicBezTo>
                  <a:cubicBezTo>
                    <a:pt x="28" y="26"/>
                    <a:pt x="27" y="26"/>
                    <a:pt x="27" y="26"/>
                  </a:cubicBezTo>
                  <a:cubicBezTo>
                    <a:pt x="26" y="26"/>
                    <a:pt x="26" y="26"/>
                    <a:pt x="25" y="26"/>
                  </a:cubicBezTo>
                  <a:cubicBezTo>
                    <a:pt x="25" y="27"/>
                    <a:pt x="25" y="27"/>
                    <a:pt x="24" y="28"/>
                  </a:cubicBezTo>
                  <a:cubicBezTo>
                    <a:pt x="24" y="28"/>
                    <a:pt x="24" y="29"/>
                    <a:pt x="24" y="29"/>
                  </a:cubicBezTo>
                  <a:cubicBezTo>
                    <a:pt x="24" y="29"/>
                    <a:pt x="23" y="30"/>
                    <a:pt x="23" y="30"/>
                  </a:cubicBezTo>
                  <a:cubicBezTo>
                    <a:pt x="23" y="30"/>
                    <a:pt x="22" y="30"/>
                    <a:pt x="22" y="30"/>
                  </a:cubicBezTo>
                  <a:cubicBezTo>
                    <a:pt x="22" y="30"/>
                    <a:pt x="21" y="30"/>
                    <a:pt x="21" y="31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28"/>
                    <a:pt x="19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6"/>
                    <a:pt x="17" y="26"/>
                    <a:pt x="17" y="25"/>
                  </a:cubicBezTo>
                  <a:cubicBezTo>
                    <a:pt x="17" y="25"/>
                    <a:pt x="17" y="25"/>
                    <a:pt x="17" y="25"/>
                  </a:cubicBezTo>
                  <a:cubicBezTo>
                    <a:pt x="17" y="25"/>
                    <a:pt x="16" y="24"/>
                    <a:pt x="16" y="24"/>
                  </a:cubicBezTo>
                  <a:cubicBezTo>
                    <a:pt x="17" y="24"/>
                    <a:pt x="17" y="24"/>
                    <a:pt x="17" y="23"/>
                  </a:cubicBezTo>
                  <a:cubicBezTo>
                    <a:pt x="17" y="23"/>
                    <a:pt x="17" y="22"/>
                    <a:pt x="17" y="22"/>
                  </a:cubicBezTo>
                  <a:cubicBezTo>
                    <a:pt x="16" y="22"/>
                    <a:pt x="16" y="22"/>
                    <a:pt x="16" y="22"/>
                  </a:cubicBezTo>
                  <a:cubicBezTo>
                    <a:pt x="16" y="21"/>
                    <a:pt x="16" y="21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6" y="19"/>
                    <a:pt x="16" y="18"/>
                  </a:cubicBezTo>
                  <a:close/>
                  <a:moveTo>
                    <a:pt x="31" y="67"/>
                  </a:moveTo>
                  <a:cubicBezTo>
                    <a:pt x="31" y="67"/>
                    <a:pt x="31" y="66"/>
                    <a:pt x="31" y="66"/>
                  </a:cubicBezTo>
                  <a:cubicBezTo>
                    <a:pt x="31" y="66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lose/>
                  <a:moveTo>
                    <a:pt x="33" y="66"/>
                  </a:moveTo>
                  <a:cubicBezTo>
                    <a:pt x="33" y="66"/>
                    <a:pt x="33" y="66"/>
                    <a:pt x="33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6"/>
                  </a:cubicBezTo>
                  <a:close/>
                  <a:moveTo>
                    <a:pt x="38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lose/>
                  <a:moveTo>
                    <a:pt x="21" y="48"/>
                  </a:moveTo>
                  <a:cubicBezTo>
                    <a:pt x="21" y="47"/>
                    <a:pt x="21" y="47"/>
                    <a:pt x="21" y="47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1" y="48"/>
                    <a:pt x="21" y="48"/>
                  </a:cubicBezTo>
                  <a:close/>
                  <a:moveTo>
                    <a:pt x="35" y="78"/>
                  </a:moveTo>
                  <a:cubicBezTo>
                    <a:pt x="35" y="78"/>
                    <a:pt x="35" y="78"/>
                    <a:pt x="35" y="78"/>
                  </a:cubicBezTo>
                  <a:cubicBezTo>
                    <a:pt x="35" y="78"/>
                    <a:pt x="35" y="78"/>
                    <a:pt x="35" y="78"/>
                  </a:cubicBezTo>
                  <a:close/>
                  <a:moveTo>
                    <a:pt x="36" y="64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6" y="65"/>
                    <a:pt x="36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727" y="2567"/>
              <a:ext cx="42" cy="12"/>
            </a:xfrm>
            <a:custGeom>
              <a:avLst/>
              <a:gdLst>
                <a:gd name="T0" fmla="*/ 14 w 18"/>
                <a:gd name="T1" fmla="*/ 5 h 5"/>
                <a:gd name="T2" fmla="*/ 15 w 18"/>
                <a:gd name="T3" fmla="*/ 4 h 5"/>
                <a:gd name="T4" fmla="*/ 18 w 18"/>
                <a:gd name="T5" fmla="*/ 3 h 5"/>
                <a:gd name="T6" fmla="*/ 18 w 18"/>
                <a:gd name="T7" fmla="*/ 1 h 5"/>
                <a:gd name="T8" fmla="*/ 18 w 18"/>
                <a:gd name="T9" fmla="*/ 0 h 5"/>
                <a:gd name="T10" fmla="*/ 17 w 18"/>
                <a:gd name="T11" fmla="*/ 0 h 5"/>
                <a:gd name="T12" fmla="*/ 16 w 18"/>
                <a:gd name="T13" fmla="*/ 0 h 5"/>
                <a:gd name="T14" fmla="*/ 15 w 18"/>
                <a:gd name="T15" fmla="*/ 0 h 5"/>
                <a:gd name="T16" fmla="*/ 15 w 18"/>
                <a:gd name="T17" fmla="*/ 0 h 5"/>
                <a:gd name="T18" fmla="*/ 14 w 18"/>
                <a:gd name="T19" fmla="*/ 0 h 5"/>
                <a:gd name="T20" fmla="*/ 13 w 18"/>
                <a:gd name="T21" fmla="*/ 1 h 5"/>
                <a:gd name="T22" fmla="*/ 12 w 18"/>
                <a:gd name="T23" fmla="*/ 0 h 5"/>
                <a:gd name="T24" fmla="*/ 10 w 18"/>
                <a:gd name="T25" fmla="*/ 0 h 5"/>
                <a:gd name="T26" fmla="*/ 9 w 18"/>
                <a:gd name="T27" fmla="*/ 1 h 5"/>
                <a:gd name="T28" fmla="*/ 9 w 18"/>
                <a:gd name="T29" fmla="*/ 1 h 5"/>
                <a:gd name="T30" fmla="*/ 8 w 18"/>
                <a:gd name="T31" fmla="*/ 0 h 5"/>
                <a:gd name="T32" fmla="*/ 8 w 18"/>
                <a:gd name="T33" fmla="*/ 0 h 5"/>
                <a:gd name="T34" fmla="*/ 6 w 18"/>
                <a:gd name="T35" fmla="*/ 0 h 5"/>
                <a:gd name="T36" fmla="*/ 5 w 18"/>
                <a:gd name="T37" fmla="*/ 0 h 5"/>
                <a:gd name="T38" fmla="*/ 5 w 18"/>
                <a:gd name="T39" fmla="*/ 0 h 5"/>
                <a:gd name="T40" fmla="*/ 2 w 18"/>
                <a:gd name="T41" fmla="*/ 0 h 5"/>
                <a:gd name="T42" fmla="*/ 0 w 18"/>
                <a:gd name="T43" fmla="*/ 3 h 5"/>
                <a:gd name="T44" fmla="*/ 2 w 18"/>
                <a:gd name="T45" fmla="*/ 5 h 5"/>
                <a:gd name="T46" fmla="*/ 2 w 18"/>
                <a:gd name="T47" fmla="*/ 5 h 5"/>
                <a:gd name="T48" fmla="*/ 4 w 18"/>
                <a:gd name="T49" fmla="*/ 5 h 5"/>
                <a:gd name="T50" fmla="*/ 4 w 18"/>
                <a:gd name="T51" fmla="*/ 4 h 5"/>
                <a:gd name="T52" fmla="*/ 5 w 18"/>
                <a:gd name="T53" fmla="*/ 4 h 5"/>
                <a:gd name="T54" fmla="*/ 5 w 18"/>
                <a:gd name="T55" fmla="*/ 3 h 5"/>
                <a:gd name="T56" fmla="*/ 6 w 18"/>
                <a:gd name="T57" fmla="*/ 4 h 5"/>
                <a:gd name="T58" fmla="*/ 6 w 18"/>
                <a:gd name="T59" fmla="*/ 4 h 5"/>
                <a:gd name="T60" fmla="*/ 9 w 18"/>
                <a:gd name="T61" fmla="*/ 3 h 5"/>
                <a:gd name="T62" fmla="*/ 11 w 18"/>
                <a:gd name="T63" fmla="*/ 5 h 5"/>
                <a:gd name="T64" fmla="*/ 13 w 18"/>
                <a:gd name="T65" fmla="*/ 5 h 5"/>
                <a:gd name="T66" fmla="*/ 14 w 18"/>
                <a:gd name="T6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8" h="5">
                  <a:moveTo>
                    <a:pt x="14" y="5"/>
                  </a:moveTo>
                  <a:cubicBezTo>
                    <a:pt x="14" y="4"/>
                    <a:pt x="15" y="4"/>
                    <a:pt x="15" y="4"/>
                  </a:cubicBezTo>
                  <a:cubicBezTo>
                    <a:pt x="16" y="4"/>
                    <a:pt x="17" y="4"/>
                    <a:pt x="18" y="3"/>
                  </a:cubicBezTo>
                  <a:cubicBezTo>
                    <a:pt x="18" y="3"/>
                    <a:pt x="18" y="2"/>
                    <a:pt x="18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6" y="0"/>
                    <a:pt x="16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2" y="0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7" y="0"/>
                    <a:pt x="7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3" y="0"/>
                    <a:pt x="2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4" y="4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4"/>
                    <a:pt x="10" y="5"/>
                    <a:pt x="11" y="5"/>
                  </a:cubicBezTo>
                  <a:cubicBezTo>
                    <a:pt x="12" y="5"/>
                    <a:pt x="12" y="5"/>
                    <a:pt x="13" y="5"/>
                  </a:cubicBezTo>
                  <a:cubicBezTo>
                    <a:pt x="13" y="5"/>
                    <a:pt x="13" y="5"/>
                    <a:pt x="1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783" y="2557"/>
              <a:ext cx="24" cy="17"/>
            </a:xfrm>
            <a:custGeom>
              <a:avLst/>
              <a:gdLst>
                <a:gd name="T0" fmla="*/ 4 w 10"/>
                <a:gd name="T1" fmla="*/ 7 h 7"/>
                <a:gd name="T2" fmla="*/ 5 w 10"/>
                <a:gd name="T3" fmla="*/ 7 h 7"/>
                <a:gd name="T4" fmla="*/ 5 w 10"/>
                <a:gd name="T5" fmla="*/ 7 h 7"/>
                <a:gd name="T6" fmla="*/ 6 w 10"/>
                <a:gd name="T7" fmla="*/ 7 h 7"/>
                <a:gd name="T8" fmla="*/ 10 w 10"/>
                <a:gd name="T9" fmla="*/ 5 h 7"/>
                <a:gd name="T10" fmla="*/ 10 w 10"/>
                <a:gd name="T11" fmla="*/ 3 h 7"/>
                <a:gd name="T12" fmla="*/ 8 w 10"/>
                <a:gd name="T13" fmla="*/ 1 h 7"/>
                <a:gd name="T14" fmla="*/ 8 w 10"/>
                <a:gd name="T15" fmla="*/ 1 h 7"/>
                <a:gd name="T16" fmla="*/ 8 w 10"/>
                <a:gd name="T17" fmla="*/ 1 h 7"/>
                <a:gd name="T18" fmla="*/ 7 w 10"/>
                <a:gd name="T19" fmla="*/ 0 h 7"/>
                <a:gd name="T20" fmla="*/ 5 w 10"/>
                <a:gd name="T21" fmla="*/ 0 h 7"/>
                <a:gd name="T22" fmla="*/ 1 w 10"/>
                <a:gd name="T23" fmla="*/ 2 h 7"/>
                <a:gd name="T24" fmla="*/ 1 w 10"/>
                <a:gd name="T25" fmla="*/ 6 h 7"/>
                <a:gd name="T26" fmla="*/ 4 w 10"/>
                <a:gd name="T27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" h="7">
                  <a:moveTo>
                    <a:pt x="4" y="7"/>
                  </a:move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9" y="6"/>
                    <a:pt x="10" y="5"/>
                  </a:cubicBezTo>
                  <a:cubicBezTo>
                    <a:pt x="10" y="5"/>
                    <a:pt x="10" y="4"/>
                    <a:pt x="10" y="3"/>
                  </a:cubicBezTo>
                  <a:cubicBezTo>
                    <a:pt x="10" y="2"/>
                    <a:pt x="9" y="2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0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1" y="1"/>
                    <a:pt x="1" y="2"/>
                  </a:cubicBezTo>
                  <a:cubicBezTo>
                    <a:pt x="0" y="3"/>
                    <a:pt x="1" y="5"/>
                    <a:pt x="1" y="6"/>
                  </a:cubicBezTo>
                  <a:cubicBezTo>
                    <a:pt x="2" y="7"/>
                    <a:pt x="3" y="7"/>
                    <a:pt x="4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793" y="2593"/>
              <a:ext cx="66" cy="33"/>
            </a:xfrm>
            <a:custGeom>
              <a:avLst/>
              <a:gdLst>
                <a:gd name="T0" fmla="*/ 2 w 28"/>
                <a:gd name="T1" fmla="*/ 11 h 14"/>
                <a:gd name="T2" fmla="*/ 5 w 28"/>
                <a:gd name="T3" fmla="*/ 9 h 14"/>
                <a:gd name="T4" fmla="*/ 5 w 28"/>
                <a:gd name="T5" fmla="*/ 8 h 14"/>
                <a:gd name="T6" fmla="*/ 5 w 28"/>
                <a:gd name="T7" fmla="*/ 9 h 14"/>
                <a:gd name="T8" fmla="*/ 7 w 28"/>
                <a:gd name="T9" fmla="*/ 10 h 14"/>
                <a:gd name="T10" fmla="*/ 10 w 28"/>
                <a:gd name="T11" fmla="*/ 9 h 14"/>
                <a:gd name="T12" fmla="*/ 10 w 28"/>
                <a:gd name="T13" fmla="*/ 8 h 14"/>
                <a:gd name="T14" fmla="*/ 11 w 28"/>
                <a:gd name="T15" fmla="*/ 9 h 14"/>
                <a:gd name="T16" fmla="*/ 12 w 28"/>
                <a:gd name="T17" fmla="*/ 9 h 14"/>
                <a:gd name="T18" fmla="*/ 13 w 28"/>
                <a:gd name="T19" fmla="*/ 10 h 14"/>
                <a:gd name="T20" fmla="*/ 14 w 28"/>
                <a:gd name="T21" fmla="*/ 10 h 14"/>
                <a:gd name="T22" fmla="*/ 16 w 28"/>
                <a:gd name="T23" fmla="*/ 8 h 14"/>
                <a:gd name="T24" fmla="*/ 16 w 28"/>
                <a:gd name="T25" fmla="*/ 8 h 14"/>
                <a:gd name="T26" fmla="*/ 17 w 28"/>
                <a:gd name="T27" fmla="*/ 9 h 14"/>
                <a:gd name="T28" fmla="*/ 18 w 28"/>
                <a:gd name="T29" fmla="*/ 9 h 14"/>
                <a:gd name="T30" fmla="*/ 20 w 28"/>
                <a:gd name="T31" fmla="*/ 10 h 14"/>
                <a:gd name="T32" fmla="*/ 22 w 28"/>
                <a:gd name="T33" fmla="*/ 11 h 14"/>
                <a:gd name="T34" fmla="*/ 23 w 28"/>
                <a:gd name="T35" fmla="*/ 12 h 14"/>
                <a:gd name="T36" fmla="*/ 24 w 28"/>
                <a:gd name="T37" fmla="*/ 13 h 14"/>
                <a:gd name="T38" fmla="*/ 25 w 28"/>
                <a:gd name="T39" fmla="*/ 14 h 14"/>
                <a:gd name="T40" fmla="*/ 27 w 28"/>
                <a:gd name="T41" fmla="*/ 13 h 14"/>
                <a:gd name="T42" fmla="*/ 27 w 28"/>
                <a:gd name="T43" fmla="*/ 10 h 14"/>
                <a:gd name="T44" fmla="*/ 26 w 28"/>
                <a:gd name="T45" fmla="*/ 7 h 14"/>
                <a:gd name="T46" fmla="*/ 25 w 28"/>
                <a:gd name="T47" fmla="*/ 7 h 14"/>
                <a:gd name="T48" fmla="*/ 25 w 28"/>
                <a:gd name="T49" fmla="*/ 6 h 14"/>
                <a:gd name="T50" fmla="*/ 24 w 28"/>
                <a:gd name="T51" fmla="*/ 4 h 14"/>
                <a:gd name="T52" fmla="*/ 22 w 28"/>
                <a:gd name="T53" fmla="*/ 3 h 14"/>
                <a:gd name="T54" fmla="*/ 21 w 28"/>
                <a:gd name="T55" fmla="*/ 3 h 14"/>
                <a:gd name="T56" fmla="*/ 20 w 28"/>
                <a:gd name="T57" fmla="*/ 2 h 14"/>
                <a:gd name="T58" fmla="*/ 19 w 28"/>
                <a:gd name="T59" fmla="*/ 2 h 14"/>
                <a:gd name="T60" fmla="*/ 17 w 28"/>
                <a:gd name="T61" fmla="*/ 1 h 14"/>
                <a:gd name="T62" fmla="*/ 13 w 28"/>
                <a:gd name="T63" fmla="*/ 1 h 14"/>
                <a:gd name="T64" fmla="*/ 13 w 28"/>
                <a:gd name="T65" fmla="*/ 1 h 14"/>
                <a:gd name="T66" fmla="*/ 11 w 28"/>
                <a:gd name="T67" fmla="*/ 0 h 14"/>
                <a:gd name="T68" fmla="*/ 8 w 28"/>
                <a:gd name="T69" fmla="*/ 1 h 14"/>
                <a:gd name="T70" fmla="*/ 8 w 28"/>
                <a:gd name="T71" fmla="*/ 1 h 14"/>
                <a:gd name="T72" fmla="*/ 6 w 28"/>
                <a:gd name="T73" fmla="*/ 1 h 14"/>
                <a:gd name="T74" fmla="*/ 3 w 28"/>
                <a:gd name="T75" fmla="*/ 2 h 14"/>
                <a:gd name="T76" fmla="*/ 2 w 28"/>
                <a:gd name="T77" fmla="*/ 3 h 14"/>
                <a:gd name="T78" fmla="*/ 2 w 28"/>
                <a:gd name="T79" fmla="*/ 4 h 14"/>
                <a:gd name="T80" fmla="*/ 2 w 28"/>
                <a:gd name="T81" fmla="*/ 4 h 14"/>
                <a:gd name="T82" fmla="*/ 1 w 28"/>
                <a:gd name="T83" fmla="*/ 5 h 14"/>
                <a:gd name="T84" fmla="*/ 1 w 28"/>
                <a:gd name="T85" fmla="*/ 7 h 14"/>
                <a:gd name="T86" fmla="*/ 2 w 28"/>
                <a:gd name="T87" fmla="*/ 7 h 14"/>
                <a:gd name="T88" fmla="*/ 1 w 28"/>
                <a:gd name="T89" fmla="*/ 7 h 14"/>
                <a:gd name="T90" fmla="*/ 1 w 28"/>
                <a:gd name="T91" fmla="*/ 7 h 14"/>
                <a:gd name="T92" fmla="*/ 0 w 28"/>
                <a:gd name="T93" fmla="*/ 8 h 14"/>
                <a:gd name="T94" fmla="*/ 1 w 28"/>
                <a:gd name="T95" fmla="*/ 10 h 14"/>
                <a:gd name="T96" fmla="*/ 2 w 28"/>
                <a:gd name="T97" fmla="*/ 1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8" h="14">
                  <a:moveTo>
                    <a:pt x="2" y="11"/>
                  </a:moveTo>
                  <a:cubicBezTo>
                    <a:pt x="3" y="11"/>
                    <a:pt x="4" y="10"/>
                    <a:pt x="5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10"/>
                    <a:pt x="7" y="10"/>
                  </a:cubicBezTo>
                  <a:cubicBezTo>
                    <a:pt x="8" y="10"/>
                    <a:pt x="9" y="9"/>
                    <a:pt x="10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9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2" y="9"/>
                    <a:pt x="13" y="9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ubicBezTo>
                    <a:pt x="15" y="10"/>
                    <a:pt x="16" y="9"/>
                    <a:pt x="16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7" y="8"/>
                    <a:pt x="17" y="8"/>
                    <a:pt x="17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8" y="10"/>
                    <a:pt x="19" y="10"/>
                    <a:pt x="20" y="10"/>
                  </a:cubicBezTo>
                  <a:cubicBezTo>
                    <a:pt x="21" y="11"/>
                    <a:pt x="22" y="11"/>
                    <a:pt x="22" y="11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23" y="13"/>
                    <a:pt x="24" y="13"/>
                    <a:pt x="24" y="13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6" y="14"/>
                    <a:pt x="26" y="14"/>
                    <a:pt x="27" y="13"/>
                  </a:cubicBezTo>
                  <a:cubicBezTo>
                    <a:pt x="27" y="12"/>
                    <a:pt x="28" y="11"/>
                    <a:pt x="27" y="10"/>
                  </a:cubicBezTo>
                  <a:cubicBezTo>
                    <a:pt x="27" y="9"/>
                    <a:pt x="26" y="8"/>
                    <a:pt x="26" y="7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5" y="6"/>
                    <a:pt x="25" y="6"/>
                    <a:pt x="25" y="6"/>
                  </a:cubicBezTo>
                  <a:cubicBezTo>
                    <a:pt x="25" y="5"/>
                    <a:pt x="25" y="4"/>
                    <a:pt x="24" y="4"/>
                  </a:cubicBezTo>
                  <a:cubicBezTo>
                    <a:pt x="24" y="3"/>
                    <a:pt x="23" y="3"/>
                    <a:pt x="22" y="3"/>
                  </a:cubicBezTo>
                  <a:cubicBezTo>
                    <a:pt x="22" y="3"/>
                    <a:pt x="22" y="3"/>
                    <a:pt x="21" y="3"/>
                  </a:cubicBezTo>
                  <a:cubicBezTo>
                    <a:pt x="21" y="3"/>
                    <a:pt x="20" y="2"/>
                    <a:pt x="20" y="2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8" y="1"/>
                    <a:pt x="18" y="1"/>
                    <a:pt x="17" y="1"/>
                  </a:cubicBezTo>
                  <a:cubicBezTo>
                    <a:pt x="16" y="0"/>
                    <a:pt x="14" y="0"/>
                    <a:pt x="13" y="1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2" y="0"/>
                    <a:pt x="12" y="0"/>
                    <a:pt x="11" y="0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0"/>
                    <a:pt x="6" y="1"/>
                  </a:cubicBezTo>
                  <a:cubicBezTo>
                    <a:pt x="5" y="1"/>
                    <a:pt x="4" y="2"/>
                    <a:pt x="3" y="2"/>
                  </a:cubicBezTo>
                  <a:cubicBezTo>
                    <a:pt x="3" y="3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1" y="4"/>
                    <a:pt x="1" y="5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8"/>
                    <a:pt x="0" y="8"/>
                  </a:cubicBezTo>
                  <a:cubicBezTo>
                    <a:pt x="0" y="9"/>
                    <a:pt x="0" y="9"/>
                    <a:pt x="1" y="10"/>
                  </a:cubicBezTo>
                  <a:cubicBezTo>
                    <a:pt x="1" y="10"/>
                    <a:pt x="1" y="11"/>
                    <a:pt x="2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757" y="2588"/>
              <a:ext cx="31" cy="38"/>
            </a:xfrm>
            <a:custGeom>
              <a:avLst/>
              <a:gdLst>
                <a:gd name="T0" fmla="*/ 13 w 13"/>
                <a:gd name="T1" fmla="*/ 11 h 16"/>
                <a:gd name="T2" fmla="*/ 11 w 13"/>
                <a:gd name="T3" fmla="*/ 8 h 16"/>
                <a:gd name="T4" fmla="*/ 11 w 13"/>
                <a:gd name="T5" fmla="*/ 8 h 16"/>
                <a:gd name="T6" fmla="*/ 11 w 13"/>
                <a:gd name="T7" fmla="*/ 7 h 16"/>
                <a:gd name="T8" fmla="*/ 9 w 13"/>
                <a:gd name="T9" fmla="*/ 5 h 16"/>
                <a:gd name="T10" fmla="*/ 6 w 13"/>
                <a:gd name="T11" fmla="*/ 5 h 16"/>
                <a:gd name="T12" fmla="*/ 5 w 13"/>
                <a:gd name="T13" fmla="*/ 5 h 16"/>
                <a:gd name="T14" fmla="*/ 4 w 13"/>
                <a:gd name="T15" fmla="*/ 6 h 16"/>
                <a:gd name="T16" fmla="*/ 1 w 13"/>
                <a:gd name="T17" fmla="*/ 0 h 16"/>
                <a:gd name="T18" fmla="*/ 2 w 13"/>
                <a:gd name="T19" fmla="*/ 5 h 16"/>
                <a:gd name="T20" fmla="*/ 1 w 13"/>
                <a:gd name="T21" fmla="*/ 6 h 16"/>
                <a:gd name="T22" fmla="*/ 1 w 13"/>
                <a:gd name="T23" fmla="*/ 9 h 16"/>
                <a:gd name="T24" fmla="*/ 1 w 13"/>
                <a:gd name="T25" fmla="*/ 9 h 16"/>
                <a:gd name="T26" fmla="*/ 1 w 13"/>
                <a:gd name="T27" fmla="*/ 10 h 16"/>
                <a:gd name="T28" fmla="*/ 1 w 13"/>
                <a:gd name="T29" fmla="*/ 10 h 16"/>
                <a:gd name="T30" fmla="*/ 2 w 13"/>
                <a:gd name="T31" fmla="*/ 13 h 16"/>
                <a:gd name="T32" fmla="*/ 3 w 13"/>
                <a:gd name="T33" fmla="*/ 14 h 16"/>
                <a:gd name="T34" fmla="*/ 4 w 13"/>
                <a:gd name="T35" fmla="*/ 14 h 16"/>
                <a:gd name="T36" fmla="*/ 4 w 13"/>
                <a:gd name="T37" fmla="*/ 15 h 16"/>
                <a:gd name="T38" fmla="*/ 6 w 13"/>
                <a:gd name="T39" fmla="*/ 16 h 16"/>
                <a:gd name="T40" fmla="*/ 6 w 13"/>
                <a:gd name="T41" fmla="*/ 16 h 16"/>
                <a:gd name="T42" fmla="*/ 8 w 13"/>
                <a:gd name="T43" fmla="*/ 15 h 16"/>
                <a:gd name="T44" fmla="*/ 8 w 13"/>
                <a:gd name="T45" fmla="*/ 15 h 16"/>
                <a:gd name="T46" fmla="*/ 10 w 13"/>
                <a:gd name="T47" fmla="*/ 14 h 16"/>
                <a:gd name="T48" fmla="*/ 13 w 13"/>
                <a:gd name="T49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3" h="16">
                  <a:moveTo>
                    <a:pt x="13" y="11"/>
                  </a:moveTo>
                  <a:cubicBezTo>
                    <a:pt x="13" y="9"/>
                    <a:pt x="12" y="9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7"/>
                  </a:cubicBezTo>
                  <a:cubicBezTo>
                    <a:pt x="10" y="7"/>
                    <a:pt x="10" y="6"/>
                    <a:pt x="9" y="5"/>
                  </a:cubicBezTo>
                  <a:cubicBezTo>
                    <a:pt x="9" y="5"/>
                    <a:pt x="7" y="5"/>
                    <a:pt x="6" y="5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5"/>
                    <a:pt x="4" y="5"/>
                    <a:pt x="4" y="6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5"/>
                    <a:pt x="1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2"/>
                    <a:pt x="2" y="13"/>
                  </a:cubicBezTo>
                  <a:cubicBezTo>
                    <a:pt x="3" y="13"/>
                    <a:pt x="3" y="13"/>
                    <a:pt x="3" y="14"/>
                  </a:cubicBezTo>
                  <a:cubicBezTo>
                    <a:pt x="3" y="14"/>
                    <a:pt x="3" y="14"/>
                    <a:pt x="4" y="14"/>
                  </a:cubicBezTo>
                  <a:cubicBezTo>
                    <a:pt x="4" y="14"/>
                    <a:pt x="4" y="15"/>
                    <a:pt x="4" y="15"/>
                  </a:cubicBezTo>
                  <a:cubicBezTo>
                    <a:pt x="5" y="16"/>
                    <a:pt x="6" y="16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8" y="15"/>
                    <a:pt x="8" y="15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11" y="14"/>
                    <a:pt x="13" y="13"/>
                    <a:pt x="13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649" y="2666"/>
              <a:ext cx="11" cy="21"/>
            </a:xfrm>
            <a:custGeom>
              <a:avLst/>
              <a:gdLst>
                <a:gd name="T0" fmla="*/ 4 w 5"/>
                <a:gd name="T1" fmla="*/ 1 h 9"/>
                <a:gd name="T2" fmla="*/ 3 w 5"/>
                <a:gd name="T3" fmla="*/ 1 h 9"/>
                <a:gd name="T4" fmla="*/ 3 w 5"/>
                <a:gd name="T5" fmla="*/ 1 h 9"/>
                <a:gd name="T6" fmla="*/ 2 w 5"/>
                <a:gd name="T7" fmla="*/ 0 h 9"/>
                <a:gd name="T8" fmla="*/ 1 w 5"/>
                <a:gd name="T9" fmla="*/ 1 h 9"/>
                <a:gd name="T10" fmla="*/ 1 w 5"/>
                <a:gd name="T11" fmla="*/ 1 h 9"/>
                <a:gd name="T12" fmla="*/ 0 w 5"/>
                <a:gd name="T13" fmla="*/ 2 h 9"/>
                <a:gd name="T14" fmla="*/ 0 w 5"/>
                <a:gd name="T15" fmla="*/ 3 h 9"/>
                <a:gd name="T16" fmla="*/ 0 w 5"/>
                <a:gd name="T17" fmla="*/ 4 h 9"/>
                <a:gd name="T18" fmla="*/ 0 w 5"/>
                <a:gd name="T19" fmla="*/ 4 h 9"/>
                <a:gd name="T20" fmla="*/ 0 w 5"/>
                <a:gd name="T21" fmla="*/ 5 h 9"/>
                <a:gd name="T22" fmla="*/ 0 w 5"/>
                <a:gd name="T23" fmla="*/ 6 h 9"/>
                <a:gd name="T24" fmla="*/ 0 w 5"/>
                <a:gd name="T25" fmla="*/ 9 h 9"/>
                <a:gd name="T26" fmla="*/ 2 w 5"/>
                <a:gd name="T27" fmla="*/ 9 h 9"/>
                <a:gd name="T28" fmla="*/ 2 w 5"/>
                <a:gd name="T29" fmla="*/ 9 h 9"/>
                <a:gd name="T30" fmla="*/ 4 w 5"/>
                <a:gd name="T31" fmla="*/ 6 h 9"/>
                <a:gd name="T32" fmla="*/ 3 w 5"/>
                <a:gd name="T33" fmla="*/ 6 h 9"/>
                <a:gd name="T34" fmla="*/ 4 w 5"/>
                <a:gd name="T35" fmla="*/ 6 h 9"/>
                <a:gd name="T36" fmla="*/ 4 w 5"/>
                <a:gd name="T3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" h="9">
                  <a:moveTo>
                    <a:pt x="4" y="1"/>
                  </a:move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0" y="2"/>
                    <a:pt x="0" y="2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4"/>
                    <a:pt x="0" y="4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7"/>
                    <a:pt x="0" y="8"/>
                    <a:pt x="0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3" y="8"/>
                    <a:pt x="4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5" y="3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7" name="Freeform 36"/>
            <p:cNvSpPr>
              <a:spLocks noEditPoints="1"/>
            </p:cNvSpPr>
            <p:nvPr/>
          </p:nvSpPr>
          <p:spPr bwMode="auto">
            <a:xfrm>
              <a:off x="5400" y="2588"/>
              <a:ext cx="24" cy="21"/>
            </a:xfrm>
            <a:custGeom>
              <a:avLst/>
              <a:gdLst>
                <a:gd name="T0" fmla="*/ 1 w 10"/>
                <a:gd name="T1" fmla="*/ 9 h 9"/>
                <a:gd name="T2" fmla="*/ 2 w 10"/>
                <a:gd name="T3" fmla="*/ 9 h 9"/>
                <a:gd name="T4" fmla="*/ 4 w 10"/>
                <a:gd name="T5" fmla="*/ 9 h 9"/>
                <a:gd name="T6" fmla="*/ 5 w 10"/>
                <a:gd name="T7" fmla="*/ 8 h 9"/>
                <a:gd name="T8" fmla="*/ 5 w 10"/>
                <a:gd name="T9" fmla="*/ 9 h 9"/>
                <a:gd name="T10" fmla="*/ 6 w 10"/>
                <a:gd name="T11" fmla="*/ 9 h 9"/>
                <a:gd name="T12" fmla="*/ 8 w 10"/>
                <a:gd name="T13" fmla="*/ 8 h 9"/>
                <a:gd name="T14" fmla="*/ 9 w 10"/>
                <a:gd name="T15" fmla="*/ 6 h 9"/>
                <a:gd name="T16" fmla="*/ 9 w 10"/>
                <a:gd name="T17" fmla="*/ 6 h 9"/>
                <a:gd name="T18" fmla="*/ 9 w 10"/>
                <a:gd name="T19" fmla="*/ 3 h 9"/>
                <a:gd name="T20" fmla="*/ 6 w 10"/>
                <a:gd name="T21" fmla="*/ 1 h 9"/>
                <a:gd name="T22" fmla="*/ 6 w 10"/>
                <a:gd name="T23" fmla="*/ 0 h 9"/>
                <a:gd name="T24" fmla="*/ 5 w 10"/>
                <a:gd name="T25" fmla="*/ 0 h 9"/>
                <a:gd name="T26" fmla="*/ 4 w 10"/>
                <a:gd name="T27" fmla="*/ 0 h 9"/>
                <a:gd name="T28" fmla="*/ 2 w 10"/>
                <a:gd name="T29" fmla="*/ 1 h 9"/>
                <a:gd name="T30" fmla="*/ 2 w 10"/>
                <a:gd name="T31" fmla="*/ 1 h 9"/>
                <a:gd name="T32" fmla="*/ 2 w 10"/>
                <a:gd name="T33" fmla="*/ 2 h 9"/>
                <a:gd name="T34" fmla="*/ 0 w 10"/>
                <a:gd name="T35" fmla="*/ 3 h 9"/>
                <a:gd name="T36" fmla="*/ 0 w 10"/>
                <a:gd name="T37" fmla="*/ 5 h 9"/>
                <a:gd name="T38" fmla="*/ 0 w 10"/>
                <a:gd name="T39" fmla="*/ 6 h 9"/>
                <a:gd name="T40" fmla="*/ 1 w 10"/>
                <a:gd name="T41" fmla="*/ 9 h 9"/>
                <a:gd name="T42" fmla="*/ 4 w 10"/>
                <a:gd name="T43" fmla="*/ 6 h 9"/>
                <a:gd name="T44" fmla="*/ 4 w 10"/>
                <a:gd name="T45" fmla="*/ 6 h 9"/>
                <a:gd name="T46" fmla="*/ 4 w 10"/>
                <a:gd name="T47" fmla="*/ 6 h 9"/>
                <a:gd name="T48" fmla="*/ 4 w 10"/>
                <a:gd name="T49" fmla="*/ 6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" h="9">
                  <a:moveTo>
                    <a:pt x="1" y="9"/>
                  </a:moveTo>
                  <a:cubicBezTo>
                    <a:pt x="1" y="9"/>
                    <a:pt x="2" y="9"/>
                    <a:pt x="2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9"/>
                    <a:pt x="4" y="9"/>
                    <a:pt x="5" y="8"/>
                  </a:cubicBezTo>
                  <a:cubicBezTo>
                    <a:pt x="5" y="8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7" y="9"/>
                    <a:pt x="8" y="8"/>
                    <a:pt x="8" y="8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5"/>
                    <a:pt x="10" y="4"/>
                    <a:pt x="9" y="3"/>
                  </a:cubicBezTo>
                  <a:cubicBezTo>
                    <a:pt x="9" y="1"/>
                    <a:pt x="7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2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2" y="2"/>
                    <a:pt x="2" y="2"/>
                  </a:cubicBezTo>
                  <a:cubicBezTo>
                    <a:pt x="1" y="2"/>
                    <a:pt x="1" y="2"/>
                    <a:pt x="0" y="3"/>
                  </a:cubicBezTo>
                  <a:cubicBezTo>
                    <a:pt x="0" y="3"/>
                    <a:pt x="0" y="5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0" y="8"/>
                    <a:pt x="1" y="9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5228" y="2541"/>
              <a:ext cx="23" cy="38"/>
            </a:xfrm>
            <a:custGeom>
              <a:avLst/>
              <a:gdLst>
                <a:gd name="T0" fmla="*/ 8 w 10"/>
                <a:gd name="T1" fmla="*/ 9 h 16"/>
                <a:gd name="T2" fmla="*/ 7 w 10"/>
                <a:gd name="T3" fmla="*/ 7 h 16"/>
                <a:gd name="T4" fmla="*/ 7 w 10"/>
                <a:gd name="T5" fmla="*/ 6 h 16"/>
                <a:gd name="T6" fmla="*/ 6 w 10"/>
                <a:gd name="T7" fmla="*/ 4 h 16"/>
                <a:gd name="T8" fmla="*/ 6 w 10"/>
                <a:gd name="T9" fmla="*/ 3 h 16"/>
                <a:gd name="T10" fmla="*/ 3 w 10"/>
                <a:gd name="T11" fmla="*/ 0 h 16"/>
                <a:gd name="T12" fmla="*/ 3 w 10"/>
                <a:gd name="T13" fmla="*/ 2 h 16"/>
                <a:gd name="T14" fmla="*/ 0 w 10"/>
                <a:gd name="T15" fmla="*/ 6 h 16"/>
                <a:gd name="T16" fmla="*/ 1 w 10"/>
                <a:gd name="T17" fmla="*/ 9 h 16"/>
                <a:gd name="T18" fmla="*/ 1 w 10"/>
                <a:gd name="T19" fmla="*/ 9 h 16"/>
                <a:gd name="T20" fmla="*/ 2 w 10"/>
                <a:gd name="T21" fmla="*/ 12 h 16"/>
                <a:gd name="T22" fmla="*/ 3 w 10"/>
                <a:gd name="T23" fmla="*/ 12 h 16"/>
                <a:gd name="T24" fmla="*/ 4 w 10"/>
                <a:gd name="T25" fmla="*/ 14 h 16"/>
                <a:gd name="T26" fmla="*/ 7 w 10"/>
                <a:gd name="T27" fmla="*/ 16 h 16"/>
                <a:gd name="T28" fmla="*/ 8 w 10"/>
                <a:gd name="T29" fmla="*/ 16 h 16"/>
                <a:gd name="T30" fmla="*/ 9 w 10"/>
                <a:gd name="T31" fmla="*/ 13 h 16"/>
                <a:gd name="T32" fmla="*/ 10 w 10"/>
                <a:gd name="T33" fmla="*/ 12 h 16"/>
                <a:gd name="T34" fmla="*/ 8 w 10"/>
                <a:gd name="T35" fmla="*/ 9 h 16"/>
                <a:gd name="T36" fmla="*/ 8 w 10"/>
                <a:gd name="T37" fmla="*/ 9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16">
                  <a:moveTo>
                    <a:pt x="8" y="9"/>
                  </a:moveTo>
                  <a:cubicBezTo>
                    <a:pt x="8" y="8"/>
                    <a:pt x="7" y="7"/>
                    <a:pt x="7" y="7"/>
                  </a:cubicBezTo>
                  <a:cubicBezTo>
                    <a:pt x="7" y="7"/>
                    <a:pt x="7" y="6"/>
                    <a:pt x="7" y="6"/>
                  </a:cubicBezTo>
                  <a:cubicBezTo>
                    <a:pt x="7" y="5"/>
                    <a:pt x="7" y="4"/>
                    <a:pt x="6" y="4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0" y="5"/>
                    <a:pt x="0" y="6"/>
                  </a:cubicBezTo>
                  <a:cubicBezTo>
                    <a:pt x="0" y="8"/>
                    <a:pt x="1" y="8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2" y="11"/>
                    <a:pt x="2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3"/>
                    <a:pt x="4" y="14"/>
                    <a:pt x="4" y="14"/>
                  </a:cubicBezTo>
                  <a:cubicBezTo>
                    <a:pt x="6" y="15"/>
                    <a:pt x="7" y="16"/>
                    <a:pt x="7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5"/>
                    <a:pt x="10" y="14"/>
                    <a:pt x="9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0" y="11"/>
                    <a:pt x="9" y="10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5199" y="2486"/>
              <a:ext cx="24" cy="33"/>
            </a:xfrm>
            <a:custGeom>
              <a:avLst/>
              <a:gdLst>
                <a:gd name="T0" fmla="*/ 9 w 10"/>
                <a:gd name="T1" fmla="*/ 5 h 14"/>
                <a:gd name="T2" fmla="*/ 7 w 10"/>
                <a:gd name="T3" fmla="*/ 3 h 14"/>
                <a:gd name="T4" fmla="*/ 7 w 10"/>
                <a:gd name="T5" fmla="*/ 2 h 14"/>
                <a:gd name="T6" fmla="*/ 5 w 10"/>
                <a:gd name="T7" fmla="*/ 0 h 14"/>
                <a:gd name="T8" fmla="*/ 1 w 10"/>
                <a:gd name="T9" fmla="*/ 2 h 14"/>
                <a:gd name="T10" fmla="*/ 1 w 10"/>
                <a:gd name="T11" fmla="*/ 5 h 14"/>
                <a:gd name="T12" fmla="*/ 2 w 10"/>
                <a:gd name="T13" fmla="*/ 7 h 14"/>
                <a:gd name="T14" fmla="*/ 4 w 10"/>
                <a:gd name="T15" fmla="*/ 10 h 14"/>
                <a:gd name="T16" fmla="*/ 5 w 10"/>
                <a:gd name="T17" fmla="*/ 12 h 14"/>
                <a:gd name="T18" fmla="*/ 8 w 10"/>
                <a:gd name="T19" fmla="*/ 14 h 14"/>
                <a:gd name="T20" fmla="*/ 8 w 10"/>
                <a:gd name="T21" fmla="*/ 14 h 14"/>
                <a:gd name="T22" fmla="*/ 10 w 10"/>
                <a:gd name="T23" fmla="*/ 11 h 14"/>
                <a:gd name="T24" fmla="*/ 10 w 10"/>
                <a:gd name="T25" fmla="*/ 11 h 14"/>
                <a:gd name="T26" fmla="*/ 10 w 10"/>
                <a:gd name="T27" fmla="*/ 10 h 14"/>
                <a:gd name="T28" fmla="*/ 10 w 10"/>
                <a:gd name="T29" fmla="*/ 8 h 14"/>
                <a:gd name="T30" fmla="*/ 9 w 10"/>
                <a:gd name="T31" fmla="*/ 6 h 14"/>
                <a:gd name="T32" fmla="*/ 9 w 10"/>
                <a:gd name="T33" fmla="*/ 5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" h="14">
                  <a:moveTo>
                    <a:pt x="9" y="5"/>
                  </a:moveTo>
                  <a:cubicBezTo>
                    <a:pt x="9" y="4"/>
                    <a:pt x="8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1"/>
                    <a:pt x="5" y="0"/>
                  </a:cubicBezTo>
                  <a:cubicBezTo>
                    <a:pt x="4" y="0"/>
                    <a:pt x="2" y="0"/>
                    <a:pt x="1" y="2"/>
                  </a:cubicBezTo>
                  <a:cubicBezTo>
                    <a:pt x="0" y="3"/>
                    <a:pt x="1" y="5"/>
                    <a:pt x="1" y="5"/>
                  </a:cubicBezTo>
                  <a:cubicBezTo>
                    <a:pt x="2" y="6"/>
                    <a:pt x="2" y="6"/>
                    <a:pt x="2" y="7"/>
                  </a:cubicBezTo>
                  <a:cubicBezTo>
                    <a:pt x="2" y="8"/>
                    <a:pt x="2" y="10"/>
                    <a:pt x="4" y="10"/>
                  </a:cubicBezTo>
                  <a:cubicBezTo>
                    <a:pt x="4" y="11"/>
                    <a:pt x="5" y="11"/>
                    <a:pt x="5" y="12"/>
                  </a:cubicBezTo>
                  <a:cubicBezTo>
                    <a:pt x="6" y="13"/>
                    <a:pt x="6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4"/>
                    <a:pt x="10" y="13"/>
                    <a:pt x="10" y="11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0" y="10"/>
                    <a:pt x="10" y="10"/>
                  </a:cubicBezTo>
                  <a:cubicBezTo>
                    <a:pt x="10" y="10"/>
                    <a:pt x="10" y="9"/>
                    <a:pt x="10" y="8"/>
                  </a:cubicBezTo>
                  <a:cubicBezTo>
                    <a:pt x="10" y="7"/>
                    <a:pt x="10" y="7"/>
                    <a:pt x="9" y="6"/>
                  </a:cubicBezTo>
                  <a:cubicBezTo>
                    <a:pt x="9" y="6"/>
                    <a:pt x="9" y="6"/>
                    <a:pt x="9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0" name="Freeform 39"/>
            <p:cNvSpPr>
              <a:spLocks noEditPoints="1"/>
            </p:cNvSpPr>
            <p:nvPr/>
          </p:nvSpPr>
          <p:spPr bwMode="auto">
            <a:xfrm>
              <a:off x="5159" y="2389"/>
              <a:ext cx="402" cy="360"/>
            </a:xfrm>
            <a:custGeom>
              <a:avLst/>
              <a:gdLst>
                <a:gd name="T0" fmla="*/ 122 w 170"/>
                <a:gd name="T1" fmla="*/ 141 h 152"/>
                <a:gd name="T2" fmla="*/ 132 w 170"/>
                <a:gd name="T3" fmla="*/ 145 h 152"/>
                <a:gd name="T4" fmla="*/ 139 w 170"/>
                <a:gd name="T5" fmla="*/ 146 h 152"/>
                <a:gd name="T6" fmla="*/ 151 w 170"/>
                <a:gd name="T7" fmla="*/ 147 h 152"/>
                <a:gd name="T8" fmla="*/ 161 w 170"/>
                <a:gd name="T9" fmla="*/ 150 h 152"/>
                <a:gd name="T10" fmla="*/ 162 w 170"/>
                <a:gd name="T11" fmla="*/ 151 h 152"/>
                <a:gd name="T12" fmla="*/ 170 w 170"/>
                <a:gd name="T13" fmla="*/ 146 h 152"/>
                <a:gd name="T14" fmla="*/ 160 w 170"/>
                <a:gd name="T15" fmla="*/ 142 h 152"/>
                <a:gd name="T16" fmla="*/ 149 w 170"/>
                <a:gd name="T17" fmla="*/ 137 h 152"/>
                <a:gd name="T18" fmla="*/ 152 w 170"/>
                <a:gd name="T19" fmla="*/ 134 h 152"/>
                <a:gd name="T20" fmla="*/ 155 w 170"/>
                <a:gd name="T21" fmla="*/ 129 h 152"/>
                <a:gd name="T22" fmla="*/ 139 w 170"/>
                <a:gd name="T23" fmla="*/ 127 h 152"/>
                <a:gd name="T24" fmla="*/ 132 w 170"/>
                <a:gd name="T25" fmla="*/ 125 h 152"/>
                <a:gd name="T26" fmla="*/ 125 w 170"/>
                <a:gd name="T27" fmla="*/ 127 h 152"/>
                <a:gd name="T28" fmla="*/ 115 w 170"/>
                <a:gd name="T29" fmla="*/ 127 h 152"/>
                <a:gd name="T30" fmla="*/ 111 w 170"/>
                <a:gd name="T31" fmla="*/ 122 h 152"/>
                <a:gd name="T32" fmla="*/ 104 w 170"/>
                <a:gd name="T33" fmla="*/ 121 h 152"/>
                <a:gd name="T34" fmla="*/ 95 w 170"/>
                <a:gd name="T35" fmla="*/ 119 h 152"/>
                <a:gd name="T36" fmla="*/ 92 w 170"/>
                <a:gd name="T37" fmla="*/ 105 h 152"/>
                <a:gd name="T38" fmla="*/ 92 w 170"/>
                <a:gd name="T39" fmla="*/ 89 h 152"/>
                <a:gd name="T40" fmla="*/ 98 w 170"/>
                <a:gd name="T41" fmla="*/ 89 h 152"/>
                <a:gd name="T42" fmla="*/ 94 w 170"/>
                <a:gd name="T43" fmla="*/ 77 h 152"/>
                <a:gd name="T44" fmla="*/ 84 w 170"/>
                <a:gd name="T45" fmla="*/ 77 h 152"/>
                <a:gd name="T46" fmla="*/ 85 w 170"/>
                <a:gd name="T47" fmla="*/ 83 h 152"/>
                <a:gd name="T48" fmla="*/ 80 w 170"/>
                <a:gd name="T49" fmla="*/ 73 h 152"/>
                <a:gd name="T50" fmla="*/ 73 w 170"/>
                <a:gd name="T51" fmla="*/ 68 h 152"/>
                <a:gd name="T52" fmla="*/ 71 w 170"/>
                <a:gd name="T53" fmla="*/ 62 h 152"/>
                <a:gd name="T54" fmla="*/ 69 w 170"/>
                <a:gd name="T55" fmla="*/ 53 h 152"/>
                <a:gd name="T56" fmla="*/ 68 w 170"/>
                <a:gd name="T57" fmla="*/ 48 h 152"/>
                <a:gd name="T58" fmla="*/ 61 w 170"/>
                <a:gd name="T59" fmla="*/ 45 h 152"/>
                <a:gd name="T60" fmla="*/ 53 w 170"/>
                <a:gd name="T61" fmla="*/ 36 h 152"/>
                <a:gd name="T62" fmla="*/ 45 w 170"/>
                <a:gd name="T63" fmla="*/ 31 h 152"/>
                <a:gd name="T64" fmla="*/ 36 w 170"/>
                <a:gd name="T65" fmla="*/ 19 h 152"/>
                <a:gd name="T66" fmla="*/ 30 w 170"/>
                <a:gd name="T67" fmla="*/ 13 h 152"/>
                <a:gd name="T68" fmla="*/ 22 w 170"/>
                <a:gd name="T69" fmla="*/ 4 h 152"/>
                <a:gd name="T70" fmla="*/ 9 w 170"/>
                <a:gd name="T71" fmla="*/ 2 h 152"/>
                <a:gd name="T72" fmla="*/ 2 w 170"/>
                <a:gd name="T73" fmla="*/ 5 h 152"/>
                <a:gd name="T74" fmla="*/ 6 w 170"/>
                <a:gd name="T75" fmla="*/ 15 h 152"/>
                <a:gd name="T76" fmla="*/ 18 w 170"/>
                <a:gd name="T77" fmla="*/ 28 h 152"/>
                <a:gd name="T78" fmla="*/ 26 w 170"/>
                <a:gd name="T79" fmla="*/ 39 h 152"/>
                <a:gd name="T80" fmla="*/ 34 w 170"/>
                <a:gd name="T81" fmla="*/ 53 h 152"/>
                <a:gd name="T82" fmla="*/ 43 w 170"/>
                <a:gd name="T83" fmla="*/ 65 h 152"/>
                <a:gd name="T84" fmla="*/ 48 w 170"/>
                <a:gd name="T85" fmla="*/ 80 h 152"/>
                <a:gd name="T86" fmla="*/ 54 w 170"/>
                <a:gd name="T87" fmla="*/ 94 h 152"/>
                <a:gd name="T88" fmla="*/ 64 w 170"/>
                <a:gd name="T89" fmla="*/ 106 h 152"/>
                <a:gd name="T90" fmla="*/ 75 w 170"/>
                <a:gd name="T91" fmla="*/ 116 h 152"/>
                <a:gd name="T92" fmla="*/ 83 w 170"/>
                <a:gd name="T93" fmla="*/ 119 h 152"/>
                <a:gd name="T94" fmla="*/ 88 w 170"/>
                <a:gd name="T95" fmla="*/ 123 h 152"/>
                <a:gd name="T96" fmla="*/ 86 w 170"/>
                <a:gd name="T97" fmla="*/ 130 h 152"/>
                <a:gd name="T98" fmla="*/ 91 w 170"/>
                <a:gd name="T99" fmla="*/ 133 h 152"/>
                <a:gd name="T100" fmla="*/ 98 w 170"/>
                <a:gd name="T101" fmla="*/ 136 h 152"/>
                <a:gd name="T102" fmla="*/ 107 w 170"/>
                <a:gd name="T103" fmla="*/ 141 h 152"/>
                <a:gd name="T104" fmla="*/ 141 w 170"/>
                <a:gd name="T105" fmla="*/ 146 h 152"/>
                <a:gd name="T106" fmla="*/ 122 w 170"/>
                <a:gd name="T107" fmla="*/ 129 h 152"/>
                <a:gd name="T108" fmla="*/ 67 w 170"/>
                <a:gd name="T109" fmla="*/ 55 h 152"/>
                <a:gd name="T110" fmla="*/ 79 w 170"/>
                <a:gd name="T111" fmla="*/ 74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0" h="152">
                  <a:moveTo>
                    <a:pt x="116" y="140"/>
                  </a:moveTo>
                  <a:cubicBezTo>
                    <a:pt x="116" y="140"/>
                    <a:pt x="117" y="140"/>
                    <a:pt x="117" y="140"/>
                  </a:cubicBezTo>
                  <a:cubicBezTo>
                    <a:pt x="117" y="140"/>
                    <a:pt x="117" y="140"/>
                    <a:pt x="118" y="140"/>
                  </a:cubicBezTo>
                  <a:cubicBezTo>
                    <a:pt x="118" y="141"/>
                    <a:pt x="118" y="141"/>
                    <a:pt x="119" y="141"/>
                  </a:cubicBezTo>
                  <a:cubicBezTo>
                    <a:pt x="120" y="141"/>
                    <a:pt x="120" y="141"/>
                    <a:pt x="121" y="141"/>
                  </a:cubicBezTo>
                  <a:cubicBezTo>
                    <a:pt x="121" y="141"/>
                    <a:pt x="121" y="141"/>
                    <a:pt x="121" y="141"/>
                  </a:cubicBezTo>
                  <a:cubicBezTo>
                    <a:pt x="121" y="141"/>
                    <a:pt x="121" y="141"/>
                    <a:pt x="122" y="141"/>
                  </a:cubicBezTo>
                  <a:cubicBezTo>
                    <a:pt x="122" y="141"/>
                    <a:pt x="122" y="141"/>
                    <a:pt x="122" y="141"/>
                  </a:cubicBezTo>
                  <a:cubicBezTo>
                    <a:pt x="123" y="141"/>
                    <a:pt x="123" y="141"/>
                    <a:pt x="124" y="142"/>
                  </a:cubicBezTo>
                  <a:cubicBezTo>
                    <a:pt x="124" y="142"/>
                    <a:pt x="125" y="142"/>
                    <a:pt x="125" y="142"/>
                  </a:cubicBezTo>
                  <a:cubicBezTo>
                    <a:pt x="126" y="142"/>
                    <a:pt x="126" y="142"/>
                    <a:pt x="126" y="142"/>
                  </a:cubicBezTo>
                  <a:cubicBezTo>
                    <a:pt x="127" y="143"/>
                    <a:pt x="127" y="143"/>
                    <a:pt x="127" y="143"/>
                  </a:cubicBezTo>
                  <a:cubicBezTo>
                    <a:pt x="127" y="143"/>
                    <a:pt x="128" y="143"/>
                    <a:pt x="128" y="144"/>
                  </a:cubicBezTo>
                  <a:cubicBezTo>
                    <a:pt x="129" y="144"/>
                    <a:pt x="129" y="144"/>
                    <a:pt x="130" y="144"/>
                  </a:cubicBezTo>
                  <a:cubicBezTo>
                    <a:pt x="130" y="145"/>
                    <a:pt x="130" y="145"/>
                    <a:pt x="130" y="145"/>
                  </a:cubicBezTo>
                  <a:cubicBezTo>
                    <a:pt x="131" y="145"/>
                    <a:pt x="132" y="145"/>
                    <a:pt x="132" y="145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3" y="145"/>
                    <a:pt x="133" y="145"/>
                    <a:pt x="133" y="145"/>
                  </a:cubicBezTo>
                  <a:cubicBezTo>
                    <a:pt x="134" y="146"/>
                    <a:pt x="134" y="146"/>
                    <a:pt x="134" y="146"/>
                  </a:cubicBezTo>
                  <a:cubicBezTo>
                    <a:pt x="135" y="146"/>
                    <a:pt x="136" y="146"/>
                    <a:pt x="136" y="146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37" y="146"/>
                    <a:pt x="137" y="146"/>
                    <a:pt x="137" y="146"/>
                  </a:cubicBezTo>
                  <a:cubicBezTo>
                    <a:pt x="138" y="146"/>
                    <a:pt x="138" y="146"/>
                    <a:pt x="139" y="146"/>
                  </a:cubicBezTo>
                  <a:cubicBezTo>
                    <a:pt x="139" y="146"/>
                    <a:pt x="139" y="146"/>
                    <a:pt x="140" y="146"/>
                  </a:cubicBezTo>
                  <a:cubicBezTo>
                    <a:pt x="140" y="147"/>
                    <a:pt x="140" y="147"/>
                    <a:pt x="140" y="147"/>
                  </a:cubicBezTo>
                  <a:cubicBezTo>
                    <a:pt x="141" y="147"/>
                    <a:pt x="141" y="148"/>
                    <a:pt x="143" y="148"/>
                  </a:cubicBezTo>
                  <a:cubicBezTo>
                    <a:pt x="143" y="148"/>
                    <a:pt x="143" y="148"/>
                    <a:pt x="143" y="148"/>
                  </a:cubicBezTo>
                  <a:cubicBezTo>
                    <a:pt x="144" y="148"/>
                    <a:pt x="145" y="147"/>
                    <a:pt x="145" y="147"/>
                  </a:cubicBezTo>
                  <a:cubicBezTo>
                    <a:pt x="145" y="147"/>
                    <a:pt x="146" y="147"/>
                    <a:pt x="146" y="147"/>
                  </a:cubicBezTo>
                  <a:cubicBezTo>
                    <a:pt x="147" y="146"/>
                    <a:pt x="148" y="146"/>
                    <a:pt x="149" y="146"/>
                  </a:cubicBezTo>
                  <a:cubicBezTo>
                    <a:pt x="150" y="146"/>
                    <a:pt x="150" y="147"/>
                    <a:pt x="151" y="147"/>
                  </a:cubicBezTo>
                  <a:cubicBezTo>
                    <a:pt x="152" y="148"/>
                    <a:pt x="152" y="149"/>
                    <a:pt x="153" y="149"/>
                  </a:cubicBezTo>
                  <a:cubicBezTo>
                    <a:pt x="154" y="149"/>
                    <a:pt x="155" y="149"/>
                    <a:pt x="155" y="149"/>
                  </a:cubicBezTo>
                  <a:cubicBezTo>
                    <a:pt x="155" y="149"/>
                    <a:pt x="156" y="148"/>
                    <a:pt x="156" y="148"/>
                  </a:cubicBezTo>
                  <a:cubicBezTo>
                    <a:pt x="156" y="148"/>
                    <a:pt x="156" y="148"/>
                    <a:pt x="156" y="148"/>
                  </a:cubicBezTo>
                  <a:cubicBezTo>
                    <a:pt x="156" y="149"/>
                    <a:pt x="156" y="149"/>
                    <a:pt x="156" y="149"/>
                  </a:cubicBezTo>
                  <a:cubicBezTo>
                    <a:pt x="156" y="149"/>
                    <a:pt x="157" y="150"/>
                    <a:pt x="158" y="151"/>
                  </a:cubicBezTo>
                  <a:cubicBezTo>
                    <a:pt x="158" y="151"/>
                    <a:pt x="159" y="151"/>
                    <a:pt x="159" y="151"/>
                  </a:cubicBezTo>
                  <a:cubicBezTo>
                    <a:pt x="160" y="151"/>
                    <a:pt x="160" y="151"/>
                    <a:pt x="161" y="150"/>
                  </a:cubicBezTo>
                  <a:cubicBezTo>
                    <a:pt x="161" y="150"/>
                    <a:pt x="161" y="149"/>
                    <a:pt x="160" y="148"/>
                  </a:cubicBezTo>
                  <a:cubicBezTo>
                    <a:pt x="160" y="148"/>
                    <a:pt x="160" y="147"/>
                    <a:pt x="160" y="147"/>
                  </a:cubicBezTo>
                  <a:cubicBezTo>
                    <a:pt x="160" y="147"/>
                    <a:pt x="160" y="147"/>
                    <a:pt x="160" y="147"/>
                  </a:cubicBezTo>
                  <a:cubicBezTo>
                    <a:pt x="160" y="147"/>
                    <a:pt x="160" y="147"/>
                    <a:pt x="160" y="147"/>
                  </a:cubicBezTo>
                  <a:cubicBezTo>
                    <a:pt x="161" y="147"/>
                    <a:pt x="161" y="147"/>
                    <a:pt x="161" y="148"/>
                  </a:cubicBezTo>
                  <a:cubicBezTo>
                    <a:pt x="161" y="148"/>
                    <a:pt x="161" y="148"/>
                    <a:pt x="161" y="149"/>
                  </a:cubicBezTo>
                  <a:cubicBezTo>
                    <a:pt x="161" y="150"/>
                    <a:pt x="161" y="150"/>
                    <a:pt x="161" y="150"/>
                  </a:cubicBezTo>
                  <a:cubicBezTo>
                    <a:pt x="161" y="150"/>
                    <a:pt x="161" y="151"/>
                    <a:pt x="162" y="151"/>
                  </a:cubicBezTo>
                  <a:cubicBezTo>
                    <a:pt x="162" y="152"/>
                    <a:pt x="163" y="152"/>
                    <a:pt x="164" y="152"/>
                  </a:cubicBezTo>
                  <a:cubicBezTo>
                    <a:pt x="165" y="152"/>
                    <a:pt x="165" y="152"/>
                    <a:pt x="166" y="151"/>
                  </a:cubicBezTo>
                  <a:cubicBezTo>
                    <a:pt x="166" y="151"/>
                    <a:pt x="166" y="150"/>
                    <a:pt x="166" y="149"/>
                  </a:cubicBezTo>
                  <a:cubicBezTo>
                    <a:pt x="166" y="149"/>
                    <a:pt x="166" y="149"/>
                    <a:pt x="166" y="149"/>
                  </a:cubicBezTo>
                  <a:cubicBezTo>
                    <a:pt x="166" y="149"/>
                    <a:pt x="166" y="148"/>
                    <a:pt x="166" y="148"/>
                  </a:cubicBezTo>
                  <a:cubicBezTo>
                    <a:pt x="166" y="148"/>
                    <a:pt x="166" y="148"/>
                    <a:pt x="167" y="148"/>
                  </a:cubicBezTo>
                  <a:cubicBezTo>
                    <a:pt x="167" y="148"/>
                    <a:pt x="168" y="148"/>
                    <a:pt x="168" y="148"/>
                  </a:cubicBezTo>
                  <a:cubicBezTo>
                    <a:pt x="169" y="147"/>
                    <a:pt x="170" y="146"/>
                    <a:pt x="170" y="146"/>
                  </a:cubicBezTo>
                  <a:cubicBezTo>
                    <a:pt x="170" y="145"/>
                    <a:pt x="170" y="144"/>
                    <a:pt x="169" y="143"/>
                  </a:cubicBezTo>
                  <a:cubicBezTo>
                    <a:pt x="168" y="143"/>
                    <a:pt x="168" y="143"/>
                    <a:pt x="168" y="143"/>
                  </a:cubicBezTo>
                  <a:cubicBezTo>
                    <a:pt x="168" y="142"/>
                    <a:pt x="167" y="141"/>
                    <a:pt x="165" y="141"/>
                  </a:cubicBezTo>
                  <a:cubicBezTo>
                    <a:pt x="164" y="141"/>
                    <a:pt x="164" y="142"/>
                    <a:pt x="163" y="142"/>
                  </a:cubicBezTo>
                  <a:cubicBezTo>
                    <a:pt x="163" y="142"/>
                    <a:pt x="163" y="142"/>
                    <a:pt x="162" y="142"/>
                  </a:cubicBezTo>
                  <a:cubicBezTo>
                    <a:pt x="162" y="142"/>
                    <a:pt x="162" y="142"/>
                    <a:pt x="162" y="142"/>
                  </a:cubicBezTo>
                  <a:cubicBezTo>
                    <a:pt x="161" y="142"/>
                    <a:pt x="160" y="142"/>
                    <a:pt x="160" y="142"/>
                  </a:cubicBezTo>
                  <a:cubicBezTo>
                    <a:pt x="160" y="142"/>
                    <a:pt x="160" y="142"/>
                    <a:pt x="160" y="142"/>
                  </a:cubicBezTo>
                  <a:cubicBezTo>
                    <a:pt x="160" y="141"/>
                    <a:pt x="159" y="139"/>
                    <a:pt x="158" y="139"/>
                  </a:cubicBezTo>
                  <a:cubicBezTo>
                    <a:pt x="158" y="138"/>
                    <a:pt x="157" y="138"/>
                    <a:pt x="157" y="138"/>
                  </a:cubicBezTo>
                  <a:cubicBezTo>
                    <a:pt x="156" y="138"/>
                    <a:pt x="156" y="138"/>
                    <a:pt x="156" y="138"/>
                  </a:cubicBezTo>
                  <a:cubicBezTo>
                    <a:pt x="155" y="137"/>
                    <a:pt x="154" y="137"/>
                    <a:pt x="153" y="137"/>
                  </a:cubicBezTo>
                  <a:cubicBezTo>
                    <a:pt x="153" y="137"/>
                    <a:pt x="152" y="137"/>
                    <a:pt x="152" y="137"/>
                  </a:cubicBezTo>
                  <a:cubicBezTo>
                    <a:pt x="152" y="137"/>
                    <a:pt x="151" y="138"/>
                    <a:pt x="151" y="138"/>
                  </a:cubicBezTo>
                  <a:cubicBezTo>
                    <a:pt x="151" y="138"/>
                    <a:pt x="150" y="138"/>
                    <a:pt x="150" y="138"/>
                  </a:cubicBezTo>
                  <a:cubicBezTo>
                    <a:pt x="150" y="137"/>
                    <a:pt x="149" y="137"/>
                    <a:pt x="149" y="137"/>
                  </a:cubicBezTo>
                  <a:cubicBezTo>
                    <a:pt x="148" y="137"/>
                    <a:pt x="148" y="137"/>
                    <a:pt x="148" y="137"/>
                  </a:cubicBezTo>
                  <a:cubicBezTo>
                    <a:pt x="148" y="137"/>
                    <a:pt x="148" y="136"/>
                    <a:pt x="148" y="136"/>
                  </a:cubicBezTo>
                  <a:cubicBezTo>
                    <a:pt x="148" y="136"/>
                    <a:pt x="148" y="135"/>
                    <a:pt x="148" y="135"/>
                  </a:cubicBezTo>
                  <a:cubicBezTo>
                    <a:pt x="148" y="135"/>
                    <a:pt x="148" y="134"/>
                    <a:pt x="147" y="134"/>
                  </a:cubicBezTo>
                  <a:cubicBezTo>
                    <a:pt x="148" y="134"/>
                    <a:pt x="148" y="134"/>
                    <a:pt x="148" y="134"/>
                  </a:cubicBezTo>
                  <a:cubicBezTo>
                    <a:pt x="148" y="134"/>
                    <a:pt x="149" y="134"/>
                    <a:pt x="149" y="134"/>
                  </a:cubicBezTo>
                  <a:cubicBezTo>
                    <a:pt x="150" y="134"/>
                    <a:pt x="150" y="134"/>
                    <a:pt x="150" y="134"/>
                  </a:cubicBezTo>
                  <a:cubicBezTo>
                    <a:pt x="151" y="134"/>
                    <a:pt x="151" y="134"/>
                    <a:pt x="152" y="134"/>
                  </a:cubicBezTo>
                  <a:cubicBezTo>
                    <a:pt x="152" y="134"/>
                    <a:pt x="153" y="134"/>
                    <a:pt x="154" y="134"/>
                  </a:cubicBezTo>
                  <a:cubicBezTo>
                    <a:pt x="154" y="134"/>
                    <a:pt x="155" y="133"/>
                    <a:pt x="155" y="133"/>
                  </a:cubicBezTo>
                  <a:cubicBezTo>
                    <a:pt x="155" y="133"/>
                    <a:pt x="156" y="133"/>
                    <a:pt x="156" y="133"/>
                  </a:cubicBezTo>
                  <a:cubicBezTo>
                    <a:pt x="157" y="133"/>
                    <a:pt x="157" y="133"/>
                    <a:pt x="157" y="133"/>
                  </a:cubicBezTo>
                  <a:cubicBezTo>
                    <a:pt x="157" y="132"/>
                    <a:pt x="157" y="132"/>
                    <a:pt x="157" y="132"/>
                  </a:cubicBezTo>
                  <a:cubicBezTo>
                    <a:pt x="158" y="132"/>
                    <a:pt x="158" y="131"/>
                    <a:pt x="158" y="131"/>
                  </a:cubicBezTo>
                  <a:cubicBezTo>
                    <a:pt x="158" y="130"/>
                    <a:pt x="157" y="129"/>
                    <a:pt x="157" y="129"/>
                  </a:cubicBezTo>
                  <a:cubicBezTo>
                    <a:pt x="156" y="129"/>
                    <a:pt x="155" y="129"/>
                    <a:pt x="155" y="129"/>
                  </a:cubicBezTo>
                  <a:cubicBezTo>
                    <a:pt x="154" y="129"/>
                    <a:pt x="153" y="129"/>
                    <a:pt x="152" y="128"/>
                  </a:cubicBezTo>
                  <a:cubicBezTo>
                    <a:pt x="151" y="128"/>
                    <a:pt x="149" y="128"/>
                    <a:pt x="148" y="129"/>
                  </a:cubicBezTo>
                  <a:cubicBezTo>
                    <a:pt x="147" y="129"/>
                    <a:pt x="146" y="129"/>
                    <a:pt x="145" y="130"/>
                  </a:cubicBezTo>
                  <a:cubicBezTo>
                    <a:pt x="145" y="129"/>
                    <a:pt x="145" y="129"/>
                    <a:pt x="145" y="129"/>
                  </a:cubicBezTo>
                  <a:cubicBezTo>
                    <a:pt x="144" y="128"/>
                    <a:pt x="143" y="128"/>
                    <a:pt x="142" y="128"/>
                  </a:cubicBezTo>
                  <a:cubicBezTo>
                    <a:pt x="141" y="128"/>
                    <a:pt x="141" y="128"/>
                    <a:pt x="141" y="128"/>
                  </a:cubicBezTo>
                  <a:cubicBezTo>
                    <a:pt x="141" y="128"/>
                    <a:pt x="140" y="128"/>
                    <a:pt x="140" y="128"/>
                  </a:cubicBezTo>
                  <a:cubicBezTo>
                    <a:pt x="140" y="128"/>
                    <a:pt x="140" y="128"/>
                    <a:pt x="139" y="127"/>
                  </a:cubicBezTo>
                  <a:cubicBezTo>
                    <a:pt x="139" y="127"/>
                    <a:pt x="139" y="127"/>
                    <a:pt x="139" y="127"/>
                  </a:cubicBezTo>
                  <a:cubicBezTo>
                    <a:pt x="138" y="126"/>
                    <a:pt x="137" y="126"/>
                    <a:pt x="136" y="126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5" y="126"/>
                    <a:pt x="135" y="126"/>
                  </a:cubicBezTo>
                  <a:cubicBezTo>
                    <a:pt x="135" y="126"/>
                    <a:pt x="135" y="126"/>
                    <a:pt x="134" y="126"/>
                  </a:cubicBezTo>
                  <a:cubicBezTo>
                    <a:pt x="134" y="125"/>
                    <a:pt x="133" y="125"/>
                    <a:pt x="132" y="125"/>
                  </a:cubicBezTo>
                  <a:cubicBezTo>
                    <a:pt x="132" y="125"/>
                    <a:pt x="132" y="125"/>
                    <a:pt x="132" y="125"/>
                  </a:cubicBezTo>
                  <a:cubicBezTo>
                    <a:pt x="131" y="125"/>
                    <a:pt x="130" y="124"/>
                    <a:pt x="130" y="125"/>
                  </a:cubicBezTo>
                  <a:cubicBezTo>
                    <a:pt x="129" y="125"/>
                    <a:pt x="128" y="126"/>
                    <a:pt x="128" y="126"/>
                  </a:cubicBezTo>
                  <a:cubicBezTo>
                    <a:pt x="128" y="126"/>
                    <a:pt x="128" y="126"/>
                    <a:pt x="128" y="126"/>
                  </a:cubicBezTo>
                  <a:cubicBezTo>
                    <a:pt x="128" y="127"/>
                    <a:pt x="127" y="127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7" y="128"/>
                    <a:pt x="127" y="128"/>
                    <a:pt x="127" y="128"/>
                  </a:cubicBezTo>
                  <a:cubicBezTo>
                    <a:pt x="126" y="127"/>
                    <a:pt x="125" y="127"/>
                    <a:pt x="125" y="127"/>
                  </a:cubicBezTo>
                  <a:cubicBezTo>
                    <a:pt x="124" y="127"/>
                    <a:pt x="123" y="128"/>
                    <a:pt x="122" y="128"/>
                  </a:cubicBezTo>
                  <a:cubicBezTo>
                    <a:pt x="122" y="129"/>
                    <a:pt x="122" y="129"/>
                    <a:pt x="121" y="129"/>
                  </a:cubicBezTo>
                  <a:cubicBezTo>
                    <a:pt x="121" y="129"/>
                    <a:pt x="121" y="129"/>
                    <a:pt x="121" y="129"/>
                  </a:cubicBezTo>
                  <a:cubicBezTo>
                    <a:pt x="121" y="129"/>
                    <a:pt x="121" y="128"/>
                    <a:pt x="120" y="128"/>
                  </a:cubicBezTo>
                  <a:cubicBezTo>
                    <a:pt x="120" y="128"/>
                    <a:pt x="119" y="127"/>
                    <a:pt x="118" y="127"/>
                  </a:cubicBezTo>
                  <a:cubicBezTo>
                    <a:pt x="118" y="127"/>
                    <a:pt x="117" y="127"/>
                    <a:pt x="117" y="128"/>
                  </a:cubicBezTo>
                  <a:cubicBezTo>
                    <a:pt x="117" y="127"/>
                    <a:pt x="117" y="127"/>
                    <a:pt x="116" y="127"/>
                  </a:cubicBezTo>
                  <a:cubicBezTo>
                    <a:pt x="116" y="127"/>
                    <a:pt x="115" y="127"/>
                    <a:pt x="115" y="127"/>
                  </a:cubicBezTo>
                  <a:cubicBezTo>
                    <a:pt x="114" y="127"/>
                    <a:pt x="114" y="127"/>
                    <a:pt x="114" y="127"/>
                  </a:cubicBezTo>
                  <a:cubicBezTo>
                    <a:pt x="114" y="127"/>
                    <a:pt x="114" y="127"/>
                    <a:pt x="114" y="127"/>
                  </a:cubicBezTo>
                  <a:cubicBezTo>
                    <a:pt x="113" y="127"/>
                    <a:pt x="113" y="127"/>
                    <a:pt x="113" y="127"/>
                  </a:cubicBezTo>
                  <a:cubicBezTo>
                    <a:pt x="113" y="126"/>
                    <a:pt x="113" y="126"/>
                    <a:pt x="113" y="126"/>
                  </a:cubicBezTo>
                  <a:cubicBezTo>
                    <a:pt x="113" y="125"/>
                    <a:pt x="113" y="125"/>
                    <a:pt x="112" y="125"/>
                  </a:cubicBezTo>
                  <a:cubicBezTo>
                    <a:pt x="112" y="125"/>
                    <a:pt x="112" y="125"/>
                    <a:pt x="112" y="125"/>
                  </a:cubicBezTo>
                  <a:cubicBezTo>
                    <a:pt x="112" y="124"/>
                    <a:pt x="112" y="124"/>
                    <a:pt x="112" y="124"/>
                  </a:cubicBezTo>
                  <a:cubicBezTo>
                    <a:pt x="112" y="123"/>
                    <a:pt x="112" y="123"/>
                    <a:pt x="111" y="122"/>
                  </a:cubicBezTo>
                  <a:cubicBezTo>
                    <a:pt x="111" y="122"/>
                    <a:pt x="110" y="122"/>
                    <a:pt x="109" y="122"/>
                  </a:cubicBezTo>
                  <a:cubicBezTo>
                    <a:pt x="109" y="122"/>
                    <a:pt x="108" y="122"/>
                    <a:pt x="108" y="12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2"/>
                    <a:pt x="106" y="122"/>
                    <a:pt x="106" y="122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4" y="122"/>
                    <a:pt x="104" y="122"/>
                    <a:pt x="104" y="122"/>
                  </a:cubicBezTo>
                  <a:cubicBezTo>
                    <a:pt x="104" y="122"/>
                    <a:pt x="104" y="121"/>
                    <a:pt x="104" y="121"/>
                  </a:cubicBezTo>
                  <a:cubicBezTo>
                    <a:pt x="103" y="120"/>
                    <a:pt x="103" y="119"/>
                    <a:pt x="102" y="118"/>
                  </a:cubicBezTo>
                  <a:cubicBezTo>
                    <a:pt x="101" y="118"/>
                    <a:pt x="101" y="118"/>
                    <a:pt x="100" y="118"/>
                  </a:cubicBezTo>
                  <a:cubicBezTo>
                    <a:pt x="100" y="118"/>
                    <a:pt x="100" y="118"/>
                    <a:pt x="100" y="118"/>
                  </a:cubicBezTo>
                  <a:cubicBezTo>
                    <a:pt x="99" y="118"/>
                    <a:pt x="99" y="118"/>
                    <a:pt x="99" y="118"/>
                  </a:cubicBezTo>
                  <a:cubicBezTo>
                    <a:pt x="98" y="118"/>
                    <a:pt x="98" y="118"/>
                    <a:pt x="97" y="118"/>
                  </a:cubicBezTo>
                  <a:cubicBezTo>
                    <a:pt x="97" y="119"/>
                    <a:pt x="97" y="119"/>
                    <a:pt x="97" y="120"/>
                  </a:cubicBezTo>
                  <a:cubicBezTo>
                    <a:pt x="97" y="120"/>
                    <a:pt x="96" y="120"/>
                    <a:pt x="96" y="120"/>
                  </a:cubicBezTo>
                  <a:cubicBezTo>
                    <a:pt x="96" y="119"/>
                    <a:pt x="95" y="119"/>
                    <a:pt x="95" y="119"/>
                  </a:cubicBezTo>
                  <a:cubicBezTo>
                    <a:pt x="95" y="119"/>
                    <a:pt x="94" y="119"/>
                    <a:pt x="94" y="119"/>
                  </a:cubicBezTo>
                  <a:cubicBezTo>
                    <a:pt x="93" y="118"/>
                    <a:pt x="92" y="118"/>
                    <a:pt x="90" y="118"/>
                  </a:cubicBezTo>
                  <a:cubicBezTo>
                    <a:pt x="90" y="118"/>
                    <a:pt x="90" y="118"/>
                    <a:pt x="89" y="118"/>
                  </a:cubicBezTo>
                  <a:cubicBezTo>
                    <a:pt x="90" y="117"/>
                    <a:pt x="90" y="117"/>
                    <a:pt x="90" y="116"/>
                  </a:cubicBezTo>
                  <a:cubicBezTo>
                    <a:pt x="90" y="115"/>
                    <a:pt x="90" y="113"/>
                    <a:pt x="90" y="112"/>
                  </a:cubicBezTo>
                  <a:cubicBezTo>
                    <a:pt x="91" y="112"/>
                    <a:pt x="91" y="112"/>
                    <a:pt x="91" y="112"/>
                  </a:cubicBezTo>
                  <a:cubicBezTo>
                    <a:pt x="91" y="111"/>
                    <a:pt x="91" y="111"/>
                    <a:pt x="91" y="110"/>
                  </a:cubicBezTo>
                  <a:cubicBezTo>
                    <a:pt x="91" y="109"/>
                    <a:pt x="92" y="107"/>
                    <a:pt x="92" y="105"/>
                  </a:cubicBezTo>
                  <a:cubicBezTo>
                    <a:pt x="92" y="105"/>
                    <a:pt x="92" y="104"/>
                    <a:pt x="91" y="104"/>
                  </a:cubicBezTo>
                  <a:cubicBezTo>
                    <a:pt x="91" y="103"/>
                    <a:pt x="91" y="103"/>
                    <a:pt x="91" y="103"/>
                  </a:cubicBezTo>
                  <a:cubicBezTo>
                    <a:pt x="91" y="103"/>
                    <a:pt x="91" y="102"/>
                    <a:pt x="91" y="102"/>
                  </a:cubicBezTo>
                  <a:cubicBezTo>
                    <a:pt x="92" y="102"/>
                    <a:pt x="92" y="101"/>
                    <a:pt x="92" y="101"/>
                  </a:cubicBezTo>
                  <a:cubicBezTo>
                    <a:pt x="92" y="100"/>
                    <a:pt x="92" y="99"/>
                    <a:pt x="92" y="99"/>
                  </a:cubicBezTo>
                  <a:cubicBezTo>
                    <a:pt x="92" y="97"/>
                    <a:pt x="91" y="97"/>
                    <a:pt x="91" y="97"/>
                  </a:cubicBezTo>
                  <a:cubicBezTo>
                    <a:pt x="91" y="97"/>
                    <a:pt x="91" y="96"/>
                    <a:pt x="91" y="96"/>
                  </a:cubicBezTo>
                  <a:cubicBezTo>
                    <a:pt x="92" y="95"/>
                    <a:pt x="94" y="92"/>
                    <a:pt x="92" y="89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2" y="90"/>
                    <a:pt x="92" y="90"/>
                    <a:pt x="92" y="90"/>
                  </a:cubicBezTo>
                  <a:cubicBezTo>
                    <a:pt x="93" y="91"/>
                    <a:pt x="94" y="92"/>
                    <a:pt x="96" y="92"/>
                  </a:cubicBezTo>
                  <a:cubicBezTo>
                    <a:pt x="96" y="92"/>
                    <a:pt x="96" y="92"/>
                    <a:pt x="96" y="92"/>
                  </a:cubicBezTo>
                  <a:cubicBezTo>
                    <a:pt x="96" y="92"/>
                    <a:pt x="97" y="92"/>
                    <a:pt x="97" y="92"/>
                  </a:cubicBezTo>
                  <a:cubicBezTo>
                    <a:pt x="98" y="91"/>
                    <a:pt x="98" y="90"/>
                    <a:pt x="98" y="89"/>
                  </a:cubicBezTo>
                  <a:cubicBezTo>
                    <a:pt x="98" y="89"/>
                    <a:pt x="98" y="89"/>
                    <a:pt x="98" y="89"/>
                  </a:cubicBezTo>
                  <a:cubicBezTo>
                    <a:pt x="98" y="88"/>
                    <a:pt x="98" y="88"/>
                    <a:pt x="98" y="87"/>
                  </a:cubicBezTo>
                  <a:cubicBezTo>
                    <a:pt x="99" y="87"/>
                    <a:pt x="99" y="86"/>
                    <a:pt x="99" y="85"/>
                  </a:cubicBezTo>
                  <a:cubicBezTo>
                    <a:pt x="99" y="84"/>
                    <a:pt x="97" y="83"/>
                    <a:pt x="97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3"/>
                    <a:pt x="96" y="83"/>
                    <a:pt x="96" y="83"/>
                  </a:cubicBezTo>
                  <a:cubicBezTo>
                    <a:pt x="96" y="82"/>
                    <a:pt x="95" y="81"/>
                    <a:pt x="95" y="81"/>
                  </a:cubicBezTo>
                  <a:cubicBezTo>
                    <a:pt x="95" y="80"/>
                    <a:pt x="95" y="80"/>
                    <a:pt x="95" y="80"/>
                  </a:cubicBezTo>
                  <a:cubicBezTo>
                    <a:pt x="94" y="79"/>
                    <a:pt x="94" y="78"/>
                    <a:pt x="94" y="77"/>
                  </a:cubicBezTo>
                  <a:cubicBezTo>
                    <a:pt x="94" y="77"/>
                    <a:pt x="94" y="77"/>
                    <a:pt x="94" y="77"/>
                  </a:cubicBezTo>
                  <a:cubicBezTo>
                    <a:pt x="94" y="76"/>
                    <a:pt x="94" y="74"/>
                    <a:pt x="92" y="74"/>
                  </a:cubicBezTo>
                  <a:cubicBezTo>
                    <a:pt x="92" y="74"/>
                    <a:pt x="91" y="73"/>
                    <a:pt x="91" y="73"/>
                  </a:cubicBezTo>
                  <a:cubicBezTo>
                    <a:pt x="91" y="73"/>
                    <a:pt x="90" y="73"/>
                    <a:pt x="90" y="73"/>
                  </a:cubicBezTo>
                  <a:cubicBezTo>
                    <a:pt x="89" y="73"/>
                    <a:pt x="88" y="73"/>
                    <a:pt x="88" y="74"/>
                  </a:cubicBezTo>
                  <a:cubicBezTo>
                    <a:pt x="88" y="74"/>
                    <a:pt x="87" y="74"/>
                    <a:pt x="87" y="74"/>
                  </a:cubicBezTo>
                  <a:cubicBezTo>
                    <a:pt x="86" y="74"/>
                    <a:pt x="85" y="75"/>
                    <a:pt x="84" y="76"/>
                  </a:cubicBezTo>
                  <a:cubicBezTo>
                    <a:pt x="84" y="76"/>
                    <a:pt x="84" y="77"/>
                    <a:pt x="84" y="77"/>
                  </a:cubicBezTo>
                  <a:cubicBezTo>
                    <a:pt x="84" y="78"/>
                    <a:pt x="84" y="78"/>
                    <a:pt x="83" y="78"/>
                  </a:cubicBezTo>
                  <a:cubicBezTo>
                    <a:pt x="83" y="79"/>
                    <a:pt x="83" y="80"/>
                    <a:pt x="83" y="81"/>
                  </a:cubicBezTo>
                  <a:cubicBezTo>
                    <a:pt x="83" y="81"/>
                    <a:pt x="84" y="82"/>
                    <a:pt x="85" y="82"/>
                  </a:cubicBezTo>
                  <a:cubicBezTo>
                    <a:pt x="85" y="83"/>
                    <a:pt x="86" y="83"/>
                    <a:pt x="87" y="82"/>
                  </a:cubicBezTo>
                  <a:cubicBezTo>
                    <a:pt x="87" y="82"/>
                    <a:pt x="87" y="82"/>
                    <a:pt x="87" y="82"/>
                  </a:cubicBezTo>
                  <a:cubicBezTo>
                    <a:pt x="87" y="82"/>
                    <a:pt x="87" y="83"/>
                    <a:pt x="87" y="83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5" y="83"/>
                  </a:cubicBezTo>
                  <a:cubicBezTo>
                    <a:pt x="85" y="83"/>
                    <a:pt x="85" y="83"/>
                    <a:pt x="85" y="83"/>
                  </a:cubicBezTo>
                  <a:cubicBezTo>
                    <a:pt x="84" y="83"/>
                    <a:pt x="83" y="83"/>
                    <a:pt x="83" y="83"/>
                  </a:cubicBezTo>
                  <a:cubicBezTo>
                    <a:pt x="83" y="82"/>
                    <a:pt x="83" y="81"/>
                    <a:pt x="83" y="80"/>
                  </a:cubicBezTo>
                  <a:cubicBezTo>
                    <a:pt x="83" y="80"/>
                    <a:pt x="82" y="79"/>
                    <a:pt x="82" y="79"/>
                  </a:cubicBezTo>
                  <a:cubicBezTo>
                    <a:pt x="82" y="79"/>
                    <a:pt x="82" y="78"/>
                    <a:pt x="81" y="78"/>
                  </a:cubicBezTo>
                  <a:cubicBezTo>
                    <a:pt x="81" y="77"/>
                    <a:pt x="81" y="77"/>
                    <a:pt x="80" y="77"/>
                  </a:cubicBezTo>
                  <a:cubicBezTo>
                    <a:pt x="80" y="76"/>
                    <a:pt x="80" y="75"/>
                    <a:pt x="80" y="74"/>
                  </a:cubicBezTo>
                  <a:cubicBezTo>
                    <a:pt x="80" y="73"/>
                    <a:pt x="80" y="73"/>
                    <a:pt x="80" y="73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79" y="73"/>
                    <a:pt x="79" y="73"/>
                    <a:pt x="79" y="72"/>
                  </a:cubicBezTo>
                  <a:cubicBezTo>
                    <a:pt x="79" y="72"/>
                    <a:pt x="79" y="72"/>
                    <a:pt x="79" y="71"/>
                  </a:cubicBezTo>
                  <a:cubicBezTo>
                    <a:pt x="79" y="71"/>
                    <a:pt x="79" y="69"/>
                    <a:pt x="78" y="68"/>
                  </a:cubicBezTo>
                  <a:cubicBezTo>
                    <a:pt x="77" y="67"/>
                    <a:pt x="76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3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73" y="67"/>
                    <a:pt x="73" y="67"/>
                  </a:cubicBezTo>
                  <a:cubicBezTo>
                    <a:pt x="72" y="67"/>
                    <a:pt x="72" y="67"/>
                    <a:pt x="72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71" y="66"/>
                    <a:pt x="71" y="66"/>
                    <a:pt x="71" y="66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0" y="62"/>
                    <a:pt x="70" y="62"/>
                    <a:pt x="71" y="62"/>
                  </a:cubicBezTo>
                  <a:cubicBezTo>
                    <a:pt x="71" y="61"/>
                    <a:pt x="72" y="61"/>
                    <a:pt x="72" y="60"/>
                  </a:cubicBezTo>
                  <a:cubicBezTo>
                    <a:pt x="72" y="60"/>
                    <a:pt x="72" y="60"/>
                    <a:pt x="73" y="60"/>
                  </a:cubicBezTo>
                  <a:cubicBezTo>
                    <a:pt x="73" y="60"/>
                    <a:pt x="74" y="60"/>
                    <a:pt x="75" y="59"/>
                  </a:cubicBezTo>
                  <a:cubicBezTo>
                    <a:pt x="75" y="59"/>
                    <a:pt x="75" y="58"/>
                    <a:pt x="75" y="57"/>
                  </a:cubicBezTo>
                  <a:cubicBezTo>
                    <a:pt x="74" y="56"/>
                    <a:pt x="73" y="55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1" y="54"/>
                    <a:pt x="70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3"/>
                    <a:pt x="69" y="53"/>
                  </a:cubicBezTo>
                  <a:cubicBezTo>
                    <a:pt x="69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70" y="50"/>
                    <a:pt x="70" y="49"/>
                    <a:pt x="68" y="48"/>
                  </a:cubicBezTo>
                  <a:cubicBezTo>
                    <a:pt x="68" y="48"/>
                    <a:pt x="68" y="48"/>
                    <a:pt x="68" y="47"/>
                  </a:cubicBezTo>
                  <a:cubicBezTo>
                    <a:pt x="68" y="47"/>
                    <a:pt x="67" y="46"/>
                    <a:pt x="66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6"/>
                    <a:pt x="63" y="47"/>
                    <a:pt x="62" y="48"/>
                  </a:cubicBezTo>
                  <a:cubicBezTo>
                    <a:pt x="62" y="48"/>
                    <a:pt x="62" y="48"/>
                    <a:pt x="62" y="48"/>
                  </a:cubicBezTo>
                  <a:cubicBezTo>
                    <a:pt x="61" y="48"/>
                    <a:pt x="61" y="47"/>
                    <a:pt x="61" y="46"/>
                  </a:cubicBezTo>
                  <a:cubicBezTo>
                    <a:pt x="61" y="46"/>
                    <a:pt x="61" y="46"/>
                    <a:pt x="61" y="45"/>
                  </a:cubicBezTo>
                  <a:cubicBezTo>
                    <a:pt x="60" y="45"/>
                    <a:pt x="60" y="44"/>
                    <a:pt x="60" y="43"/>
                  </a:cubicBezTo>
                  <a:cubicBezTo>
                    <a:pt x="59" y="42"/>
                    <a:pt x="58" y="42"/>
                    <a:pt x="58" y="41"/>
                  </a:cubicBezTo>
                  <a:cubicBezTo>
                    <a:pt x="58" y="41"/>
                    <a:pt x="58" y="41"/>
                    <a:pt x="58" y="41"/>
                  </a:cubicBezTo>
                  <a:cubicBezTo>
                    <a:pt x="58" y="41"/>
                    <a:pt x="59" y="40"/>
                    <a:pt x="59" y="39"/>
                  </a:cubicBezTo>
                  <a:cubicBezTo>
                    <a:pt x="59" y="38"/>
                    <a:pt x="58" y="37"/>
                    <a:pt x="57" y="37"/>
                  </a:cubicBezTo>
                  <a:cubicBezTo>
                    <a:pt x="57" y="37"/>
                    <a:pt x="56" y="36"/>
                    <a:pt x="56" y="36"/>
                  </a:cubicBezTo>
                  <a:cubicBezTo>
                    <a:pt x="56" y="36"/>
                    <a:pt x="55" y="36"/>
                    <a:pt x="55" y="36"/>
                  </a:cubicBezTo>
                  <a:cubicBezTo>
                    <a:pt x="54" y="36"/>
                    <a:pt x="54" y="36"/>
                    <a:pt x="53" y="36"/>
                  </a:cubicBezTo>
                  <a:cubicBezTo>
                    <a:pt x="53" y="35"/>
                    <a:pt x="52" y="35"/>
                    <a:pt x="51" y="34"/>
                  </a:cubicBezTo>
                  <a:cubicBezTo>
                    <a:pt x="50" y="34"/>
                    <a:pt x="49" y="34"/>
                    <a:pt x="48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7" y="33"/>
                    <a:pt x="47" y="32"/>
                    <a:pt x="46" y="32"/>
                  </a:cubicBezTo>
                  <a:cubicBezTo>
                    <a:pt x="46" y="32"/>
                    <a:pt x="45" y="32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1"/>
                    <a:pt x="44" y="30"/>
                    <a:pt x="44" y="30"/>
                  </a:cubicBezTo>
                  <a:cubicBezTo>
                    <a:pt x="44" y="28"/>
                    <a:pt x="42" y="26"/>
                    <a:pt x="40" y="24"/>
                  </a:cubicBezTo>
                  <a:cubicBezTo>
                    <a:pt x="40" y="23"/>
                    <a:pt x="40" y="23"/>
                    <a:pt x="39" y="23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7" y="21"/>
                    <a:pt x="37" y="20"/>
                  </a:cubicBezTo>
                  <a:cubicBezTo>
                    <a:pt x="37" y="20"/>
                    <a:pt x="37" y="20"/>
                    <a:pt x="36" y="20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4" y="18"/>
                    <a:pt x="33" y="17"/>
                    <a:pt x="3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6"/>
                    <a:pt x="31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6"/>
                    <a:pt x="30" y="15"/>
                    <a:pt x="30" y="15"/>
                  </a:cubicBezTo>
                  <a:cubicBezTo>
                    <a:pt x="30" y="14"/>
                    <a:pt x="30" y="14"/>
                    <a:pt x="30" y="13"/>
                  </a:cubicBezTo>
                  <a:cubicBezTo>
                    <a:pt x="30" y="12"/>
                    <a:pt x="29" y="11"/>
                    <a:pt x="28" y="11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7" y="9"/>
                    <a:pt x="26" y="9"/>
                    <a:pt x="26" y="8"/>
                  </a:cubicBezTo>
                  <a:cubicBezTo>
                    <a:pt x="26" y="8"/>
                    <a:pt x="26" y="8"/>
                    <a:pt x="26" y="7"/>
                  </a:cubicBezTo>
                  <a:cubicBezTo>
                    <a:pt x="25" y="7"/>
                    <a:pt x="25" y="6"/>
                    <a:pt x="24" y="5"/>
                  </a:cubicBezTo>
                  <a:cubicBezTo>
                    <a:pt x="23" y="4"/>
                    <a:pt x="23" y="4"/>
                    <a:pt x="22" y="4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21" y="4"/>
                    <a:pt x="20" y="4"/>
                    <a:pt x="20" y="5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7" y="4"/>
                    <a:pt x="16" y="4"/>
                    <a:pt x="14" y="4"/>
                  </a:cubicBezTo>
                  <a:cubicBezTo>
                    <a:pt x="13" y="4"/>
                    <a:pt x="13" y="4"/>
                    <a:pt x="12" y="4"/>
                  </a:cubicBezTo>
                  <a:cubicBezTo>
                    <a:pt x="12" y="4"/>
                    <a:pt x="12" y="4"/>
                    <a:pt x="12" y="4"/>
                  </a:cubicBezTo>
                  <a:cubicBezTo>
                    <a:pt x="11" y="4"/>
                    <a:pt x="11" y="4"/>
                    <a:pt x="10" y="4"/>
                  </a:cubicBezTo>
                  <a:cubicBezTo>
                    <a:pt x="10" y="4"/>
                    <a:pt x="10" y="4"/>
                    <a:pt x="10" y="3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1"/>
                    <a:pt x="6" y="0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2"/>
                    <a:pt x="0" y="3"/>
                    <a:pt x="1" y="4"/>
                  </a:cubicBezTo>
                  <a:cubicBezTo>
                    <a:pt x="1" y="5"/>
                    <a:pt x="1" y="5"/>
                    <a:pt x="2" y="5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1" y="8"/>
                    <a:pt x="2" y="9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2"/>
                    <a:pt x="4" y="13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4" y="13"/>
                    <a:pt x="4" y="14"/>
                    <a:pt x="5" y="14"/>
                  </a:cubicBezTo>
                  <a:cubicBezTo>
                    <a:pt x="5" y="14"/>
                    <a:pt x="5" y="15"/>
                    <a:pt x="6" y="15"/>
                  </a:cubicBezTo>
                  <a:cubicBezTo>
                    <a:pt x="7" y="16"/>
                    <a:pt x="8" y="17"/>
                    <a:pt x="8" y="17"/>
                  </a:cubicBezTo>
                  <a:cubicBezTo>
                    <a:pt x="9" y="18"/>
                    <a:pt x="10" y="18"/>
                    <a:pt x="10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2" y="21"/>
                    <a:pt x="13" y="22"/>
                    <a:pt x="14" y="23"/>
                  </a:cubicBezTo>
                  <a:cubicBezTo>
                    <a:pt x="15" y="24"/>
                    <a:pt x="16" y="25"/>
                    <a:pt x="17" y="26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7"/>
                    <a:pt x="18" y="27"/>
                    <a:pt x="18" y="28"/>
                  </a:cubicBezTo>
                  <a:cubicBezTo>
                    <a:pt x="18" y="28"/>
                    <a:pt x="18" y="28"/>
                    <a:pt x="18" y="28"/>
                  </a:cubicBezTo>
                  <a:cubicBezTo>
                    <a:pt x="18" y="29"/>
                    <a:pt x="19" y="30"/>
                    <a:pt x="20" y="30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2"/>
                    <a:pt x="21" y="32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4"/>
                    <a:pt x="21" y="34"/>
                    <a:pt x="21" y="35"/>
                  </a:cubicBezTo>
                  <a:cubicBezTo>
                    <a:pt x="22" y="37"/>
                    <a:pt x="23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5" y="38"/>
                    <a:pt x="25" y="39"/>
                    <a:pt x="26" y="39"/>
                  </a:cubicBezTo>
                  <a:cubicBezTo>
                    <a:pt x="27" y="39"/>
                    <a:pt x="28" y="40"/>
                    <a:pt x="28" y="40"/>
                  </a:cubicBezTo>
                  <a:cubicBezTo>
                    <a:pt x="28" y="40"/>
                    <a:pt x="29" y="41"/>
                    <a:pt x="29" y="41"/>
                  </a:cubicBezTo>
                  <a:cubicBezTo>
                    <a:pt x="29" y="41"/>
                    <a:pt x="29" y="42"/>
                    <a:pt x="30" y="42"/>
                  </a:cubicBezTo>
                  <a:cubicBezTo>
                    <a:pt x="30" y="42"/>
                    <a:pt x="31" y="43"/>
                    <a:pt x="31" y="43"/>
                  </a:cubicBezTo>
                  <a:cubicBezTo>
                    <a:pt x="30" y="44"/>
                    <a:pt x="31" y="46"/>
                    <a:pt x="32" y="48"/>
                  </a:cubicBezTo>
                  <a:cubicBezTo>
                    <a:pt x="32" y="48"/>
                    <a:pt x="33" y="49"/>
                    <a:pt x="33" y="50"/>
                  </a:cubicBezTo>
                  <a:cubicBezTo>
                    <a:pt x="33" y="51"/>
                    <a:pt x="34" y="52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4"/>
                    <a:pt x="34" y="55"/>
                  </a:cubicBezTo>
                  <a:cubicBezTo>
                    <a:pt x="34" y="56"/>
                    <a:pt x="35" y="57"/>
                    <a:pt x="36" y="57"/>
                  </a:cubicBezTo>
                  <a:cubicBezTo>
                    <a:pt x="36" y="57"/>
                    <a:pt x="36" y="58"/>
                    <a:pt x="36" y="58"/>
                  </a:cubicBezTo>
                  <a:cubicBezTo>
                    <a:pt x="37" y="58"/>
                    <a:pt x="38" y="59"/>
                    <a:pt x="39" y="60"/>
                  </a:cubicBezTo>
                  <a:cubicBezTo>
                    <a:pt x="40" y="60"/>
                    <a:pt x="40" y="61"/>
                    <a:pt x="41" y="62"/>
                  </a:cubicBezTo>
                  <a:cubicBezTo>
                    <a:pt x="41" y="63"/>
                    <a:pt x="41" y="64"/>
                    <a:pt x="42" y="64"/>
                  </a:cubicBezTo>
                  <a:cubicBezTo>
                    <a:pt x="42" y="64"/>
                    <a:pt x="42" y="65"/>
                    <a:pt x="43" y="65"/>
                  </a:cubicBezTo>
                  <a:cubicBezTo>
                    <a:pt x="43" y="65"/>
                    <a:pt x="43" y="66"/>
                    <a:pt x="44" y="66"/>
                  </a:cubicBezTo>
                  <a:cubicBezTo>
                    <a:pt x="44" y="67"/>
                    <a:pt x="44" y="68"/>
                    <a:pt x="44" y="69"/>
                  </a:cubicBezTo>
                  <a:cubicBezTo>
                    <a:pt x="44" y="70"/>
                    <a:pt x="44" y="71"/>
                    <a:pt x="45" y="72"/>
                  </a:cubicBezTo>
                  <a:cubicBezTo>
                    <a:pt x="45" y="73"/>
                    <a:pt x="45" y="73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5"/>
                  </a:cubicBezTo>
                  <a:cubicBezTo>
                    <a:pt x="47" y="76"/>
                    <a:pt x="47" y="77"/>
                    <a:pt x="48" y="78"/>
                  </a:cubicBezTo>
                  <a:cubicBezTo>
                    <a:pt x="48" y="78"/>
                    <a:pt x="48" y="79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ubicBezTo>
                    <a:pt x="48" y="81"/>
                    <a:pt x="48" y="82"/>
                    <a:pt x="48" y="83"/>
                  </a:cubicBezTo>
                  <a:cubicBezTo>
                    <a:pt x="49" y="84"/>
                    <a:pt x="49" y="85"/>
                    <a:pt x="50" y="85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51" y="87"/>
                    <a:pt x="51" y="87"/>
                    <a:pt x="51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9"/>
                    <a:pt x="52" y="89"/>
                    <a:pt x="52" y="90"/>
                  </a:cubicBezTo>
                  <a:cubicBezTo>
                    <a:pt x="53" y="91"/>
                    <a:pt x="53" y="93"/>
                    <a:pt x="54" y="94"/>
                  </a:cubicBezTo>
                  <a:cubicBezTo>
                    <a:pt x="56" y="95"/>
                    <a:pt x="58" y="96"/>
                    <a:pt x="59" y="97"/>
                  </a:cubicBezTo>
                  <a:cubicBezTo>
                    <a:pt x="59" y="97"/>
                    <a:pt x="60" y="98"/>
                    <a:pt x="60" y="98"/>
                  </a:cubicBezTo>
                  <a:cubicBezTo>
                    <a:pt x="60" y="98"/>
                    <a:pt x="59" y="98"/>
                    <a:pt x="59" y="98"/>
                  </a:cubicBezTo>
                  <a:cubicBezTo>
                    <a:pt x="59" y="99"/>
                    <a:pt x="59" y="101"/>
                    <a:pt x="60" y="102"/>
                  </a:cubicBezTo>
                  <a:cubicBezTo>
                    <a:pt x="60" y="102"/>
                    <a:pt x="61" y="103"/>
                    <a:pt x="61" y="103"/>
                  </a:cubicBezTo>
                  <a:cubicBezTo>
                    <a:pt x="62" y="103"/>
                    <a:pt x="62" y="103"/>
                    <a:pt x="62" y="103"/>
                  </a:cubicBezTo>
                  <a:cubicBezTo>
                    <a:pt x="62" y="104"/>
                    <a:pt x="62" y="104"/>
                    <a:pt x="62" y="104"/>
                  </a:cubicBezTo>
                  <a:cubicBezTo>
                    <a:pt x="63" y="104"/>
                    <a:pt x="63" y="105"/>
                    <a:pt x="64" y="106"/>
                  </a:cubicBezTo>
                  <a:cubicBezTo>
                    <a:pt x="65" y="106"/>
                    <a:pt x="65" y="106"/>
                    <a:pt x="65" y="106"/>
                  </a:cubicBezTo>
                  <a:cubicBezTo>
                    <a:pt x="65" y="106"/>
                    <a:pt x="66" y="106"/>
                    <a:pt x="66" y="107"/>
                  </a:cubicBezTo>
                  <a:cubicBezTo>
                    <a:pt x="66" y="107"/>
                    <a:pt x="67" y="108"/>
                    <a:pt x="68" y="109"/>
                  </a:cubicBezTo>
                  <a:cubicBezTo>
                    <a:pt x="69" y="109"/>
                    <a:pt x="70" y="110"/>
                    <a:pt x="70" y="110"/>
                  </a:cubicBezTo>
                  <a:cubicBezTo>
                    <a:pt x="71" y="111"/>
                    <a:pt x="71" y="111"/>
                    <a:pt x="71" y="112"/>
                  </a:cubicBezTo>
                  <a:cubicBezTo>
                    <a:pt x="72" y="113"/>
                    <a:pt x="72" y="114"/>
                    <a:pt x="74" y="114"/>
                  </a:cubicBezTo>
                  <a:cubicBezTo>
                    <a:pt x="74" y="115"/>
                    <a:pt x="74" y="115"/>
                    <a:pt x="74" y="115"/>
                  </a:cubicBezTo>
                  <a:cubicBezTo>
                    <a:pt x="75" y="115"/>
                    <a:pt x="75" y="115"/>
                    <a:pt x="75" y="116"/>
                  </a:cubicBezTo>
                  <a:cubicBezTo>
                    <a:pt x="75" y="116"/>
                    <a:pt x="75" y="116"/>
                    <a:pt x="75" y="117"/>
                  </a:cubicBezTo>
                  <a:cubicBezTo>
                    <a:pt x="76" y="117"/>
                    <a:pt x="76" y="118"/>
                    <a:pt x="77" y="119"/>
                  </a:cubicBezTo>
                  <a:cubicBezTo>
                    <a:pt x="77" y="120"/>
                    <a:pt x="78" y="121"/>
                    <a:pt x="79" y="121"/>
                  </a:cubicBezTo>
                  <a:cubicBezTo>
                    <a:pt x="79" y="121"/>
                    <a:pt x="79" y="121"/>
                    <a:pt x="79" y="121"/>
                  </a:cubicBezTo>
                  <a:cubicBezTo>
                    <a:pt x="80" y="121"/>
                    <a:pt x="80" y="120"/>
                    <a:pt x="81" y="120"/>
                  </a:cubicBezTo>
                  <a:cubicBezTo>
                    <a:pt x="81" y="119"/>
                    <a:pt x="81" y="119"/>
                    <a:pt x="81" y="118"/>
                  </a:cubicBezTo>
                  <a:cubicBezTo>
                    <a:pt x="81" y="118"/>
                    <a:pt x="81" y="118"/>
                    <a:pt x="81" y="118"/>
                  </a:cubicBezTo>
                  <a:cubicBezTo>
                    <a:pt x="82" y="119"/>
                    <a:pt x="82" y="119"/>
                    <a:pt x="83" y="119"/>
                  </a:cubicBezTo>
                  <a:cubicBezTo>
                    <a:pt x="84" y="119"/>
                    <a:pt x="85" y="118"/>
                    <a:pt x="85" y="117"/>
                  </a:cubicBezTo>
                  <a:cubicBezTo>
                    <a:pt x="85" y="117"/>
                    <a:pt x="86" y="117"/>
                    <a:pt x="86" y="118"/>
                  </a:cubicBezTo>
                  <a:cubicBezTo>
                    <a:pt x="86" y="119"/>
                    <a:pt x="87" y="119"/>
                    <a:pt x="88" y="119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88" y="120"/>
                    <a:pt x="88" y="121"/>
                    <a:pt x="88" y="121"/>
                  </a:cubicBezTo>
                  <a:cubicBezTo>
                    <a:pt x="88" y="121"/>
                    <a:pt x="88" y="122"/>
                    <a:pt x="88" y="122"/>
                  </a:cubicBezTo>
                  <a:cubicBezTo>
                    <a:pt x="88" y="122"/>
                    <a:pt x="88" y="123"/>
                    <a:pt x="88" y="123"/>
                  </a:cubicBezTo>
                  <a:cubicBezTo>
                    <a:pt x="88" y="123"/>
                    <a:pt x="88" y="123"/>
                    <a:pt x="88" y="123"/>
                  </a:cubicBezTo>
                  <a:cubicBezTo>
                    <a:pt x="88" y="123"/>
                    <a:pt x="88" y="123"/>
                    <a:pt x="87" y="123"/>
                  </a:cubicBezTo>
                  <a:cubicBezTo>
                    <a:pt x="87" y="124"/>
                    <a:pt x="86" y="125"/>
                    <a:pt x="85" y="125"/>
                  </a:cubicBezTo>
                  <a:cubicBezTo>
                    <a:pt x="85" y="126"/>
                    <a:pt x="85" y="126"/>
                    <a:pt x="85" y="126"/>
                  </a:cubicBezTo>
                  <a:cubicBezTo>
                    <a:pt x="85" y="125"/>
                    <a:pt x="84" y="125"/>
                    <a:pt x="83" y="126"/>
                  </a:cubicBezTo>
                  <a:cubicBezTo>
                    <a:pt x="83" y="126"/>
                    <a:pt x="82" y="126"/>
                    <a:pt x="82" y="127"/>
                  </a:cubicBezTo>
                  <a:cubicBezTo>
                    <a:pt x="82" y="128"/>
                    <a:pt x="83" y="129"/>
                    <a:pt x="84" y="129"/>
                  </a:cubicBezTo>
                  <a:cubicBezTo>
                    <a:pt x="84" y="129"/>
                    <a:pt x="84" y="129"/>
                    <a:pt x="84" y="129"/>
                  </a:cubicBezTo>
                  <a:cubicBezTo>
                    <a:pt x="85" y="130"/>
                    <a:pt x="85" y="130"/>
                    <a:pt x="86" y="130"/>
                  </a:cubicBezTo>
                  <a:cubicBezTo>
                    <a:pt x="86" y="130"/>
                    <a:pt x="87" y="130"/>
                    <a:pt x="88" y="130"/>
                  </a:cubicBezTo>
                  <a:cubicBezTo>
                    <a:pt x="88" y="130"/>
                    <a:pt x="89" y="130"/>
                    <a:pt x="90" y="130"/>
                  </a:cubicBezTo>
                  <a:cubicBezTo>
                    <a:pt x="90" y="130"/>
                    <a:pt x="91" y="130"/>
                    <a:pt x="91" y="130"/>
                  </a:cubicBezTo>
                  <a:cubicBezTo>
                    <a:pt x="92" y="130"/>
                    <a:pt x="92" y="130"/>
                    <a:pt x="92" y="130"/>
                  </a:cubicBezTo>
                  <a:cubicBezTo>
                    <a:pt x="92" y="130"/>
                    <a:pt x="92" y="131"/>
                    <a:pt x="92" y="131"/>
                  </a:cubicBezTo>
                  <a:cubicBezTo>
                    <a:pt x="92" y="131"/>
                    <a:pt x="92" y="131"/>
                    <a:pt x="92" y="131"/>
                  </a:cubicBezTo>
                  <a:cubicBezTo>
                    <a:pt x="92" y="131"/>
                    <a:pt x="92" y="131"/>
                    <a:pt x="91" y="132"/>
                  </a:cubicBezTo>
                  <a:cubicBezTo>
                    <a:pt x="91" y="132"/>
                    <a:pt x="91" y="133"/>
                    <a:pt x="91" y="133"/>
                  </a:cubicBezTo>
                  <a:cubicBezTo>
                    <a:pt x="91" y="134"/>
                    <a:pt x="91" y="134"/>
                    <a:pt x="91" y="135"/>
                  </a:cubicBezTo>
                  <a:cubicBezTo>
                    <a:pt x="91" y="135"/>
                    <a:pt x="91" y="135"/>
                    <a:pt x="91" y="136"/>
                  </a:cubicBezTo>
                  <a:cubicBezTo>
                    <a:pt x="92" y="137"/>
                    <a:pt x="92" y="137"/>
                    <a:pt x="93" y="137"/>
                  </a:cubicBezTo>
                  <a:cubicBezTo>
                    <a:pt x="93" y="137"/>
                    <a:pt x="93" y="137"/>
                    <a:pt x="93" y="137"/>
                  </a:cubicBezTo>
                  <a:cubicBezTo>
                    <a:pt x="94" y="137"/>
                    <a:pt x="95" y="137"/>
                    <a:pt x="95" y="136"/>
                  </a:cubicBezTo>
                  <a:cubicBezTo>
                    <a:pt x="95" y="136"/>
                    <a:pt x="95" y="136"/>
                    <a:pt x="95" y="136"/>
                  </a:cubicBezTo>
                  <a:cubicBezTo>
                    <a:pt x="96" y="136"/>
                    <a:pt x="96" y="136"/>
                    <a:pt x="97" y="136"/>
                  </a:cubicBezTo>
                  <a:cubicBezTo>
                    <a:pt x="97" y="136"/>
                    <a:pt x="97" y="136"/>
                    <a:pt x="98" y="136"/>
                  </a:cubicBezTo>
                  <a:cubicBezTo>
                    <a:pt x="98" y="137"/>
                    <a:pt x="98" y="137"/>
                    <a:pt x="99" y="137"/>
                  </a:cubicBezTo>
                  <a:cubicBezTo>
                    <a:pt x="99" y="137"/>
                    <a:pt x="100" y="137"/>
                    <a:pt x="100" y="138"/>
                  </a:cubicBezTo>
                  <a:cubicBezTo>
                    <a:pt x="100" y="138"/>
                    <a:pt x="100" y="138"/>
                    <a:pt x="100" y="138"/>
                  </a:cubicBezTo>
                  <a:cubicBezTo>
                    <a:pt x="101" y="138"/>
                    <a:pt x="101" y="138"/>
                    <a:pt x="101" y="138"/>
                  </a:cubicBezTo>
                  <a:cubicBezTo>
                    <a:pt x="101" y="139"/>
                    <a:pt x="102" y="139"/>
                    <a:pt x="102" y="139"/>
                  </a:cubicBezTo>
                  <a:cubicBezTo>
                    <a:pt x="102" y="139"/>
                    <a:pt x="102" y="139"/>
                    <a:pt x="102" y="139"/>
                  </a:cubicBezTo>
                  <a:cubicBezTo>
                    <a:pt x="103" y="140"/>
                    <a:pt x="104" y="140"/>
                    <a:pt x="105" y="140"/>
                  </a:cubicBezTo>
                  <a:cubicBezTo>
                    <a:pt x="106" y="141"/>
                    <a:pt x="106" y="141"/>
                    <a:pt x="107" y="141"/>
                  </a:cubicBezTo>
                  <a:cubicBezTo>
                    <a:pt x="107" y="141"/>
                    <a:pt x="107" y="141"/>
                    <a:pt x="108" y="141"/>
                  </a:cubicBezTo>
                  <a:cubicBezTo>
                    <a:pt x="108" y="141"/>
                    <a:pt x="109" y="141"/>
                    <a:pt x="110" y="141"/>
                  </a:cubicBezTo>
                  <a:cubicBezTo>
                    <a:pt x="110" y="141"/>
                    <a:pt x="111" y="140"/>
                    <a:pt x="111" y="140"/>
                  </a:cubicBezTo>
                  <a:cubicBezTo>
                    <a:pt x="112" y="140"/>
                    <a:pt x="112" y="140"/>
                    <a:pt x="112" y="139"/>
                  </a:cubicBezTo>
                  <a:cubicBezTo>
                    <a:pt x="113" y="140"/>
                    <a:pt x="113" y="140"/>
                    <a:pt x="113" y="140"/>
                  </a:cubicBezTo>
                  <a:cubicBezTo>
                    <a:pt x="114" y="140"/>
                    <a:pt x="115" y="140"/>
                    <a:pt x="116" y="140"/>
                  </a:cubicBezTo>
                  <a:close/>
                  <a:moveTo>
                    <a:pt x="141" y="146"/>
                  </a:moveTo>
                  <a:cubicBezTo>
                    <a:pt x="141" y="146"/>
                    <a:pt x="141" y="146"/>
                    <a:pt x="141" y="146"/>
                  </a:cubicBezTo>
                  <a:cubicBezTo>
                    <a:pt x="141" y="146"/>
                    <a:pt x="141" y="146"/>
                    <a:pt x="141" y="146"/>
                  </a:cubicBezTo>
                  <a:close/>
                  <a:moveTo>
                    <a:pt x="148" y="133"/>
                  </a:moveTo>
                  <a:cubicBezTo>
                    <a:pt x="148" y="133"/>
                    <a:pt x="148" y="133"/>
                    <a:pt x="148" y="133"/>
                  </a:cubicBezTo>
                  <a:cubicBezTo>
                    <a:pt x="148" y="133"/>
                    <a:pt x="148" y="133"/>
                    <a:pt x="148" y="133"/>
                  </a:cubicBezTo>
                  <a:close/>
                  <a:moveTo>
                    <a:pt x="135" y="128"/>
                  </a:moveTo>
                  <a:cubicBezTo>
                    <a:pt x="135" y="128"/>
                    <a:pt x="135" y="128"/>
                    <a:pt x="135" y="128"/>
                  </a:cubicBezTo>
                  <a:cubicBezTo>
                    <a:pt x="135" y="128"/>
                    <a:pt x="135" y="128"/>
                    <a:pt x="135" y="128"/>
                  </a:cubicBezTo>
                  <a:close/>
                  <a:moveTo>
                    <a:pt x="122" y="129"/>
                  </a:moveTo>
                  <a:cubicBezTo>
                    <a:pt x="122" y="130"/>
                    <a:pt x="122" y="130"/>
                    <a:pt x="122" y="130"/>
                  </a:cubicBezTo>
                  <a:cubicBezTo>
                    <a:pt x="121" y="129"/>
                    <a:pt x="121" y="129"/>
                    <a:pt x="121" y="129"/>
                  </a:cubicBezTo>
                  <a:cubicBezTo>
                    <a:pt x="121" y="129"/>
                    <a:pt x="121" y="129"/>
                    <a:pt x="122" y="129"/>
                  </a:cubicBezTo>
                  <a:close/>
                  <a:moveTo>
                    <a:pt x="67" y="55"/>
                  </a:move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ubicBezTo>
                    <a:pt x="67" y="55"/>
                    <a:pt x="67" y="55"/>
                    <a:pt x="67" y="55"/>
                  </a:cubicBezTo>
                  <a:close/>
                  <a:moveTo>
                    <a:pt x="89" y="85"/>
                  </a:moveTo>
                  <a:cubicBezTo>
                    <a:pt x="89" y="85"/>
                    <a:pt x="89" y="85"/>
                    <a:pt x="89" y="85"/>
                  </a:cubicBezTo>
                  <a:cubicBezTo>
                    <a:pt x="89" y="85"/>
                    <a:pt x="89" y="85"/>
                    <a:pt x="89" y="84"/>
                  </a:cubicBezTo>
                  <a:cubicBezTo>
                    <a:pt x="89" y="84"/>
                    <a:pt x="89" y="84"/>
                    <a:pt x="89" y="84"/>
                  </a:cubicBezTo>
                  <a:cubicBezTo>
                    <a:pt x="89" y="84"/>
                    <a:pt x="89" y="85"/>
                    <a:pt x="89" y="85"/>
                  </a:cubicBezTo>
                  <a:close/>
                  <a:moveTo>
                    <a:pt x="79" y="74"/>
                  </a:moveTo>
                  <a:cubicBezTo>
                    <a:pt x="79" y="74"/>
                    <a:pt x="79" y="74"/>
                    <a:pt x="79" y="74"/>
                  </a:cubicBezTo>
                  <a:cubicBezTo>
                    <a:pt x="79" y="74"/>
                    <a:pt x="79" y="74"/>
                    <a:pt x="79" y="74"/>
                  </a:cubicBezTo>
                  <a:close/>
                  <a:moveTo>
                    <a:pt x="57" y="42"/>
                  </a:moveTo>
                  <a:cubicBezTo>
                    <a:pt x="57" y="42"/>
                    <a:pt x="57" y="42"/>
                    <a:pt x="57" y="42"/>
                  </a:cubicBezTo>
                  <a:cubicBezTo>
                    <a:pt x="57" y="42"/>
                    <a:pt x="57" y="42"/>
                    <a:pt x="57" y="42"/>
                  </a:cubicBezTo>
                  <a:close/>
                  <a:moveTo>
                    <a:pt x="84" y="116"/>
                  </a:moveTo>
                  <a:cubicBezTo>
                    <a:pt x="84" y="116"/>
                    <a:pt x="84" y="116"/>
                    <a:pt x="84" y="116"/>
                  </a:cubicBezTo>
                  <a:cubicBezTo>
                    <a:pt x="84" y="116"/>
                    <a:pt x="84" y="116"/>
                    <a:pt x="84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1" name="Freeform 40"/>
            <p:cNvSpPr>
              <a:spLocks noEditPoints="1"/>
            </p:cNvSpPr>
            <p:nvPr/>
          </p:nvSpPr>
          <p:spPr bwMode="auto">
            <a:xfrm>
              <a:off x="5556" y="2728"/>
              <a:ext cx="71" cy="28"/>
            </a:xfrm>
            <a:custGeom>
              <a:avLst/>
              <a:gdLst>
                <a:gd name="T0" fmla="*/ 17 w 30"/>
                <a:gd name="T1" fmla="*/ 10 h 12"/>
                <a:gd name="T2" fmla="*/ 18 w 30"/>
                <a:gd name="T3" fmla="*/ 10 h 12"/>
                <a:gd name="T4" fmla="*/ 19 w 30"/>
                <a:gd name="T5" fmla="*/ 9 h 12"/>
                <a:gd name="T6" fmla="*/ 23 w 30"/>
                <a:gd name="T7" fmla="*/ 9 h 12"/>
                <a:gd name="T8" fmla="*/ 25 w 30"/>
                <a:gd name="T9" fmla="*/ 9 h 12"/>
                <a:gd name="T10" fmla="*/ 28 w 30"/>
                <a:gd name="T11" fmla="*/ 8 h 12"/>
                <a:gd name="T12" fmla="*/ 27 w 30"/>
                <a:gd name="T13" fmla="*/ 7 h 12"/>
                <a:gd name="T14" fmla="*/ 28 w 30"/>
                <a:gd name="T15" fmla="*/ 8 h 12"/>
                <a:gd name="T16" fmla="*/ 30 w 30"/>
                <a:gd name="T17" fmla="*/ 5 h 12"/>
                <a:gd name="T18" fmla="*/ 27 w 30"/>
                <a:gd name="T19" fmla="*/ 3 h 12"/>
                <a:gd name="T20" fmla="*/ 26 w 30"/>
                <a:gd name="T21" fmla="*/ 2 h 12"/>
                <a:gd name="T22" fmla="*/ 23 w 30"/>
                <a:gd name="T23" fmla="*/ 2 h 12"/>
                <a:gd name="T24" fmla="*/ 21 w 30"/>
                <a:gd name="T25" fmla="*/ 0 h 12"/>
                <a:gd name="T26" fmla="*/ 17 w 30"/>
                <a:gd name="T27" fmla="*/ 1 h 12"/>
                <a:gd name="T28" fmla="*/ 18 w 30"/>
                <a:gd name="T29" fmla="*/ 4 h 12"/>
                <a:gd name="T30" fmla="*/ 19 w 30"/>
                <a:gd name="T31" fmla="*/ 5 h 12"/>
                <a:gd name="T32" fmla="*/ 18 w 30"/>
                <a:gd name="T33" fmla="*/ 5 h 12"/>
                <a:gd name="T34" fmla="*/ 16 w 30"/>
                <a:gd name="T35" fmla="*/ 3 h 12"/>
                <a:gd name="T36" fmla="*/ 15 w 30"/>
                <a:gd name="T37" fmla="*/ 3 h 12"/>
                <a:gd name="T38" fmla="*/ 14 w 30"/>
                <a:gd name="T39" fmla="*/ 5 h 12"/>
                <a:gd name="T40" fmla="*/ 13 w 30"/>
                <a:gd name="T41" fmla="*/ 3 h 12"/>
                <a:gd name="T42" fmla="*/ 10 w 30"/>
                <a:gd name="T43" fmla="*/ 4 h 12"/>
                <a:gd name="T44" fmla="*/ 10 w 30"/>
                <a:gd name="T45" fmla="*/ 4 h 12"/>
                <a:gd name="T46" fmla="*/ 7 w 30"/>
                <a:gd name="T47" fmla="*/ 1 h 12"/>
                <a:gd name="T48" fmla="*/ 6 w 30"/>
                <a:gd name="T49" fmla="*/ 1 h 12"/>
                <a:gd name="T50" fmla="*/ 4 w 30"/>
                <a:gd name="T51" fmla="*/ 2 h 12"/>
                <a:gd name="T52" fmla="*/ 2 w 30"/>
                <a:gd name="T53" fmla="*/ 5 h 12"/>
                <a:gd name="T54" fmla="*/ 2 w 30"/>
                <a:gd name="T55" fmla="*/ 10 h 12"/>
                <a:gd name="T56" fmla="*/ 4 w 30"/>
                <a:gd name="T57" fmla="*/ 9 h 12"/>
                <a:gd name="T58" fmla="*/ 6 w 30"/>
                <a:gd name="T59" fmla="*/ 10 h 12"/>
                <a:gd name="T60" fmla="*/ 8 w 30"/>
                <a:gd name="T61" fmla="*/ 10 h 12"/>
                <a:gd name="T62" fmla="*/ 9 w 30"/>
                <a:gd name="T63" fmla="*/ 11 h 12"/>
                <a:gd name="T64" fmla="*/ 11 w 30"/>
                <a:gd name="T65" fmla="*/ 12 h 12"/>
                <a:gd name="T66" fmla="*/ 13 w 30"/>
                <a:gd name="T67" fmla="*/ 11 h 12"/>
                <a:gd name="T68" fmla="*/ 13 w 30"/>
                <a:gd name="T69" fmla="*/ 10 h 12"/>
                <a:gd name="T70" fmla="*/ 8 w 30"/>
                <a:gd name="T71" fmla="*/ 6 h 12"/>
                <a:gd name="T72" fmla="*/ 9 w 30"/>
                <a:gd name="T73" fmla="*/ 6 h 12"/>
                <a:gd name="T74" fmla="*/ 8 w 30"/>
                <a:gd name="T75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0" h="12">
                  <a:moveTo>
                    <a:pt x="14" y="10"/>
                  </a:moveTo>
                  <a:cubicBezTo>
                    <a:pt x="15" y="10"/>
                    <a:pt x="16" y="10"/>
                    <a:pt x="17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9" y="9"/>
                    <a:pt x="19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1" y="9"/>
                    <a:pt x="22" y="9"/>
                    <a:pt x="23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4" y="9"/>
                    <a:pt x="24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5" y="9"/>
                    <a:pt x="26" y="9"/>
                    <a:pt x="27" y="9"/>
                  </a:cubicBezTo>
                  <a:cubicBezTo>
                    <a:pt x="27" y="8"/>
                    <a:pt x="28" y="8"/>
                    <a:pt x="28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7" y="7"/>
                    <a:pt x="27" y="7"/>
                    <a:pt x="27" y="7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9" y="8"/>
                    <a:pt x="30" y="7"/>
                  </a:cubicBezTo>
                  <a:cubicBezTo>
                    <a:pt x="30" y="7"/>
                    <a:pt x="30" y="5"/>
                    <a:pt x="30" y="5"/>
                  </a:cubicBezTo>
                  <a:cubicBezTo>
                    <a:pt x="29" y="4"/>
                    <a:pt x="29" y="4"/>
                    <a:pt x="28" y="4"/>
                  </a:cubicBezTo>
                  <a:cubicBezTo>
                    <a:pt x="28" y="4"/>
                    <a:pt x="28" y="3"/>
                    <a:pt x="27" y="3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6" y="3"/>
                    <a:pt x="26" y="2"/>
                    <a:pt x="26" y="2"/>
                  </a:cubicBezTo>
                  <a:cubicBezTo>
                    <a:pt x="25" y="2"/>
                    <a:pt x="24" y="1"/>
                    <a:pt x="23" y="2"/>
                  </a:cubicBezTo>
                  <a:cubicBezTo>
                    <a:pt x="23" y="2"/>
                    <a:pt x="23" y="2"/>
                    <a:pt x="23" y="2"/>
                  </a:cubicBezTo>
                  <a:cubicBezTo>
                    <a:pt x="23" y="2"/>
                    <a:pt x="23" y="2"/>
                    <a:pt x="22" y="2"/>
                  </a:cubicBezTo>
                  <a:cubicBezTo>
                    <a:pt x="22" y="1"/>
                    <a:pt x="22" y="1"/>
                    <a:pt x="21" y="0"/>
                  </a:cubicBezTo>
                  <a:cubicBezTo>
                    <a:pt x="21" y="0"/>
                    <a:pt x="20" y="0"/>
                    <a:pt x="20" y="0"/>
                  </a:cubicBezTo>
                  <a:cubicBezTo>
                    <a:pt x="18" y="0"/>
                    <a:pt x="17" y="1"/>
                    <a:pt x="17" y="1"/>
                  </a:cubicBezTo>
                  <a:cubicBezTo>
                    <a:pt x="17" y="2"/>
                    <a:pt x="17" y="2"/>
                    <a:pt x="17" y="3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8" y="4"/>
                    <a:pt x="18" y="4"/>
                    <a:pt x="18" y="5"/>
                  </a:cubicBezTo>
                  <a:cubicBezTo>
                    <a:pt x="18" y="5"/>
                    <a:pt x="18" y="5"/>
                    <a:pt x="19" y="5"/>
                  </a:cubicBezTo>
                  <a:cubicBezTo>
                    <a:pt x="18" y="6"/>
                    <a:pt x="18" y="5"/>
                    <a:pt x="18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4"/>
                    <a:pt x="17" y="3"/>
                    <a:pt x="16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14" y="5"/>
                    <a:pt x="14" y="5"/>
                    <a:pt x="14" y="5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2" y="4"/>
                    <a:pt x="11" y="4"/>
                    <a:pt x="10" y="4"/>
                  </a:cubicBezTo>
                  <a:cubicBezTo>
                    <a:pt x="10" y="4"/>
                    <a:pt x="10" y="5"/>
                    <a:pt x="10" y="5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0" y="3"/>
                    <a:pt x="10" y="2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6" y="2"/>
                    <a:pt x="5" y="2"/>
                  </a:cubicBezTo>
                  <a:cubicBezTo>
                    <a:pt x="5" y="2"/>
                    <a:pt x="4" y="2"/>
                    <a:pt x="4" y="2"/>
                  </a:cubicBezTo>
                  <a:cubicBezTo>
                    <a:pt x="3" y="3"/>
                    <a:pt x="3" y="3"/>
                    <a:pt x="3" y="4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6"/>
                    <a:pt x="0" y="7"/>
                    <a:pt x="1" y="8"/>
                  </a:cubicBezTo>
                  <a:cubicBezTo>
                    <a:pt x="1" y="9"/>
                    <a:pt x="1" y="9"/>
                    <a:pt x="2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0"/>
                    <a:pt x="4" y="10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7" y="10"/>
                    <a:pt x="7" y="10"/>
                    <a:pt x="8" y="9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2"/>
                    <a:pt x="11" y="12"/>
                    <a:pt x="11" y="12"/>
                  </a:cubicBezTo>
                  <a:cubicBezTo>
                    <a:pt x="12" y="12"/>
                    <a:pt x="12" y="11"/>
                    <a:pt x="13" y="11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10"/>
                    <a:pt x="14" y="10"/>
                  </a:cubicBezTo>
                  <a:close/>
                  <a:moveTo>
                    <a:pt x="8" y="6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9" y="7"/>
                  </a:cubicBezTo>
                  <a:lnTo>
                    <a:pt x="8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5615" y="2754"/>
              <a:ext cx="43" cy="30"/>
            </a:xfrm>
            <a:custGeom>
              <a:avLst/>
              <a:gdLst>
                <a:gd name="T0" fmla="*/ 2 w 18"/>
                <a:gd name="T1" fmla="*/ 7 h 13"/>
                <a:gd name="T2" fmla="*/ 3 w 18"/>
                <a:gd name="T3" fmla="*/ 8 h 13"/>
                <a:gd name="T4" fmla="*/ 4 w 18"/>
                <a:gd name="T5" fmla="*/ 8 h 13"/>
                <a:gd name="T6" fmla="*/ 7 w 18"/>
                <a:gd name="T7" fmla="*/ 8 h 13"/>
                <a:gd name="T8" fmla="*/ 7 w 18"/>
                <a:gd name="T9" fmla="*/ 9 h 13"/>
                <a:gd name="T10" fmla="*/ 9 w 18"/>
                <a:gd name="T11" fmla="*/ 10 h 13"/>
                <a:gd name="T12" fmla="*/ 9 w 18"/>
                <a:gd name="T13" fmla="*/ 10 h 13"/>
                <a:gd name="T14" fmla="*/ 10 w 18"/>
                <a:gd name="T15" fmla="*/ 11 h 13"/>
                <a:gd name="T16" fmla="*/ 11 w 18"/>
                <a:gd name="T17" fmla="*/ 12 h 13"/>
                <a:gd name="T18" fmla="*/ 11 w 18"/>
                <a:gd name="T19" fmla="*/ 12 h 13"/>
                <a:gd name="T20" fmla="*/ 13 w 18"/>
                <a:gd name="T21" fmla="*/ 13 h 13"/>
                <a:gd name="T22" fmla="*/ 17 w 18"/>
                <a:gd name="T23" fmla="*/ 11 h 13"/>
                <a:gd name="T24" fmla="*/ 17 w 18"/>
                <a:gd name="T25" fmla="*/ 8 h 13"/>
                <a:gd name="T26" fmla="*/ 16 w 18"/>
                <a:gd name="T27" fmla="*/ 6 h 13"/>
                <a:gd name="T28" fmla="*/ 16 w 18"/>
                <a:gd name="T29" fmla="*/ 6 h 13"/>
                <a:gd name="T30" fmla="*/ 15 w 18"/>
                <a:gd name="T31" fmla="*/ 5 h 13"/>
                <a:gd name="T32" fmla="*/ 12 w 18"/>
                <a:gd name="T33" fmla="*/ 3 h 13"/>
                <a:gd name="T34" fmla="*/ 12 w 18"/>
                <a:gd name="T35" fmla="*/ 5 h 13"/>
                <a:gd name="T36" fmla="*/ 12 w 18"/>
                <a:gd name="T37" fmla="*/ 3 h 13"/>
                <a:gd name="T38" fmla="*/ 12 w 18"/>
                <a:gd name="T39" fmla="*/ 3 h 13"/>
                <a:gd name="T40" fmla="*/ 12 w 18"/>
                <a:gd name="T41" fmla="*/ 3 h 13"/>
                <a:gd name="T42" fmla="*/ 10 w 18"/>
                <a:gd name="T43" fmla="*/ 1 h 13"/>
                <a:gd name="T44" fmla="*/ 8 w 18"/>
                <a:gd name="T45" fmla="*/ 1 h 13"/>
                <a:gd name="T46" fmla="*/ 7 w 18"/>
                <a:gd name="T47" fmla="*/ 1 h 13"/>
                <a:gd name="T48" fmla="*/ 7 w 18"/>
                <a:gd name="T49" fmla="*/ 1 h 13"/>
                <a:gd name="T50" fmla="*/ 5 w 18"/>
                <a:gd name="T51" fmla="*/ 1 h 13"/>
                <a:gd name="T52" fmla="*/ 3 w 18"/>
                <a:gd name="T53" fmla="*/ 2 h 13"/>
                <a:gd name="T54" fmla="*/ 2 w 18"/>
                <a:gd name="T55" fmla="*/ 3 h 13"/>
                <a:gd name="T56" fmla="*/ 1 w 18"/>
                <a:gd name="T57" fmla="*/ 3 h 13"/>
                <a:gd name="T58" fmla="*/ 0 w 18"/>
                <a:gd name="T59" fmla="*/ 5 h 13"/>
                <a:gd name="T60" fmla="*/ 1 w 18"/>
                <a:gd name="T61" fmla="*/ 7 h 13"/>
                <a:gd name="T62" fmla="*/ 2 w 18"/>
                <a:gd name="T63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" h="13">
                  <a:moveTo>
                    <a:pt x="2" y="7"/>
                  </a:moveTo>
                  <a:cubicBezTo>
                    <a:pt x="2" y="7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5" y="8"/>
                    <a:pt x="6" y="8"/>
                    <a:pt x="7" y="8"/>
                  </a:cubicBezTo>
                  <a:cubicBezTo>
                    <a:pt x="7" y="8"/>
                    <a:pt x="7" y="8"/>
                    <a:pt x="7" y="9"/>
                  </a:cubicBezTo>
                  <a:cubicBezTo>
                    <a:pt x="7" y="9"/>
                    <a:pt x="8" y="10"/>
                    <a:pt x="9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0" y="11"/>
                    <a:pt x="11" y="12"/>
                    <a:pt x="11" y="12"/>
                  </a:cubicBezTo>
                  <a:cubicBezTo>
                    <a:pt x="11" y="12"/>
                    <a:pt x="11" y="12"/>
                    <a:pt x="11" y="12"/>
                  </a:cubicBezTo>
                  <a:cubicBezTo>
                    <a:pt x="11" y="13"/>
                    <a:pt x="12" y="13"/>
                    <a:pt x="13" y="13"/>
                  </a:cubicBezTo>
                  <a:cubicBezTo>
                    <a:pt x="15" y="13"/>
                    <a:pt x="16" y="11"/>
                    <a:pt x="17" y="11"/>
                  </a:cubicBezTo>
                  <a:cubicBezTo>
                    <a:pt x="17" y="10"/>
                    <a:pt x="18" y="9"/>
                    <a:pt x="17" y="8"/>
                  </a:cubicBezTo>
                  <a:cubicBezTo>
                    <a:pt x="17" y="7"/>
                    <a:pt x="17" y="7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5"/>
                    <a:pt x="15" y="5"/>
                  </a:cubicBezTo>
                  <a:cubicBezTo>
                    <a:pt x="15" y="4"/>
                    <a:pt x="13" y="4"/>
                    <a:pt x="12" y="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ubicBezTo>
                    <a:pt x="12" y="2"/>
                    <a:pt x="11" y="1"/>
                    <a:pt x="10" y="1"/>
                  </a:cubicBezTo>
                  <a:cubicBezTo>
                    <a:pt x="10" y="0"/>
                    <a:pt x="9" y="1"/>
                    <a:pt x="8" y="1"/>
                  </a:cubicBezTo>
                  <a:cubicBezTo>
                    <a:pt x="8" y="1"/>
                    <a:pt x="7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4" y="1"/>
                    <a:pt x="4" y="2"/>
                    <a:pt x="3" y="2"/>
                  </a:cubicBezTo>
                  <a:cubicBezTo>
                    <a:pt x="3" y="2"/>
                    <a:pt x="3" y="3"/>
                    <a:pt x="2" y="3"/>
                  </a:cubicBezTo>
                  <a:cubicBezTo>
                    <a:pt x="2" y="3"/>
                    <a:pt x="1" y="3"/>
                    <a:pt x="1" y="3"/>
                  </a:cubicBezTo>
                  <a:cubicBezTo>
                    <a:pt x="1" y="3"/>
                    <a:pt x="0" y="4"/>
                    <a:pt x="0" y="5"/>
                  </a:cubicBezTo>
                  <a:cubicBezTo>
                    <a:pt x="0" y="5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5705" y="2732"/>
              <a:ext cx="78" cy="52"/>
            </a:xfrm>
            <a:custGeom>
              <a:avLst/>
              <a:gdLst>
                <a:gd name="T0" fmla="*/ 28 w 33"/>
                <a:gd name="T1" fmla="*/ 7 h 22"/>
                <a:gd name="T2" fmla="*/ 29 w 33"/>
                <a:gd name="T3" fmla="*/ 6 h 22"/>
                <a:gd name="T4" fmla="*/ 31 w 33"/>
                <a:gd name="T5" fmla="*/ 5 h 22"/>
                <a:gd name="T6" fmla="*/ 31 w 33"/>
                <a:gd name="T7" fmla="*/ 1 h 22"/>
                <a:gd name="T8" fmla="*/ 29 w 33"/>
                <a:gd name="T9" fmla="*/ 0 h 22"/>
                <a:gd name="T10" fmla="*/ 26 w 33"/>
                <a:gd name="T11" fmla="*/ 1 h 22"/>
                <a:gd name="T12" fmla="*/ 23 w 33"/>
                <a:gd name="T13" fmla="*/ 1 h 22"/>
                <a:gd name="T14" fmla="*/ 22 w 33"/>
                <a:gd name="T15" fmla="*/ 1 h 22"/>
                <a:gd name="T16" fmla="*/ 16 w 33"/>
                <a:gd name="T17" fmla="*/ 2 h 22"/>
                <a:gd name="T18" fmla="*/ 15 w 33"/>
                <a:gd name="T19" fmla="*/ 3 h 22"/>
                <a:gd name="T20" fmla="*/ 13 w 33"/>
                <a:gd name="T21" fmla="*/ 5 h 22"/>
                <a:gd name="T22" fmla="*/ 11 w 33"/>
                <a:gd name="T23" fmla="*/ 6 h 22"/>
                <a:gd name="T24" fmla="*/ 10 w 33"/>
                <a:gd name="T25" fmla="*/ 7 h 22"/>
                <a:gd name="T26" fmla="*/ 9 w 33"/>
                <a:gd name="T27" fmla="*/ 7 h 22"/>
                <a:gd name="T28" fmla="*/ 8 w 33"/>
                <a:gd name="T29" fmla="*/ 8 h 22"/>
                <a:gd name="T30" fmla="*/ 7 w 33"/>
                <a:gd name="T31" fmla="*/ 8 h 22"/>
                <a:gd name="T32" fmla="*/ 7 w 33"/>
                <a:gd name="T33" fmla="*/ 8 h 22"/>
                <a:gd name="T34" fmla="*/ 4 w 33"/>
                <a:gd name="T35" fmla="*/ 11 h 22"/>
                <a:gd name="T36" fmla="*/ 4 w 33"/>
                <a:gd name="T37" fmla="*/ 12 h 22"/>
                <a:gd name="T38" fmla="*/ 2 w 33"/>
                <a:gd name="T39" fmla="*/ 13 h 22"/>
                <a:gd name="T40" fmla="*/ 1 w 33"/>
                <a:gd name="T41" fmla="*/ 14 h 22"/>
                <a:gd name="T42" fmla="*/ 1 w 33"/>
                <a:gd name="T43" fmla="*/ 19 h 22"/>
                <a:gd name="T44" fmla="*/ 2 w 33"/>
                <a:gd name="T45" fmla="*/ 20 h 22"/>
                <a:gd name="T46" fmla="*/ 3 w 33"/>
                <a:gd name="T47" fmla="*/ 20 h 22"/>
                <a:gd name="T48" fmla="*/ 6 w 33"/>
                <a:gd name="T49" fmla="*/ 22 h 22"/>
                <a:gd name="T50" fmla="*/ 9 w 33"/>
                <a:gd name="T51" fmla="*/ 20 h 22"/>
                <a:gd name="T52" fmla="*/ 11 w 33"/>
                <a:gd name="T53" fmla="*/ 18 h 22"/>
                <a:gd name="T54" fmla="*/ 14 w 33"/>
                <a:gd name="T55" fmla="*/ 15 h 22"/>
                <a:gd name="T56" fmla="*/ 17 w 33"/>
                <a:gd name="T57" fmla="*/ 13 h 22"/>
                <a:gd name="T58" fmla="*/ 19 w 33"/>
                <a:gd name="T59" fmla="*/ 12 h 22"/>
                <a:gd name="T60" fmla="*/ 21 w 33"/>
                <a:gd name="T61" fmla="*/ 11 h 22"/>
                <a:gd name="T62" fmla="*/ 24 w 33"/>
                <a:gd name="T63" fmla="*/ 10 h 22"/>
                <a:gd name="T64" fmla="*/ 24 w 33"/>
                <a:gd name="T65" fmla="*/ 8 h 22"/>
                <a:gd name="T66" fmla="*/ 28 w 33"/>
                <a:gd name="T67" fmla="*/ 8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3" h="22">
                  <a:moveTo>
                    <a:pt x="28" y="8"/>
                  </a:moveTo>
                  <a:cubicBezTo>
                    <a:pt x="28" y="8"/>
                    <a:pt x="28" y="7"/>
                    <a:pt x="28" y="7"/>
                  </a:cubicBezTo>
                  <a:cubicBezTo>
                    <a:pt x="29" y="7"/>
                    <a:pt x="29" y="6"/>
                    <a:pt x="29" y="6"/>
                  </a:cubicBezTo>
                  <a:cubicBezTo>
                    <a:pt x="29" y="6"/>
                    <a:pt x="29" y="6"/>
                    <a:pt x="29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2" y="4"/>
                    <a:pt x="33" y="3"/>
                    <a:pt x="32" y="2"/>
                  </a:cubicBezTo>
                  <a:cubicBezTo>
                    <a:pt x="32" y="2"/>
                    <a:pt x="32" y="1"/>
                    <a:pt x="31" y="1"/>
                  </a:cubicBezTo>
                  <a:cubicBezTo>
                    <a:pt x="31" y="0"/>
                    <a:pt x="30" y="0"/>
                    <a:pt x="29" y="1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28" y="0"/>
                    <a:pt x="27" y="0"/>
                    <a:pt x="26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4" y="1"/>
                    <a:pt x="23" y="1"/>
                  </a:cubicBezTo>
                  <a:cubicBezTo>
                    <a:pt x="23" y="1"/>
                    <a:pt x="23" y="1"/>
                    <a:pt x="2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1" y="0"/>
                    <a:pt x="20" y="0"/>
                    <a:pt x="19" y="1"/>
                  </a:cubicBezTo>
                  <a:cubicBezTo>
                    <a:pt x="18" y="1"/>
                    <a:pt x="17" y="2"/>
                    <a:pt x="16" y="2"/>
                  </a:cubicBezTo>
                  <a:cubicBezTo>
                    <a:pt x="16" y="2"/>
                    <a:pt x="16" y="3"/>
                    <a:pt x="16" y="3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4" y="4"/>
                    <a:pt x="14" y="4"/>
                    <a:pt x="13" y="5"/>
                  </a:cubicBezTo>
                  <a:cubicBezTo>
                    <a:pt x="12" y="5"/>
                    <a:pt x="12" y="5"/>
                    <a:pt x="12" y="6"/>
                  </a:cubicBezTo>
                  <a:cubicBezTo>
                    <a:pt x="12" y="6"/>
                    <a:pt x="12" y="6"/>
                    <a:pt x="11" y="6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1" y="7"/>
                    <a:pt x="11" y="7"/>
                    <a:pt x="10" y="7"/>
                  </a:cubicBezTo>
                  <a:cubicBezTo>
                    <a:pt x="10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6" y="9"/>
                    <a:pt x="5" y="10"/>
                    <a:pt x="4" y="11"/>
                  </a:cubicBezTo>
                  <a:cubicBezTo>
                    <a:pt x="4" y="11"/>
                    <a:pt x="4" y="11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3"/>
                    <a:pt x="2" y="13"/>
                  </a:cubicBezTo>
                  <a:cubicBezTo>
                    <a:pt x="2" y="13"/>
                    <a:pt x="2" y="14"/>
                    <a:pt x="2" y="14"/>
                  </a:cubicBezTo>
                  <a:cubicBezTo>
                    <a:pt x="2" y="14"/>
                    <a:pt x="1" y="14"/>
                    <a:pt x="1" y="14"/>
                  </a:cubicBezTo>
                  <a:cubicBezTo>
                    <a:pt x="1" y="15"/>
                    <a:pt x="0" y="15"/>
                    <a:pt x="0" y="16"/>
                  </a:cubicBezTo>
                  <a:cubicBezTo>
                    <a:pt x="0" y="18"/>
                    <a:pt x="1" y="19"/>
                    <a:pt x="1" y="19"/>
                  </a:cubicBezTo>
                  <a:cubicBezTo>
                    <a:pt x="2" y="19"/>
                    <a:pt x="2" y="19"/>
                    <a:pt x="2" y="19"/>
                  </a:cubicBezTo>
                  <a:cubicBezTo>
                    <a:pt x="2" y="19"/>
                    <a:pt x="2" y="20"/>
                    <a:pt x="2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0"/>
                    <a:pt x="4" y="21"/>
                    <a:pt x="4" y="21"/>
                  </a:cubicBezTo>
                  <a:cubicBezTo>
                    <a:pt x="4" y="21"/>
                    <a:pt x="5" y="22"/>
                    <a:pt x="6" y="22"/>
                  </a:cubicBezTo>
                  <a:cubicBezTo>
                    <a:pt x="6" y="22"/>
                    <a:pt x="6" y="22"/>
                    <a:pt x="7" y="21"/>
                  </a:cubicBezTo>
                  <a:cubicBezTo>
                    <a:pt x="7" y="21"/>
                    <a:pt x="8" y="21"/>
                    <a:pt x="9" y="20"/>
                  </a:cubicBezTo>
                  <a:cubicBezTo>
                    <a:pt x="9" y="20"/>
                    <a:pt x="9" y="19"/>
                    <a:pt x="10" y="19"/>
                  </a:cubicBezTo>
                  <a:cubicBezTo>
                    <a:pt x="10" y="18"/>
                    <a:pt x="11" y="18"/>
                    <a:pt x="11" y="18"/>
                  </a:cubicBezTo>
                  <a:cubicBezTo>
                    <a:pt x="12" y="17"/>
                    <a:pt x="13" y="16"/>
                    <a:pt x="14" y="16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5" y="14"/>
                    <a:pt x="16" y="14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9" y="13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20" y="12"/>
                    <a:pt x="20" y="11"/>
                    <a:pt x="21" y="11"/>
                  </a:cubicBezTo>
                  <a:cubicBezTo>
                    <a:pt x="21" y="11"/>
                    <a:pt x="22" y="11"/>
                    <a:pt x="23" y="10"/>
                  </a:cubicBezTo>
                  <a:cubicBezTo>
                    <a:pt x="23" y="10"/>
                    <a:pt x="23" y="10"/>
                    <a:pt x="24" y="10"/>
                  </a:cubicBezTo>
                  <a:cubicBezTo>
                    <a:pt x="24" y="9"/>
                    <a:pt x="24" y="9"/>
                    <a:pt x="24" y="9"/>
                  </a:cubicBezTo>
                  <a:cubicBezTo>
                    <a:pt x="24" y="8"/>
                    <a:pt x="24" y="8"/>
                    <a:pt x="24" y="8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6" y="9"/>
                    <a:pt x="27" y="9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4" name="Freeform 43"/>
            <p:cNvSpPr>
              <a:spLocks noEditPoints="1"/>
            </p:cNvSpPr>
            <p:nvPr/>
          </p:nvSpPr>
          <p:spPr bwMode="auto">
            <a:xfrm>
              <a:off x="5608" y="2065"/>
              <a:ext cx="140" cy="241"/>
            </a:xfrm>
            <a:custGeom>
              <a:avLst/>
              <a:gdLst>
                <a:gd name="T0" fmla="*/ 9 w 59"/>
                <a:gd name="T1" fmla="*/ 0 h 102"/>
                <a:gd name="T2" fmla="*/ 3 w 59"/>
                <a:gd name="T3" fmla="*/ 7 h 102"/>
                <a:gd name="T4" fmla="*/ 4 w 59"/>
                <a:gd name="T5" fmla="*/ 15 h 102"/>
                <a:gd name="T6" fmla="*/ 5 w 59"/>
                <a:gd name="T7" fmla="*/ 26 h 102"/>
                <a:gd name="T8" fmla="*/ 0 w 59"/>
                <a:gd name="T9" fmla="*/ 28 h 102"/>
                <a:gd name="T10" fmla="*/ 3 w 59"/>
                <a:gd name="T11" fmla="*/ 35 h 102"/>
                <a:gd name="T12" fmla="*/ 5 w 59"/>
                <a:gd name="T13" fmla="*/ 41 h 102"/>
                <a:gd name="T14" fmla="*/ 10 w 59"/>
                <a:gd name="T15" fmla="*/ 46 h 102"/>
                <a:gd name="T16" fmla="*/ 13 w 59"/>
                <a:gd name="T17" fmla="*/ 53 h 102"/>
                <a:gd name="T18" fmla="*/ 10 w 59"/>
                <a:gd name="T19" fmla="*/ 58 h 102"/>
                <a:gd name="T20" fmla="*/ 17 w 59"/>
                <a:gd name="T21" fmla="*/ 67 h 102"/>
                <a:gd name="T22" fmla="*/ 21 w 59"/>
                <a:gd name="T23" fmla="*/ 68 h 102"/>
                <a:gd name="T24" fmla="*/ 22 w 59"/>
                <a:gd name="T25" fmla="*/ 61 h 102"/>
                <a:gd name="T26" fmla="*/ 21 w 59"/>
                <a:gd name="T27" fmla="*/ 53 h 102"/>
                <a:gd name="T28" fmla="*/ 26 w 59"/>
                <a:gd name="T29" fmla="*/ 55 h 102"/>
                <a:gd name="T30" fmla="*/ 31 w 59"/>
                <a:gd name="T31" fmla="*/ 58 h 102"/>
                <a:gd name="T32" fmla="*/ 34 w 59"/>
                <a:gd name="T33" fmla="*/ 58 h 102"/>
                <a:gd name="T34" fmla="*/ 42 w 59"/>
                <a:gd name="T35" fmla="*/ 65 h 102"/>
                <a:gd name="T36" fmla="*/ 44 w 59"/>
                <a:gd name="T37" fmla="*/ 70 h 102"/>
                <a:gd name="T38" fmla="*/ 35 w 59"/>
                <a:gd name="T39" fmla="*/ 63 h 102"/>
                <a:gd name="T40" fmla="*/ 38 w 59"/>
                <a:gd name="T41" fmla="*/ 70 h 102"/>
                <a:gd name="T42" fmla="*/ 43 w 59"/>
                <a:gd name="T43" fmla="*/ 73 h 102"/>
                <a:gd name="T44" fmla="*/ 38 w 59"/>
                <a:gd name="T45" fmla="*/ 80 h 102"/>
                <a:gd name="T46" fmla="*/ 32 w 59"/>
                <a:gd name="T47" fmla="*/ 73 h 102"/>
                <a:gd name="T48" fmla="*/ 26 w 59"/>
                <a:gd name="T49" fmla="*/ 71 h 102"/>
                <a:gd name="T50" fmla="*/ 26 w 59"/>
                <a:gd name="T51" fmla="*/ 81 h 102"/>
                <a:gd name="T52" fmla="*/ 29 w 59"/>
                <a:gd name="T53" fmla="*/ 86 h 102"/>
                <a:gd name="T54" fmla="*/ 32 w 59"/>
                <a:gd name="T55" fmla="*/ 90 h 102"/>
                <a:gd name="T56" fmla="*/ 37 w 59"/>
                <a:gd name="T57" fmla="*/ 102 h 102"/>
                <a:gd name="T58" fmla="*/ 42 w 59"/>
                <a:gd name="T59" fmla="*/ 94 h 102"/>
                <a:gd name="T60" fmla="*/ 50 w 59"/>
                <a:gd name="T61" fmla="*/ 91 h 102"/>
                <a:gd name="T62" fmla="*/ 44 w 59"/>
                <a:gd name="T63" fmla="*/ 89 h 102"/>
                <a:gd name="T64" fmla="*/ 43 w 59"/>
                <a:gd name="T65" fmla="*/ 79 h 102"/>
                <a:gd name="T66" fmla="*/ 46 w 59"/>
                <a:gd name="T67" fmla="*/ 70 h 102"/>
                <a:gd name="T68" fmla="*/ 46 w 59"/>
                <a:gd name="T69" fmla="*/ 75 h 102"/>
                <a:gd name="T70" fmla="*/ 45 w 59"/>
                <a:gd name="T71" fmla="*/ 79 h 102"/>
                <a:gd name="T72" fmla="*/ 49 w 59"/>
                <a:gd name="T73" fmla="*/ 85 h 102"/>
                <a:gd name="T74" fmla="*/ 52 w 59"/>
                <a:gd name="T75" fmla="*/ 91 h 102"/>
                <a:gd name="T76" fmla="*/ 52 w 59"/>
                <a:gd name="T77" fmla="*/ 81 h 102"/>
                <a:gd name="T78" fmla="*/ 58 w 59"/>
                <a:gd name="T79" fmla="*/ 77 h 102"/>
                <a:gd name="T80" fmla="*/ 55 w 59"/>
                <a:gd name="T81" fmla="*/ 71 h 102"/>
                <a:gd name="T82" fmla="*/ 49 w 59"/>
                <a:gd name="T83" fmla="*/ 62 h 102"/>
                <a:gd name="T84" fmla="*/ 44 w 59"/>
                <a:gd name="T85" fmla="*/ 61 h 102"/>
                <a:gd name="T86" fmla="*/ 39 w 59"/>
                <a:gd name="T87" fmla="*/ 55 h 102"/>
                <a:gd name="T88" fmla="*/ 41 w 59"/>
                <a:gd name="T89" fmla="*/ 46 h 102"/>
                <a:gd name="T90" fmla="*/ 31 w 59"/>
                <a:gd name="T91" fmla="*/ 46 h 102"/>
                <a:gd name="T92" fmla="*/ 24 w 59"/>
                <a:gd name="T93" fmla="*/ 47 h 102"/>
                <a:gd name="T94" fmla="*/ 20 w 59"/>
                <a:gd name="T95" fmla="*/ 41 h 102"/>
                <a:gd name="T96" fmla="*/ 18 w 59"/>
                <a:gd name="T97" fmla="*/ 33 h 102"/>
                <a:gd name="T98" fmla="*/ 20 w 59"/>
                <a:gd name="T99" fmla="*/ 28 h 102"/>
                <a:gd name="T100" fmla="*/ 23 w 59"/>
                <a:gd name="T101" fmla="*/ 23 h 102"/>
                <a:gd name="T102" fmla="*/ 22 w 59"/>
                <a:gd name="T103" fmla="*/ 13 h 102"/>
                <a:gd name="T104" fmla="*/ 21 w 59"/>
                <a:gd name="T105" fmla="*/ 6 h 102"/>
                <a:gd name="T106" fmla="*/ 41 w 59"/>
                <a:gd name="T107" fmla="*/ 84 h 102"/>
                <a:gd name="T108" fmla="*/ 40 w 59"/>
                <a:gd name="T109" fmla="*/ 88 h 102"/>
                <a:gd name="T110" fmla="*/ 33 w 59"/>
                <a:gd name="T111" fmla="*/ 82 h 102"/>
                <a:gd name="T112" fmla="*/ 16 w 59"/>
                <a:gd name="T113" fmla="*/ 54 h 102"/>
                <a:gd name="T114" fmla="*/ 12 w 59"/>
                <a:gd name="T115" fmla="*/ 56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9" h="102">
                  <a:moveTo>
                    <a:pt x="18" y="2"/>
                  </a:moveTo>
                  <a:cubicBezTo>
                    <a:pt x="18" y="2"/>
                    <a:pt x="17" y="2"/>
                    <a:pt x="17" y="2"/>
                  </a:cubicBezTo>
                  <a:cubicBezTo>
                    <a:pt x="16" y="3"/>
                    <a:pt x="16" y="3"/>
                    <a:pt x="15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3"/>
                    <a:pt x="13" y="1"/>
                    <a:pt x="11" y="1"/>
                  </a:cubicBezTo>
                  <a:cubicBezTo>
                    <a:pt x="10" y="1"/>
                    <a:pt x="10" y="1"/>
                    <a:pt x="9" y="1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5" y="0"/>
                    <a:pt x="4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3" y="8"/>
                    <a:pt x="4" y="8"/>
                    <a:pt x="4" y="8"/>
                  </a:cubicBezTo>
                  <a:cubicBezTo>
                    <a:pt x="3" y="9"/>
                    <a:pt x="3" y="10"/>
                    <a:pt x="3" y="11"/>
                  </a:cubicBezTo>
                  <a:cubicBezTo>
                    <a:pt x="3" y="11"/>
                    <a:pt x="3" y="12"/>
                    <a:pt x="3" y="13"/>
                  </a:cubicBezTo>
                  <a:cubicBezTo>
                    <a:pt x="3" y="13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5"/>
                    <a:pt x="4" y="15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4" y="18"/>
                    <a:pt x="4" y="18"/>
                    <a:pt x="4" y="19"/>
                  </a:cubicBezTo>
                  <a:cubicBezTo>
                    <a:pt x="4" y="19"/>
                    <a:pt x="3" y="20"/>
                    <a:pt x="3" y="21"/>
                  </a:cubicBezTo>
                  <a:cubicBezTo>
                    <a:pt x="4" y="22"/>
                    <a:pt x="4" y="22"/>
                    <a:pt x="4" y="22"/>
                  </a:cubicBezTo>
                  <a:cubicBezTo>
                    <a:pt x="4" y="22"/>
                    <a:pt x="4" y="23"/>
                    <a:pt x="4" y="23"/>
                  </a:cubicBezTo>
                  <a:cubicBezTo>
                    <a:pt x="4" y="23"/>
                    <a:pt x="4" y="23"/>
                    <a:pt x="4" y="24"/>
                  </a:cubicBezTo>
                  <a:cubicBezTo>
                    <a:pt x="4" y="25"/>
                    <a:pt x="4" y="25"/>
                    <a:pt x="5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4"/>
                    <a:pt x="2" y="24"/>
                    <a:pt x="2" y="24"/>
                  </a:cubicBezTo>
                  <a:cubicBezTo>
                    <a:pt x="1" y="24"/>
                    <a:pt x="0" y="25"/>
                    <a:pt x="0" y="26"/>
                  </a:cubicBezTo>
                  <a:cubicBezTo>
                    <a:pt x="0" y="26"/>
                    <a:pt x="0" y="26"/>
                    <a:pt x="0" y="27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29"/>
                    <a:pt x="0" y="30"/>
                    <a:pt x="1" y="31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2" y="31"/>
                    <a:pt x="2" y="31"/>
                    <a:pt x="2" y="31"/>
                  </a:cubicBezTo>
                  <a:cubicBezTo>
                    <a:pt x="2" y="31"/>
                    <a:pt x="3" y="31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2"/>
                    <a:pt x="3" y="32"/>
                    <a:pt x="3" y="32"/>
                  </a:cubicBezTo>
                  <a:cubicBezTo>
                    <a:pt x="3" y="33"/>
                    <a:pt x="2" y="34"/>
                    <a:pt x="3" y="35"/>
                  </a:cubicBezTo>
                  <a:cubicBezTo>
                    <a:pt x="3" y="35"/>
                    <a:pt x="3" y="36"/>
                    <a:pt x="3" y="36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8"/>
                    <a:pt x="4" y="38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5" y="39"/>
                    <a:pt x="5" y="39"/>
                    <a:pt x="5" y="39"/>
                  </a:cubicBezTo>
                  <a:cubicBezTo>
                    <a:pt x="5" y="39"/>
                    <a:pt x="5" y="40"/>
                    <a:pt x="5" y="40"/>
                  </a:cubicBezTo>
                  <a:cubicBezTo>
                    <a:pt x="5" y="40"/>
                    <a:pt x="5" y="40"/>
                    <a:pt x="5" y="41"/>
                  </a:cubicBezTo>
                  <a:cubicBezTo>
                    <a:pt x="5" y="42"/>
                    <a:pt x="6" y="43"/>
                    <a:pt x="7" y="43"/>
                  </a:cubicBezTo>
                  <a:cubicBezTo>
                    <a:pt x="7" y="43"/>
                    <a:pt x="7" y="43"/>
                    <a:pt x="7" y="43"/>
                  </a:cubicBezTo>
                  <a:cubicBezTo>
                    <a:pt x="7" y="43"/>
                    <a:pt x="8" y="43"/>
                    <a:pt x="8" y="43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9" y="46"/>
                    <a:pt x="9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6"/>
                  </a:cubicBezTo>
                  <a:cubicBezTo>
                    <a:pt x="9" y="47"/>
                    <a:pt x="10" y="48"/>
                    <a:pt x="10" y="49"/>
                  </a:cubicBezTo>
                  <a:cubicBezTo>
                    <a:pt x="10" y="49"/>
                    <a:pt x="10" y="49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1" y="52"/>
                    <a:pt x="12" y="53"/>
                    <a:pt x="13" y="53"/>
                  </a:cubicBezTo>
                  <a:cubicBezTo>
                    <a:pt x="13" y="53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2" y="55"/>
                    <a:pt x="12" y="55"/>
                  </a:cubicBezTo>
                  <a:cubicBezTo>
                    <a:pt x="12" y="54"/>
                    <a:pt x="11" y="54"/>
                    <a:pt x="10" y="55"/>
                  </a:cubicBezTo>
                  <a:cubicBezTo>
                    <a:pt x="10" y="55"/>
                    <a:pt x="9" y="56"/>
                    <a:pt x="10" y="58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1" y="59"/>
                    <a:pt x="11" y="60"/>
                    <a:pt x="12" y="60"/>
                  </a:cubicBezTo>
                  <a:cubicBezTo>
                    <a:pt x="12" y="60"/>
                    <a:pt x="12" y="60"/>
                    <a:pt x="13" y="60"/>
                  </a:cubicBezTo>
                  <a:cubicBezTo>
                    <a:pt x="13" y="61"/>
                    <a:pt x="13" y="62"/>
                    <a:pt x="14" y="63"/>
                  </a:cubicBezTo>
                  <a:cubicBezTo>
                    <a:pt x="14" y="63"/>
                    <a:pt x="15" y="64"/>
                    <a:pt x="15" y="64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6" y="67"/>
                    <a:pt x="16" y="67"/>
                    <a:pt x="17" y="67"/>
                  </a:cubicBezTo>
                  <a:cubicBezTo>
                    <a:pt x="17" y="68"/>
                    <a:pt x="17" y="68"/>
                    <a:pt x="17" y="68"/>
                  </a:cubicBezTo>
                  <a:cubicBezTo>
                    <a:pt x="17" y="69"/>
                    <a:pt x="18" y="70"/>
                    <a:pt x="19" y="70"/>
                  </a:cubicBezTo>
                  <a:cubicBezTo>
                    <a:pt x="19" y="70"/>
                    <a:pt x="19" y="70"/>
                    <a:pt x="20" y="70"/>
                  </a:cubicBezTo>
                  <a:cubicBezTo>
                    <a:pt x="21" y="70"/>
                    <a:pt x="21" y="70"/>
                    <a:pt x="21" y="7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1" y="68"/>
                    <a:pt x="21" y="68"/>
                    <a:pt x="21" y="68"/>
                  </a:cubicBezTo>
                  <a:cubicBezTo>
                    <a:pt x="23" y="67"/>
                    <a:pt x="22" y="66"/>
                    <a:pt x="22" y="65"/>
                  </a:cubicBezTo>
                  <a:cubicBezTo>
                    <a:pt x="22" y="65"/>
                    <a:pt x="22" y="65"/>
                    <a:pt x="22" y="65"/>
                  </a:cubicBezTo>
                  <a:cubicBezTo>
                    <a:pt x="22" y="65"/>
                    <a:pt x="22" y="64"/>
                    <a:pt x="22" y="64"/>
                  </a:cubicBezTo>
                  <a:cubicBezTo>
                    <a:pt x="22" y="64"/>
                    <a:pt x="22" y="63"/>
                    <a:pt x="22" y="62"/>
                  </a:cubicBezTo>
                  <a:cubicBezTo>
                    <a:pt x="22" y="62"/>
                    <a:pt x="22" y="62"/>
                    <a:pt x="21" y="62"/>
                  </a:cubicBezTo>
                  <a:cubicBezTo>
                    <a:pt x="21" y="62"/>
                    <a:pt x="21" y="62"/>
                    <a:pt x="21" y="62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2" y="61"/>
                    <a:pt x="22" y="59"/>
                    <a:pt x="21" y="58"/>
                  </a:cubicBezTo>
                  <a:cubicBezTo>
                    <a:pt x="21" y="57"/>
                    <a:pt x="20" y="57"/>
                    <a:pt x="20" y="56"/>
                  </a:cubicBezTo>
                  <a:cubicBezTo>
                    <a:pt x="19" y="56"/>
                    <a:pt x="19" y="56"/>
                    <a:pt x="19" y="56"/>
                  </a:cubicBezTo>
                  <a:cubicBezTo>
                    <a:pt x="19" y="56"/>
                    <a:pt x="19" y="55"/>
                    <a:pt x="18" y="55"/>
                  </a:cubicBezTo>
                  <a:cubicBezTo>
                    <a:pt x="18" y="55"/>
                    <a:pt x="18" y="55"/>
                    <a:pt x="18" y="55"/>
                  </a:cubicBezTo>
                  <a:cubicBezTo>
                    <a:pt x="19" y="55"/>
                    <a:pt x="19" y="54"/>
                    <a:pt x="19" y="54"/>
                  </a:cubicBezTo>
                  <a:cubicBezTo>
                    <a:pt x="20" y="54"/>
                    <a:pt x="21" y="54"/>
                    <a:pt x="21" y="53"/>
                  </a:cubicBezTo>
                  <a:cubicBezTo>
                    <a:pt x="21" y="53"/>
                    <a:pt x="21" y="53"/>
                    <a:pt x="21" y="53"/>
                  </a:cubicBezTo>
                  <a:cubicBezTo>
                    <a:pt x="22" y="53"/>
                    <a:pt x="22" y="53"/>
                    <a:pt x="23" y="53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3" y="53"/>
                    <a:pt x="24" y="53"/>
                    <a:pt x="24" y="54"/>
                  </a:cubicBezTo>
                  <a:cubicBezTo>
                    <a:pt x="24" y="54"/>
                    <a:pt x="24" y="54"/>
                    <a:pt x="24" y="54"/>
                  </a:cubicBezTo>
                  <a:cubicBezTo>
                    <a:pt x="24" y="54"/>
                    <a:pt x="25" y="54"/>
                    <a:pt x="25" y="55"/>
                  </a:cubicBezTo>
                  <a:cubicBezTo>
                    <a:pt x="25" y="55"/>
                    <a:pt x="26" y="55"/>
                    <a:pt x="26" y="55"/>
                  </a:cubicBezTo>
                  <a:cubicBezTo>
                    <a:pt x="27" y="56"/>
                    <a:pt x="27" y="56"/>
                    <a:pt x="27" y="57"/>
                  </a:cubicBezTo>
                  <a:cubicBezTo>
                    <a:pt x="27" y="57"/>
                    <a:pt x="28" y="57"/>
                    <a:pt x="28" y="58"/>
                  </a:cubicBezTo>
                  <a:cubicBezTo>
                    <a:pt x="28" y="58"/>
                    <a:pt x="29" y="58"/>
                    <a:pt x="29" y="5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1" y="59"/>
                    <a:pt x="31" y="59"/>
                    <a:pt x="31" y="58"/>
                  </a:cubicBezTo>
                  <a:cubicBezTo>
                    <a:pt x="32" y="58"/>
                    <a:pt x="32" y="57"/>
                    <a:pt x="31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7"/>
                    <a:pt x="33" y="57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9"/>
                    <a:pt x="34" y="59"/>
                    <a:pt x="34" y="60"/>
                  </a:cubicBezTo>
                  <a:cubicBezTo>
                    <a:pt x="35" y="60"/>
                    <a:pt x="35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8" y="62"/>
                  </a:cubicBezTo>
                  <a:cubicBezTo>
                    <a:pt x="38" y="62"/>
                    <a:pt x="38" y="63"/>
                    <a:pt x="39" y="63"/>
                  </a:cubicBezTo>
                  <a:cubicBezTo>
                    <a:pt x="39" y="64"/>
                    <a:pt x="40" y="65"/>
                    <a:pt x="42" y="65"/>
                  </a:cubicBez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5"/>
                    <a:pt x="43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5"/>
                    <a:pt x="43" y="65"/>
                    <a:pt x="43" y="66"/>
                  </a:cubicBezTo>
                  <a:cubicBezTo>
                    <a:pt x="43" y="66"/>
                    <a:pt x="43" y="66"/>
                    <a:pt x="43" y="67"/>
                  </a:cubicBezTo>
                  <a:cubicBezTo>
                    <a:pt x="43" y="68"/>
                    <a:pt x="44" y="69"/>
                    <a:pt x="44" y="69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69"/>
                    <a:pt x="43" y="69"/>
                    <a:pt x="43" y="68"/>
                  </a:cubicBezTo>
                  <a:cubicBezTo>
                    <a:pt x="42" y="67"/>
                    <a:pt x="42" y="66"/>
                    <a:pt x="41" y="66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4"/>
                    <a:pt x="38" y="64"/>
                  </a:cubicBezTo>
                  <a:cubicBezTo>
                    <a:pt x="38" y="63"/>
                    <a:pt x="37" y="62"/>
                    <a:pt x="35" y="62"/>
                  </a:cubicBezTo>
                  <a:cubicBezTo>
                    <a:pt x="35" y="62"/>
                    <a:pt x="35" y="62"/>
                    <a:pt x="35" y="63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6"/>
                  </a:cubicBezTo>
                  <a:cubicBezTo>
                    <a:pt x="34" y="66"/>
                    <a:pt x="34" y="67"/>
                    <a:pt x="35" y="67"/>
                  </a:cubicBezTo>
                  <a:cubicBezTo>
                    <a:pt x="33" y="69"/>
                    <a:pt x="34" y="70"/>
                    <a:pt x="34" y="71"/>
                  </a:cubicBezTo>
                  <a:cubicBezTo>
                    <a:pt x="35" y="71"/>
                    <a:pt x="35" y="72"/>
                    <a:pt x="36" y="72"/>
                  </a:cubicBezTo>
                  <a:cubicBezTo>
                    <a:pt x="37" y="72"/>
                    <a:pt x="38" y="71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ubicBezTo>
                    <a:pt x="38" y="70"/>
                    <a:pt x="39" y="71"/>
                    <a:pt x="39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2"/>
                    <a:pt x="41" y="72"/>
                  </a:cubicBezTo>
                  <a:cubicBezTo>
                    <a:pt x="41" y="72"/>
                    <a:pt x="42" y="73"/>
                    <a:pt x="42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0" y="79"/>
                    <a:pt x="40" y="79"/>
                  </a:cubicBezTo>
                  <a:cubicBezTo>
                    <a:pt x="40" y="80"/>
                    <a:pt x="40" y="81"/>
                    <a:pt x="40" y="82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0" y="81"/>
                    <a:pt x="39" y="81"/>
                    <a:pt x="39" y="81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7" y="80"/>
                    <a:pt x="36" y="79"/>
                    <a:pt x="35" y="80"/>
                  </a:cubicBezTo>
                  <a:cubicBezTo>
                    <a:pt x="36" y="78"/>
                    <a:pt x="36" y="77"/>
                    <a:pt x="36" y="75"/>
                  </a:cubicBezTo>
                  <a:cubicBezTo>
                    <a:pt x="36" y="74"/>
                    <a:pt x="36" y="72"/>
                    <a:pt x="35" y="72"/>
                  </a:cubicBezTo>
                  <a:cubicBezTo>
                    <a:pt x="34" y="72"/>
                    <a:pt x="34" y="72"/>
                    <a:pt x="34" y="72"/>
                  </a:cubicBezTo>
                  <a:cubicBezTo>
                    <a:pt x="33" y="72"/>
                    <a:pt x="32" y="73"/>
                    <a:pt x="32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1" y="73"/>
                    <a:pt x="31" y="72"/>
                  </a:cubicBezTo>
                  <a:cubicBezTo>
                    <a:pt x="31" y="72"/>
                    <a:pt x="31" y="72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29" y="71"/>
                    <a:pt x="28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4" y="70"/>
                    <a:pt x="23" y="71"/>
                  </a:cubicBezTo>
                  <a:cubicBezTo>
                    <a:pt x="23" y="72"/>
                    <a:pt x="23" y="72"/>
                    <a:pt x="23" y="73"/>
                  </a:cubicBezTo>
                  <a:cubicBezTo>
                    <a:pt x="23" y="74"/>
                    <a:pt x="24" y="74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6"/>
                    <a:pt x="25" y="76"/>
                  </a:cubicBezTo>
                  <a:cubicBezTo>
                    <a:pt x="25" y="77"/>
                    <a:pt x="25" y="79"/>
                    <a:pt x="26" y="80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2"/>
                  </a:cubicBezTo>
                  <a:cubicBezTo>
                    <a:pt x="25" y="82"/>
                    <a:pt x="25" y="83"/>
                    <a:pt x="25" y="83"/>
                  </a:cubicBezTo>
                  <a:cubicBezTo>
                    <a:pt x="25" y="84"/>
                    <a:pt x="25" y="85"/>
                    <a:pt x="25" y="86"/>
                  </a:cubicBezTo>
                  <a:cubicBezTo>
                    <a:pt x="25" y="88"/>
                    <a:pt x="26" y="88"/>
                    <a:pt x="27" y="88"/>
                  </a:cubicBezTo>
                  <a:cubicBezTo>
                    <a:pt x="27" y="88"/>
                    <a:pt x="27" y="88"/>
                    <a:pt x="27" y="88"/>
                  </a:cubicBezTo>
                  <a:cubicBezTo>
                    <a:pt x="28" y="88"/>
                    <a:pt x="29" y="88"/>
                    <a:pt x="29" y="86"/>
                  </a:cubicBezTo>
                  <a:cubicBezTo>
                    <a:pt x="29" y="86"/>
                    <a:pt x="29" y="86"/>
                    <a:pt x="29" y="86"/>
                  </a:cubicBezTo>
                  <a:cubicBezTo>
                    <a:pt x="29" y="86"/>
                    <a:pt x="29" y="86"/>
                    <a:pt x="29" y="87"/>
                  </a:cubicBezTo>
                  <a:cubicBezTo>
                    <a:pt x="29" y="88"/>
                    <a:pt x="30" y="88"/>
                    <a:pt x="31" y="88"/>
                  </a:cubicBezTo>
                  <a:cubicBezTo>
                    <a:pt x="32" y="88"/>
                    <a:pt x="32" y="88"/>
                    <a:pt x="32" y="88"/>
                  </a:cubicBezTo>
                  <a:cubicBezTo>
                    <a:pt x="33" y="88"/>
                    <a:pt x="33" y="87"/>
                    <a:pt x="34" y="86"/>
                  </a:cubicBezTo>
                  <a:cubicBezTo>
                    <a:pt x="34" y="87"/>
                    <a:pt x="34" y="87"/>
                    <a:pt x="34" y="87"/>
                  </a:cubicBezTo>
                  <a:cubicBezTo>
                    <a:pt x="34" y="87"/>
                    <a:pt x="34" y="87"/>
                    <a:pt x="34" y="88"/>
                  </a:cubicBezTo>
                  <a:cubicBezTo>
                    <a:pt x="34" y="89"/>
                    <a:pt x="33" y="89"/>
                    <a:pt x="32" y="90"/>
                  </a:cubicBezTo>
                  <a:cubicBezTo>
                    <a:pt x="31" y="91"/>
                    <a:pt x="31" y="91"/>
                    <a:pt x="31" y="91"/>
                  </a:cubicBezTo>
                  <a:cubicBezTo>
                    <a:pt x="31" y="91"/>
                    <a:pt x="30" y="92"/>
                    <a:pt x="29" y="94"/>
                  </a:cubicBezTo>
                  <a:cubicBezTo>
                    <a:pt x="29" y="95"/>
                    <a:pt x="29" y="96"/>
                    <a:pt x="30" y="97"/>
                  </a:cubicBezTo>
                  <a:cubicBezTo>
                    <a:pt x="31" y="98"/>
                    <a:pt x="32" y="98"/>
                    <a:pt x="33" y="98"/>
                  </a:cubicBezTo>
                  <a:cubicBezTo>
                    <a:pt x="34" y="99"/>
                    <a:pt x="34" y="99"/>
                    <a:pt x="34" y="99"/>
                  </a:cubicBezTo>
                  <a:cubicBezTo>
                    <a:pt x="34" y="100"/>
                    <a:pt x="35" y="102"/>
                    <a:pt x="36" y="102"/>
                  </a:cubicBezTo>
                  <a:cubicBezTo>
                    <a:pt x="37" y="102"/>
                    <a:pt x="37" y="102"/>
                    <a:pt x="37" y="102"/>
                  </a:cubicBezTo>
                  <a:cubicBezTo>
                    <a:pt x="38" y="102"/>
                    <a:pt x="39" y="101"/>
                    <a:pt x="40" y="100"/>
                  </a:cubicBezTo>
                  <a:cubicBezTo>
                    <a:pt x="40" y="99"/>
                    <a:pt x="40" y="98"/>
                    <a:pt x="40" y="98"/>
                  </a:cubicBezTo>
                  <a:cubicBezTo>
                    <a:pt x="41" y="98"/>
                    <a:pt x="41" y="98"/>
                    <a:pt x="41" y="98"/>
                  </a:cubicBezTo>
                  <a:cubicBezTo>
                    <a:pt x="41" y="97"/>
                    <a:pt x="41" y="97"/>
                    <a:pt x="41" y="97"/>
                  </a:cubicBezTo>
                  <a:cubicBezTo>
                    <a:pt x="42" y="97"/>
                    <a:pt x="42" y="96"/>
                    <a:pt x="42" y="95"/>
                  </a:cubicBezTo>
                  <a:cubicBezTo>
                    <a:pt x="42" y="95"/>
                    <a:pt x="42" y="95"/>
                    <a:pt x="42" y="95"/>
                  </a:cubicBezTo>
                  <a:cubicBezTo>
                    <a:pt x="42" y="94"/>
                    <a:pt x="42" y="94"/>
                    <a:pt x="42" y="94"/>
                  </a:cubicBezTo>
                  <a:cubicBezTo>
                    <a:pt x="42" y="94"/>
                    <a:pt x="42" y="94"/>
                    <a:pt x="42" y="94"/>
                  </a:cubicBezTo>
                  <a:cubicBezTo>
                    <a:pt x="42" y="95"/>
                    <a:pt x="43" y="95"/>
                    <a:pt x="43" y="96"/>
                  </a:cubicBezTo>
                  <a:cubicBezTo>
                    <a:pt x="44" y="96"/>
                    <a:pt x="44" y="96"/>
                    <a:pt x="45" y="96"/>
                  </a:cubicBezTo>
                  <a:cubicBezTo>
                    <a:pt x="46" y="96"/>
                    <a:pt x="47" y="96"/>
                    <a:pt x="48" y="95"/>
                  </a:cubicBezTo>
                  <a:cubicBezTo>
                    <a:pt x="49" y="95"/>
                    <a:pt x="49" y="95"/>
                    <a:pt x="49" y="94"/>
                  </a:cubicBezTo>
                  <a:cubicBezTo>
                    <a:pt x="50" y="94"/>
                    <a:pt x="51" y="94"/>
                    <a:pt x="51" y="93"/>
                  </a:cubicBezTo>
                  <a:cubicBezTo>
                    <a:pt x="51" y="93"/>
                    <a:pt x="51" y="92"/>
                    <a:pt x="50" y="91"/>
                  </a:cubicBezTo>
                  <a:cubicBezTo>
                    <a:pt x="50" y="90"/>
                    <a:pt x="49" y="90"/>
                    <a:pt x="49" y="90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48" y="89"/>
                    <a:pt x="47" y="88"/>
                    <a:pt x="47" y="88"/>
                  </a:cubicBezTo>
                  <a:cubicBezTo>
                    <a:pt x="46" y="88"/>
                    <a:pt x="45" y="89"/>
                    <a:pt x="45" y="89"/>
                  </a:cubicBezTo>
                  <a:cubicBezTo>
                    <a:pt x="45" y="89"/>
                    <a:pt x="45" y="89"/>
                    <a:pt x="45" y="89"/>
                  </a:cubicBezTo>
                  <a:cubicBezTo>
                    <a:pt x="45" y="89"/>
                    <a:pt x="44" y="90"/>
                    <a:pt x="44" y="90"/>
                  </a:cubicBezTo>
                  <a:cubicBezTo>
                    <a:pt x="44" y="90"/>
                    <a:pt x="44" y="90"/>
                    <a:pt x="44" y="89"/>
                  </a:cubicBezTo>
                  <a:cubicBezTo>
                    <a:pt x="45" y="88"/>
                    <a:pt x="45" y="87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4"/>
                    <a:pt x="45" y="83"/>
                    <a:pt x="44" y="83"/>
                  </a:cubicBezTo>
                  <a:cubicBezTo>
                    <a:pt x="44" y="82"/>
                    <a:pt x="44" y="82"/>
                    <a:pt x="44" y="81"/>
                  </a:cubicBezTo>
                  <a:cubicBezTo>
                    <a:pt x="44" y="80"/>
                    <a:pt x="44" y="80"/>
                    <a:pt x="44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4" y="73"/>
                    <a:pt x="44" y="73"/>
                    <a:pt x="44" y="73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5" y="72"/>
                    <a:pt x="45" y="71"/>
                    <a:pt x="44" y="70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70"/>
                    <a:pt x="46" y="71"/>
                    <a:pt x="47" y="71"/>
                  </a:cubicBezTo>
                  <a:cubicBezTo>
                    <a:pt x="47" y="71"/>
                    <a:pt x="48" y="71"/>
                    <a:pt x="48" y="72"/>
                  </a:cubicBezTo>
                  <a:cubicBezTo>
                    <a:pt x="48" y="72"/>
                    <a:pt x="48" y="72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4"/>
                    <a:pt x="47" y="74"/>
                  </a:cubicBezTo>
                  <a:cubicBezTo>
                    <a:pt x="47" y="74"/>
                    <a:pt x="47" y="74"/>
                    <a:pt x="46" y="74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4" y="74"/>
                    <a:pt x="44" y="74"/>
                    <a:pt x="44" y="75"/>
                  </a:cubicBezTo>
                  <a:cubicBezTo>
                    <a:pt x="44" y="76"/>
                    <a:pt x="44" y="77"/>
                    <a:pt x="45" y="77"/>
                  </a:cubicBezTo>
                  <a:cubicBezTo>
                    <a:pt x="45" y="78"/>
                    <a:pt x="45" y="78"/>
                    <a:pt x="45" y="79"/>
                  </a:cubicBezTo>
                  <a:cubicBezTo>
                    <a:pt x="45" y="79"/>
                    <a:pt x="45" y="79"/>
                    <a:pt x="45" y="79"/>
                  </a:cubicBezTo>
                  <a:cubicBezTo>
                    <a:pt x="46" y="81"/>
                    <a:pt x="46" y="82"/>
                    <a:pt x="47" y="82"/>
                  </a:cubicBezTo>
                  <a:cubicBezTo>
                    <a:pt x="47" y="83"/>
                    <a:pt x="47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4"/>
                    <a:pt x="48" y="84"/>
                  </a:cubicBezTo>
                  <a:cubicBezTo>
                    <a:pt x="48" y="84"/>
                    <a:pt x="48" y="85"/>
                    <a:pt x="48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6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7"/>
                    <a:pt x="49" y="88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90"/>
                    <a:pt x="51" y="90"/>
                  </a:cubicBezTo>
                  <a:cubicBezTo>
                    <a:pt x="51" y="91"/>
                    <a:pt x="52" y="91"/>
                    <a:pt x="52" y="91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4" y="90"/>
                    <a:pt x="54" y="88"/>
                    <a:pt x="54" y="88"/>
                  </a:cubicBezTo>
                  <a:cubicBezTo>
                    <a:pt x="54" y="88"/>
                    <a:pt x="54" y="88"/>
                    <a:pt x="54" y="87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5" y="86"/>
                    <a:pt x="54" y="85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5" y="82"/>
                    <a:pt x="53" y="81"/>
                    <a:pt x="52" y="81"/>
                  </a:cubicBezTo>
                  <a:cubicBezTo>
                    <a:pt x="52" y="80"/>
                    <a:pt x="52" y="80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9"/>
                    <a:pt x="54" y="79"/>
                    <a:pt x="55" y="79"/>
                  </a:cubicBezTo>
                  <a:cubicBezTo>
                    <a:pt x="55" y="79"/>
                    <a:pt x="55" y="80"/>
                    <a:pt x="55" y="80"/>
                  </a:cubicBezTo>
                  <a:cubicBezTo>
                    <a:pt x="55" y="81"/>
                    <a:pt x="56" y="82"/>
                    <a:pt x="57" y="82"/>
                  </a:cubicBezTo>
                  <a:cubicBezTo>
                    <a:pt x="58" y="82"/>
                    <a:pt x="58" y="82"/>
                    <a:pt x="59" y="81"/>
                  </a:cubicBezTo>
                  <a:cubicBezTo>
                    <a:pt x="59" y="80"/>
                    <a:pt x="58" y="78"/>
                    <a:pt x="58" y="77"/>
                  </a:cubicBezTo>
                  <a:cubicBezTo>
                    <a:pt x="58" y="77"/>
                    <a:pt x="57" y="77"/>
                    <a:pt x="57" y="77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7" y="75"/>
                    <a:pt x="57" y="74"/>
                    <a:pt x="56" y="74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5" y="72"/>
                    <a:pt x="55" y="72"/>
                  </a:cubicBezTo>
                  <a:cubicBezTo>
                    <a:pt x="55" y="72"/>
                    <a:pt x="55" y="72"/>
                    <a:pt x="55" y="71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69"/>
                    <a:pt x="56" y="67"/>
                    <a:pt x="55" y="66"/>
                  </a:cubicBezTo>
                  <a:cubicBezTo>
                    <a:pt x="55" y="65"/>
                    <a:pt x="54" y="65"/>
                    <a:pt x="53" y="64"/>
                  </a:cubicBezTo>
                  <a:cubicBezTo>
                    <a:pt x="53" y="64"/>
                    <a:pt x="53" y="64"/>
                    <a:pt x="52" y="64"/>
                  </a:cubicBezTo>
                  <a:cubicBezTo>
                    <a:pt x="52" y="64"/>
                    <a:pt x="52" y="64"/>
                    <a:pt x="52" y="64"/>
                  </a:cubicBezTo>
                  <a:cubicBezTo>
                    <a:pt x="52" y="64"/>
                    <a:pt x="52" y="62"/>
                    <a:pt x="50" y="62"/>
                  </a:cubicBezTo>
                  <a:cubicBezTo>
                    <a:pt x="50" y="62"/>
                    <a:pt x="49" y="62"/>
                    <a:pt x="49" y="62"/>
                  </a:cubicBezTo>
                  <a:cubicBezTo>
                    <a:pt x="49" y="62"/>
                    <a:pt x="49" y="62"/>
                    <a:pt x="48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6" y="62"/>
                    <a:pt x="46" y="61"/>
                    <a:pt x="45" y="61"/>
                  </a:cubicBezTo>
                  <a:cubicBezTo>
                    <a:pt x="45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0"/>
                    <a:pt x="44" y="60"/>
                    <a:pt x="44" y="59"/>
                  </a:cubicBezTo>
                  <a:cubicBezTo>
                    <a:pt x="44" y="58"/>
                    <a:pt x="43" y="57"/>
                    <a:pt x="41" y="57"/>
                  </a:cubicBezTo>
                  <a:cubicBezTo>
                    <a:pt x="41" y="57"/>
                    <a:pt x="41" y="57"/>
                    <a:pt x="40" y="57"/>
                  </a:cubicBezTo>
                  <a:cubicBezTo>
                    <a:pt x="40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4"/>
                    <a:pt x="38" y="54"/>
                    <a:pt x="38" y="53"/>
                  </a:cubicBezTo>
                  <a:cubicBezTo>
                    <a:pt x="38" y="53"/>
                    <a:pt x="39" y="53"/>
                    <a:pt x="39" y="52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3" y="53"/>
                    <a:pt x="44" y="52"/>
                  </a:cubicBezTo>
                  <a:cubicBezTo>
                    <a:pt x="45" y="51"/>
                    <a:pt x="45" y="50"/>
                    <a:pt x="44" y="48"/>
                  </a:cubicBezTo>
                  <a:cubicBezTo>
                    <a:pt x="44" y="48"/>
                    <a:pt x="43" y="46"/>
                    <a:pt x="41" y="46"/>
                  </a:cubicBezTo>
                  <a:cubicBezTo>
                    <a:pt x="41" y="46"/>
                    <a:pt x="40" y="46"/>
                    <a:pt x="40" y="46"/>
                  </a:cubicBezTo>
                  <a:cubicBezTo>
                    <a:pt x="39" y="47"/>
                    <a:pt x="39" y="48"/>
                    <a:pt x="39" y="49"/>
                  </a:cubicBezTo>
                  <a:cubicBezTo>
                    <a:pt x="39" y="49"/>
                    <a:pt x="38" y="48"/>
                    <a:pt x="37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5" y="47"/>
                    <a:pt x="33" y="47"/>
                    <a:pt x="32" y="47"/>
                  </a:cubicBezTo>
                  <a:cubicBezTo>
                    <a:pt x="32" y="47"/>
                    <a:pt x="31" y="46"/>
                    <a:pt x="31" y="46"/>
                  </a:cubicBezTo>
                  <a:cubicBezTo>
                    <a:pt x="30" y="46"/>
                    <a:pt x="30" y="46"/>
                    <a:pt x="30" y="46"/>
                  </a:cubicBezTo>
                  <a:cubicBezTo>
                    <a:pt x="30" y="46"/>
                    <a:pt x="30" y="45"/>
                    <a:pt x="29" y="45"/>
                  </a:cubicBezTo>
                  <a:cubicBezTo>
                    <a:pt x="29" y="45"/>
                    <a:pt x="28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6" y="45"/>
                    <a:pt x="25" y="45"/>
                    <a:pt x="24" y="45"/>
                  </a:cubicBezTo>
                  <a:cubicBezTo>
                    <a:pt x="24" y="46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3" y="47"/>
                    <a:pt x="23" y="48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7"/>
                    <a:pt x="23" y="47"/>
                    <a:pt x="23" y="47"/>
                  </a:cubicBezTo>
                  <a:cubicBezTo>
                    <a:pt x="23" y="46"/>
                    <a:pt x="22" y="45"/>
                    <a:pt x="22" y="44"/>
                  </a:cubicBezTo>
                  <a:cubicBezTo>
                    <a:pt x="22" y="44"/>
                    <a:pt x="22" y="44"/>
                    <a:pt x="21" y="44"/>
                  </a:cubicBezTo>
                  <a:cubicBezTo>
                    <a:pt x="21" y="43"/>
                    <a:pt x="21" y="43"/>
                    <a:pt x="21" y="43"/>
                  </a:cubicBezTo>
                  <a:cubicBezTo>
                    <a:pt x="21" y="42"/>
                    <a:pt x="21" y="41"/>
                    <a:pt x="20" y="41"/>
                  </a:cubicBezTo>
                  <a:cubicBezTo>
                    <a:pt x="20" y="40"/>
                    <a:pt x="20" y="40"/>
                    <a:pt x="20" y="40"/>
                  </a:cubicBezTo>
                  <a:cubicBezTo>
                    <a:pt x="20" y="39"/>
                    <a:pt x="20" y="39"/>
                    <a:pt x="20" y="39"/>
                  </a:cubicBezTo>
                  <a:cubicBezTo>
                    <a:pt x="20" y="39"/>
                    <a:pt x="20" y="37"/>
                    <a:pt x="19" y="36"/>
                  </a:cubicBezTo>
                  <a:cubicBezTo>
                    <a:pt x="19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9" y="35"/>
                    <a:pt x="18" y="34"/>
                  </a:cubicBezTo>
                  <a:cubicBezTo>
                    <a:pt x="18" y="34"/>
                    <a:pt x="18" y="33"/>
                    <a:pt x="18" y="33"/>
                  </a:cubicBezTo>
                  <a:cubicBezTo>
                    <a:pt x="18" y="33"/>
                    <a:pt x="18" y="33"/>
                    <a:pt x="18" y="33"/>
                  </a:cubicBezTo>
                  <a:cubicBezTo>
                    <a:pt x="19" y="32"/>
                    <a:pt x="19" y="31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9"/>
                    <a:pt x="18" y="29"/>
                    <a:pt x="18" y="29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9" y="28"/>
                    <a:pt x="19" y="28"/>
                    <a:pt x="19" y="28"/>
                  </a:cubicBezTo>
                  <a:cubicBezTo>
                    <a:pt x="19" y="28"/>
                    <a:pt x="19" y="28"/>
                    <a:pt x="20" y="28"/>
                  </a:cubicBezTo>
                  <a:cubicBezTo>
                    <a:pt x="20" y="29"/>
                    <a:pt x="21" y="29"/>
                    <a:pt x="21" y="29"/>
                  </a:cubicBezTo>
                  <a:cubicBezTo>
                    <a:pt x="21" y="29"/>
                    <a:pt x="22" y="29"/>
                    <a:pt x="22" y="28"/>
                  </a:cubicBezTo>
                  <a:cubicBezTo>
                    <a:pt x="23" y="28"/>
                    <a:pt x="23" y="27"/>
                    <a:pt x="23" y="27"/>
                  </a:cubicBezTo>
                  <a:cubicBezTo>
                    <a:pt x="23" y="26"/>
                    <a:pt x="23" y="26"/>
                    <a:pt x="23" y="26"/>
                  </a:cubicBezTo>
                  <a:cubicBezTo>
                    <a:pt x="23" y="26"/>
                    <a:pt x="23" y="26"/>
                    <a:pt x="23" y="25"/>
                  </a:cubicBezTo>
                  <a:cubicBezTo>
                    <a:pt x="23" y="25"/>
                    <a:pt x="23" y="25"/>
                    <a:pt x="23" y="25"/>
                  </a:cubicBezTo>
                  <a:cubicBezTo>
                    <a:pt x="23" y="24"/>
                    <a:pt x="23" y="23"/>
                    <a:pt x="23" y="23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1"/>
                    <a:pt x="24" y="21"/>
                  </a:cubicBezTo>
                  <a:cubicBezTo>
                    <a:pt x="24" y="20"/>
                    <a:pt x="25" y="18"/>
                    <a:pt x="24" y="17"/>
                  </a:cubicBezTo>
                  <a:cubicBezTo>
                    <a:pt x="24" y="17"/>
                    <a:pt x="23" y="17"/>
                    <a:pt x="23" y="16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3" y="15"/>
                    <a:pt x="23" y="14"/>
                    <a:pt x="22" y="14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22" y="13"/>
                    <a:pt x="22" y="13"/>
                    <a:pt x="21" y="13"/>
                  </a:cubicBezTo>
                  <a:cubicBezTo>
                    <a:pt x="21" y="13"/>
                    <a:pt x="21" y="13"/>
                    <a:pt x="21" y="13"/>
                  </a:cubicBezTo>
                  <a:cubicBezTo>
                    <a:pt x="22" y="11"/>
                    <a:pt x="21" y="11"/>
                    <a:pt x="21" y="10"/>
                  </a:cubicBezTo>
                  <a:cubicBezTo>
                    <a:pt x="21" y="10"/>
                    <a:pt x="21" y="10"/>
                    <a:pt x="21" y="9"/>
                  </a:cubicBezTo>
                  <a:cubicBezTo>
                    <a:pt x="22" y="8"/>
                    <a:pt x="21" y="7"/>
                    <a:pt x="21" y="6"/>
                  </a:cubicBezTo>
                  <a:cubicBezTo>
                    <a:pt x="20" y="7"/>
                    <a:pt x="20" y="7"/>
                    <a:pt x="20" y="7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1" y="5"/>
                    <a:pt x="20" y="2"/>
                    <a:pt x="18" y="2"/>
                  </a:cubicBezTo>
                  <a:close/>
                  <a:moveTo>
                    <a:pt x="40" y="87"/>
                  </a:moveTo>
                  <a:cubicBezTo>
                    <a:pt x="40" y="87"/>
                    <a:pt x="40" y="87"/>
                    <a:pt x="40" y="87"/>
                  </a:cubicBezTo>
                  <a:cubicBezTo>
                    <a:pt x="40" y="86"/>
                    <a:pt x="40" y="86"/>
                    <a:pt x="40" y="86"/>
                  </a:cubicBezTo>
                  <a:cubicBezTo>
                    <a:pt x="40" y="86"/>
                    <a:pt x="40" y="86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0" y="85"/>
                    <a:pt x="40" y="87"/>
                    <a:pt x="40" y="89"/>
                  </a:cubicBezTo>
                  <a:cubicBezTo>
                    <a:pt x="40" y="89"/>
                    <a:pt x="40" y="90"/>
                    <a:pt x="40" y="90"/>
                  </a:cubicBezTo>
                  <a:cubicBezTo>
                    <a:pt x="40" y="90"/>
                    <a:pt x="40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89"/>
                    <a:pt x="39" y="89"/>
                    <a:pt x="40" y="88"/>
                  </a:cubicBezTo>
                  <a:cubicBezTo>
                    <a:pt x="40" y="88"/>
                    <a:pt x="40" y="88"/>
                    <a:pt x="40" y="87"/>
                  </a:cubicBezTo>
                  <a:close/>
                  <a:moveTo>
                    <a:pt x="31" y="87"/>
                  </a:moveTo>
                  <a:cubicBezTo>
                    <a:pt x="31" y="87"/>
                    <a:pt x="31" y="87"/>
                    <a:pt x="31" y="87"/>
                  </a:cubicBezTo>
                  <a:cubicBezTo>
                    <a:pt x="31" y="87"/>
                    <a:pt x="31" y="87"/>
                    <a:pt x="31" y="87"/>
                  </a:cubicBezTo>
                  <a:close/>
                  <a:moveTo>
                    <a:pt x="32" y="83"/>
                  </a:moveTo>
                  <a:cubicBezTo>
                    <a:pt x="32" y="82"/>
                    <a:pt x="32" y="82"/>
                    <a:pt x="32" y="82"/>
                  </a:cubicBezTo>
                  <a:cubicBezTo>
                    <a:pt x="33" y="82"/>
                    <a:pt x="33" y="82"/>
                    <a:pt x="33" y="82"/>
                  </a:cubicBezTo>
                  <a:cubicBezTo>
                    <a:pt x="33" y="82"/>
                    <a:pt x="33" y="82"/>
                    <a:pt x="34" y="81"/>
                  </a:cubicBezTo>
                  <a:cubicBezTo>
                    <a:pt x="34" y="82"/>
                    <a:pt x="34" y="82"/>
                    <a:pt x="34" y="83"/>
                  </a:cubicBezTo>
                  <a:cubicBezTo>
                    <a:pt x="33" y="83"/>
                    <a:pt x="33" y="83"/>
                    <a:pt x="33" y="83"/>
                  </a:cubicBezTo>
                  <a:cubicBezTo>
                    <a:pt x="33" y="83"/>
                    <a:pt x="33" y="82"/>
                    <a:pt x="32" y="83"/>
                  </a:cubicBezTo>
                  <a:close/>
                  <a:moveTo>
                    <a:pt x="16" y="55"/>
                  </a:moveTo>
                  <a:cubicBezTo>
                    <a:pt x="16" y="55"/>
                    <a:pt x="16" y="55"/>
                    <a:pt x="16" y="55"/>
                  </a:cubicBezTo>
                  <a:cubicBezTo>
                    <a:pt x="16" y="55"/>
                    <a:pt x="16" y="55"/>
                    <a:pt x="16" y="54"/>
                  </a:cubicBezTo>
                  <a:cubicBezTo>
                    <a:pt x="16" y="54"/>
                    <a:pt x="16" y="54"/>
                    <a:pt x="16" y="54"/>
                  </a:cubicBezTo>
                  <a:cubicBezTo>
                    <a:pt x="16" y="55"/>
                    <a:pt x="17" y="55"/>
                    <a:pt x="17" y="55"/>
                  </a:cubicBezTo>
                  <a:cubicBezTo>
                    <a:pt x="17" y="55"/>
                    <a:pt x="17" y="55"/>
                    <a:pt x="16" y="55"/>
                  </a:cubicBezTo>
                  <a:close/>
                  <a:moveTo>
                    <a:pt x="12" y="56"/>
                  </a:moveTo>
                  <a:cubicBezTo>
                    <a:pt x="12" y="56"/>
                    <a:pt x="12" y="56"/>
                    <a:pt x="12" y="56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2" y="56"/>
                    <a:pt x="12" y="56"/>
                    <a:pt x="12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5" name="Freeform 44"/>
            <p:cNvSpPr>
              <a:spLocks noEditPoints="1"/>
            </p:cNvSpPr>
            <p:nvPr/>
          </p:nvSpPr>
          <p:spPr bwMode="auto">
            <a:xfrm>
              <a:off x="5677" y="2283"/>
              <a:ext cx="95" cy="106"/>
            </a:xfrm>
            <a:custGeom>
              <a:avLst/>
              <a:gdLst>
                <a:gd name="T0" fmla="*/ 37 w 40"/>
                <a:gd name="T1" fmla="*/ 20 h 45"/>
                <a:gd name="T2" fmla="*/ 36 w 40"/>
                <a:gd name="T3" fmla="*/ 17 h 45"/>
                <a:gd name="T4" fmla="*/ 35 w 40"/>
                <a:gd name="T5" fmla="*/ 12 h 45"/>
                <a:gd name="T6" fmla="*/ 34 w 40"/>
                <a:gd name="T7" fmla="*/ 9 h 45"/>
                <a:gd name="T8" fmla="*/ 35 w 40"/>
                <a:gd name="T9" fmla="*/ 5 h 45"/>
                <a:gd name="T10" fmla="*/ 32 w 40"/>
                <a:gd name="T11" fmla="*/ 4 h 45"/>
                <a:gd name="T12" fmla="*/ 27 w 40"/>
                <a:gd name="T13" fmla="*/ 0 h 45"/>
                <a:gd name="T14" fmla="*/ 27 w 40"/>
                <a:gd name="T15" fmla="*/ 4 h 45"/>
                <a:gd name="T16" fmla="*/ 26 w 40"/>
                <a:gd name="T17" fmla="*/ 7 h 45"/>
                <a:gd name="T18" fmla="*/ 24 w 40"/>
                <a:gd name="T19" fmla="*/ 7 h 45"/>
                <a:gd name="T20" fmla="*/ 22 w 40"/>
                <a:gd name="T21" fmla="*/ 11 h 45"/>
                <a:gd name="T22" fmla="*/ 20 w 40"/>
                <a:gd name="T23" fmla="*/ 12 h 45"/>
                <a:gd name="T24" fmla="*/ 17 w 40"/>
                <a:gd name="T25" fmla="*/ 17 h 45"/>
                <a:gd name="T26" fmla="*/ 16 w 40"/>
                <a:gd name="T27" fmla="*/ 16 h 45"/>
                <a:gd name="T28" fmla="*/ 12 w 40"/>
                <a:gd name="T29" fmla="*/ 11 h 45"/>
                <a:gd name="T30" fmla="*/ 9 w 40"/>
                <a:gd name="T31" fmla="*/ 14 h 45"/>
                <a:gd name="T32" fmla="*/ 6 w 40"/>
                <a:gd name="T33" fmla="*/ 17 h 45"/>
                <a:gd name="T34" fmla="*/ 1 w 40"/>
                <a:gd name="T35" fmla="*/ 20 h 45"/>
                <a:gd name="T36" fmla="*/ 0 w 40"/>
                <a:gd name="T37" fmla="*/ 26 h 45"/>
                <a:gd name="T38" fmla="*/ 0 w 40"/>
                <a:gd name="T39" fmla="*/ 29 h 45"/>
                <a:gd name="T40" fmla="*/ 3 w 40"/>
                <a:gd name="T41" fmla="*/ 33 h 45"/>
                <a:gd name="T42" fmla="*/ 5 w 40"/>
                <a:gd name="T43" fmla="*/ 28 h 45"/>
                <a:gd name="T44" fmla="*/ 6 w 40"/>
                <a:gd name="T45" fmla="*/ 26 h 45"/>
                <a:gd name="T46" fmla="*/ 9 w 40"/>
                <a:gd name="T47" fmla="*/ 26 h 45"/>
                <a:gd name="T48" fmla="*/ 12 w 40"/>
                <a:gd name="T49" fmla="*/ 27 h 45"/>
                <a:gd name="T50" fmla="*/ 14 w 40"/>
                <a:gd name="T51" fmla="*/ 28 h 45"/>
                <a:gd name="T52" fmla="*/ 16 w 40"/>
                <a:gd name="T53" fmla="*/ 25 h 45"/>
                <a:gd name="T54" fmla="*/ 18 w 40"/>
                <a:gd name="T55" fmla="*/ 27 h 45"/>
                <a:gd name="T56" fmla="*/ 16 w 40"/>
                <a:gd name="T57" fmla="*/ 29 h 45"/>
                <a:gd name="T58" fmla="*/ 18 w 40"/>
                <a:gd name="T59" fmla="*/ 35 h 45"/>
                <a:gd name="T60" fmla="*/ 19 w 40"/>
                <a:gd name="T61" fmla="*/ 39 h 45"/>
                <a:gd name="T62" fmla="*/ 24 w 40"/>
                <a:gd name="T63" fmla="*/ 42 h 45"/>
                <a:gd name="T64" fmla="*/ 27 w 40"/>
                <a:gd name="T65" fmla="*/ 43 h 45"/>
                <a:gd name="T66" fmla="*/ 30 w 40"/>
                <a:gd name="T67" fmla="*/ 45 h 45"/>
                <a:gd name="T68" fmla="*/ 33 w 40"/>
                <a:gd name="T69" fmla="*/ 41 h 45"/>
                <a:gd name="T70" fmla="*/ 32 w 40"/>
                <a:gd name="T71" fmla="*/ 34 h 45"/>
                <a:gd name="T72" fmla="*/ 31 w 40"/>
                <a:gd name="T73" fmla="*/ 33 h 45"/>
                <a:gd name="T74" fmla="*/ 33 w 40"/>
                <a:gd name="T75" fmla="*/ 32 h 45"/>
                <a:gd name="T76" fmla="*/ 34 w 40"/>
                <a:gd name="T77" fmla="*/ 33 h 45"/>
                <a:gd name="T78" fmla="*/ 38 w 40"/>
                <a:gd name="T79" fmla="*/ 40 h 45"/>
                <a:gd name="T80" fmla="*/ 38 w 40"/>
                <a:gd name="T81" fmla="*/ 35 h 45"/>
                <a:gd name="T82" fmla="*/ 38 w 40"/>
                <a:gd name="T83" fmla="*/ 31 h 45"/>
                <a:gd name="T84" fmla="*/ 38 w 40"/>
                <a:gd name="T85" fmla="*/ 29 h 45"/>
                <a:gd name="T86" fmla="*/ 39 w 40"/>
                <a:gd name="T87" fmla="*/ 27 h 45"/>
                <a:gd name="T88" fmla="*/ 1 w 40"/>
                <a:gd name="T89" fmla="*/ 24 h 45"/>
                <a:gd name="T90" fmla="*/ 1 w 40"/>
                <a:gd name="T91" fmla="*/ 24 h 45"/>
                <a:gd name="T92" fmla="*/ 14 w 40"/>
                <a:gd name="T93" fmla="*/ 23 h 45"/>
                <a:gd name="T94" fmla="*/ 14 w 40"/>
                <a:gd name="T95" fmla="*/ 25 h 45"/>
                <a:gd name="T96" fmla="*/ 18 w 40"/>
                <a:gd name="T97" fmla="*/ 3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0" h="45">
                  <a:moveTo>
                    <a:pt x="38" y="21"/>
                  </a:moveTo>
                  <a:cubicBezTo>
                    <a:pt x="38" y="21"/>
                    <a:pt x="38" y="21"/>
                    <a:pt x="38" y="20"/>
                  </a:cubicBezTo>
                  <a:cubicBezTo>
                    <a:pt x="38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6"/>
                  </a:cubicBezTo>
                  <a:cubicBezTo>
                    <a:pt x="37" y="14"/>
                    <a:pt x="36" y="13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6" y="10"/>
                    <a:pt x="35" y="9"/>
                    <a:pt x="35" y="9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35" y="7"/>
                    <a:pt x="35" y="6"/>
                    <a:pt x="35" y="5"/>
                  </a:cubicBezTo>
                  <a:cubicBezTo>
                    <a:pt x="34" y="5"/>
                    <a:pt x="34" y="4"/>
                    <a:pt x="33" y="4"/>
                  </a:cubicBezTo>
                  <a:cubicBezTo>
                    <a:pt x="33" y="4"/>
                    <a:pt x="32" y="4"/>
                    <a:pt x="32" y="4"/>
                  </a:cubicBezTo>
                  <a:cubicBezTo>
                    <a:pt x="32" y="4"/>
                    <a:pt x="32" y="4"/>
                    <a:pt x="32" y="4"/>
                  </a:cubicBezTo>
                  <a:cubicBezTo>
                    <a:pt x="32" y="3"/>
                    <a:pt x="32" y="2"/>
                    <a:pt x="31" y="2"/>
                  </a:cubicBezTo>
                  <a:cubicBezTo>
                    <a:pt x="31" y="1"/>
                    <a:pt x="29" y="0"/>
                    <a:pt x="28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2"/>
                    <a:pt x="27" y="3"/>
                    <a:pt x="27" y="3"/>
                  </a:cubicBezTo>
                  <a:cubicBezTo>
                    <a:pt x="27" y="3"/>
                    <a:pt x="27" y="4"/>
                    <a:pt x="27" y="4"/>
                  </a:cubicBezTo>
                  <a:cubicBezTo>
                    <a:pt x="27" y="5"/>
                    <a:pt x="27" y="5"/>
                    <a:pt x="27" y="6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6" y="7"/>
                    <a:pt x="26" y="7"/>
                    <a:pt x="26" y="7"/>
                  </a:cubicBezTo>
                  <a:cubicBezTo>
                    <a:pt x="25" y="7"/>
                    <a:pt x="25" y="8"/>
                    <a:pt x="25" y="8"/>
                  </a:cubicBezTo>
                  <a:cubicBezTo>
                    <a:pt x="25" y="8"/>
                    <a:pt x="24" y="7"/>
                    <a:pt x="24" y="7"/>
                  </a:cubicBezTo>
                  <a:cubicBezTo>
                    <a:pt x="23" y="7"/>
                    <a:pt x="23" y="7"/>
                    <a:pt x="22" y="8"/>
                  </a:cubicBezTo>
                  <a:cubicBezTo>
                    <a:pt x="22" y="9"/>
                    <a:pt x="22" y="10"/>
                    <a:pt x="22" y="10"/>
                  </a:cubicBezTo>
                  <a:cubicBezTo>
                    <a:pt x="22" y="10"/>
                    <a:pt x="22" y="11"/>
                    <a:pt x="22" y="11"/>
                  </a:cubicBezTo>
                  <a:cubicBezTo>
                    <a:pt x="22" y="11"/>
                    <a:pt x="21" y="11"/>
                    <a:pt x="21" y="12"/>
                  </a:cubicBezTo>
                  <a:cubicBezTo>
                    <a:pt x="21" y="12"/>
                    <a:pt x="21" y="12"/>
                    <a:pt x="21" y="12"/>
                  </a:cubicBezTo>
                  <a:cubicBezTo>
                    <a:pt x="21" y="12"/>
                    <a:pt x="20" y="12"/>
                    <a:pt x="20" y="12"/>
                  </a:cubicBezTo>
                  <a:cubicBezTo>
                    <a:pt x="18" y="13"/>
                    <a:pt x="18" y="15"/>
                    <a:pt x="18" y="16"/>
                  </a:cubicBezTo>
                  <a:cubicBezTo>
                    <a:pt x="18" y="16"/>
                    <a:pt x="18" y="16"/>
                    <a:pt x="18" y="16"/>
                  </a:cubicBezTo>
                  <a:cubicBezTo>
                    <a:pt x="18" y="16"/>
                    <a:pt x="17" y="17"/>
                    <a:pt x="17" y="17"/>
                  </a:cubicBezTo>
                  <a:cubicBezTo>
                    <a:pt x="17" y="17"/>
                    <a:pt x="17" y="17"/>
                    <a:pt x="17" y="17"/>
                  </a:cubicBezTo>
                  <a:cubicBezTo>
                    <a:pt x="17" y="17"/>
                    <a:pt x="16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5"/>
                    <a:pt x="15" y="13"/>
                    <a:pt x="14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2"/>
                    <a:pt x="12" y="11"/>
                    <a:pt x="12" y="11"/>
                  </a:cubicBezTo>
                  <a:cubicBezTo>
                    <a:pt x="11" y="11"/>
                    <a:pt x="10" y="11"/>
                    <a:pt x="9" y="13"/>
                  </a:cubicBezTo>
                  <a:cubicBezTo>
                    <a:pt x="9" y="13"/>
                    <a:pt x="9" y="13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4"/>
                    <a:pt x="7" y="14"/>
                    <a:pt x="7" y="16"/>
                  </a:cubicBezTo>
                  <a:cubicBezTo>
                    <a:pt x="6" y="16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6" y="17"/>
                    <a:pt x="5" y="17"/>
                    <a:pt x="5" y="17"/>
                  </a:cubicBezTo>
                  <a:cubicBezTo>
                    <a:pt x="3" y="18"/>
                    <a:pt x="2" y="19"/>
                    <a:pt x="1" y="20"/>
                  </a:cubicBezTo>
                  <a:cubicBezTo>
                    <a:pt x="1" y="21"/>
                    <a:pt x="0" y="22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5"/>
                    <a:pt x="0" y="25"/>
                    <a:pt x="0" y="26"/>
                  </a:cubicBezTo>
                  <a:cubicBezTo>
                    <a:pt x="0" y="26"/>
                    <a:pt x="0" y="27"/>
                    <a:pt x="0" y="28"/>
                  </a:cubicBezTo>
                  <a:cubicBezTo>
                    <a:pt x="0" y="28"/>
                    <a:pt x="0" y="29"/>
                    <a:pt x="0" y="29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2"/>
                    <a:pt x="1" y="33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2"/>
                    <a:pt x="3" y="32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5" y="30"/>
                    <a:pt x="5" y="29"/>
                    <a:pt x="5" y="28"/>
                  </a:cubicBezTo>
                  <a:cubicBezTo>
                    <a:pt x="5" y="27"/>
                    <a:pt x="5" y="27"/>
                    <a:pt x="5" y="27"/>
                  </a:cubicBezTo>
                  <a:cubicBezTo>
                    <a:pt x="5" y="26"/>
                    <a:pt x="6" y="26"/>
                    <a:pt x="6" y="25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7" y="27"/>
                    <a:pt x="7" y="27"/>
                    <a:pt x="7" y="27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27"/>
                    <a:pt x="9" y="27"/>
                    <a:pt x="9" y="26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1" y="27"/>
                    <a:pt x="11" y="27"/>
                    <a:pt x="12" y="27"/>
                  </a:cubicBezTo>
                  <a:cubicBezTo>
                    <a:pt x="12" y="27"/>
                    <a:pt x="12" y="27"/>
                    <a:pt x="12" y="27"/>
                  </a:cubicBezTo>
                  <a:cubicBezTo>
                    <a:pt x="12" y="28"/>
                    <a:pt x="13" y="28"/>
                    <a:pt x="13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5" y="28"/>
                    <a:pt x="15" y="27"/>
                    <a:pt x="15" y="27"/>
                  </a:cubicBezTo>
                  <a:cubicBezTo>
                    <a:pt x="15" y="26"/>
                    <a:pt x="15" y="25"/>
                    <a:pt x="15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7" y="25"/>
                    <a:pt x="17" y="26"/>
                    <a:pt x="18" y="26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8" y="27"/>
                    <a:pt x="18" y="27"/>
                    <a:pt x="18" y="27"/>
                  </a:cubicBezTo>
                  <a:cubicBezTo>
                    <a:pt x="17" y="28"/>
                    <a:pt x="17" y="28"/>
                    <a:pt x="17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32"/>
                    <a:pt x="16" y="32"/>
                    <a:pt x="17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5"/>
                  </a:cubicBezTo>
                  <a:cubicBezTo>
                    <a:pt x="17" y="35"/>
                    <a:pt x="17" y="36"/>
                    <a:pt x="18" y="38"/>
                  </a:cubicBezTo>
                  <a:cubicBezTo>
                    <a:pt x="18" y="38"/>
                    <a:pt x="19" y="38"/>
                    <a:pt x="19" y="38"/>
                  </a:cubicBezTo>
                  <a:cubicBezTo>
                    <a:pt x="19" y="39"/>
                    <a:pt x="19" y="39"/>
                    <a:pt x="19" y="39"/>
                  </a:cubicBezTo>
                  <a:cubicBezTo>
                    <a:pt x="20" y="40"/>
                    <a:pt x="20" y="40"/>
                    <a:pt x="21" y="41"/>
                  </a:cubicBezTo>
                  <a:cubicBezTo>
                    <a:pt x="21" y="41"/>
                    <a:pt x="22" y="42"/>
                    <a:pt x="23" y="42"/>
                  </a:cubicBezTo>
                  <a:cubicBezTo>
                    <a:pt x="23" y="42"/>
                    <a:pt x="24" y="42"/>
                    <a:pt x="24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3"/>
                    <a:pt x="25" y="43"/>
                    <a:pt x="26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8" y="43"/>
                    <a:pt x="28" y="44"/>
                  </a:cubicBezTo>
                  <a:cubicBezTo>
                    <a:pt x="28" y="45"/>
                    <a:pt x="29" y="45"/>
                    <a:pt x="30" y="45"/>
                  </a:cubicBezTo>
                  <a:cubicBezTo>
                    <a:pt x="31" y="45"/>
                    <a:pt x="32" y="43"/>
                    <a:pt x="33" y="42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0"/>
                    <a:pt x="34" y="40"/>
                    <a:pt x="34" y="39"/>
                  </a:cubicBezTo>
                  <a:cubicBezTo>
                    <a:pt x="33" y="37"/>
                    <a:pt x="33" y="36"/>
                    <a:pt x="32" y="35"/>
                  </a:cubicBezTo>
                  <a:cubicBezTo>
                    <a:pt x="32" y="35"/>
                    <a:pt x="32" y="34"/>
                    <a:pt x="32" y="34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1" y="33"/>
                    <a:pt x="31" y="33"/>
                    <a:pt x="31" y="33"/>
                  </a:cubicBezTo>
                  <a:cubicBezTo>
                    <a:pt x="32" y="33"/>
                    <a:pt x="32" y="33"/>
                    <a:pt x="32" y="33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2"/>
                    <a:pt x="33" y="32"/>
                    <a:pt x="34" y="32"/>
                  </a:cubicBezTo>
                  <a:cubicBezTo>
                    <a:pt x="34" y="32"/>
                    <a:pt x="34" y="32"/>
                    <a:pt x="34" y="32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34"/>
                    <a:pt x="34" y="34"/>
                    <a:pt x="34" y="35"/>
                  </a:cubicBezTo>
                  <a:cubicBezTo>
                    <a:pt x="34" y="36"/>
                    <a:pt x="35" y="38"/>
                    <a:pt x="36" y="38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7"/>
                    <a:pt x="38" y="36"/>
                    <a:pt x="38" y="36"/>
                  </a:cubicBezTo>
                  <a:cubicBezTo>
                    <a:pt x="38" y="36"/>
                    <a:pt x="38" y="35"/>
                    <a:pt x="38" y="35"/>
                  </a:cubicBezTo>
                  <a:cubicBezTo>
                    <a:pt x="38" y="35"/>
                    <a:pt x="38" y="35"/>
                    <a:pt x="38" y="35"/>
                  </a:cubicBezTo>
                  <a:cubicBezTo>
                    <a:pt x="39" y="34"/>
                    <a:pt x="39" y="34"/>
                    <a:pt x="39" y="33"/>
                  </a:cubicBezTo>
                  <a:cubicBezTo>
                    <a:pt x="39" y="32"/>
                    <a:pt x="38" y="32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9" y="30"/>
                    <a:pt x="39" y="30"/>
                    <a:pt x="39" y="29"/>
                  </a:cubicBezTo>
                  <a:cubicBezTo>
                    <a:pt x="38" y="29"/>
                    <a:pt x="38" y="29"/>
                    <a:pt x="38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8"/>
                    <a:pt x="39" y="28"/>
                  </a:cubicBezTo>
                  <a:cubicBezTo>
                    <a:pt x="39" y="28"/>
                    <a:pt x="39" y="27"/>
                    <a:pt x="39" y="27"/>
                  </a:cubicBezTo>
                  <a:cubicBezTo>
                    <a:pt x="39" y="27"/>
                    <a:pt x="39" y="26"/>
                    <a:pt x="39" y="26"/>
                  </a:cubicBezTo>
                  <a:cubicBezTo>
                    <a:pt x="40" y="25"/>
                    <a:pt x="40" y="23"/>
                    <a:pt x="38" y="21"/>
                  </a:cubicBezTo>
                  <a:close/>
                  <a:moveTo>
                    <a:pt x="1" y="24"/>
                  </a:moveTo>
                  <a:cubicBezTo>
                    <a:pt x="2" y="24"/>
                    <a:pt x="2" y="24"/>
                    <a:pt x="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lose/>
                  <a:moveTo>
                    <a:pt x="14" y="24"/>
                  </a:move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3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4" y="25"/>
                    <a:pt x="14" y="25"/>
                    <a:pt x="14" y="25"/>
                  </a:cubicBezTo>
                  <a:cubicBezTo>
                    <a:pt x="14" y="24"/>
                    <a:pt x="14" y="24"/>
                    <a:pt x="14" y="24"/>
                  </a:cubicBezTo>
                  <a:close/>
                  <a:moveTo>
                    <a:pt x="18" y="30"/>
                  </a:moveTo>
                  <a:cubicBezTo>
                    <a:pt x="18" y="30"/>
                    <a:pt x="18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6" name="Freeform 45"/>
            <p:cNvSpPr>
              <a:spLocks noEditPoints="1"/>
            </p:cNvSpPr>
            <p:nvPr/>
          </p:nvSpPr>
          <p:spPr bwMode="auto">
            <a:xfrm>
              <a:off x="5580" y="2245"/>
              <a:ext cx="50" cy="80"/>
            </a:xfrm>
            <a:custGeom>
              <a:avLst/>
              <a:gdLst>
                <a:gd name="T0" fmla="*/ 1 w 21"/>
                <a:gd name="T1" fmla="*/ 31 h 34"/>
                <a:gd name="T2" fmla="*/ 0 w 21"/>
                <a:gd name="T3" fmla="*/ 32 h 34"/>
                <a:gd name="T4" fmla="*/ 2 w 21"/>
                <a:gd name="T5" fmla="*/ 34 h 34"/>
                <a:gd name="T6" fmla="*/ 4 w 21"/>
                <a:gd name="T7" fmla="*/ 33 h 34"/>
                <a:gd name="T8" fmla="*/ 7 w 21"/>
                <a:gd name="T9" fmla="*/ 32 h 34"/>
                <a:gd name="T10" fmla="*/ 7 w 21"/>
                <a:gd name="T11" fmla="*/ 30 h 34"/>
                <a:gd name="T12" fmla="*/ 9 w 21"/>
                <a:gd name="T13" fmla="*/ 28 h 34"/>
                <a:gd name="T14" fmla="*/ 10 w 21"/>
                <a:gd name="T15" fmla="*/ 27 h 34"/>
                <a:gd name="T16" fmla="*/ 11 w 21"/>
                <a:gd name="T17" fmla="*/ 25 h 34"/>
                <a:gd name="T18" fmla="*/ 12 w 21"/>
                <a:gd name="T19" fmla="*/ 24 h 34"/>
                <a:gd name="T20" fmla="*/ 14 w 21"/>
                <a:gd name="T21" fmla="*/ 22 h 34"/>
                <a:gd name="T22" fmla="*/ 15 w 21"/>
                <a:gd name="T23" fmla="*/ 18 h 34"/>
                <a:gd name="T24" fmla="*/ 15 w 21"/>
                <a:gd name="T25" fmla="*/ 17 h 34"/>
                <a:gd name="T26" fmla="*/ 16 w 21"/>
                <a:gd name="T27" fmla="*/ 16 h 34"/>
                <a:gd name="T28" fmla="*/ 17 w 21"/>
                <a:gd name="T29" fmla="*/ 15 h 34"/>
                <a:gd name="T30" fmla="*/ 19 w 21"/>
                <a:gd name="T31" fmla="*/ 14 h 34"/>
                <a:gd name="T32" fmla="*/ 20 w 21"/>
                <a:gd name="T33" fmla="*/ 11 h 34"/>
                <a:gd name="T34" fmla="*/ 20 w 21"/>
                <a:gd name="T35" fmla="*/ 8 h 34"/>
                <a:gd name="T36" fmla="*/ 19 w 21"/>
                <a:gd name="T37" fmla="*/ 6 h 34"/>
                <a:gd name="T38" fmla="*/ 19 w 21"/>
                <a:gd name="T39" fmla="*/ 4 h 34"/>
                <a:gd name="T40" fmla="*/ 17 w 21"/>
                <a:gd name="T41" fmla="*/ 0 h 34"/>
                <a:gd name="T42" fmla="*/ 16 w 21"/>
                <a:gd name="T43" fmla="*/ 4 h 34"/>
                <a:gd name="T44" fmla="*/ 17 w 21"/>
                <a:gd name="T45" fmla="*/ 4 h 34"/>
                <a:gd name="T46" fmla="*/ 16 w 21"/>
                <a:gd name="T47" fmla="*/ 5 h 34"/>
                <a:gd name="T48" fmla="*/ 15 w 21"/>
                <a:gd name="T49" fmla="*/ 8 h 34"/>
                <a:gd name="T50" fmla="*/ 15 w 21"/>
                <a:gd name="T51" fmla="*/ 10 h 34"/>
                <a:gd name="T52" fmla="*/ 13 w 21"/>
                <a:gd name="T53" fmla="*/ 12 h 34"/>
                <a:gd name="T54" fmla="*/ 12 w 21"/>
                <a:gd name="T55" fmla="*/ 14 h 34"/>
                <a:gd name="T56" fmla="*/ 10 w 21"/>
                <a:gd name="T57" fmla="*/ 18 h 34"/>
                <a:gd name="T58" fmla="*/ 8 w 21"/>
                <a:gd name="T59" fmla="*/ 21 h 34"/>
                <a:gd name="T60" fmla="*/ 7 w 21"/>
                <a:gd name="T61" fmla="*/ 22 h 34"/>
                <a:gd name="T62" fmla="*/ 5 w 21"/>
                <a:gd name="T63" fmla="*/ 24 h 34"/>
                <a:gd name="T64" fmla="*/ 4 w 21"/>
                <a:gd name="T65" fmla="*/ 26 h 34"/>
                <a:gd name="T66" fmla="*/ 3 w 21"/>
                <a:gd name="T67" fmla="*/ 27 h 34"/>
                <a:gd name="T68" fmla="*/ 2 w 21"/>
                <a:gd name="T69" fmla="*/ 30 h 34"/>
                <a:gd name="T70" fmla="*/ 20 w 21"/>
                <a:gd name="T71" fmla="*/ 10 h 34"/>
                <a:gd name="T72" fmla="*/ 20 w 21"/>
                <a:gd name="T73" fmla="*/ 10 h 34"/>
                <a:gd name="T74" fmla="*/ 16 w 21"/>
                <a:gd name="T75" fmla="*/ 6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" h="34">
                  <a:moveTo>
                    <a:pt x="1" y="30"/>
                  </a:move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0" y="32"/>
                    <a:pt x="0" y="32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3" y="34"/>
                    <a:pt x="4" y="33"/>
                    <a:pt x="4" y="33"/>
                  </a:cubicBezTo>
                  <a:cubicBezTo>
                    <a:pt x="4" y="33"/>
                    <a:pt x="4" y="33"/>
                    <a:pt x="4" y="33"/>
                  </a:cubicBezTo>
                  <a:cubicBezTo>
                    <a:pt x="4" y="33"/>
                    <a:pt x="5" y="33"/>
                    <a:pt x="5" y="33"/>
                  </a:cubicBezTo>
                  <a:cubicBezTo>
                    <a:pt x="6" y="33"/>
                    <a:pt x="6" y="32"/>
                    <a:pt x="7" y="32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0"/>
                    <a:pt x="7" y="30"/>
                  </a:cubicBezTo>
                  <a:cubicBezTo>
                    <a:pt x="7" y="30"/>
                    <a:pt x="7" y="30"/>
                    <a:pt x="8" y="30"/>
                  </a:cubicBezTo>
                  <a:cubicBezTo>
                    <a:pt x="8" y="29"/>
                    <a:pt x="9" y="29"/>
                    <a:pt x="9" y="28"/>
                  </a:cubicBezTo>
                  <a:cubicBezTo>
                    <a:pt x="9" y="28"/>
                    <a:pt x="10" y="27"/>
                    <a:pt x="10" y="27"/>
                  </a:cubicBezTo>
                  <a:cubicBezTo>
                    <a:pt x="10" y="27"/>
                    <a:pt x="10" y="27"/>
                    <a:pt x="10" y="27"/>
                  </a:cubicBezTo>
                  <a:cubicBezTo>
                    <a:pt x="10" y="26"/>
                    <a:pt x="10" y="26"/>
                    <a:pt x="10" y="26"/>
                  </a:cubicBezTo>
                  <a:cubicBezTo>
                    <a:pt x="11" y="26"/>
                    <a:pt x="11" y="26"/>
                    <a:pt x="11" y="25"/>
                  </a:cubicBezTo>
                  <a:cubicBezTo>
                    <a:pt x="12" y="25"/>
                    <a:pt x="12" y="24"/>
                    <a:pt x="12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3" y="23"/>
                    <a:pt x="13" y="23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4" y="22"/>
                    <a:pt x="15" y="21"/>
                    <a:pt x="15" y="20"/>
                  </a:cubicBezTo>
                  <a:cubicBezTo>
                    <a:pt x="15" y="20"/>
                    <a:pt x="15" y="19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5" y="17"/>
                    <a:pt x="15" y="17"/>
                    <a:pt x="15" y="17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5" y="16"/>
                    <a:pt x="16" y="16"/>
                    <a:pt x="16" y="16"/>
                  </a:cubicBezTo>
                  <a:cubicBezTo>
                    <a:pt x="16" y="15"/>
                    <a:pt x="16" y="15"/>
                    <a:pt x="16" y="15"/>
                  </a:cubicBezTo>
                  <a:cubicBezTo>
                    <a:pt x="16" y="15"/>
                    <a:pt x="17" y="15"/>
                    <a:pt x="17" y="15"/>
                  </a:cubicBezTo>
                  <a:cubicBezTo>
                    <a:pt x="17" y="15"/>
                    <a:pt x="17" y="15"/>
                    <a:pt x="18" y="14"/>
                  </a:cubicBezTo>
                  <a:cubicBezTo>
                    <a:pt x="18" y="14"/>
                    <a:pt x="18" y="14"/>
                    <a:pt x="19" y="14"/>
                  </a:cubicBezTo>
                  <a:cubicBezTo>
                    <a:pt x="20" y="13"/>
                    <a:pt x="20" y="12"/>
                    <a:pt x="20" y="12"/>
                  </a:cubicBezTo>
                  <a:cubicBezTo>
                    <a:pt x="20" y="12"/>
                    <a:pt x="20" y="12"/>
                    <a:pt x="20" y="11"/>
                  </a:cubicBezTo>
                  <a:cubicBezTo>
                    <a:pt x="21" y="11"/>
                    <a:pt x="21" y="10"/>
                    <a:pt x="21" y="9"/>
                  </a:cubicBezTo>
                  <a:cubicBezTo>
                    <a:pt x="21" y="9"/>
                    <a:pt x="21" y="9"/>
                    <a:pt x="20" y="8"/>
                  </a:cubicBezTo>
                  <a:cubicBezTo>
                    <a:pt x="20" y="7"/>
                    <a:pt x="20" y="7"/>
                    <a:pt x="20" y="6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5"/>
                    <a:pt x="19" y="5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ubicBezTo>
                    <a:pt x="19" y="3"/>
                    <a:pt x="19" y="1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6" y="1"/>
                    <a:pt x="16" y="3"/>
                    <a:pt x="16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4"/>
                    <a:pt x="16" y="4"/>
                    <a:pt x="16" y="5"/>
                  </a:cubicBezTo>
                  <a:cubicBezTo>
                    <a:pt x="15" y="4"/>
                    <a:pt x="14" y="5"/>
                    <a:pt x="14" y="5"/>
                  </a:cubicBezTo>
                  <a:cubicBezTo>
                    <a:pt x="14" y="6"/>
                    <a:pt x="13" y="7"/>
                    <a:pt x="15" y="8"/>
                  </a:cubicBezTo>
                  <a:cubicBezTo>
                    <a:pt x="15" y="8"/>
                    <a:pt x="15" y="9"/>
                    <a:pt x="15" y="9"/>
                  </a:cubicBezTo>
                  <a:cubicBezTo>
                    <a:pt x="15" y="9"/>
                    <a:pt x="15" y="10"/>
                    <a:pt x="15" y="10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3" y="10"/>
                    <a:pt x="13" y="12"/>
                    <a:pt x="13" y="12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2" y="14"/>
                  </a:cubicBezTo>
                  <a:cubicBezTo>
                    <a:pt x="12" y="14"/>
                    <a:pt x="11" y="14"/>
                    <a:pt x="11" y="15"/>
                  </a:cubicBezTo>
                  <a:cubicBezTo>
                    <a:pt x="10" y="16"/>
                    <a:pt x="10" y="17"/>
                    <a:pt x="10" y="18"/>
                  </a:cubicBezTo>
                  <a:cubicBezTo>
                    <a:pt x="9" y="19"/>
                    <a:pt x="9" y="19"/>
                    <a:pt x="9" y="20"/>
                  </a:cubicBezTo>
                  <a:cubicBezTo>
                    <a:pt x="9" y="20"/>
                    <a:pt x="9" y="21"/>
                    <a:pt x="8" y="21"/>
                  </a:cubicBezTo>
                  <a:cubicBezTo>
                    <a:pt x="8" y="21"/>
                    <a:pt x="8" y="22"/>
                    <a:pt x="8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6" y="23"/>
                  </a:cubicBezTo>
                  <a:cubicBezTo>
                    <a:pt x="6" y="23"/>
                    <a:pt x="5" y="23"/>
                    <a:pt x="5" y="24"/>
                  </a:cubicBezTo>
                  <a:cubicBezTo>
                    <a:pt x="5" y="24"/>
                    <a:pt x="5" y="25"/>
                    <a:pt x="5" y="25"/>
                  </a:cubicBezTo>
                  <a:cubicBezTo>
                    <a:pt x="5" y="25"/>
                    <a:pt x="4" y="26"/>
                    <a:pt x="4" y="26"/>
                  </a:cubicBezTo>
                  <a:cubicBezTo>
                    <a:pt x="4" y="26"/>
                    <a:pt x="4" y="26"/>
                    <a:pt x="4" y="26"/>
                  </a:cubicBezTo>
                  <a:cubicBezTo>
                    <a:pt x="4" y="26"/>
                    <a:pt x="3" y="27"/>
                    <a:pt x="3" y="27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2" y="29"/>
                    <a:pt x="2" y="29"/>
                    <a:pt x="2" y="30"/>
                  </a:cubicBezTo>
                  <a:cubicBezTo>
                    <a:pt x="2" y="30"/>
                    <a:pt x="2" y="30"/>
                    <a:pt x="1" y="30"/>
                  </a:cubicBezTo>
                  <a:close/>
                  <a:moveTo>
                    <a:pt x="20" y="10"/>
                  </a:moveTo>
                  <a:cubicBezTo>
                    <a:pt x="20" y="10"/>
                    <a:pt x="20" y="10"/>
                    <a:pt x="20" y="10"/>
                  </a:cubicBezTo>
                  <a:cubicBezTo>
                    <a:pt x="20" y="10"/>
                    <a:pt x="20" y="10"/>
                    <a:pt x="20" y="10"/>
                  </a:cubicBezTo>
                  <a:close/>
                  <a:moveTo>
                    <a:pt x="16" y="6"/>
                  </a:move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6185" y="2633"/>
              <a:ext cx="88" cy="59"/>
            </a:xfrm>
            <a:custGeom>
              <a:avLst/>
              <a:gdLst>
                <a:gd name="T0" fmla="*/ 4 w 37"/>
                <a:gd name="T1" fmla="*/ 20 h 25"/>
                <a:gd name="T2" fmla="*/ 5 w 37"/>
                <a:gd name="T3" fmla="*/ 22 h 25"/>
                <a:gd name="T4" fmla="*/ 10 w 37"/>
                <a:gd name="T5" fmla="*/ 24 h 25"/>
                <a:gd name="T6" fmla="*/ 13 w 37"/>
                <a:gd name="T7" fmla="*/ 25 h 25"/>
                <a:gd name="T8" fmla="*/ 16 w 37"/>
                <a:gd name="T9" fmla="*/ 25 h 25"/>
                <a:gd name="T10" fmla="*/ 20 w 37"/>
                <a:gd name="T11" fmla="*/ 24 h 25"/>
                <a:gd name="T12" fmla="*/ 25 w 37"/>
                <a:gd name="T13" fmla="*/ 23 h 25"/>
                <a:gd name="T14" fmla="*/ 29 w 37"/>
                <a:gd name="T15" fmla="*/ 18 h 25"/>
                <a:gd name="T16" fmla="*/ 31 w 37"/>
                <a:gd name="T17" fmla="*/ 19 h 25"/>
                <a:gd name="T18" fmla="*/ 34 w 37"/>
                <a:gd name="T19" fmla="*/ 16 h 25"/>
                <a:gd name="T20" fmla="*/ 35 w 37"/>
                <a:gd name="T21" fmla="*/ 12 h 25"/>
                <a:gd name="T22" fmla="*/ 35 w 37"/>
                <a:gd name="T23" fmla="*/ 9 h 25"/>
                <a:gd name="T24" fmla="*/ 37 w 37"/>
                <a:gd name="T25" fmla="*/ 5 h 25"/>
                <a:gd name="T26" fmla="*/ 36 w 37"/>
                <a:gd name="T27" fmla="*/ 3 h 25"/>
                <a:gd name="T28" fmla="*/ 34 w 37"/>
                <a:gd name="T29" fmla="*/ 0 h 25"/>
                <a:gd name="T30" fmla="*/ 32 w 37"/>
                <a:gd name="T31" fmla="*/ 2 h 25"/>
                <a:gd name="T32" fmla="*/ 30 w 37"/>
                <a:gd name="T33" fmla="*/ 0 h 25"/>
                <a:gd name="T34" fmla="*/ 28 w 37"/>
                <a:gd name="T35" fmla="*/ 4 h 25"/>
                <a:gd name="T36" fmla="*/ 28 w 37"/>
                <a:gd name="T37" fmla="*/ 5 h 25"/>
                <a:gd name="T38" fmla="*/ 28 w 37"/>
                <a:gd name="T39" fmla="*/ 7 h 25"/>
                <a:gd name="T40" fmla="*/ 23 w 37"/>
                <a:gd name="T41" fmla="*/ 13 h 25"/>
                <a:gd name="T42" fmla="*/ 21 w 37"/>
                <a:gd name="T43" fmla="*/ 13 h 25"/>
                <a:gd name="T44" fmla="*/ 19 w 37"/>
                <a:gd name="T45" fmla="*/ 14 h 25"/>
                <a:gd name="T46" fmla="*/ 18 w 37"/>
                <a:gd name="T47" fmla="*/ 10 h 25"/>
                <a:gd name="T48" fmla="*/ 14 w 37"/>
                <a:gd name="T49" fmla="*/ 12 h 25"/>
                <a:gd name="T50" fmla="*/ 14 w 37"/>
                <a:gd name="T51" fmla="*/ 13 h 25"/>
                <a:gd name="T52" fmla="*/ 13 w 37"/>
                <a:gd name="T53" fmla="*/ 14 h 25"/>
                <a:gd name="T54" fmla="*/ 10 w 37"/>
                <a:gd name="T55" fmla="*/ 15 h 25"/>
                <a:gd name="T56" fmla="*/ 9 w 37"/>
                <a:gd name="T57" fmla="*/ 13 h 25"/>
                <a:gd name="T58" fmla="*/ 6 w 37"/>
                <a:gd name="T59" fmla="*/ 14 h 25"/>
                <a:gd name="T60" fmla="*/ 1 w 37"/>
                <a:gd name="T61" fmla="*/ 15 h 25"/>
                <a:gd name="T62" fmla="*/ 3 w 37"/>
                <a:gd name="T63" fmla="*/ 2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7" h="25">
                  <a:moveTo>
                    <a:pt x="3" y="20"/>
                  </a:moveTo>
                  <a:cubicBezTo>
                    <a:pt x="3" y="20"/>
                    <a:pt x="3" y="20"/>
                    <a:pt x="4" y="20"/>
                  </a:cubicBezTo>
                  <a:cubicBezTo>
                    <a:pt x="4" y="20"/>
                    <a:pt x="4" y="20"/>
                    <a:pt x="5" y="21"/>
                  </a:cubicBezTo>
                  <a:cubicBezTo>
                    <a:pt x="5" y="21"/>
                    <a:pt x="5" y="22"/>
                    <a:pt x="5" y="22"/>
                  </a:cubicBezTo>
                  <a:cubicBezTo>
                    <a:pt x="6" y="23"/>
                    <a:pt x="8" y="24"/>
                    <a:pt x="9" y="24"/>
                  </a:cubicBezTo>
                  <a:cubicBezTo>
                    <a:pt x="9" y="24"/>
                    <a:pt x="10" y="24"/>
                    <a:pt x="10" y="24"/>
                  </a:cubicBezTo>
                  <a:cubicBezTo>
                    <a:pt x="10" y="24"/>
                    <a:pt x="11" y="24"/>
                    <a:pt x="11" y="24"/>
                  </a:cubicBezTo>
                  <a:cubicBezTo>
                    <a:pt x="12" y="25"/>
                    <a:pt x="12" y="25"/>
                    <a:pt x="13" y="25"/>
                  </a:cubicBezTo>
                  <a:cubicBezTo>
                    <a:pt x="14" y="25"/>
                    <a:pt x="14" y="25"/>
                    <a:pt x="15" y="25"/>
                  </a:cubicBezTo>
                  <a:cubicBezTo>
                    <a:pt x="15" y="25"/>
                    <a:pt x="16" y="25"/>
                    <a:pt x="16" y="25"/>
                  </a:cubicBezTo>
                  <a:cubicBezTo>
                    <a:pt x="17" y="25"/>
                    <a:pt x="18" y="25"/>
                    <a:pt x="19" y="24"/>
                  </a:cubicBezTo>
                  <a:cubicBezTo>
                    <a:pt x="19" y="24"/>
                    <a:pt x="20" y="24"/>
                    <a:pt x="20" y="24"/>
                  </a:cubicBezTo>
                  <a:cubicBezTo>
                    <a:pt x="20" y="24"/>
                    <a:pt x="21" y="25"/>
                    <a:pt x="23" y="24"/>
                  </a:cubicBezTo>
                  <a:cubicBezTo>
                    <a:pt x="24" y="24"/>
                    <a:pt x="24" y="23"/>
                    <a:pt x="25" y="23"/>
                  </a:cubicBezTo>
                  <a:cubicBezTo>
                    <a:pt x="26" y="22"/>
                    <a:pt x="26" y="22"/>
                    <a:pt x="26" y="22"/>
                  </a:cubicBezTo>
                  <a:cubicBezTo>
                    <a:pt x="28" y="21"/>
                    <a:pt x="28" y="20"/>
                    <a:pt x="29" y="18"/>
                  </a:cubicBezTo>
                  <a:cubicBezTo>
                    <a:pt x="29" y="18"/>
                    <a:pt x="29" y="18"/>
                    <a:pt x="29" y="19"/>
                  </a:cubicBezTo>
                  <a:cubicBezTo>
                    <a:pt x="30" y="19"/>
                    <a:pt x="30" y="19"/>
                    <a:pt x="31" y="19"/>
                  </a:cubicBezTo>
                  <a:cubicBezTo>
                    <a:pt x="33" y="19"/>
                    <a:pt x="33" y="17"/>
                    <a:pt x="34" y="16"/>
                  </a:cubicBezTo>
                  <a:cubicBezTo>
                    <a:pt x="34" y="16"/>
                    <a:pt x="34" y="16"/>
                    <a:pt x="34" y="16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5" y="14"/>
                    <a:pt x="35" y="14"/>
                    <a:pt x="35" y="12"/>
                  </a:cubicBezTo>
                  <a:cubicBezTo>
                    <a:pt x="35" y="12"/>
                    <a:pt x="35" y="11"/>
                    <a:pt x="34" y="11"/>
                  </a:cubicBezTo>
                  <a:cubicBezTo>
                    <a:pt x="35" y="10"/>
                    <a:pt x="35" y="9"/>
                    <a:pt x="35" y="9"/>
                  </a:cubicBezTo>
                  <a:cubicBezTo>
                    <a:pt x="35" y="9"/>
                    <a:pt x="35" y="9"/>
                    <a:pt x="36" y="8"/>
                  </a:cubicBezTo>
                  <a:cubicBezTo>
                    <a:pt x="36" y="8"/>
                    <a:pt x="37" y="7"/>
                    <a:pt x="37" y="5"/>
                  </a:cubicBezTo>
                  <a:cubicBezTo>
                    <a:pt x="37" y="5"/>
                    <a:pt x="36" y="4"/>
                    <a:pt x="36" y="4"/>
                  </a:cubicBezTo>
                  <a:cubicBezTo>
                    <a:pt x="36" y="4"/>
                    <a:pt x="36" y="4"/>
                    <a:pt x="36" y="3"/>
                  </a:cubicBezTo>
                  <a:cubicBezTo>
                    <a:pt x="36" y="2"/>
                    <a:pt x="36" y="0"/>
                    <a:pt x="34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3" y="0"/>
                    <a:pt x="32" y="1"/>
                    <a:pt x="32" y="1"/>
                  </a:cubicBezTo>
                  <a:cubicBezTo>
                    <a:pt x="32" y="2"/>
                    <a:pt x="32" y="2"/>
                    <a:pt x="32" y="2"/>
                  </a:cubicBezTo>
                  <a:cubicBezTo>
                    <a:pt x="32" y="1"/>
                    <a:pt x="32" y="1"/>
                    <a:pt x="32" y="1"/>
                  </a:cubicBezTo>
                  <a:cubicBezTo>
                    <a:pt x="31" y="1"/>
                    <a:pt x="31" y="0"/>
                    <a:pt x="30" y="0"/>
                  </a:cubicBezTo>
                  <a:cubicBezTo>
                    <a:pt x="29" y="0"/>
                    <a:pt x="29" y="1"/>
                    <a:pt x="29" y="1"/>
                  </a:cubicBezTo>
                  <a:cubicBezTo>
                    <a:pt x="28" y="2"/>
                    <a:pt x="28" y="3"/>
                    <a:pt x="28" y="4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5"/>
                    <a:pt x="28" y="5"/>
                    <a:pt x="28" y="5"/>
                  </a:cubicBezTo>
                  <a:cubicBezTo>
                    <a:pt x="28" y="6"/>
                    <a:pt x="28" y="7"/>
                    <a:pt x="28" y="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25" y="7"/>
                    <a:pt x="24" y="9"/>
                    <a:pt x="24" y="11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23" y="13"/>
                    <a:pt x="22" y="13"/>
                    <a:pt x="22" y="13"/>
                  </a:cubicBezTo>
                  <a:cubicBezTo>
                    <a:pt x="22" y="13"/>
                    <a:pt x="22" y="13"/>
                    <a:pt x="21" y="13"/>
                  </a:cubicBezTo>
                  <a:cubicBezTo>
                    <a:pt x="20" y="13"/>
                    <a:pt x="19" y="13"/>
                    <a:pt x="19" y="13"/>
                  </a:cubicBezTo>
                  <a:cubicBezTo>
                    <a:pt x="19" y="13"/>
                    <a:pt x="19" y="13"/>
                    <a:pt x="19" y="1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0"/>
                    <a:pt x="18" y="10"/>
                  </a:cubicBezTo>
                  <a:cubicBezTo>
                    <a:pt x="18" y="9"/>
                    <a:pt x="16" y="9"/>
                    <a:pt x="15" y="10"/>
                  </a:cubicBezTo>
                  <a:cubicBezTo>
                    <a:pt x="15" y="10"/>
                    <a:pt x="15" y="11"/>
                    <a:pt x="14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2" y="14"/>
                    <a:pt x="11" y="14"/>
                  </a:cubicBezTo>
                  <a:cubicBezTo>
                    <a:pt x="11" y="14"/>
                    <a:pt x="11" y="14"/>
                    <a:pt x="10" y="15"/>
                  </a:cubicBezTo>
                  <a:cubicBezTo>
                    <a:pt x="10" y="15"/>
                    <a:pt x="10" y="15"/>
                    <a:pt x="10" y="14"/>
                  </a:cubicBezTo>
                  <a:cubicBezTo>
                    <a:pt x="10" y="14"/>
                    <a:pt x="10" y="14"/>
                    <a:pt x="9" y="13"/>
                  </a:cubicBezTo>
                  <a:cubicBezTo>
                    <a:pt x="8" y="13"/>
                    <a:pt x="7" y="13"/>
                    <a:pt x="6" y="13"/>
                  </a:cubicBezTo>
                  <a:cubicBezTo>
                    <a:pt x="6" y="13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3" y="13"/>
                    <a:pt x="2" y="13"/>
                    <a:pt x="1" y="15"/>
                  </a:cubicBezTo>
                  <a:cubicBezTo>
                    <a:pt x="0" y="15"/>
                    <a:pt x="0" y="17"/>
                    <a:pt x="1" y="18"/>
                  </a:cubicBezTo>
                  <a:cubicBezTo>
                    <a:pt x="1" y="20"/>
                    <a:pt x="3" y="20"/>
                    <a:pt x="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235" y="2590"/>
              <a:ext cx="52" cy="62"/>
            </a:xfrm>
            <a:custGeom>
              <a:avLst/>
              <a:gdLst>
                <a:gd name="T0" fmla="*/ 3 w 22"/>
                <a:gd name="T1" fmla="*/ 5 h 26"/>
                <a:gd name="T2" fmla="*/ 4 w 22"/>
                <a:gd name="T3" fmla="*/ 5 h 26"/>
                <a:gd name="T4" fmla="*/ 4 w 22"/>
                <a:gd name="T5" fmla="*/ 6 h 26"/>
                <a:gd name="T6" fmla="*/ 5 w 22"/>
                <a:gd name="T7" fmla="*/ 7 h 26"/>
                <a:gd name="T8" fmla="*/ 6 w 22"/>
                <a:gd name="T9" fmla="*/ 7 h 26"/>
                <a:gd name="T10" fmla="*/ 7 w 22"/>
                <a:gd name="T11" fmla="*/ 8 h 26"/>
                <a:gd name="T12" fmla="*/ 8 w 22"/>
                <a:gd name="T13" fmla="*/ 9 h 26"/>
                <a:gd name="T14" fmla="*/ 10 w 22"/>
                <a:gd name="T15" fmla="*/ 11 h 26"/>
                <a:gd name="T16" fmla="*/ 11 w 22"/>
                <a:gd name="T17" fmla="*/ 11 h 26"/>
                <a:gd name="T18" fmla="*/ 13 w 22"/>
                <a:gd name="T19" fmla="*/ 12 h 26"/>
                <a:gd name="T20" fmla="*/ 13 w 22"/>
                <a:gd name="T21" fmla="*/ 13 h 26"/>
                <a:gd name="T22" fmla="*/ 13 w 22"/>
                <a:gd name="T23" fmla="*/ 15 h 26"/>
                <a:gd name="T24" fmla="*/ 14 w 22"/>
                <a:gd name="T25" fmla="*/ 16 h 26"/>
                <a:gd name="T26" fmla="*/ 15 w 22"/>
                <a:gd name="T27" fmla="*/ 17 h 26"/>
                <a:gd name="T28" fmla="*/ 16 w 22"/>
                <a:gd name="T29" fmla="*/ 20 h 26"/>
                <a:gd name="T30" fmla="*/ 16 w 22"/>
                <a:gd name="T31" fmla="*/ 21 h 26"/>
                <a:gd name="T32" fmla="*/ 18 w 22"/>
                <a:gd name="T33" fmla="*/ 26 h 26"/>
                <a:gd name="T34" fmla="*/ 19 w 22"/>
                <a:gd name="T35" fmla="*/ 26 h 26"/>
                <a:gd name="T36" fmla="*/ 21 w 22"/>
                <a:gd name="T37" fmla="*/ 25 h 26"/>
                <a:gd name="T38" fmla="*/ 22 w 22"/>
                <a:gd name="T39" fmla="*/ 21 h 26"/>
                <a:gd name="T40" fmla="*/ 18 w 22"/>
                <a:gd name="T41" fmla="*/ 11 h 26"/>
                <a:gd name="T42" fmla="*/ 14 w 22"/>
                <a:gd name="T43" fmla="*/ 8 h 26"/>
                <a:gd name="T44" fmla="*/ 13 w 22"/>
                <a:gd name="T45" fmla="*/ 7 h 26"/>
                <a:gd name="T46" fmla="*/ 11 w 22"/>
                <a:gd name="T47" fmla="*/ 6 h 26"/>
                <a:gd name="T48" fmla="*/ 9 w 22"/>
                <a:gd name="T49" fmla="*/ 5 h 26"/>
                <a:gd name="T50" fmla="*/ 8 w 22"/>
                <a:gd name="T51" fmla="*/ 4 h 26"/>
                <a:gd name="T52" fmla="*/ 8 w 22"/>
                <a:gd name="T53" fmla="*/ 3 h 26"/>
                <a:gd name="T54" fmla="*/ 7 w 22"/>
                <a:gd name="T55" fmla="*/ 3 h 26"/>
                <a:gd name="T56" fmla="*/ 6 w 22"/>
                <a:gd name="T57" fmla="*/ 2 h 26"/>
                <a:gd name="T58" fmla="*/ 5 w 22"/>
                <a:gd name="T59" fmla="*/ 1 h 26"/>
                <a:gd name="T60" fmla="*/ 5 w 22"/>
                <a:gd name="T61" fmla="*/ 1 h 26"/>
                <a:gd name="T62" fmla="*/ 4 w 22"/>
                <a:gd name="T63" fmla="*/ 0 h 26"/>
                <a:gd name="T64" fmla="*/ 3 w 22"/>
                <a:gd name="T65" fmla="*/ 0 h 26"/>
                <a:gd name="T66" fmla="*/ 1 w 22"/>
                <a:gd name="T67" fmla="*/ 1 h 26"/>
                <a:gd name="T68" fmla="*/ 1 w 22"/>
                <a:gd name="T69" fmla="*/ 3 h 26"/>
                <a:gd name="T70" fmla="*/ 3 w 22"/>
                <a:gd name="T71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2" h="26">
                  <a:moveTo>
                    <a:pt x="3" y="5"/>
                  </a:moveTo>
                  <a:cubicBezTo>
                    <a:pt x="3" y="5"/>
                    <a:pt x="3" y="5"/>
                    <a:pt x="4" y="5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7"/>
                    <a:pt x="7" y="8"/>
                  </a:cubicBezTo>
                  <a:cubicBezTo>
                    <a:pt x="7" y="8"/>
                    <a:pt x="7" y="8"/>
                    <a:pt x="8" y="9"/>
                  </a:cubicBezTo>
                  <a:cubicBezTo>
                    <a:pt x="8" y="9"/>
                    <a:pt x="9" y="10"/>
                    <a:pt x="10" y="11"/>
                  </a:cubicBezTo>
                  <a:cubicBezTo>
                    <a:pt x="10" y="11"/>
                    <a:pt x="11" y="11"/>
                    <a:pt x="11" y="11"/>
                  </a:cubicBezTo>
                  <a:cubicBezTo>
                    <a:pt x="12" y="12"/>
                    <a:pt x="13" y="12"/>
                    <a:pt x="13" y="12"/>
                  </a:cubicBezTo>
                  <a:cubicBezTo>
                    <a:pt x="13" y="12"/>
                    <a:pt x="13" y="12"/>
                    <a:pt x="13" y="13"/>
                  </a:cubicBezTo>
                  <a:cubicBezTo>
                    <a:pt x="13" y="13"/>
                    <a:pt x="13" y="14"/>
                    <a:pt x="13" y="15"/>
                  </a:cubicBezTo>
                  <a:cubicBezTo>
                    <a:pt x="13" y="15"/>
                    <a:pt x="14" y="16"/>
                    <a:pt x="14" y="16"/>
                  </a:cubicBezTo>
                  <a:cubicBezTo>
                    <a:pt x="14" y="16"/>
                    <a:pt x="15" y="16"/>
                    <a:pt x="15" y="17"/>
                  </a:cubicBezTo>
                  <a:cubicBezTo>
                    <a:pt x="15" y="17"/>
                    <a:pt x="16" y="19"/>
                    <a:pt x="16" y="20"/>
                  </a:cubicBezTo>
                  <a:cubicBezTo>
                    <a:pt x="16" y="20"/>
                    <a:pt x="16" y="20"/>
                    <a:pt x="16" y="21"/>
                  </a:cubicBezTo>
                  <a:cubicBezTo>
                    <a:pt x="16" y="22"/>
                    <a:pt x="16" y="25"/>
                    <a:pt x="18" y="26"/>
                  </a:cubicBezTo>
                  <a:cubicBezTo>
                    <a:pt x="18" y="26"/>
                    <a:pt x="19" y="26"/>
                    <a:pt x="19" y="26"/>
                  </a:cubicBezTo>
                  <a:cubicBezTo>
                    <a:pt x="20" y="26"/>
                    <a:pt x="20" y="25"/>
                    <a:pt x="21" y="25"/>
                  </a:cubicBezTo>
                  <a:cubicBezTo>
                    <a:pt x="22" y="24"/>
                    <a:pt x="22" y="21"/>
                    <a:pt x="22" y="21"/>
                  </a:cubicBezTo>
                  <a:cubicBezTo>
                    <a:pt x="22" y="17"/>
                    <a:pt x="20" y="14"/>
                    <a:pt x="18" y="11"/>
                  </a:cubicBezTo>
                  <a:cubicBezTo>
                    <a:pt x="17" y="10"/>
                    <a:pt x="16" y="9"/>
                    <a:pt x="14" y="8"/>
                  </a:cubicBezTo>
                  <a:cubicBezTo>
                    <a:pt x="14" y="8"/>
                    <a:pt x="13" y="8"/>
                    <a:pt x="13" y="7"/>
                  </a:cubicBezTo>
                  <a:cubicBezTo>
                    <a:pt x="12" y="7"/>
                    <a:pt x="12" y="6"/>
                    <a:pt x="11" y="6"/>
                  </a:cubicBezTo>
                  <a:cubicBezTo>
                    <a:pt x="10" y="6"/>
                    <a:pt x="10" y="5"/>
                    <a:pt x="9" y="5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4"/>
                    <a:pt x="8" y="3"/>
                    <a:pt x="8" y="3"/>
                  </a:cubicBezTo>
                  <a:cubicBezTo>
                    <a:pt x="8" y="3"/>
                    <a:pt x="8" y="3"/>
                    <a:pt x="7" y="3"/>
                  </a:cubicBezTo>
                  <a:cubicBezTo>
                    <a:pt x="7" y="3"/>
                    <a:pt x="7" y="2"/>
                    <a:pt x="6" y="2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4" y="1"/>
                    <a:pt x="4" y="0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1"/>
                    <a:pt x="0" y="2"/>
                    <a:pt x="1" y="3"/>
                  </a:cubicBezTo>
                  <a:cubicBezTo>
                    <a:pt x="1" y="4"/>
                    <a:pt x="2" y="5"/>
                    <a:pt x="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6342" y="2697"/>
              <a:ext cx="28" cy="31"/>
            </a:xfrm>
            <a:custGeom>
              <a:avLst/>
              <a:gdLst>
                <a:gd name="T0" fmla="*/ 3 w 12"/>
                <a:gd name="T1" fmla="*/ 7 h 13"/>
                <a:gd name="T2" fmla="*/ 3 w 12"/>
                <a:gd name="T3" fmla="*/ 7 h 13"/>
                <a:gd name="T4" fmla="*/ 3 w 12"/>
                <a:gd name="T5" fmla="*/ 7 h 13"/>
                <a:gd name="T6" fmla="*/ 5 w 12"/>
                <a:gd name="T7" fmla="*/ 8 h 13"/>
                <a:gd name="T8" fmla="*/ 5 w 12"/>
                <a:gd name="T9" fmla="*/ 9 h 13"/>
                <a:gd name="T10" fmla="*/ 7 w 12"/>
                <a:gd name="T11" fmla="*/ 12 h 13"/>
                <a:gd name="T12" fmla="*/ 7 w 12"/>
                <a:gd name="T13" fmla="*/ 11 h 13"/>
                <a:gd name="T14" fmla="*/ 7 w 12"/>
                <a:gd name="T15" fmla="*/ 11 h 13"/>
                <a:gd name="T16" fmla="*/ 7 w 12"/>
                <a:gd name="T17" fmla="*/ 12 h 13"/>
                <a:gd name="T18" fmla="*/ 8 w 12"/>
                <a:gd name="T19" fmla="*/ 12 h 13"/>
                <a:gd name="T20" fmla="*/ 9 w 12"/>
                <a:gd name="T21" fmla="*/ 13 h 13"/>
                <a:gd name="T22" fmla="*/ 10 w 12"/>
                <a:gd name="T23" fmla="*/ 13 h 13"/>
                <a:gd name="T24" fmla="*/ 11 w 12"/>
                <a:gd name="T25" fmla="*/ 12 h 13"/>
                <a:gd name="T26" fmla="*/ 11 w 12"/>
                <a:gd name="T27" fmla="*/ 10 h 13"/>
                <a:gd name="T28" fmla="*/ 10 w 12"/>
                <a:gd name="T29" fmla="*/ 8 h 13"/>
                <a:gd name="T30" fmla="*/ 9 w 12"/>
                <a:gd name="T31" fmla="*/ 6 h 13"/>
                <a:gd name="T32" fmla="*/ 8 w 12"/>
                <a:gd name="T33" fmla="*/ 5 h 13"/>
                <a:gd name="T34" fmla="*/ 8 w 12"/>
                <a:gd name="T35" fmla="*/ 4 h 13"/>
                <a:gd name="T36" fmla="*/ 6 w 12"/>
                <a:gd name="T37" fmla="*/ 3 h 13"/>
                <a:gd name="T38" fmla="*/ 6 w 12"/>
                <a:gd name="T39" fmla="*/ 3 h 13"/>
                <a:gd name="T40" fmla="*/ 5 w 12"/>
                <a:gd name="T41" fmla="*/ 2 h 13"/>
                <a:gd name="T42" fmla="*/ 3 w 12"/>
                <a:gd name="T43" fmla="*/ 0 h 13"/>
                <a:gd name="T44" fmla="*/ 2 w 12"/>
                <a:gd name="T45" fmla="*/ 0 h 13"/>
                <a:gd name="T46" fmla="*/ 0 w 12"/>
                <a:gd name="T47" fmla="*/ 0 h 13"/>
                <a:gd name="T48" fmla="*/ 0 w 12"/>
                <a:gd name="T49" fmla="*/ 1 h 13"/>
                <a:gd name="T50" fmla="*/ 3 w 12"/>
                <a:gd name="T51" fmla="*/ 7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" h="13"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4" y="8"/>
                    <a:pt x="4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10"/>
                    <a:pt x="5" y="12"/>
                    <a:pt x="7" y="12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9" y="13"/>
                  </a:cubicBezTo>
                  <a:cubicBezTo>
                    <a:pt x="9" y="13"/>
                    <a:pt x="9" y="13"/>
                    <a:pt x="10" y="13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2" y="11"/>
                    <a:pt x="12" y="10"/>
                    <a:pt x="11" y="10"/>
                  </a:cubicBezTo>
                  <a:cubicBezTo>
                    <a:pt x="11" y="9"/>
                    <a:pt x="10" y="8"/>
                    <a:pt x="10" y="8"/>
                  </a:cubicBezTo>
                  <a:cubicBezTo>
                    <a:pt x="9" y="7"/>
                    <a:pt x="9" y="7"/>
                    <a:pt x="9" y="6"/>
                  </a:cubicBezTo>
                  <a:cubicBezTo>
                    <a:pt x="9" y="6"/>
                    <a:pt x="8" y="6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7" y="3"/>
                    <a:pt x="7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2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4"/>
                    <a:pt x="1" y="5"/>
                    <a:pt x="3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6308" y="2666"/>
              <a:ext cx="31" cy="45"/>
            </a:xfrm>
            <a:custGeom>
              <a:avLst/>
              <a:gdLst>
                <a:gd name="T0" fmla="*/ 1 w 13"/>
                <a:gd name="T1" fmla="*/ 5 h 19"/>
                <a:gd name="T2" fmla="*/ 1 w 13"/>
                <a:gd name="T3" fmla="*/ 6 h 19"/>
                <a:gd name="T4" fmla="*/ 1 w 13"/>
                <a:gd name="T5" fmla="*/ 9 h 19"/>
                <a:gd name="T6" fmla="*/ 2 w 13"/>
                <a:gd name="T7" fmla="*/ 9 h 19"/>
                <a:gd name="T8" fmla="*/ 2 w 13"/>
                <a:gd name="T9" fmla="*/ 9 h 19"/>
                <a:gd name="T10" fmla="*/ 4 w 13"/>
                <a:gd name="T11" fmla="*/ 11 h 19"/>
                <a:gd name="T12" fmla="*/ 4 w 13"/>
                <a:gd name="T13" fmla="*/ 12 h 19"/>
                <a:gd name="T14" fmla="*/ 4 w 13"/>
                <a:gd name="T15" fmla="*/ 12 h 19"/>
                <a:gd name="T16" fmla="*/ 4 w 13"/>
                <a:gd name="T17" fmla="*/ 16 h 19"/>
                <a:gd name="T18" fmla="*/ 4 w 13"/>
                <a:gd name="T19" fmla="*/ 16 h 19"/>
                <a:gd name="T20" fmla="*/ 5 w 13"/>
                <a:gd name="T21" fmla="*/ 18 h 19"/>
                <a:gd name="T22" fmla="*/ 6 w 13"/>
                <a:gd name="T23" fmla="*/ 19 h 19"/>
                <a:gd name="T24" fmla="*/ 8 w 13"/>
                <a:gd name="T25" fmla="*/ 18 h 19"/>
                <a:gd name="T26" fmla="*/ 10 w 13"/>
                <a:gd name="T27" fmla="*/ 17 h 19"/>
                <a:gd name="T28" fmla="*/ 12 w 13"/>
                <a:gd name="T29" fmla="*/ 16 h 19"/>
                <a:gd name="T30" fmla="*/ 12 w 13"/>
                <a:gd name="T31" fmla="*/ 12 h 19"/>
                <a:gd name="T32" fmla="*/ 11 w 13"/>
                <a:gd name="T33" fmla="*/ 10 h 19"/>
                <a:gd name="T34" fmla="*/ 10 w 13"/>
                <a:gd name="T35" fmla="*/ 9 h 19"/>
                <a:gd name="T36" fmla="*/ 10 w 13"/>
                <a:gd name="T37" fmla="*/ 8 h 19"/>
                <a:gd name="T38" fmla="*/ 7 w 13"/>
                <a:gd name="T39" fmla="*/ 5 h 19"/>
                <a:gd name="T40" fmla="*/ 7 w 13"/>
                <a:gd name="T41" fmla="*/ 4 h 19"/>
                <a:gd name="T42" fmla="*/ 5 w 13"/>
                <a:gd name="T43" fmla="*/ 1 h 19"/>
                <a:gd name="T44" fmla="*/ 1 w 13"/>
                <a:gd name="T45" fmla="*/ 1 h 19"/>
                <a:gd name="T46" fmla="*/ 0 w 13"/>
                <a:gd name="T47" fmla="*/ 3 h 19"/>
                <a:gd name="T48" fmla="*/ 0 w 13"/>
                <a:gd name="T49" fmla="*/ 3 h 19"/>
                <a:gd name="T50" fmla="*/ 0 w 13"/>
                <a:gd name="T51" fmla="*/ 4 h 19"/>
                <a:gd name="T52" fmla="*/ 1 w 13"/>
                <a:gd name="T53" fmla="*/ 5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3" h="19">
                  <a:moveTo>
                    <a:pt x="1" y="5"/>
                  </a:moveTo>
                  <a:cubicBezTo>
                    <a:pt x="1" y="5"/>
                    <a:pt x="1" y="5"/>
                    <a:pt x="1" y="6"/>
                  </a:cubicBezTo>
                  <a:cubicBezTo>
                    <a:pt x="0" y="6"/>
                    <a:pt x="0" y="8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10"/>
                    <a:pt x="3" y="11"/>
                    <a:pt x="4" y="11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3"/>
                    <a:pt x="3" y="14"/>
                    <a:pt x="4" y="16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7"/>
                    <a:pt x="4" y="17"/>
                    <a:pt x="5" y="18"/>
                  </a:cubicBezTo>
                  <a:cubicBezTo>
                    <a:pt x="5" y="19"/>
                    <a:pt x="6" y="19"/>
                    <a:pt x="6" y="19"/>
                  </a:cubicBezTo>
                  <a:cubicBezTo>
                    <a:pt x="7" y="19"/>
                    <a:pt x="8" y="18"/>
                    <a:pt x="8" y="18"/>
                  </a:cubicBezTo>
                  <a:cubicBezTo>
                    <a:pt x="9" y="17"/>
                    <a:pt x="9" y="17"/>
                    <a:pt x="10" y="17"/>
                  </a:cubicBezTo>
                  <a:cubicBezTo>
                    <a:pt x="11" y="17"/>
                    <a:pt x="12" y="17"/>
                    <a:pt x="12" y="16"/>
                  </a:cubicBezTo>
                  <a:cubicBezTo>
                    <a:pt x="13" y="14"/>
                    <a:pt x="13" y="13"/>
                    <a:pt x="12" y="12"/>
                  </a:cubicBezTo>
                  <a:cubicBezTo>
                    <a:pt x="12" y="11"/>
                    <a:pt x="11" y="10"/>
                    <a:pt x="11" y="10"/>
                  </a:cubicBezTo>
                  <a:cubicBezTo>
                    <a:pt x="11" y="9"/>
                    <a:pt x="10" y="9"/>
                    <a:pt x="10" y="9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7"/>
                    <a:pt x="9" y="6"/>
                    <a:pt x="7" y="5"/>
                  </a:cubicBezTo>
                  <a:cubicBezTo>
                    <a:pt x="7" y="5"/>
                    <a:pt x="7" y="4"/>
                    <a:pt x="7" y="4"/>
                  </a:cubicBezTo>
                  <a:cubicBezTo>
                    <a:pt x="6" y="3"/>
                    <a:pt x="6" y="2"/>
                    <a:pt x="5" y="1"/>
                  </a:cubicBezTo>
                  <a:cubicBezTo>
                    <a:pt x="4" y="1"/>
                    <a:pt x="2" y="0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4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1" name="Freeform 50"/>
            <p:cNvSpPr>
              <a:spLocks noEditPoints="1"/>
            </p:cNvSpPr>
            <p:nvPr/>
          </p:nvSpPr>
          <p:spPr bwMode="auto">
            <a:xfrm>
              <a:off x="6377" y="2721"/>
              <a:ext cx="33" cy="35"/>
            </a:xfrm>
            <a:custGeom>
              <a:avLst/>
              <a:gdLst>
                <a:gd name="T0" fmla="*/ 1 w 14"/>
                <a:gd name="T1" fmla="*/ 3 h 15"/>
                <a:gd name="T2" fmla="*/ 1 w 14"/>
                <a:gd name="T3" fmla="*/ 4 h 15"/>
                <a:gd name="T4" fmla="*/ 1 w 14"/>
                <a:gd name="T5" fmla="*/ 4 h 15"/>
                <a:gd name="T6" fmla="*/ 2 w 14"/>
                <a:gd name="T7" fmla="*/ 6 h 15"/>
                <a:gd name="T8" fmla="*/ 3 w 14"/>
                <a:gd name="T9" fmla="*/ 7 h 15"/>
                <a:gd name="T10" fmla="*/ 3 w 14"/>
                <a:gd name="T11" fmla="*/ 8 h 15"/>
                <a:gd name="T12" fmla="*/ 4 w 14"/>
                <a:gd name="T13" fmla="*/ 8 h 15"/>
                <a:gd name="T14" fmla="*/ 5 w 14"/>
                <a:gd name="T15" fmla="*/ 9 h 15"/>
                <a:gd name="T16" fmla="*/ 5 w 14"/>
                <a:gd name="T17" fmla="*/ 9 h 15"/>
                <a:gd name="T18" fmla="*/ 5 w 14"/>
                <a:gd name="T19" fmla="*/ 10 h 15"/>
                <a:gd name="T20" fmla="*/ 6 w 14"/>
                <a:gd name="T21" fmla="*/ 11 h 15"/>
                <a:gd name="T22" fmla="*/ 7 w 14"/>
                <a:gd name="T23" fmla="*/ 11 h 15"/>
                <a:gd name="T24" fmla="*/ 7 w 14"/>
                <a:gd name="T25" fmla="*/ 12 h 15"/>
                <a:gd name="T26" fmla="*/ 8 w 14"/>
                <a:gd name="T27" fmla="*/ 12 h 15"/>
                <a:gd name="T28" fmla="*/ 8 w 14"/>
                <a:gd name="T29" fmla="*/ 13 h 15"/>
                <a:gd name="T30" fmla="*/ 10 w 14"/>
                <a:gd name="T31" fmla="*/ 14 h 15"/>
                <a:gd name="T32" fmla="*/ 12 w 14"/>
                <a:gd name="T33" fmla="*/ 15 h 15"/>
                <a:gd name="T34" fmla="*/ 12 w 14"/>
                <a:gd name="T35" fmla="*/ 15 h 15"/>
                <a:gd name="T36" fmla="*/ 14 w 14"/>
                <a:gd name="T37" fmla="*/ 13 h 15"/>
                <a:gd name="T38" fmla="*/ 14 w 14"/>
                <a:gd name="T39" fmla="*/ 12 h 15"/>
                <a:gd name="T40" fmla="*/ 13 w 14"/>
                <a:gd name="T41" fmla="*/ 11 h 15"/>
                <a:gd name="T42" fmla="*/ 12 w 14"/>
                <a:gd name="T43" fmla="*/ 10 h 15"/>
                <a:gd name="T44" fmla="*/ 12 w 14"/>
                <a:gd name="T45" fmla="*/ 10 h 15"/>
                <a:gd name="T46" fmla="*/ 12 w 14"/>
                <a:gd name="T47" fmla="*/ 9 h 15"/>
                <a:gd name="T48" fmla="*/ 11 w 14"/>
                <a:gd name="T49" fmla="*/ 7 h 15"/>
                <a:gd name="T50" fmla="*/ 9 w 14"/>
                <a:gd name="T51" fmla="*/ 6 h 15"/>
                <a:gd name="T52" fmla="*/ 9 w 14"/>
                <a:gd name="T53" fmla="*/ 6 h 15"/>
                <a:gd name="T54" fmla="*/ 8 w 14"/>
                <a:gd name="T55" fmla="*/ 6 h 15"/>
                <a:gd name="T56" fmla="*/ 8 w 14"/>
                <a:gd name="T57" fmla="*/ 5 h 15"/>
                <a:gd name="T58" fmla="*/ 7 w 14"/>
                <a:gd name="T59" fmla="*/ 5 h 15"/>
                <a:gd name="T60" fmla="*/ 7 w 14"/>
                <a:gd name="T61" fmla="*/ 4 h 15"/>
                <a:gd name="T62" fmla="*/ 5 w 14"/>
                <a:gd name="T63" fmla="*/ 2 h 15"/>
                <a:gd name="T64" fmla="*/ 4 w 14"/>
                <a:gd name="T65" fmla="*/ 2 h 15"/>
                <a:gd name="T66" fmla="*/ 4 w 14"/>
                <a:gd name="T67" fmla="*/ 2 h 15"/>
                <a:gd name="T68" fmla="*/ 4 w 14"/>
                <a:gd name="T69" fmla="*/ 1 h 15"/>
                <a:gd name="T70" fmla="*/ 2 w 14"/>
                <a:gd name="T71" fmla="*/ 0 h 15"/>
                <a:gd name="T72" fmla="*/ 1 w 14"/>
                <a:gd name="T73" fmla="*/ 1 h 15"/>
                <a:gd name="T74" fmla="*/ 1 w 14"/>
                <a:gd name="T75" fmla="*/ 2 h 15"/>
                <a:gd name="T76" fmla="*/ 1 w 14"/>
                <a:gd name="T77" fmla="*/ 3 h 15"/>
                <a:gd name="T78" fmla="*/ 6 w 14"/>
                <a:gd name="T79" fmla="*/ 5 h 15"/>
                <a:gd name="T80" fmla="*/ 6 w 14"/>
                <a:gd name="T81" fmla="*/ 5 h 15"/>
                <a:gd name="T82" fmla="*/ 6 w 14"/>
                <a:gd name="T83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" h="15">
                  <a:moveTo>
                    <a:pt x="1" y="3"/>
                  </a:moveTo>
                  <a:cubicBezTo>
                    <a:pt x="1" y="3"/>
                    <a:pt x="1" y="4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2" y="6"/>
                    <a:pt x="3" y="7"/>
                    <a:pt x="3" y="7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9"/>
                    <a:pt x="4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10"/>
                    <a:pt x="5" y="10"/>
                  </a:cubicBezTo>
                  <a:cubicBezTo>
                    <a:pt x="6" y="10"/>
                    <a:pt x="6" y="10"/>
                    <a:pt x="6" y="11"/>
                  </a:cubicBezTo>
                  <a:cubicBezTo>
                    <a:pt x="6" y="11"/>
                    <a:pt x="7" y="11"/>
                    <a:pt x="7" y="11"/>
                  </a:cubicBezTo>
                  <a:cubicBezTo>
                    <a:pt x="7" y="11"/>
                    <a:pt x="7" y="11"/>
                    <a:pt x="7" y="12"/>
                  </a:cubicBezTo>
                  <a:cubicBezTo>
                    <a:pt x="8" y="12"/>
                    <a:pt x="8" y="12"/>
                    <a:pt x="8" y="12"/>
                  </a:cubicBezTo>
                  <a:cubicBezTo>
                    <a:pt x="8" y="12"/>
                    <a:pt x="8" y="12"/>
                    <a:pt x="8" y="13"/>
                  </a:cubicBezTo>
                  <a:cubicBezTo>
                    <a:pt x="9" y="13"/>
                    <a:pt x="9" y="13"/>
                    <a:pt x="10" y="14"/>
                  </a:cubicBezTo>
                  <a:cubicBezTo>
                    <a:pt x="10" y="15"/>
                    <a:pt x="11" y="15"/>
                    <a:pt x="12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5"/>
                    <a:pt x="14" y="14"/>
                    <a:pt x="14" y="13"/>
                  </a:cubicBezTo>
                  <a:cubicBezTo>
                    <a:pt x="14" y="13"/>
                    <a:pt x="14" y="12"/>
                    <a:pt x="14" y="12"/>
                  </a:cubicBezTo>
                  <a:cubicBezTo>
                    <a:pt x="13" y="11"/>
                    <a:pt x="13" y="11"/>
                    <a:pt x="13" y="11"/>
                  </a:cubicBezTo>
                  <a:cubicBezTo>
                    <a:pt x="12" y="11"/>
                    <a:pt x="12" y="11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8"/>
                    <a:pt x="11" y="7"/>
                  </a:cubicBezTo>
                  <a:cubicBezTo>
                    <a:pt x="11" y="7"/>
                    <a:pt x="10" y="7"/>
                    <a:pt x="9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5"/>
                    <a:pt x="8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1" y="0"/>
                    <a:pt x="1" y="1"/>
                    <a:pt x="1" y="1"/>
                  </a:cubicBezTo>
                  <a:cubicBezTo>
                    <a:pt x="0" y="1"/>
                    <a:pt x="0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lose/>
                  <a:moveTo>
                    <a:pt x="6" y="5"/>
                  </a:move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2" name="Freeform 51"/>
            <p:cNvSpPr>
              <a:spLocks noEditPoints="1"/>
            </p:cNvSpPr>
            <p:nvPr/>
          </p:nvSpPr>
          <p:spPr bwMode="auto">
            <a:xfrm>
              <a:off x="5947" y="2536"/>
              <a:ext cx="30" cy="21"/>
            </a:xfrm>
            <a:custGeom>
              <a:avLst/>
              <a:gdLst>
                <a:gd name="T0" fmla="*/ 0 w 13"/>
                <a:gd name="T1" fmla="*/ 3 h 9"/>
                <a:gd name="T2" fmla="*/ 0 w 13"/>
                <a:gd name="T3" fmla="*/ 3 h 9"/>
                <a:gd name="T4" fmla="*/ 0 w 13"/>
                <a:gd name="T5" fmla="*/ 3 h 9"/>
                <a:gd name="T6" fmla="*/ 0 w 13"/>
                <a:gd name="T7" fmla="*/ 4 h 9"/>
                <a:gd name="T8" fmla="*/ 1 w 13"/>
                <a:gd name="T9" fmla="*/ 7 h 9"/>
                <a:gd name="T10" fmla="*/ 3 w 13"/>
                <a:gd name="T11" fmla="*/ 9 h 9"/>
                <a:gd name="T12" fmla="*/ 3 w 13"/>
                <a:gd name="T13" fmla="*/ 9 h 9"/>
                <a:gd name="T14" fmla="*/ 4 w 13"/>
                <a:gd name="T15" fmla="*/ 9 h 9"/>
                <a:gd name="T16" fmla="*/ 5 w 13"/>
                <a:gd name="T17" fmla="*/ 9 h 9"/>
                <a:gd name="T18" fmla="*/ 5 w 13"/>
                <a:gd name="T19" fmla="*/ 8 h 9"/>
                <a:gd name="T20" fmla="*/ 5 w 13"/>
                <a:gd name="T21" fmla="*/ 8 h 9"/>
                <a:gd name="T22" fmla="*/ 5 w 13"/>
                <a:gd name="T23" fmla="*/ 9 h 9"/>
                <a:gd name="T24" fmla="*/ 6 w 13"/>
                <a:gd name="T25" fmla="*/ 9 h 9"/>
                <a:gd name="T26" fmla="*/ 8 w 13"/>
                <a:gd name="T27" fmla="*/ 8 h 9"/>
                <a:gd name="T28" fmla="*/ 6 w 13"/>
                <a:gd name="T29" fmla="*/ 4 h 9"/>
                <a:gd name="T30" fmla="*/ 5 w 13"/>
                <a:gd name="T31" fmla="*/ 4 h 9"/>
                <a:gd name="T32" fmla="*/ 13 w 13"/>
                <a:gd name="T33" fmla="*/ 0 h 9"/>
                <a:gd name="T34" fmla="*/ 2 w 13"/>
                <a:gd name="T35" fmla="*/ 2 h 9"/>
                <a:gd name="T36" fmla="*/ 0 w 13"/>
                <a:gd name="T37" fmla="*/ 3 h 9"/>
                <a:gd name="T38" fmla="*/ 4 w 13"/>
                <a:gd name="T39" fmla="*/ 4 h 9"/>
                <a:gd name="T40" fmla="*/ 4 w 13"/>
                <a:gd name="T41" fmla="*/ 4 h 9"/>
                <a:gd name="T42" fmla="*/ 4 w 13"/>
                <a:gd name="T43" fmla="*/ 4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" h="9">
                  <a:moveTo>
                    <a:pt x="0" y="3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6"/>
                    <a:pt x="1" y="7"/>
                  </a:cubicBezTo>
                  <a:cubicBezTo>
                    <a:pt x="1" y="8"/>
                    <a:pt x="1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8" y="9"/>
                    <a:pt x="8" y="9"/>
                    <a:pt x="8" y="8"/>
                  </a:cubicBezTo>
                  <a:cubicBezTo>
                    <a:pt x="9" y="7"/>
                    <a:pt x="8" y="5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3"/>
                    <a:pt x="0" y="3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3" name="Freeform 52"/>
            <p:cNvSpPr>
              <a:spLocks noEditPoints="1"/>
            </p:cNvSpPr>
            <p:nvPr/>
          </p:nvSpPr>
          <p:spPr bwMode="auto">
            <a:xfrm>
              <a:off x="5857" y="2531"/>
              <a:ext cx="373" cy="277"/>
            </a:xfrm>
            <a:custGeom>
              <a:avLst/>
              <a:gdLst>
                <a:gd name="T0" fmla="*/ 67 w 158"/>
                <a:gd name="T1" fmla="*/ 18 h 117"/>
                <a:gd name="T2" fmla="*/ 57 w 158"/>
                <a:gd name="T3" fmla="*/ 11 h 117"/>
                <a:gd name="T4" fmla="*/ 50 w 158"/>
                <a:gd name="T5" fmla="*/ 17 h 117"/>
                <a:gd name="T6" fmla="*/ 42 w 158"/>
                <a:gd name="T7" fmla="*/ 14 h 117"/>
                <a:gd name="T8" fmla="*/ 40 w 158"/>
                <a:gd name="T9" fmla="*/ 18 h 117"/>
                <a:gd name="T10" fmla="*/ 48 w 158"/>
                <a:gd name="T11" fmla="*/ 20 h 117"/>
                <a:gd name="T12" fmla="*/ 39 w 158"/>
                <a:gd name="T13" fmla="*/ 28 h 117"/>
                <a:gd name="T14" fmla="*/ 33 w 158"/>
                <a:gd name="T15" fmla="*/ 30 h 117"/>
                <a:gd name="T16" fmla="*/ 30 w 158"/>
                <a:gd name="T17" fmla="*/ 21 h 117"/>
                <a:gd name="T18" fmla="*/ 27 w 158"/>
                <a:gd name="T19" fmla="*/ 7 h 117"/>
                <a:gd name="T20" fmla="*/ 20 w 158"/>
                <a:gd name="T21" fmla="*/ 4 h 117"/>
                <a:gd name="T22" fmla="*/ 9 w 158"/>
                <a:gd name="T23" fmla="*/ 4 h 117"/>
                <a:gd name="T24" fmla="*/ 1 w 158"/>
                <a:gd name="T25" fmla="*/ 11 h 117"/>
                <a:gd name="T26" fmla="*/ 5 w 158"/>
                <a:gd name="T27" fmla="*/ 15 h 117"/>
                <a:gd name="T28" fmla="*/ 11 w 158"/>
                <a:gd name="T29" fmla="*/ 23 h 117"/>
                <a:gd name="T30" fmla="*/ 13 w 158"/>
                <a:gd name="T31" fmla="*/ 25 h 117"/>
                <a:gd name="T32" fmla="*/ 13 w 158"/>
                <a:gd name="T33" fmla="*/ 33 h 117"/>
                <a:gd name="T34" fmla="*/ 16 w 158"/>
                <a:gd name="T35" fmla="*/ 42 h 117"/>
                <a:gd name="T36" fmla="*/ 25 w 158"/>
                <a:gd name="T37" fmla="*/ 39 h 117"/>
                <a:gd name="T38" fmla="*/ 32 w 158"/>
                <a:gd name="T39" fmla="*/ 45 h 117"/>
                <a:gd name="T40" fmla="*/ 42 w 158"/>
                <a:gd name="T41" fmla="*/ 49 h 117"/>
                <a:gd name="T42" fmla="*/ 52 w 158"/>
                <a:gd name="T43" fmla="*/ 54 h 117"/>
                <a:gd name="T44" fmla="*/ 58 w 158"/>
                <a:gd name="T45" fmla="*/ 66 h 117"/>
                <a:gd name="T46" fmla="*/ 59 w 158"/>
                <a:gd name="T47" fmla="*/ 71 h 117"/>
                <a:gd name="T48" fmla="*/ 56 w 158"/>
                <a:gd name="T49" fmla="*/ 78 h 117"/>
                <a:gd name="T50" fmla="*/ 50 w 158"/>
                <a:gd name="T51" fmla="*/ 87 h 117"/>
                <a:gd name="T52" fmla="*/ 64 w 158"/>
                <a:gd name="T53" fmla="*/ 88 h 117"/>
                <a:gd name="T54" fmla="*/ 72 w 158"/>
                <a:gd name="T55" fmla="*/ 91 h 117"/>
                <a:gd name="T56" fmla="*/ 77 w 158"/>
                <a:gd name="T57" fmla="*/ 98 h 117"/>
                <a:gd name="T58" fmla="*/ 85 w 158"/>
                <a:gd name="T59" fmla="*/ 100 h 117"/>
                <a:gd name="T60" fmla="*/ 94 w 158"/>
                <a:gd name="T61" fmla="*/ 98 h 117"/>
                <a:gd name="T62" fmla="*/ 99 w 158"/>
                <a:gd name="T63" fmla="*/ 89 h 117"/>
                <a:gd name="T64" fmla="*/ 105 w 158"/>
                <a:gd name="T65" fmla="*/ 83 h 117"/>
                <a:gd name="T66" fmla="*/ 116 w 158"/>
                <a:gd name="T67" fmla="*/ 86 h 117"/>
                <a:gd name="T68" fmla="*/ 123 w 158"/>
                <a:gd name="T69" fmla="*/ 95 h 117"/>
                <a:gd name="T70" fmla="*/ 130 w 158"/>
                <a:gd name="T71" fmla="*/ 105 h 117"/>
                <a:gd name="T72" fmla="*/ 136 w 158"/>
                <a:gd name="T73" fmla="*/ 110 h 117"/>
                <a:gd name="T74" fmla="*/ 143 w 158"/>
                <a:gd name="T75" fmla="*/ 112 h 117"/>
                <a:gd name="T76" fmla="*/ 150 w 158"/>
                <a:gd name="T77" fmla="*/ 117 h 117"/>
                <a:gd name="T78" fmla="*/ 154 w 158"/>
                <a:gd name="T79" fmla="*/ 116 h 117"/>
                <a:gd name="T80" fmla="*/ 158 w 158"/>
                <a:gd name="T81" fmla="*/ 110 h 117"/>
                <a:gd name="T82" fmla="*/ 150 w 158"/>
                <a:gd name="T83" fmla="*/ 102 h 117"/>
                <a:gd name="T84" fmla="*/ 143 w 158"/>
                <a:gd name="T85" fmla="*/ 96 h 117"/>
                <a:gd name="T86" fmla="*/ 140 w 158"/>
                <a:gd name="T87" fmla="*/ 91 h 117"/>
                <a:gd name="T88" fmla="*/ 136 w 158"/>
                <a:gd name="T89" fmla="*/ 81 h 117"/>
                <a:gd name="T90" fmla="*/ 132 w 158"/>
                <a:gd name="T91" fmla="*/ 74 h 117"/>
                <a:gd name="T92" fmla="*/ 137 w 158"/>
                <a:gd name="T93" fmla="*/ 67 h 117"/>
                <a:gd name="T94" fmla="*/ 124 w 158"/>
                <a:gd name="T95" fmla="*/ 57 h 117"/>
                <a:gd name="T96" fmla="*/ 121 w 158"/>
                <a:gd name="T97" fmla="*/ 48 h 117"/>
                <a:gd name="T98" fmla="*/ 113 w 158"/>
                <a:gd name="T99" fmla="*/ 39 h 117"/>
                <a:gd name="T100" fmla="*/ 106 w 158"/>
                <a:gd name="T101" fmla="*/ 36 h 117"/>
                <a:gd name="T102" fmla="*/ 98 w 158"/>
                <a:gd name="T103" fmla="*/ 33 h 117"/>
                <a:gd name="T104" fmla="*/ 92 w 158"/>
                <a:gd name="T105" fmla="*/ 29 h 117"/>
                <a:gd name="T106" fmla="*/ 84 w 158"/>
                <a:gd name="T107" fmla="*/ 25 h 117"/>
                <a:gd name="T108" fmla="*/ 10 w 158"/>
                <a:gd name="T109" fmla="*/ 16 h 117"/>
                <a:gd name="T110" fmla="*/ 47 w 158"/>
                <a:gd name="T111" fmla="*/ 16 h 117"/>
                <a:gd name="T112" fmla="*/ 136 w 158"/>
                <a:gd name="T113" fmla="*/ 6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8" h="117">
                  <a:moveTo>
                    <a:pt x="76" y="21"/>
                  </a:moveTo>
                  <a:cubicBezTo>
                    <a:pt x="75" y="21"/>
                    <a:pt x="75" y="21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3" y="22"/>
                    <a:pt x="73" y="22"/>
                    <a:pt x="73" y="21"/>
                  </a:cubicBezTo>
                  <a:cubicBezTo>
                    <a:pt x="72" y="21"/>
                    <a:pt x="72" y="20"/>
                    <a:pt x="71" y="20"/>
                  </a:cubicBezTo>
                  <a:cubicBezTo>
                    <a:pt x="70" y="20"/>
                    <a:pt x="69" y="19"/>
                    <a:pt x="69" y="19"/>
                  </a:cubicBezTo>
                  <a:cubicBezTo>
                    <a:pt x="68" y="19"/>
                    <a:pt x="68" y="18"/>
                    <a:pt x="67" y="18"/>
                  </a:cubicBezTo>
                  <a:cubicBezTo>
                    <a:pt x="66" y="17"/>
                    <a:pt x="65" y="16"/>
                    <a:pt x="64" y="16"/>
                  </a:cubicBezTo>
                  <a:cubicBezTo>
                    <a:pt x="64" y="16"/>
                    <a:pt x="63" y="16"/>
                    <a:pt x="63" y="15"/>
                  </a:cubicBezTo>
                  <a:cubicBezTo>
                    <a:pt x="63" y="15"/>
                    <a:pt x="62" y="15"/>
                    <a:pt x="62" y="15"/>
                  </a:cubicBezTo>
                  <a:cubicBezTo>
                    <a:pt x="62" y="15"/>
                    <a:pt x="62" y="14"/>
                    <a:pt x="61" y="14"/>
                  </a:cubicBezTo>
                  <a:cubicBezTo>
                    <a:pt x="61" y="14"/>
                    <a:pt x="60" y="14"/>
                    <a:pt x="60" y="13"/>
                  </a:cubicBezTo>
                  <a:cubicBezTo>
                    <a:pt x="59" y="13"/>
                    <a:pt x="59" y="13"/>
                    <a:pt x="59" y="13"/>
                  </a:cubicBezTo>
                  <a:cubicBezTo>
                    <a:pt x="59" y="13"/>
                    <a:pt x="59" y="12"/>
                    <a:pt x="58" y="12"/>
                  </a:cubicBezTo>
                  <a:cubicBezTo>
                    <a:pt x="58" y="12"/>
                    <a:pt x="57" y="11"/>
                    <a:pt x="57" y="11"/>
                  </a:cubicBezTo>
                  <a:cubicBezTo>
                    <a:pt x="56" y="10"/>
                    <a:pt x="56" y="10"/>
                    <a:pt x="56" y="10"/>
                  </a:cubicBezTo>
                  <a:cubicBezTo>
                    <a:pt x="55" y="12"/>
                    <a:pt x="55" y="12"/>
                    <a:pt x="55" y="12"/>
                  </a:cubicBezTo>
                  <a:cubicBezTo>
                    <a:pt x="55" y="13"/>
                    <a:pt x="55" y="13"/>
                    <a:pt x="54" y="13"/>
                  </a:cubicBezTo>
                  <a:cubicBezTo>
                    <a:pt x="55" y="14"/>
                    <a:pt x="55" y="14"/>
                    <a:pt x="55" y="14"/>
                  </a:cubicBezTo>
                  <a:cubicBezTo>
                    <a:pt x="54" y="13"/>
                    <a:pt x="54" y="13"/>
                    <a:pt x="54" y="13"/>
                  </a:cubicBezTo>
                  <a:cubicBezTo>
                    <a:pt x="54" y="14"/>
                    <a:pt x="53" y="14"/>
                    <a:pt x="53" y="15"/>
                  </a:cubicBezTo>
                  <a:cubicBezTo>
                    <a:pt x="52" y="15"/>
                    <a:pt x="52" y="15"/>
                    <a:pt x="52" y="15"/>
                  </a:cubicBezTo>
                  <a:cubicBezTo>
                    <a:pt x="52" y="16"/>
                    <a:pt x="51" y="16"/>
                    <a:pt x="50" y="17"/>
                  </a:cubicBezTo>
                  <a:cubicBezTo>
                    <a:pt x="50" y="17"/>
                    <a:pt x="50" y="17"/>
                    <a:pt x="50" y="16"/>
                  </a:cubicBezTo>
                  <a:cubicBezTo>
                    <a:pt x="50" y="15"/>
                    <a:pt x="48" y="15"/>
                    <a:pt x="47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5" y="14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4" y="14"/>
                    <a:pt x="42" y="14"/>
                    <a:pt x="42" y="14"/>
                  </a:cubicBezTo>
                  <a:cubicBezTo>
                    <a:pt x="41" y="14"/>
                    <a:pt x="41" y="15"/>
                    <a:pt x="40" y="14"/>
                  </a:cubicBezTo>
                  <a:cubicBezTo>
                    <a:pt x="40" y="14"/>
                    <a:pt x="40" y="14"/>
                    <a:pt x="39" y="14"/>
                  </a:cubicBezTo>
                  <a:cubicBezTo>
                    <a:pt x="39" y="14"/>
                    <a:pt x="39" y="14"/>
                    <a:pt x="38" y="14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5"/>
                    <a:pt x="37" y="15"/>
                    <a:pt x="37" y="15"/>
                  </a:cubicBezTo>
                  <a:cubicBezTo>
                    <a:pt x="37" y="16"/>
                    <a:pt x="37" y="16"/>
                    <a:pt x="37" y="17"/>
                  </a:cubicBezTo>
                  <a:cubicBezTo>
                    <a:pt x="38" y="18"/>
                    <a:pt x="39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41" y="19"/>
                    <a:pt x="41" y="19"/>
                    <a:pt x="42" y="19"/>
                  </a:cubicBezTo>
                  <a:cubicBezTo>
                    <a:pt x="42" y="19"/>
                    <a:pt x="43" y="19"/>
                    <a:pt x="44" y="19"/>
                  </a:cubicBezTo>
                  <a:cubicBezTo>
                    <a:pt x="44" y="19"/>
                    <a:pt x="45" y="19"/>
                    <a:pt x="46" y="19"/>
                  </a:cubicBezTo>
                  <a:cubicBezTo>
                    <a:pt x="46" y="19"/>
                    <a:pt x="47" y="19"/>
                    <a:pt x="47" y="19"/>
                  </a:cubicBezTo>
                  <a:cubicBezTo>
                    <a:pt x="48" y="19"/>
                    <a:pt x="49" y="18"/>
                    <a:pt x="49" y="18"/>
                  </a:cubicBezTo>
                  <a:cubicBezTo>
                    <a:pt x="49" y="18"/>
                    <a:pt x="49" y="18"/>
                    <a:pt x="49" y="19"/>
                  </a:cubicBezTo>
                  <a:cubicBezTo>
                    <a:pt x="49" y="19"/>
                    <a:pt x="48" y="19"/>
                    <a:pt x="48" y="19"/>
                  </a:cubicBezTo>
                  <a:cubicBezTo>
                    <a:pt x="48" y="20"/>
                    <a:pt x="48" y="20"/>
                    <a:pt x="48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5" y="20"/>
                    <a:pt x="44" y="21"/>
                    <a:pt x="43" y="22"/>
                  </a:cubicBezTo>
                  <a:cubicBezTo>
                    <a:pt x="43" y="22"/>
                    <a:pt x="43" y="23"/>
                    <a:pt x="43" y="23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2" y="24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0" y="26"/>
                    <a:pt x="39" y="26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8" y="29"/>
                    <a:pt x="38" y="29"/>
                    <a:pt x="38" y="30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6" y="30"/>
                    <a:pt x="35" y="31"/>
                    <a:pt x="35" y="31"/>
                  </a:cubicBezTo>
                  <a:cubicBezTo>
                    <a:pt x="35" y="31"/>
                    <a:pt x="35" y="32"/>
                    <a:pt x="35" y="32"/>
                  </a:cubicBezTo>
                  <a:cubicBezTo>
                    <a:pt x="35" y="32"/>
                    <a:pt x="35" y="31"/>
                    <a:pt x="35" y="31"/>
                  </a:cubicBezTo>
                  <a:cubicBezTo>
                    <a:pt x="34" y="31"/>
                    <a:pt x="34" y="30"/>
                    <a:pt x="33" y="30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33" y="30"/>
                    <a:pt x="33" y="29"/>
                    <a:pt x="33" y="29"/>
                  </a:cubicBezTo>
                  <a:cubicBezTo>
                    <a:pt x="33" y="28"/>
                    <a:pt x="33" y="28"/>
                    <a:pt x="32" y="28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5"/>
                    <a:pt x="31" y="24"/>
                    <a:pt x="30" y="24"/>
                  </a:cubicBezTo>
                  <a:cubicBezTo>
                    <a:pt x="30" y="23"/>
                    <a:pt x="30" y="23"/>
                    <a:pt x="30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9" y="20"/>
                    <a:pt x="29" y="19"/>
                    <a:pt x="29" y="17"/>
                  </a:cubicBezTo>
                  <a:cubicBezTo>
                    <a:pt x="29" y="16"/>
                    <a:pt x="29" y="16"/>
                    <a:pt x="29" y="15"/>
                  </a:cubicBezTo>
                  <a:cubicBezTo>
                    <a:pt x="29" y="15"/>
                    <a:pt x="29" y="14"/>
                    <a:pt x="29" y="14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29" y="13"/>
                    <a:pt x="30" y="13"/>
                    <a:pt x="30" y="12"/>
                  </a:cubicBezTo>
                  <a:cubicBezTo>
                    <a:pt x="30" y="11"/>
                    <a:pt x="30" y="9"/>
                    <a:pt x="29" y="8"/>
                  </a:cubicBezTo>
                  <a:cubicBezTo>
                    <a:pt x="28" y="8"/>
                    <a:pt x="28" y="8"/>
                    <a:pt x="28" y="8"/>
                  </a:cubicBezTo>
                  <a:cubicBezTo>
                    <a:pt x="28" y="8"/>
                    <a:pt x="27" y="7"/>
                    <a:pt x="27" y="7"/>
                  </a:cubicBezTo>
                  <a:cubicBezTo>
                    <a:pt x="27" y="7"/>
                    <a:pt x="27" y="7"/>
                    <a:pt x="27" y="6"/>
                  </a:cubicBezTo>
                  <a:cubicBezTo>
                    <a:pt x="27" y="6"/>
                    <a:pt x="27" y="6"/>
                    <a:pt x="26" y="5"/>
                  </a:cubicBezTo>
                  <a:cubicBezTo>
                    <a:pt x="26" y="5"/>
                    <a:pt x="26" y="4"/>
                    <a:pt x="25" y="4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3" y="4"/>
                    <a:pt x="22" y="5"/>
                  </a:cubicBezTo>
                  <a:cubicBezTo>
                    <a:pt x="22" y="5"/>
                    <a:pt x="22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3"/>
                    <a:pt x="18" y="2"/>
                    <a:pt x="17" y="2"/>
                  </a:cubicBezTo>
                  <a:cubicBezTo>
                    <a:pt x="17" y="2"/>
                    <a:pt x="16" y="1"/>
                    <a:pt x="16" y="1"/>
                  </a:cubicBezTo>
                  <a:cubicBezTo>
                    <a:pt x="16" y="1"/>
                    <a:pt x="15" y="1"/>
                    <a:pt x="15" y="1"/>
                  </a:cubicBezTo>
                  <a:cubicBezTo>
                    <a:pt x="14" y="0"/>
                    <a:pt x="13" y="0"/>
                    <a:pt x="12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9" y="3"/>
                    <a:pt x="9" y="4"/>
                  </a:cubicBezTo>
                  <a:cubicBezTo>
                    <a:pt x="9" y="4"/>
                    <a:pt x="8" y="5"/>
                    <a:pt x="8" y="5"/>
                  </a:cubicBezTo>
                  <a:cubicBezTo>
                    <a:pt x="8" y="5"/>
                    <a:pt x="8" y="5"/>
                    <a:pt x="7" y="5"/>
                  </a:cubicBezTo>
                  <a:cubicBezTo>
                    <a:pt x="6" y="4"/>
                    <a:pt x="5" y="4"/>
                    <a:pt x="5" y="5"/>
                  </a:cubicBezTo>
                  <a:cubicBezTo>
                    <a:pt x="4" y="6"/>
                    <a:pt x="3" y="7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9"/>
                    <a:pt x="3" y="9"/>
                    <a:pt x="2" y="10"/>
                  </a:cubicBezTo>
                  <a:cubicBezTo>
                    <a:pt x="2" y="10"/>
                    <a:pt x="2" y="11"/>
                    <a:pt x="2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1" y="12"/>
                    <a:pt x="0" y="12"/>
                    <a:pt x="0" y="13"/>
                  </a:cubicBezTo>
                  <a:cubicBezTo>
                    <a:pt x="0" y="13"/>
                    <a:pt x="0" y="14"/>
                    <a:pt x="0" y="14"/>
                  </a:cubicBezTo>
                  <a:cubicBezTo>
                    <a:pt x="1" y="16"/>
                    <a:pt x="3" y="15"/>
                    <a:pt x="4" y="15"/>
                  </a:cubicBezTo>
                  <a:cubicBezTo>
                    <a:pt x="4" y="15"/>
                    <a:pt x="4" y="15"/>
                    <a:pt x="5" y="15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4"/>
                    <a:pt x="5" y="14"/>
                    <a:pt x="5" y="15"/>
                  </a:cubicBezTo>
                  <a:cubicBezTo>
                    <a:pt x="5" y="15"/>
                    <a:pt x="5" y="15"/>
                    <a:pt x="5" y="15"/>
                  </a:cubicBezTo>
                  <a:cubicBezTo>
                    <a:pt x="6" y="16"/>
                    <a:pt x="7" y="17"/>
                    <a:pt x="8" y="16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8" y="17"/>
                    <a:pt x="8" y="18"/>
                  </a:cubicBezTo>
                  <a:cubicBezTo>
                    <a:pt x="8" y="18"/>
                    <a:pt x="8" y="19"/>
                    <a:pt x="8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10" y="21"/>
                    <a:pt x="10" y="21"/>
                    <a:pt x="10" y="21"/>
                  </a:cubicBezTo>
                  <a:cubicBezTo>
                    <a:pt x="10" y="22"/>
                    <a:pt x="10" y="23"/>
                    <a:pt x="11" y="23"/>
                  </a:cubicBezTo>
                  <a:cubicBezTo>
                    <a:pt x="11" y="24"/>
                    <a:pt x="12" y="24"/>
                    <a:pt x="13" y="24"/>
                  </a:cubicBezTo>
                  <a:cubicBezTo>
                    <a:pt x="14" y="24"/>
                    <a:pt x="14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23"/>
                    <a:pt x="15" y="24"/>
                    <a:pt x="15" y="24"/>
                  </a:cubicBezTo>
                  <a:cubicBezTo>
                    <a:pt x="15" y="24"/>
                    <a:pt x="16" y="25"/>
                    <a:pt x="16" y="25"/>
                  </a:cubicBezTo>
                  <a:cubicBezTo>
                    <a:pt x="15" y="25"/>
                    <a:pt x="15" y="25"/>
                    <a:pt x="15" y="25"/>
                  </a:cubicBezTo>
                  <a:cubicBezTo>
                    <a:pt x="15" y="25"/>
                    <a:pt x="14" y="25"/>
                    <a:pt x="13" y="25"/>
                  </a:cubicBezTo>
                  <a:cubicBezTo>
                    <a:pt x="13" y="25"/>
                    <a:pt x="13" y="25"/>
                    <a:pt x="13" y="25"/>
                  </a:cubicBezTo>
                  <a:cubicBezTo>
                    <a:pt x="12" y="25"/>
                    <a:pt x="9" y="25"/>
                    <a:pt x="8" y="27"/>
                  </a:cubicBezTo>
                  <a:cubicBezTo>
                    <a:pt x="8" y="28"/>
                    <a:pt x="8" y="29"/>
                    <a:pt x="8" y="29"/>
                  </a:cubicBezTo>
                  <a:cubicBezTo>
                    <a:pt x="9" y="30"/>
                    <a:pt x="10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0"/>
                    <a:pt x="13" y="31"/>
                    <a:pt x="13" y="31"/>
                  </a:cubicBezTo>
                  <a:cubicBezTo>
                    <a:pt x="13" y="31"/>
                    <a:pt x="13" y="31"/>
                    <a:pt x="14" y="31"/>
                  </a:cubicBezTo>
                  <a:cubicBezTo>
                    <a:pt x="13" y="32"/>
                    <a:pt x="13" y="32"/>
                    <a:pt x="13" y="33"/>
                  </a:cubicBezTo>
                  <a:cubicBezTo>
                    <a:pt x="13" y="34"/>
                    <a:pt x="14" y="34"/>
                    <a:pt x="14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4" y="36"/>
                    <a:pt x="14" y="37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8"/>
                    <a:pt x="14" y="38"/>
                  </a:cubicBezTo>
                  <a:cubicBezTo>
                    <a:pt x="14" y="38"/>
                    <a:pt x="14" y="39"/>
                    <a:pt x="14" y="39"/>
                  </a:cubicBezTo>
                  <a:cubicBezTo>
                    <a:pt x="14" y="41"/>
                    <a:pt x="15" y="42"/>
                    <a:pt x="16" y="42"/>
                  </a:cubicBezTo>
                  <a:cubicBezTo>
                    <a:pt x="17" y="43"/>
                    <a:pt x="19" y="43"/>
                    <a:pt x="20" y="42"/>
                  </a:cubicBezTo>
                  <a:cubicBezTo>
                    <a:pt x="21" y="42"/>
                    <a:pt x="21" y="41"/>
                    <a:pt x="21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38"/>
                    <a:pt x="22" y="38"/>
                  </a:cubicBezTo>
                  <a:cubicBezTo>
                    <a:pt x="22" y="38"/>
                    <a:pt x="22" y="38"/>
                    <a:pt x="22" y="37"/>
                  </a:cubicBezTo>
                  <a:cubicBezTo>
                    <a:pt x="22" y="37"/>
                    <a:pt x="23" y="37"/>
                    <a:pt x="23" y="37"/>
                  </a:cubicBezTo>
                  <a:cubicBezTo>
                    <a:pt x="23" y="38"/>
                    <a:pt x="24" y="39"/>
                    <a:pt x="25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6" y="39"/>
                    <a:pt x="26" y="39"/>
                  </a:cubicBezTo>
                  <a:cubicBezTo>
                    <a:pt x="26" y="39"/>
                    <a:pt x="26" y="40"/>
                    <a:pt x="26" y="40"/>
                  </a:cubicBezTo>
                  <a:cubicBezTo>
                    <a:pt x="26" y="40"/>
                    <a:pt x="27" y="42"/>
                    <a:pt x="27" y="42"/>
                  </a:cubicBezTo>
                  <a:cubicBezTo>
                    <a:pt x="28" y="42"/>
                    <a:pt x="28" y="42"/>
                    <a:pt x="29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30" y="43"/>
                    <a:pt x="30" y="43"/>
                    <a:pt x="30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2" y="45"/>
                  </a:cubicBezTo>
                  <a:cubicBezTo>
                    <a:pt x="32" y="45"/>
                    <a:pt x="32" y="45"/>
                    <a:pt x="33" y="45"/>
                  </a:cubicBezTo>
                  <a:cubicBezTo>
                    <a:pt x="33" y="45"/>
                    <a:pt x="33" y="45"/>
                    <a:pt x="34" y="46"/>
                  </a:cubicBezTo>
                  <a:cubicBezTo>
                    <a:pt x="34" y="46"/>
                    <a:pt x="34" y="47"/>
                    <a:pt x="35" y="47"/>
                  </a:cubicBezTo>
                  <a:cubicBezTo>
                    <a:pt x="35" y="47"/>
                    <a:pt x="35" y="47"/>
                    <a:pt x="36" y="47"/>
                  </a:cubicBezTo>
                  <a:cubicBezTo>
                    <a:pt x="36" y="47"/>
                    <a:pt x="36" y="47"/>
                    <a:pt x="37" y="47"/>
                  </a:cubicBezTo>
                  <a:cubicBezTo>
                    <a:pt x="37" y="47"/>
                    <a:pt x="38" y="47"/>
                    <a:pt x="38" y="47"/>
                  </a:cubicBezTo>
                  <a:cubicBezTo>
                    <a:pt x="39" y="47"/>
                    <a:pt x="39" y="48"/>
                    <a:pt x="39" y="48"/>
                  </a:cubicBezTo>
                  <a:cubicBezTo>
                    <a:pt x="40" y="48"/>
                    <a:pt x="41" y="49"/>
                    <a:pt x="42" y="49"/>
                  </a:cubicBezTo>
                  <a:cubicBezTo>
                    <a:pt x="42" y="49"/>
                    <a:pt x="43" y="49"/>
                    <a:pt x="43" y="50"/>
                  </a:cubicBezTo>
                  <a:cubicBezTo>
                    <a:pt x="43" y="50"/>
                    <a:pt x="44" y="50"/>
                    <a:pt x="44" y="50"/>
                  </a:cubicBezTo>
                  <a:cubicBezTo>
                    <a:pt x="44" y="50"/>
                    <a:pt x="45" y="51"/>
                    <a:pt x="46" y="51"/>
                  </a:cubicBezTo>
                  <a:cubicBezTo>
                    <a:pt x="46" y="51"/>
                    <a:pt x="46" y="51"/>
                    <a:pt x="46" y="51"/>
                  </a:cubicBezTo>
                  <a:cubicBezTo>
                    <a:pt x="47" y="52"/>
                    <a:pt x="48" y="53"/>
                    <a:pt x="49" y="52"/>
                  </a:cubicBezTo>
                  <a:cubicBezTo>
                    <a:pt x="49" y="52"/>
                    <a:pt x="49" y="52"/>
                    <a:pt x="49" y="52"/>
                  </a:cubicBezTo>
                  <a:cubicBezTo>
                    <a:pt x="50" y="53"/>
                    <a:pt x="50" y="54"/>
                    <a:pt x="52" y="54"/>
                  </a:cubicBezTo>
                  <a:cubicBezTo>
                    <a:pt x="52" y="54"/>
                    <a:pt x="52" y="54"/>
                    <a:pt x="52" y="54"/>
                  </a:cubicBezTo>
                  <a:cubicBezTo>
                    <a:pt x="52" y="54"/>
                    <a:pt x="52" y="54"/>
                    <a:pt x="52" y="55"/>
                  </a:cubicBezTo>
                  <a:cubicBezTo>
                    <a:pt x="52" y="55"/>
                    <a:pt x="52" y="56"/>
                    <a:pt x="53" y="56"/>
                  </a:cubicBezTo>
                  <a:cubicBezTo>
                    <a:pt x="54" y="57"/>
                    <a:pt x="54" y="57"/>
                    <a:pt x="55" y="58"/>
                  </a:cubicBezTo>
                  <a:cubicBezTo>
                    <a:pt x="55" y="58"/>
                    <a:pt x="57" y="58"/>
                    <a:pt x="58" y="58"/>
                  </a:cubicBezTo>
                  <a:cubicBezTo>
                    <a:pt x="57" y="58"/>
                    <a:pt x="57" y="60"/>
                    <a:pt x="57" y="61"/>
                  </a:cubicBezTo>
                  <a:cubicBezTo>
                    <a:pt x="57" y="61"/>
                    <a:pt x="57" y="62"/>
                    <a:pt x="58" y="62"/>
                  </a:cubicBezTo>
                  <a:cubicBezTo>
                    <a:pt x="58" y="62"/>
                    <a:pt x="58" y="63"/>
                    <a:pt x="58" y="63"/>
                  </a:cubicBezTo>
                  <a:cubicBezTo>
                    <a:pt x="58" y="64"/>
                    <a:pt x="58" y="65"/>
                    <a:pt x="58" y="66"/>
                  </a:cubicBezTo>
                  <a:cubicBezTo>
                    <a:pt x="58" y="66"/>
                    <a:pt x="58" y="68"/>
                    <a:pt x="59" y="69"/>
                  </a:cubicBezTo>
                  <a:cubicBezTo>
                    <a:pt x="59" y="69"/>
                    <a:pt x="60" y="69"/>
                    <a:pt x="60" y="70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0" y="70"/>
                    <a:pt x="60" y="70"/>
                    <a:pt x="60" y="70"/>
                  </a:cubicBezTo>
                  <a:cubicBezTo>
                    <a:pt x="60" y="70"/>
                    <a:pt x="61" y="70"/>
                    <a:pt x="61" y="70"/>
                  </a:cubicBezTo>
                  <a:cubicBezTo>
                    <a:pt x="60" y="70"/>
                    <a:pt x="60" y="70"/>
                    <a:pt x="60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1"/>
                    <a:pt x="59" y="71"/>
                    <a:pt x="59" y="71"/>
                  </a:cubicBezTo>
                  <a:cubicBezTo>
                    <a:pt x="59" y="73"/>
                    <a:pt x="60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0" y="75"/>
                    <a:pt x="61" y="76"/>
                  </a:cubicBezTo>
                  <a:cubicBezTo>
                    <a:pt x="60" y="76"/>
                    <a:pt x="60" y="75"/>
                    <a:pt x="59" y="75"/>
                  </a:cubicBezTo>
                  <a:cubicBezTo>
                    <a:pt x="59" y="75"/>
                    <a:pt x="58" y="76"/>
                    <a:pt x="57" y="76"/>
                  </a:cubicBezTo>
                  <a:cubicBezTo>
                    <a:pt x="57" y="77"/>
                    <a:pt x="56" y="77"/>
                    <a:pt x="56" y="78"/>
                  </a:cubicBezTo>
                  <a:cubicBezTo>
                    <a:pt x="55" y="78"/>
                    <a:pt x="55" y="79"/>
                    <a:pt x="55" y="79"/>
                  </a:cubicBezTo>
                  <a:cubicBezTo>
                    <a:pt x="55" y="79"/>
                    <a:pt x="55" y="79"/>
                    <a:pt x="54" y="79"/>
                  </a:cubicBezTo>
                  <a:cubicBezTo>
                    <a:pt x="54" y="79"/>
                    <a:pt x="53" y="80"/>
                    <a:pt x="53" y="81"/>
                  </a:cubicBezTo>
                  <a:cubicBezTo>
                    <a:pt x="52" y="81"/>
                    <a:pt x="52" y="82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4"/>
                    <a:pt x="52" y="84"/>
                    <a:pt x="52" y="85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0" y="86"/>
                    <a:pt x="50" y="87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1" y="89"/>
                    <a:pt x="52" y="90"/>
                    <a:pt x="53" y="90"/>
                  </a:cubicBezTo>
                  <a:cubicBezTo>
                    <a:pt x="54" y="90"/>
                    <a:pt x="55" y="89"/>
                    <a:pt x="56" y="89"/>
                  </a:cubicBezTo>
                  <a:cubicBezTo>
                    <a:pt x="56" y="89"/>
                    <a:pt x="57" y="89"/>
                    <a:pt x="57" y="88"/>
                  </a:cubicBezTo>
                  <a:cubicBezTo>
                    <a:pt x="58" y="88"/>
                    <a:pt x="59" y="88"/>
                    <a:pt x="60" y="87"/>
                  </a:cubicBezTo>
                  <a:cubicBezTo>
                    <a:pt x="61" y="87"/>
                    <a:pt x="61" y="86"/>
                    <a:pt x="61" y="86"/>
                  </a:cubicBezTo>
                  <a:cubicBezTo>
                    <a:pt x="61" y="86"/>
                    <a:pt x="61" y="86"/>
                    <a:pt x="61" y="87"/>
                  </a:cubicBezTo>
                  <a:cubicBezTo>
                    <a:pt x="62" y="87"/>
                    <a:pt x="63" y="88"/>
                    <a:pt x="64" y="88"/>
                  </a:cubicBezTo>
                  <a:cubicBezTo>
                    <a:pt x="65" y="88"/>
                    <a:pt x="65" y="88"/>
                    <a:pt x="66" y="87"/>
                  </a:cubicBezTo>
                  <a:cubicBezTo>
                    <a:pt x="66" y="87"/>
                    <a:pt x="66" y="87"/>
                    <a:pt x="67" y="87"/>
                  </a:cubicBezTo>
                  <a:cubicBezTo>
                    <a:pt x="67" y="87"/>
                    <a:pt x="67" y="87"/>
                    <a:pt x="68" y="87"/>
                  </a:cubicBezTo>
                  <a:cubicBezTo>
                    <a:pt x="68" y="87"/>
                    <a:pt x="68" y="87"/>
                    <a:pt x="69" y="87"/>
                  </a:cubicBezTo>
                  <a:cubicBezTo>
                    <a:pt x="69" y="87"/>
                    <a:pt x="69" y="87"/>
                    <a:pt x="70" y="88"/>
                  </a:cubicBezTo>
                  <a:cubicBezTo>
                    <a:pt x="70" y="88"/>
                    <a:pt x="70" y="88"/>
                    <a:pt x="70" y="88"/>
                  </a:cubicBezTo>
                  <a:cubicBezTo>
                    <a:pt x="70" y="88"/>
                    <a:pt x="71" y="89"/>
                    <a:pt x="71" y="89"/>
                  </a:cubicBezTo>
                  <a:cubicBezTo>
                    <a:pt x="71" y="90"/>
                    <a:pt x="72" y="91"/>
                    <a:pt x="72" y="91"/>
                  </a:cubicBezTo>
                  <a:cubicBezTo>
                    <a:pt x="73" y="92"/>
                    <a:pt x="73" y="92"/>
                    <a:pt x="73" y="92"/>
                  </a:cubicBezTo>
                  <a:cubicBezTo>
                    <a:pt x="73" y="92"/>
                    <a:pt x="74" y="92"/>
                    <a:pt x="74" y="92"/>
                  </a:cubicBezTo>
                  <a:cubicBezTo>
                    <a:pt x="74" y="92"/>
                    <a:pt x="74" y="93"/>
                    <a:pt x="74" y="93"/>
                  </a:cubicBezTo>
                  <a:cubicBezTo>
                    <a:pt x="73" y="93"/>
                    <a:pt x="73" y="94"/>
                    <a:pt x="74" y="94"/>
                  </a:cubicBezTo>
                  <a:cubicBezTo>
                    <a:pt x="74" y="95"/>
                    <a:pt x="75" y="96"/>
                    <a:pt x="75" y="96"/>
                  </a:cubicBezTo>
                  <a:cubicBezTo>
                    <a:pt x="75" y="96"/>
                    <a:pt x="75" y="96"/>
                    <a:pt x="76" y="97"/>
                  </a:cubicBezTo>
                  <a:cubicBezTo>
                    <a:pt x="76" y="97"/>
                    <a:pt x="76" y="97"/>
                    <a:pt x="76" y="97"/>
                  </a:cubicBezTo>
                  <a:cubicBezTo>
                    <a:pt x="76" y="97"/>
                    <a:pt x="77" y="98"/>
                    <a:pt x="77" y="98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79" y="98"/>
                    <a:pt x="79" y="98"/>
                    <a:pt x="79" y="98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1" y="99"/>
                    <a:pt x="81" y="99"/>
                    <a:pt x="82" y="99"/>
                  </a:cubicBezTo>
                  <a:cubicBezTo>
                    <a:pt x="83" y="100"/>
                    <a:pt x="84" y="100"/>
                    <a:pt x="85" y="100"/>
                  </a:cubicBezTo>
                  <a:cubicBezTo>
                    <a:pt x="85" y="98"/>
                    <a:pt x="85" y="98"/>
                    <a:pt x="85" y="98"/>
                  </a:cubicBezTo>
                  <a:cubicBezTo>
                    <a:pt x="85" y="100"/>
                    <a:pt x="85" y="100"/>
                    <a:pt x="85" y="100"/>
                  </a:cubicBezTo>
                  <a:cubicBezTo>
                    <a:pt x="86" y="99"/>
                    <a:pt x="87" y="99"/>
                    <a:pt x="88" y="98"/>
                  </a:cubicBezTo>
                  <a:cubicBezTo>
                    <a:pt x="88" y="98"/>
                    <a:pt x="88" y="98"/>
                    <a:pt x="88" y="98"/>
                  </a:cubicBezTo>
                  <a:cubicBezTo>
                    <a:pt x="90" y="105"/>
                    <a:pt x="90" y="105"/>
                    <a:pt x="90" y="105"/>
                  </a:cubicBezTo>
                  <a:cubicBezTo>
                    <a:pt x="90" y="100"/>
                    <a:pt x="90" y="100"/>
                    <a:pt x="90" y="100"/>
                  </a:cubicBezTo>
                  <a:cubicBezTo>
                    <a:pt x="92" y="100"/>
                    <a:pt x="93" y="100"/>
                    <a:pt x="93" y="99"/>
                  </a:cubicBezTo>
                  <a:cubicBezTo>
                    <a:pt x="94" y="98"/>
                    <a:pt x="94" y="98"/>
                    <a:pt x="94" y="98"/>
                  </a:cubicBezTo>
                  <a:cubicBezTo>
                    <a:pt x="95" y="98"/>
                    <a:pt x="95" y="98"/>
                    <a:pt x="95" y="98"/>
                  </a:cubicBezTo>
                  <a:cubicBezTo>
                    <a:pt x="96" y="98"/>
                    <a:pt x="96" y="98"/>
                    <a:pt x="96" y="98"/>
                  </a:cubicBezTo>
                  <a:cubicBezTo>
                    <a:pt x="96" y="98"/>
                    <a:pt x="97" y="98"/>
                    <a:pt x="97" y="98"/>
                  </a:cubicBezTo>
                  <a:cubicBezTo>
                    <a:pt x="99" y="98"/>
                    <a:pt x="99" y="96"/>
                    <a:pt x="99" y="95"/>
                  </a:cubicBezTo>
                  <a:cubicBezTo>
                    <a:pt x="99" y="94"/>
                    <a:pt x="98" y="94"/>
                    <a:pt x="98" y="93"/>
                  </a:cubicBezTo>
                  <a:cubicBezTo>
                    <a:pt x="98" y="93"/>
                    <a:pt x="98" y="93"/>
                    <a:pt x="98" y="92"/>
                  </a:cubicBezTo>
                  <a:cubicBezTo>
                    <a:pt x="98" y="92"/>
                    <a:pt x="97" y="91"/>
                    <a:pt x="97" y="90"/>
                  </a:cubicBezTo>
                  <a:cubicBezTo>
                    <a:pt x="98" y="90"/>
                    <a:pt x="98" y="90"/>
                    <a:pt x="99" y="89"/>
                  </a:cubicBezTo>
                  <a:cubicBezTo>
                    <a:pt x="99" y="89"/>
                    <a:pt x="99" y="89"/>
                    <a:pt x="99" y="89"/>
                  </a:cubicBezTo>
                  <a:cubicBezTo>
                    <a:pt x="100" y="89"/>
                    <a:pt x="102" y="88"/>
                    <a:pt x="101" y="86"/>
                  </a:cubicBezTo>
                  <a:cubicBezTo>
                    <a:pt x="101" y="86"/>
                    <a:pt x="101" y="86"/>
                    <a:pt x="101" y="86"/>
                  </a:cubicBezTo>
                  <a:cubicBezTo>
                    <a:pt x="101" y="86"/>
                    <a:pt x="102" y="86"/>
                    <a:pt x="102" y="86"/>
                  </a:cubicBezTo>
                  <a:cubicBezTo>
                    <a:pt x="103" y="86"/>
                    <a:pt x="103" y="85"/>
                    <a:pt x="104" y="85"/>
                  </a:cubicBezTo>
                  <a:cubicBezTo>
                    <a:pt x="104" y="84"/>
                    <a:pt x="104" y="83"/>
                    <a:pt x="104" y="83"/>
                  </a:cubicBezTo>
                  <a:cubicBezTo>
                    <a:pt x="104" y="83"/>
                    <a:pt x="105" y="83"/>
                    <a:pt x="105" y="83"/>
                  </a:cubicBezTo>
                  <a:cubicBezTo>
                    <a:pt x="105" y="83"/>
                    <a:pt x="105" y="83"/>
                    <a:pt x="105" y="83"/>
                  </a:cubicBezTo>
                  <a:cubicBezTo>
                    <a:pt x="106" y="83"/>
                    <a:pt x="107" y="83"/>
                    <a:pt x="108" y="82"/>
                  </a:cubicBezTo>
                  <a:cubicBezTo>
                    <a:pt x="108" y="82"/>
                    <a:pt x="109" y="82"/>
                    <a:pt x="110" y="82"/>
                  </a:cubicBezTo>
                  <a:cubicBezTo>
                    <a:pt x="110" y="82"/>
                    <a:pt x="110" y="83"/>
                    <a:pt x="110" y="84"/>
                  </a:cubicBezTo>
                  <a:cubicBezTo>
                    <a:pt x="111" y="85"/>
                    <a:pt x="113" y="85"/>
                    <a:pt x="113" y="85"/>
                  </a:cubicBezTo>
                  <a:cubicBezTo>
                    <a:pt x="113" y="85"/>
                    <a:pt x="113" y="85"/>
                    <a:pt x="113" y="85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15" y="85"/>
                    <a:pt x="115" y="85"/>
                    <a:pt x="115" y="85"/>
                  </a:cubicBezTo>
                  <a:cubicBezTo>
                    <a:pt x="115" y="85"/>
                    <a:pt x="115" y="85"/>
                    <a:pt x="116" y="86"/>
                  </a:cubicBezTo>
                  <a:cubicBezTo>
                    <a:pt x="116" y="86"/>
                    <a:pt x="116" y="86"/>
                    <a:pt x="116" y="86"/>
                  </a:cubicBezTo>
                  <a:cubicBezTo>
                    <a:pt x="117" y="87"/>
                    <a:pt x="117" y="87"/>
                    <a:pt x="118" y="88"/>
                  </a:cubicBezTo>
                  <a:cubicBezTo>
                    <a:pt x="119" y="88"/>
                    <a:pt x="119" y="89"/>
                    <a:pt x="119" y="89"/>
                  </a:cubicBezTo>
                  <a:cubicBezTo>
                    <a:pt x="119" y="90"/>
                    <a:pt x="120" y="90"/>
                    <a:pt x="120" y="91"/>
                  </a:cubicBezTo>
                  <a:cubicBezTo>
                    <a:pt x="120" y="91"/>
                    <a:pt x="120" y="91"/>
                    <a:pt x="120" y="91"/>
                  </a:cubicBezTo>
                  <a:cubicBezTo>
                    <a:pt x="121" y="92"/>
                    <a:pt x="121" y="92"/>
                    <a:pt x="122" y="93"/>
                  </a:cubicBezTo>
                  <a:cubicBezTo>
                    <a:pt x="122" y="93"/>
                    <a:pt x="123" y="94"/>
                    <a:pt x="123" y="94"/>
                  </a:cubicBezTo>
                  <a:cubicBezTo>
                    <a:pt x="123" y="94"/>
                    <a:pt x="123" y="95"/>
                    <a:pt x="123" y="95"/>
                  </a:cubicBezTo>
                  <a:cubicBezTo>
                    <a:pt x="123" y="96"/>
                    <a:pt x="123" y="98"/>
                    <a:pt x="125" y="99"/>
                  </a:cubicBezTo>
                  <a:cubicBezTo>
                    <a:pt x="125" y="99"/>
                    <a:pt x="125" y="99"/>
                    <a:pt x="125" y="99"/>
                  </a:cubicBezTo>
                  <a:cubicBezTo>
                    <a:pt x="125" y="99"/>
                    <a:pt x="125" y="99"/>
                    <a:pt x="125" y="99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5" y="100"/>
                    <a:pt x="125" y="100"/>
                    <a:pt x="125" y="100"/>
                  </a:cubicBezTo>
                  <a:cubicBezTo>
                    <a:pt x="125" y="102"/>
                    <a:pt x="127" y="103"/>
                    <a:pt x="128" y="104"/>
                  </a:cubicBezTo>
                  <a:cubicBezTo>
                    <a:pt x="128" y="104"/>
                    <a:pt x="128" y="104"/>
                    <a:pt x="128" y="104"/>
                  </a:cubicBezTo>
                  <a:cubicBezTo>
                    <a:pt x="129" y="104"/>
                    <a:pt x="129" y="105"/>
                    <a:pt x="130" y="105"/>
                  </a:cubicBezTo>
                  <a:cubicBezTo>
                    <a:pt x="130" y="105"/>
                    <a:pt x="130" y="106"/>
                    <a:pt x="130" y="106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30" y="107"/>
                    <a:pt x="130" y="107"/>
                    <a:pt x="130" y="107"/>
                  </a:cubicBezTo>
                  <a:cubicBezTo>
                    <a:pt x="130" y="108"/>
                    <a:pt x="129" y="110"/>
                    <a:pt x="131" y="110"/>
                  </a:cubicBezTo>
                  <a:cubicBezTo>
                    <a:pt x="131" y="111"/>
                    <a:pt x="132" y="110"/>
                    <a:pt x="133" y="110"/>
                  </a:cubicBezTo>
                  <a:cubicBezTo>
                    <a:pt x="133" y="110"/>
                    <a:pt x="133" y="111"/>
                    <a:pt x="134" y="111"/>
                  </a:cubicBezTo>
                  <a:cubicBezTo>
                    <a:pt x="135" y="111"/>
                    <a:pt x="135" y="111"/>
                    <a:pt x="135" y="111"/>
                  </a:cubicBezTo>
                  <a:cubicBezTo>
                    <a:pt x="135" y="110"/>
                    <a:pt x="136" y="110"/>
                    <a:pt x="136" y="110"/>
                  </a:cubicBezTo>
                  <a:cubicBezTo>
                    <a:pt x="136" y="110"/>
                    <a:pt x="136" y="111"/>
                    <a:pt x="137" y="111"/>
                  </a:cubicBezTo>
                  <a:cubicBezTo>
                    <a:pt x="137" y="112"/>
                    <a:pt x="138" y="112"/>
                    <a:pt x="138" y="112"/>
                  </a:cubicBezTo>
                  <a:cubicBezTo>
                    <a:pt x="139" y="112"/>
                    <a:pt x="139" y="112"/>
                    <a:pt x="139" y="112"/>
                  </a:cubicBezTo>
                  <a:cubicBezTo>
                    <a:pt x="139" y="112"/>
                    <a:pt x="139" y="112"/>
                    <a:pt x="140" y="112"/>
                  </a:cubicBezTo>
                  <a:cubicBezTo>
                    <a:pt x="140" y="112"/>
                    <a:pt x="140" y="112"/>
                    <a:pt x="140" y="112"/>
                  </a:cubicBezTo>
                  <a:cubicBezTo>
                    <a:pt x="141" y="112"/>
                    <a:pt x="142" y="113"/>
                    <a:pt x="142" y="112"/>
                  </a:cubicBezTo>
                  <a:cubicBezTo>
                    <a:pt x="143" y="112"/>
                    <a:pt x="143" y="112"/>
                    <a:pt x="143" y="112"/>
                  </a:cubicBezTo>
                  <a:cubicBezTo>
                    <a:pt x="143" y="112"/>
                    <a:pt x="143" y="112"/>
                    <a:pt x="143" y="112"/>
                  </a:cubicBezTo>
                  <a:cubicBezTo>
                    <a:pt x="144" y="112"/>
                    <a:pt x="144" y="113"/>
                    <a:pt x="145" y="113"/>
                  </a:cubicBezTo>
                  <a:cubicBezTo>
                    <a:pt x="145" y="113"/>
                    <a:pt x="145" y="113"/>
                    <a:pt x="145" y="113"/>
                  </a:cubicBezTo>
                  <a:cubicBezTo>
                    <a:pt x="146" y="113"/>
                    <a:pt x="146" y="113"/>
                    <a:pt x="146" y="113"/>
                  </a:cubicBezTo>
                  <a:cubicBezTo>
                    <a:pt x="146" y="113"/>
                    <a:pt x="147" y="113"/>
                    <a:pt x="147" y="113"/>
                  </a:cubicBezTo>
                  <a:cubicBezTo>
                    <a:pt x="147" y="113"/>
                    <a:pt x="147" y="114"/>
                    <a:pt x="148" y="114"/>
                  </a:cubicBezTo>
                  <a:cubicBezTo>
                    <a:pt x="148" y="114"/>
                    <a:pt x="148" y="114"/>
                    <a:pt x="148" y="114"/>
                  </a:cubicBezTo>
                  <a:cubicBezTo>
                    <a:pt x="148" y="115"/>
                    <a:pt x="148" y="116"/>
                    <a:pt x="148" y="116"/>
                  </a:cubicBezTo>
                  <a:cubicBezTo>
                    <a:pt x="148" y="116"/>
                    <a:pt x="149" y="117"/>
                    <a:pt x="150" y="117"/>
                  </a:cubicBezTo>
                  <a:cubicBezTo>
                    <a:pt x="150" y="117"/>
                    <a:pt x="150" y="117"/>
                    <a:pt x="150" y="117"/>
                  </a:cubicBezTo>
                  <a:cubicBezTo>
                    <a:pt x="150" y="117"/>
                    <a:pt x="150" y="117"/>
                    <a:pt x="150" y="117"/>
                  </a:cubicBezTo>
                  <a:cubicBezTo>
                    <a:pt x="151" y="117"/>
                    <a:pt x="151" y="116"/>
                    <a:pt x="152" y="116"/>
                  </a:cubicBezTo>
                  <a:cubicBezTo>
                    <a:pt x="152" y="116"/>
                    <a:pt x="153" y="116"/>
                    <a:pt x="153" y="116"/>
                  </a:cubicBezTo>
                  <a:cubicBezTo>
                    <a:pt x="153" y="115"/>
                    <a:pt x="153" y="115"/>
                    <a:pt x="153" y="115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3" y="116"/>
                    <a:pt x="153" y="116"/>
                    <a:pt x="153" y="116"/>
                  </a:cubicBezTo>
                  <a:cubicBezTo>
                    <a:pt x="154" y="116"/>
                    <a:pt x="154" y="116"/>
                    <a:pt x="154" y="116"/>
                  </a:cubicBezTo>
                  <a:cubicBezTo>
                    <a:pt x="155" y="115"/>
                    <a:pt x="156" y="114"/>
                    <a:pt x="155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55" y="113"/>
                    <a:pt x="155" y="113"/>
                    <a:pt x="155" y="113"/>
                  </a:cubicBezTo>
                  <a:cubicBezTo>
                    <a:pt x="156" y="113"/>
                    <a:pt x="156" y="113"/>
                    <a:pt x="156" y="113"/>
                  </a:cubicBezTo>
                  <a:cubicBezTo>
                    <a:pt x="156" y="113"/>
                    <a:pt x="156" y="113"/>
                    <a:pt x="157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57" y="112"/>
                    <a:pt x="157" y="112"/>
                    <a:pt x="157" y="112"/>
                  </a:cubicBezTo>
                  <a:cubicBezTo>
                    <a:pt x="158" y="111"/>
                    <a:pt x="158" y="110"/>
                    <a:pt x="158" y="110"/>
                  </a:cubicBezTo>
                  <a:cubicBezTo>
                    <a:pt x="157" y="109"/>
                    <a:pt x="156" y="108"/>
                    <a:pt x="155" y="109"/>
                  </a:cubicBezTo>
                  <a:cubicBezTo>
                    <a:pt x="154" y="109"/>
                    <a:pt x="154" y="109"/>
                    <a:pt x="154" y="109"/>
                  </a:cubicBezTo>
                  <a:cubicBezTo>
                    <a:pt x="153" y="108"/>
                    <a:pt x="153" y="108"/>
                    <a:pt x="152" y="107"/>
                  </a:cubicBezTo>
                  <a:cubicBezTo>
                    <a:pt x="152" y="107"/>
                    <a:pt x="151" y="107"/>
                    <a:pt x="151" y="107"/>
                  </a:cubicBezTo>
                  <a:cubicBezTo>
                    <a:pt x="151" y="106"/>
                    <a:pt x="150" y="106"/>
                    <a:pt x="150" y="106"/>
                  </a:cubicBezTo>
                  <a:cubicBezTo>
                    <a:pt x="150" y="106"/>
                    <a:pt x="151" y="106"/>
                    <a:pt x="151" y="106"/>
                  </a:cubicBezTo>
                  <a:cubicBezTo>
                    <a:pt x="151" y="105"/>
                    <a:pt x="152" y="105"/>
                    <a:pt x="152" y="104"/>
                  </a:cubicBezTo>
                  <a:cubicBezTo>
                    <a:pt x="152" y="103"/>
                    <a:pt x="150" y="102"/>
                    <a:pt x="150" y="102"/>
                  </a:cubicBezTo>
                  <a:cubicBezTo>
                    <a:pt x="149" y="101"/>
                    <a:pt x="148" y="102"/>
                    <a:pt x="147" y="102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102"/>
                    <a:pt x="146" y="102"/>
                    <a:pt x="146" y="101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8" y="100"/>
                    <a:pt x="148" y="99"/>
                    <a:pt x="148" y="99"/>
                  </a:cubicBezTo>
                  <a:cubicBezTo>
                    <a:pt x="147" y="98"/>
                    <a:pt x="147" y="96"/>
                    <a:pt x="146" y="96"/>
                  </a:cubicBezTo>
                  <a:cubicBezTo>
                    <a:pt x="145" y="95"/>
                    <a:pt x="145" y="95"/>
                    <a:pt x="145" y="95"/>
                  </a:cubicBezTo>
                  <a:cubicBezTo>
                    <a:pt x="144" y="95"/>
                    <a:pt x="144" y="96"/>
                    <a:pt x="143" y="96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2" y="96"/>
                    <a:pt x="142" y="96"/>
                    <a:pt x="142" y="96"/>
                  </a:cubicBezTo>
                  <a:cubicBezTo>
                    <a:pt x="141" y="96"/>
                    <a:pt x="141" y="96"/>
                    <a:pt x="141" y="96"/>
                  </a:cubicBezTo>
                  <a:cubicBezTo>
                    <a:pt x="141" y="96"/>
                    <a:pt x="141" y="95"/>
                    <a:pt x="141" y="95"/>
                  </a:cubicBezTo>
                  <a:cubicBezTo>
                    <a:pt x="141" y="95"/>
                    <a:pt x="141" y="95"/>
                    <a:pt x="141" y="95"/>
                  </a:cubicBezTo>
                  <a:cubicBezTo>
                    <a:pt x="141" y="94"/>
                    <a:pt x="141" y="92"/>
                    <a:pt x="140" y="91"/>
                  </a:cubicBezTo>
                  <a:cubicBezTo>
                    <a:pt x="140" y="91"/>
                    <a:pt x="140" y="91"/>
                    <a:pt x="140" y="91"/>
                  </a:cubicBezTo>
                  <a:cubicBezTo>
                    <a:pt x="140" y="91"/>
                    <a:pt x="140" y="91"/>
                    <a:pt x="140" y="90"/>
                  </a:cubicBezTo>
                  <a:cubicBezTo>
                    <a:pt x="139" y="90"/>
                    <a:pt x="139" y="90"/>
                    <a:pt x="139" y="90"/>
                  </a:cubicBezTo>
                  <a:cubicBezTo>
                    <a:pt x="139" y="90"/>
                    <a:pt x="139" y="89"/>
                    <a:pt x="139" y="89"/>
                  </a:cubicBezTo>
                  <a:cubicBezTo>
                    <a:pt x="139" y="88"/>
                    <a:pt x="139" y="88"/>
                    <a:pt x="139" y="88"/>
                  </a:cubicBezTo>
                  <a:cubicBezTo>
                    <a:pt x="139" y="87"/>
                    <a:pt x="139" y="86"/>
                    <a:pt x="138" y="85"/>
                  </a:cubicBezTo>
                  <a:cubicBezTo>
                    <a:pt x="137" y="85"/>
                    <a:pt x="136" y="84"/>
                    <a:pt x="136" y="83"/>
                  </a:cubicBezTo>
                  <a:cubicBezTo>
                    <a:pt x="136" y="83"/>
                    <a:pt x="136" y="82"/>
                    <a:pt x="136" y="81"/>
                  </a:cubicBezTo>
                  <a:cubicBezTo>
                    <a:pt x="136" y="81"/>
                    <a:pt x="136" y="81"/>
                    <a:pt x="136" y="81"/>
                  </a:cubicBezTo>
                  <a:cubicBezTo>
                    <a:pt x="135" y="81"/>
                    <a:pt x="135" y="81"/>
                    <a:pt x="135" y="80"/>
                  </a:cubicBezTo>
                  <a:cubicBezTo>
                    <a:pt x="135" y="80"/>
                    <a:pt x="135" y="80"/>
                    <a:pt x="135" y="80"/>
                  </a:cubicBezTo>
                  <a:cubicBezTo>
                    <a:pt x="134" y="79"/>
                    <a:pt x="134" y="78"/>
                    <a:pt x="133" y="78"/>
                  </a:cubicBezTo>
                  <a:cubicBezTo>
                    <a:pt x="133" y="78"/>
                    <a:pt x="133" y="78"/>
                    <a:pt x="133" y="78"/>
                  </a:cubicBezTo>
                  <a:cubicBezTo>
                    <a:pt x="133" y="77"/>
                    <a:pt x="133" y="77"/>
                    <a:pt x="132" y="77"/>
                  </a:cubicBezTo>
                  <a:cubicBezTo>
                    <a:pt x="132" y="76"/>
                    <a:pt x="132" y="76"/>
                    <a:pt x="132" y="76"/>
                  </a:cubicBezTo>
                  <a:cubicBezTo>
                    <a:pt x="132" y="75"/>
                    <a:pt x="132" y="75"/>
                    <a:pt x="132" y="74"/>
                  </a:cubicBezTo>
                  <a:cubicBezTo>
                    <a:pt x="132" y="74"/>
                    <a:pt x="132" y="74"/>
                    <a:pt x="132" y="74"/>
                  </a:cubicBezTo>
                  <a:cubicBezTo>
                    <a:pt x="133" y="74"/>
                    <a:pt x="134" y="74"/>
                    <a:pt x="135" y="73"/>
                  </a:cubicBezTo>
                  <a:cubicBezTo>
                    <a:pt x="136" y="72"/>
                    <a:pt x="136" y="72"/>
                    <a:pt x="136" y="72"/>
                  </a:cubicBezTo>
                  <a:cubicBezTo>
                    <a:pt x="137" y="72"/>
                    <a:pt x="138" y="72"/>
                    <a:pt x="138" y="71"/>
                  </a:cubicBezTo>
                  <a:cubicBezTo>
                    <a:pt x="139" y="70"/>
                    <a:pt x="138" y="69"/>
                    <a:pt x="138" y="69"/>
                  </a:cubicBezTo>
                  <a:cubicBezTo>
                    <a:pt x="138" y="69"/>
                    <a:pt x="138" y="68"/>
                    <a:pt x="138" y="68"/>
                  </a:cubicBezTo>
                  <a:cubicBezTo>
                    <a:pt x="138" y="68"/>
                    <a:pt x="137" y="68"/>
                    <a:pt x="137" y="68"/>
                  </a:cubicBezTo>
                  <a:cubicBezTo>
                    <a:pt x="137" y="68"/>
                    <a:pt x="137" y="68"/>
                    <a:pt x="137" y="67"/>
                  </a:cubicBezTo>
                  <a:cubicBezTo>
                    <a:pt x="137" y="67"/>
                    <a:pt x="137" y="67"/>
                    <a:pt x="137" y="67"/>
                  </a:cubicBezTo>
                  <a:cubicBezTo>
                    <a:pt x="137" y="66"/>
                    <a:pt x="137" y="63"/>
                    <a:pt x="135" y="62"/>
                  </a:cubicBezTo>
                  <a:cubicBezTo>
                    <a:pt x="134" y="61"/>
                    <a:pt x="133" y="61"/>
                    <a:pt x="132" y="62"/>
                  </a:cubicBezTo>
                  <a:cubicBezTo>
                    <a:pt x="131" y="62"/>
                    <a:pt x="131" y="61"/>
                    <a:pt x="131" y="61"/>
                  </a:cubicBezTo>
                  <a:cubicBezTo>
                    <a:pt x="131" y="61"/>
                    <a:pt x="131" y="61"/>
                    <a:pt x="130" y="60"/>
                  </a:cubicBezTo>
                  <a:cubicBezTo>
                    <a:pt x="130" y="60"/>
                    <a:pt x="129" y="59"/>
                    <a:pt x="128" y="58"/>
                  </a:cubicBezTo>
                  <a:cubicBezTo>
                    <a:pt x="128" y="58"/>
                    <a:pt x="127" y="57"/>
                    <a:pt x="126" y="57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3" y="57"/>
                  </a:cubicBezTo>
                  <a:cubicBezTo>
                    <a:pt x="123" y="56"/>
                    <a:pt x="122" y="56"/>
                    <a:pt x="122" y="56"/>
                  </a:cubicBezTo>
                  <a:cubicBezTo>
                    <a:pt x="122" y="56"/>
                    <a:pt x="122" y="56"/>
                    <a:pt x="122" y="55"/>
                  </a:cubicBezTo>
                  <a:cubicBezTo>
                    <a:pt x="122" y="55"/>
                    <a:pt x="123" y="55"/>
                    <a:pt x="123" y="55"/>
                  </a:cubicBezTo>
                  <a:cubicBezTo>
                    <a:pt x="123" y="54"/>
                    <a:pt x="123" y="53"/>
                    <a:pt x="123" y="52"/>
                  </a:cubicBezTo>
                  <a:cubicBezTo>
                    <a:pt x="123" y="52"/>
                    <a:pt x="123" y="50"/>
                    <a:pt x="121" y="49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8"/>
                  </a:cubicBezTo>
                  <a:cubicBezTo>
                    <a:pt x="120" y="48"/>
                    <a:pt x="120" y="47"/>
                    <a:pt x="120" y="47"/>
                  </a:cubicBezTo>
                  <a:cubicBezTo>
                    <a:pt x="119" y="47"/>
                    <a:pt x="119" y="46"/>
                    <a:pt x="119" y="46"/>
                  </a:cubicBezTo>
                  <a:cubicBezTo>
                    <a:pt x="118" y="46"/>
                    <a:pt x="118" y="46"/>
                    <a:pt x="118" y="45"/>
                  </a:cubicBezTo>
                  <a:cubicBezTo>
                    <a:pt x="118" y="45"/>
                    <a:pt x="118" y="45"/>
                    <a:pt x="118" y="45"/>
                  </a:cubicBezTo>
                  <a:cubicBezTo>
                    <a:pt x="117" y="45"/>
                    <a:pt x="117" y="44"/>
                    <a:pt x="117" y="44"/>
                  </a:cubicBezTo>
                  <a:cubicBezTo>
                    <a:pt x="116" y="44"/>
                    <a:pt x="116" y="44"/>
                    <a:pt x="116" y="43"/>
                  </a:cubicBezTo>
                  <a:cubicBezTo>
                    <a:pt x="116" y="43"/>
                    <a:pt x="115" y="42"/>
                    <a:pt x="115" y="41"/>
                  </a:cubicBezTo>
                  <a:cubicBezTo>
                    <a:pt x="115" y="41"/>
                    <a:pt x="114" y="40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2" y="39"/>
                    <a:pt x="112" y="38"/>
                    <a:pt x="111" y="38"/>
                  </a:cubicBezTo>
                  <a:cubicBezTo>
                    <a:pt x="110" y="38"/>
                    <a:pt x="110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8" y="38"/>
                    <a:pt x="108" y="37"/>
                    <a:pt x="108" y="37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7" y="37"/>
                    <a:pt x="106" y="37"/>
                    <a:pt x="106" y="36"/>
                  </a:cubicBezTo>
                  <a:cubicBezTo>
                    <a:pt x="106" y="36"/>
                    <a:pt x="105" y="36"/>
                    <a:pt x="105" y="36"/>
                  </a:cubicBezTo>
                  <a:cubicBezTo>
                    <a:pt x="105" y="35"/>
                    <a:pt x="104" y="35"/>
                    <a:pt x="104" y="35"/>
                  </a:cubicBezTo>
                  <a:cubicBezTo>
                    <a:pt x="104" y="34"/>
                    <a:pt x="103" y="34"/>
                    <a:pt x="103" y="34"/>
                  </a:cubicBezTo>
                  <a:cubicBezTo>
                    <a:pt x="102" y="33"/>
                    <a:pt x="101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99" y="33"/>
                    <a:pt x="99" y="33"/>
                    <a:pt x="98" y="33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6" y="32"/>
                    <a:pt x="96" y="32"/>
                  </a:cubicBezTo>
                  <a:cubicBezTo>
                    <a:pt x="96" y="32"/>
                    <a:pt x="96" y="32"/>
                    <a:pt x="95" y="32"/>
                  </a:cubicBezTo>
                  <a:cubicBezTo>
                    <a:pt x="95" y="31"/>
                    <a:pt x="95" y="31"/>
                    <a:pt x="94" y="31"/>
                  </a:cubicBezTo>
                  <a:cubicBezTo>
                    <a:pt x="94" y="31"/>
                    <a:pt x="93" y="30"/>
                    <a:pt x="93" y="30"/>
                  </a:cubicBezTo>
                  <a:cubicBezTo>
                    <a:pt x="93" y="30"/>
                    <a:pt x="92" y="30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1" y="29"/>
                  </a:cubicBezTo>
                  <a:cubicBezTo>
                    <a:pt x="91" y="29"/>
                    <a:pt x="91" y="29"/>
                    <a:pt x="91" y="28"/>
                  </a:cubicBezTo>
                  <a:cubicBezTo>
                    <a:pt x="90" y="28"/>
                    <a:pt x="89" y="27"/>
                    <a:pt x="88" y="27"/>
                  </a:cubicBezTo>
                  <a:cubicBezTo>
                    <a:pt x="88" y="27"/>
                    <a:pt x="88" y="27"/>
                    <a:pt x="87" y="26"/>
                  </a:cubicBezTo>
                  <a:cubicBezTo>
                    <a:pt x="87" y="26"/>
                    <a:pt x="86" y="26"/>
                    <a:pt x="85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3" y="25"/>
                    <a:pt x="83" y="25"/>
                  </a:cubicBezTo>
                  <a:cubicBezTo>
                    <a:pt x="82" y="24"/>
                    <a:pt x="81" y="24"/>
                    <a:pt x="80" y="23"/>
                  </a:cubicBezTo>
                  <a:cubicBezTo>
                    <a:pt x="79" y="23"/>
                    <a:pt x="79" y="23"/>
                    <a:pt x="78" y="22"/>
                  </a:cubicBezTo>
                  <a:cubicBezTo>
                    <a:pt x="77" y="22"/>
                    <a:pt x="77" y="21"/>
                    <a:pt x="76" y="21"/>
                  </a:cubicBezTo>
                  <a:close/>
                  <a:moveTo>
                    <a:pt x="10" y="16"/>
                  </a:move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lose/>
                  <a:moveTo>
                    <a:pt x="59" y="57"/>
                  </a:move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59" y="57"/>
                    <a:pt x="59" y="57"/>
                    <a:pt x="58" y="57"/>
                  </a:cubicBezTo>
                  <a:cubicBezTo>
                    <a:pt x="59" y="57"/>
                    <a:pt x="59" y="57"/>
                    <a:pt x="59" y="57"/>
                  </a:cubicBezTo>
                  <a:close/>
                  <a:moveTo>
                    <a:pt x="47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lose/>
                  <a:moveTo>
                    <a:pt x="19" y="4"/>
                  </a:moveTo>
                  <a:cubicBezTo>
                    <a:pt x="19" y="4"/>
                    <a:pt x="19" y="4"/>
                    <a:pt x="19" y="4"/>
                  </a:cubicBezTo>
                  <a:cubicBezTo>
                    <a:pt x="19" y="4"/>
                    <a:pt x="19" y="4"/>
                    <a:pt x="19" y="4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136" y="67"/>
                  </a:moveTo>
                  <a:cubicBezTo>
                    <a:pt x="136" y="67"/>
                    <a:pt x="136" y="67"/>
                    <a:pt x="136" y="67"/>
                  </a:cubicBezTo>
                  <a:cubicBezTo>
                    <a:pt x="136" y="67"/>
                    <a:pt x="136" y="67"/>
                    <a:pt x="136" y="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5833" y="2567"/>
              <a:ext cx="19" cy="16"/>
            </a:xfrm>
            <a:custGeom>
              <a:avLst/>
              <a:gdLst>
                <a:gd name="T0" fmla="*/ 7 w 8"/>
                <a:gd name="T1" fmla="*/ 1 h 7"/>
                <a:gd name="T2" fmla="*/ 5 w 8"/>
                <a:gd name="T3" fmla="*/ 0 h 7"/>
                <a:gd name="T4" fmla="*/ 4 w 8"/>
                <a:gd name="T5" fmla="*/ 0 h 7"/>
                <a:gd name="T6" fmla="*/ 3 w 8"/>
                <a:gd name="T7" fmla="*/ 0 h 7"/>
                <a:gd name="T8" fmla="*/ 0 w 8"/>
                <a:gd name="T9" fmla="*/ 1 h 7"/>
                <a:gd name="T10" fmla="*/ 0 w 8"/>
                <a:gd name="T11" fmla="*/ 4 h 7"/>
                <a:gd name="T12" fmla="*/ 3 w 8"/>
                <a:gd name="T13" fmla="*/ 6 h 7"/>
                <a:gd name="T14" fmla="*/ 5 w 8"/>
                <a:gd name="T15" fmla="*/ 7 h 7"/>
                <a:gd name="T16" fmla="*/ 7 w 8"/>
                <a:gd name="T17" fmla="*/ 6 h 7"/>
                <a:gd name="T18" fmla="*/ 8 w 8"/>
                <a:gd name="T19" fmla="*/ 4 h 7"/>
                <a:gd name="T20" fmla="*/ 7 w 8"/>
                <a:gd name="T21" fmla="*/ 2 h 7"/>
                <a:gd name="T22" fmla="*/ 7 w 8"/>
                <a:gd name="T23" fmla="*/ 2 h 7"/>
                <a:gd name="T24" fmla="*/ 7 w 8"/>
                <a:gd name="T25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7">
                  <a:moveTo>
                    <a:pt x="7" y="1"/>
                  </a:move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1" y="0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6" y="7"/>
                    <a:pt x="7" y="6"/>
                    <a:pt x="7" y="6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8" y="3"/>
                    <a:pt x="8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1"/>
                    <a:pt x="7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6353" y="2735"/>
              <a:ext cx="19" cy="23"/>
            </a:xfrm>
            <a:custGeom>
              <a:avLst/>
              <a:gdLst>
                <a:gd name="T0" fmla="*/ 6 w 8"/>
                <a:gd name="T1" fmla="*/ 4 h 10"/>
                <a:gd name="T2" fmla="*/ 6 w 8"/>
                <a:gd name="T3" fmla="*/ 3 h 10"/>
                <a:gd name="T4" fmla="*/ 3 w 8"/>
                <a:gd name="T5" fmla="*/ 0 h 10"/>
                <a:gd name="T6" fmla="*/ 2 w 8"/>
                <a:gd name="T7" fmla="*/ 1 h 10"/>
                <a:gd name="T8" fmla="*/ 1 w 8"/>
                <a:gd name="T9" fmla="*/ 2 h 10"/>
                <a:gd name="T10" fmla="*/ 1 w 8"/>
                <a:gd name="T11" fmla="*/ 2 h 10"/>
                <a:gd name="T12" fmla="*/ 1 w 8"/>
                <a:gd name="T13" fmla="*/ 3 h 10"/>
                <a:gd name="T14" fmla="*/ 0 w 8"/>
                <a:gd name="T15" fmla="*/ 6 h 10"/>
                <a:gd name="T16" fmla="*/ 0 w 8"/>
                <a:gd name="T17" fmla="*/ 7 h 10"/>
                <a:gd name="T18" fmla="*/ 1 w 8"/>
                <a:gd name="T19" fmla="*/ 7 h 10"/>
                <a:gd name="T20" fmla="*/ 3 w 8"/>
                <a:gd name="T21" fmla="*/ 6 h 10"/>
                <a:gd name="T22" fmla="*/ 3 w 8"/>
                <a:gd name="T23" fmla="*/ 6 h 10"/>
                <a:gd name="T24" fmla="*/ 3 w 8"/>
                <a:gd name="T25" fmla="*/ 7 h 10"/>
                <a:gd name="T26" fmla="*/ 5 w 8"/>
                <a:gd name="T27" fmla="*/ 10 h 10"/>
                <a:gd name="T28" fmla="*/ 6 w 8"/>
                <a:gd name="T29" fmla="*/ 9 h 10"/>
                <a:gd name="T30" fmla="*/ 8 w 8"/>
                <a:gd name="T31" fmla="*/ 6 h 10"/>
                <a:gd name="T32" fmla="*/ 6 w 8"/>
                <a:gd name="T33" fmla="*/ 4 h 10"/>
                <a:gd name="T34" fmla="*/ 6 w 8"/>
                <a:gd name="T35" fmla="*/ 4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" h="10">
                  <a:moveTo>
                    <a:pt x="6" y="4"/>
                  </a:moveTo>
                  <a:cubicBezTo>
                    <a:pt x="6" y="3"/>
                    <a:pt x="6" y="3"/>
                    <a:pt x="6" y="3"/>
                  </a:cubicBezTo>
                  <a:cubicBezTo>
                    <a:pt x="6" y="2"/>
                    <a:pt x="5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1"/>
                    <a:pt x="1" y="2"/>
                    <a:pt x="1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10"/>
                    <a:pt x="5" y="10"/>
                  </a:cubicBezTo>
                  <a:cubicBezTo>
                    <a:pt x="6" y="10"/>
                    <a:pt x="6" y="10"/>
                    <a:pt x="6" y="9"/>
                  </a:cubicBezTo>
                  <a:cubicBezTo>
                    <a:pt x="8" y="9"/>
                    <a:pt x="8" y="7"/>
                    <a:pt x="8" y="6"/>
                  </a:cubicBezTo>
                  <a:cubicBezTo>
                    <a:pt x="8" y="5"/>
                    <a:pt x="7" y="4"/>
                    <a:pt x="6" y="4"/>
                  </a:cubicBezTo>
                  <a:cubicBezTo>
                    <a:pt x="6" y="4"/>
                    <a:pt x="6" y="4"/>
                    <a:pt x="6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6415" y="2744"/>
              <a:ext cx="35" cy="76"/>
            </a:xfrm>
            <a:custGeom>
              <a:avLst/>
              <a:gdLst>
                <a:gd name="T0" fmla="*/ 2 w 15"/>
                <a:gd name="T1" fmla="*/ 8 h 32"/>
                <a:gd name="T2" fmla="*/ 2 w 15"/>
                <a:gd name="T3" fmla="*/ 8 h 32"/>
                <a:gd name="T4" fmla="*/ 2 w 15"/>
                <a:gd name="T5" fmla="*/ 9 h 32"/>
                <a:gd name="T6" fmla="*/ 2 w 15"/>
                <a:gd name="T7" fmla="*/ 10 h 32"/>
                <a:gd name="T8" fmla="*/ 3 w 15"/>
                <a:gd name="T9" fmla="*/ 13 h 32"/>
                <a:gd name="T10" fmla="*/ 4 w 15"/>
                <a:gd name="T11" fmla="*/ 13 h 32"/>
                <a:gd name="T12" fmla="*/ 4 w 15"/>
                <a:gd name="T13" fmla="*/ 14 h 32"/>
                <a:gd name="T14" fmla="*/ 4 w 15"/>
                <a:gd name="T15" fmla="*/ 14 h 32"/>
                <a:gd name="T16" fmla="*/ 4 w 15"/>
                <a:gd name="T17" fmla="*/ 15 h 32"/>
                <a:gd name="T18" fmla="*/ 5 w 15"/>
                <a:gd name="T19" fmla="*/ 16 h 32"/>
                <a:gd name="T20" fmla="*/ 6 w 15"/>
                <a:gd name="T21" fmla="*/ 17 h 32"/>
                <a:gd name="T22" fmla="*/ 6 w 15"/>
                <a:gd name="T23" fmla="*/ 17 h 32"/>
                <a:gd name="T24" fmla="*/ 5 w 15"/>
                <a:gd name="T25" fmla="*/ 25 h 32"/>
                <a:gd name="T26" fmla="*/ 5 w 15"/>
                <a:gd name="T27" fmla="*/ 27 h 32"/>
                <a:gd name="T28" fmla="*/ 6 w 15"/>
                <a:gd name="T29" fmla="*/ 28 h 32"/>
                <a:gd name="T30" fmla="*/ 7 w 15"/>
                <a:gd name="T31" fmla="*/ 30 h 32"/>
                <a:gd name="T32" fmla="*/ 8 w 15"/>
                <a:gd name="T33" fmla="*/ 31 h 32"/>
                <a:gd name="T34" fmla="*/ 9 w 15"/>
                <a:gd name="T35" fmla="*/ 31 h 32"/>
                <a:gd name="T36" fmla="*/ 11 w 15"/>
                <a:gd name="T37" fmla="*/ 32 h 32"/>
                <a:gd name="T38" fmla="*/ 13 w 15"/>
                <a:gd name="T39" fmla="*/ 32 h 32"/>
                <a:gd name="T40" fmla="*/ 13 w 15"/>
                <a:gd name="T41" fmla="*/ 32 h 32"/>
                <a:gd name="T42" fmla="*/ 15 w 15"/>
                <a:gd name="T43" fmla="*/ 31 h 32"/>
                <a:gd name="T44" fmla="*/ 14 w 15"/>
                <a:gd name="T45" fmla="*/ 29 h 32"/>
                <a:gd name="T46" fmla="*/ 13 w 15"/>
                <a:gd name="T47" fmla="*/ 28 h 32"/>
                <a:gd name="T48" fmla="*/ 13 w 15"/>
                <a:gd name="T49" fmla="*/ 28 h 32"/>
                <a:gd name="T50" fmla="*/ 12 w 15"/>
                <a:gd name="T51" fmla="*/ 26 h 32"/>
                <a:gd name="T52" fmla="*/ 10 w 15"/>
                <a:gd name="T53" fmla="*/ 26 h 32"/>
                <a:gd name="T54" fmla="*/ 9 w 15"/>
                <a:gd name="T55" fmla="*/ 24 h 32"/>
                <a:gd name="T56" fmla="*/ 8 w 15"/>
                <a:gd name="T57" fmla="*/ 24 h 32"/>
                <a:gd name="T58" fmla="*/ 8 w 15"/>
                <a:gd name="T59" fmla="*/ 24 h 32"/>
                <a:gd name="T60" fmla="*/ 7 w 15"/>
                <a:gd name="T61" fmla="*/ 17 h 32"/>
                <a:gd name="T62" fmla="*/ 8 w 15"/>
                <a:gd name="T63" fmla="*/ 16 h 32"/>
                <a:gd name="T64" fmla="*/ 7 w 15"/>
                <a:gd name="T65" fmla="*/ 13 h 32"/>
                <a:gd name="T66" fmla="*/ 7 w 15"/>
                <a:gd name="T67" fmla="*/ 11 h 32"/>
                <a:gd name="T68" fmla="*/ 7 w 15"/>
                <a:gd name="T69" fmla="*/ 10 h 32"/>
                <a:gd name="T70" fmla="*/ 7 w 15"/>
                <a:gd name="T71" fmla="*/ 8 h 32"/>
                <a:gd name="T72" fmla="*/ 6 w 15"/>
                <a:gd name="T73" fmla="*/ 7 h 32"/>
                <a:gd name="T74" fmla="*/ 6 w 15"/>
                <a:gd name="T75" fmla="*/ 7 h 32"/>
                <a:gd name="T76" fmla="*/ 6 w 15"/>
                <a:gd name="T77" fmla="*/ 6 h 32"/>
                <a:gd name="T78" fmla="*/ 6 w 15"/>
                <a:gd name="T79" fmla="*/ 4 h 32"/>
                <a:gd name="T80" fmla="*/ 5 w 15"/>
                <a:gd name="T81" fmla="*/ 3 h 32"/>
                <a:gd name="T82" fmla="*/ 5 w 15"/>
                <a:gd name="T83" fmla="*/ 3 h 32"/>
                <a:gd name="T84" fmla="*/ 4 w 15"/>
                <a:gd name="T85" fmla="*/ 1 h 32"/>
                <a:gd name="T86" fmla="*/ 1 w 15"/>
                <a:gd name="T87" fmla="*/ 1 h 32"/>
                <a:gd name="T88" fmla="*/ 1 w 15"/>
                <a:gd name="T89" fmla="*/ 3 h 32"/>
                <a:gd name="T90" fmla="*/ 1 w 15"/>
                <a:gd name="T91" fmla="*/ 3 h 32"/>
                <a:gd name="T92" fmla="*/ 1 w 15"/>
                <a:gd name="T93" fmla="*/ 3 h 32"/>
                <a:gd name="T94" fmla="*/ 1 w 15"/>
                <a:gd name="T95" fmla="*/ 3 h 32"/>
                <a:gd name="T96" fmla="*/ 0 w 15"/>
                <a:gd name="T97" fmla="*/ 4 h 32"/>
                <a:gd name="T98" fmla="*/ 1 w 15"/>
                <a:gd name="T99" fmla="*/ 7 h 32"/>
                <a:gd name="T100" fmla="*/ 2 w 15"/>
                <a:gd name="T101" fmla="*/ 8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" h="32">
                  <a:moveTo>
                    <a:pt x="2" y="8"/>
                  </a:move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2" y="10"/>
                    <a:pt x="2" y="10"/>
                  </a:cubicBezTo>
                  <a:cubicBezTo>
                    <a:pt x="2" y="12"/>
                    <a:pt x="3" y="12"/>
                    <a:pt x="3" y="13"/>
                  </a:cubicBezTo>
                  <a:cubicBezTo>
                    <a:pt x="3" y="13"/>
                    <a:pt x="4" y="13"/>
                    <a:pt x="4" y="13"/>
                  </a:cubicBezTo>
                  <a:cubicBezTo>
                    <a:pt x="4" y="13"/>
                    <a:pt x="4" y="14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4" y="14"/>
                    <a:pt x="4" y="14"/>
                    <a:pt x="4" y="15"/>
                  </a:cubicBezTo>
                  <a:cubicBezTo>
                    <a:pt x="4" y="15"/>
                    <a:pt x="5" y="16"/>
                    <a:pt x="5" y="16"/>
                  </a:cubicBezTo>
                  <a:cubicBezTo>
                    <a:pt x="5" y="16"/>
                    <a:pt x="6" y="17"/>
                    <a:pt x="6" y="17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5" y="25"/>
                    <a:pt x="5" y="25"/>
                    <a:pt x="5" y="25"/>
                  </a:cubicBezTo>
                  <a:cubicBezTo>
                    <a:pt x="5" y="26"/>
                    <a:pt x="5" y="26"/>
                    <a:pt x="5" y="27"/>
                  </a:cubicBezTo>
                  <a:cubicBezTo>
                    <a:pt x="6" y="27"/>
                    <a:pt x="6" y="27"/>
                    <a:pt x="6" y="28"/>
                  </a:cubicBezTo>
                  <a:cubicBezTo>
                    <a:pt x="6" y="28"/>
                    <a:pt x="6" y="29"/>
                    <a:pt x="7" y="30"/>
                  </a:cubicBezTo>
                  <a:cubicBezTo>
                    <a:pt x="7" y="30"/>
                    <a:pt x="8" y="30"/>
                    <a:pt x="8" y="31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10" y="31"/>
                    <a:pt x="10" y="31"/>
                    <a:pt x="11" y="32"/>
                  </a:cubicBezTo>
                  <a:cubicBezTo>
                    <a:pt x="12" y="32"/>
                    <a:pt x="12" y="32"/>
                    <a:pt x="13" y="32"/>
                  </a:cubicBezTo>
                  <a:cubicBezTo>
                    <a:pt x="13" y="32"/>
                    <a:pt x="13" y="32"/>
                    <a:pt x="13" y="32"/>
                  </a:cubicBezTo>
                  <a:cubicBezTo>
                    <a:pt x="14" y="32"/>
                    <a:pt x="14" y="32"/>
                    <a:pt x="15" y="31"/>
                  </a:cubicBezTo>
                  <a:cubicBezTo>
                    <a:pt x="15" y="30"/>
                    <a:pt x="14" y="29"/>
                    <a:pt x="14" y="29"/>
                  </a:cubicBezTo>
                  <a:cubicBezTo>
                    <a:pt x="13" y="29"/>
                    <a:pt x="13" y="29"/>
                    <a:pt x="13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7"/>
                    <a:pt x="13" y="26"/>
                    <a:pt x="12" y="26"/>
                  </a:cubicBezTo>
                  <a:cubicBezTo>
                    <a:pt x="12" y="25"/>
                    <a:pt x="11" y="26"/>
                    <a:pt x="10" y="26"/>
                  </a:cubicBezTo>
                  <a:cubicBezTo>
                    <a:pt x="10" y="25"/>
                    <a:pt x="10" y="25"/>
                    <a:pt x="9" y="24"/>
                  </a:cubicBezTo>
                  <a:cubicBezTo>
                    <a:pt x="9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17"/>
                    <a:pt x="7" y="17"/>
                    <a:pt x="7" y="17"/>
                  </a:cubicBezTo>
                  <a:cubicBezTo>
                    <a:pt x="7" y="16"/>
                    <a:pt x="7" y="16"/>
                    <a:pt x="8" y="16"/>
                  </a:cubicBezTo>
                  <a:cubicBezTo>
                    <a:pt x="8" y="15"/>
                    <a:pt x="8" y="14"/>
                    <a:pt x="7" y="13"/>
                  </a:cubicBezTo>
                  <a:cubicBezTo>
                    <a:pt x="7" y="12"/>
                    <a:pt x="7" y="12"/>
                    <a:pt x="7" y="11"/>
                  </a:cubicBezTo>
                  <a:cubicBezTo>
                    <a:pt x="7" y="11"/>
                    <a:pt x="7" y="10"/>
                    <a:pt x="7" y="10"/>
                  </a:cubicBezTo>
                  <a:cubicBezTo>
                    <a:pt x="7" y="9"/>
                    <a:pt x="7" y="8"/>
                    <a:pt x="7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6" y="4"/>
                    <a:pt x="5" y="3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2"/>
                    <a:pt x="5" y="1"/>
                    <a:pt x="4" y="1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4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6391" y="2770"/>
              <a:ext cx="33" cy="24"/>
            </a:xfrm>
            <a:custGeom>
              <a:avLst/>
              <a:gdLst>
                <a:gd name="T0" fmla="*/ 5 w 14"/>
                <a:gd name="T1" fmla="*/ 1 h 10"/>
                <a:gd name="T2" fmla="*/ 5 w 14"/>
                <a:gd name="T3" fmla="*/ 1 h 10"/>
                <a:gd name="T4" fmla="*/ 4 w 14"/>
                <a:gd name="T5" fmla="*/ 0 h 10"/>
                <a:gd name="T6" fmla="*/ 3 w 14"/>
                <a:gd name="T7" fmla="*/ 0 h 10"/>
                <a:gd name="T8" fmla="*/ 1 w 14"/>
                <a:gd name="T9" fmla="*/ 3 h 10"/>
                <a:gd name="T10" fmla="*/ 2 w 14"/>
                <a:gd name="T11" fmla="*/ 8 h 10"/>
                <a:gd name="T12" fmla="*/ 4 w 14"/>
                <a:gd name="T13" fmla="*/ 8 h 10"/>
                <a:gd name="T14" fmla="*/ 5 w 14"/>
                <a:gd name="T15" fmla="*/ 8 h 10"/>
                <a:gd name="T16" fmla="*/ 6 w 14"/>
                <a:gd name="T17" fmla="*/ 9 h 10"/>
                <a:gd name="T18" fmla="*/ 7 w 14"/>
                <a:gd name="T19" fmla="*/ 9 h 10"/>
                <a:gd name="T20" fmla="*/ 7 w 14"/>
                <a:gd name="T21" fmla="*/ 9 h 10"/>
                <a:gd name="T22" fmla="*/ 8 w 14"/>
                <a:gd name="T23" fmla="*/ 10 h 10"/>
                <a:gd name="T24" fmla="*/ 9 w 14"/>
                <a:gd name="T25" fmla="*/ 10 h 10"/>
                <a:gd name="T26" fmla="*/ 10 w 14"/>
                <a:gd name="T27" fmla="*/ 10 h 10"/>
                <a:gd name="T28" fmla="*/ 10 w 14"/>
                <a:gd name="T29" fmla="*/ 9 h 10"/>
                <a:gd name="T30" fmla="*/ 10 w 14"/>
                <a:gd name="T31" fmla="*/ 10 h 10"/>
                <a:gd name="T32" fmla="*/ 11 w 14"/>
                <a:gd name="T33" fmla="*/ 10 h 10"/>
                <a:gd name="T34" fmla="*/ 12 w 14"/>
                <a:gd name="T35" fmla="*/ 9 h 10"/>
                <a:gd name="T36" fmla="*/ 13 w 14"/>
                <a:gd name="T37" fmla="*/ 8 h 10"/>
                <a:gd name="T38" fmla="*/ 13 w 14"/>
                <a:gd name="T39" fmla="*/ 8 h 10"/>
                <a:gd name="T40" fmla="*/ 13 w 14"/>
                <a:gd name="T41" fmla="*/ 5 h 10"/>
                <a:gd name="T42" fmla="*/ 12 w 14"/>
                <a:gd name="T43" fmla="*/ 4 h 10"/>
                <a:gd name="T44" fmla="*/ 11 w 14"/>
                <a:gd name="T45" fmla="*/ 3 h 10"/>
                <a:gd name="T46" fmla="*/ 10 w 14"/>
                <a:gd name="T47" fmla="*/ 3 h 10"/>
                <a:gd name="T48" fmla="*/ 10 w 14"/>
                <a:gd name="T49" fmla="*/ 3 h 10"/>
                <a:gd name="T50" fmla="*/ 9 w 14"/>
                <a:gd name="T51" fmla="*/ 2 h 10"/>
                <a:gd name="T52" fmla="*/ 6 w 14"/>
                <a:gd name="T53" fmla="*/ 1 h 10"/>
                <a:gd name="T54" fmla="*/ 5 w 14"/>
                <a:gd name="T55" fmla="*/ 1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" h="10"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1" y="2"/>
                    <a:pt x="1" y="3"/>
                  </a:cubicBezTo>
                  <a:cubicBezTo>
                    <a:pt x="0" y="5"/>
                    <a:pt x="1" y="6"/>
                    <a:pt x="2" y="8"/>
                  </a:cubicBezTo>
                  <a:cubicBezTo>
                    <a:pt x="3" y="8"/>
                    <a:pt x="3" y="8"/>
                    <a:pt x="4" y="8"/>
                  </a:cubicBezTo>
                  <a:cubicBezTo>
                    <a:pt x="4" y="8"/>
                    <a:pt x="5" y="8"/>
                    <a:pt x="5" y="8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8" y="10"/>
                  </a:cubicBezTo>
                  <a:cubicBezTo>
                    <a:pt x="8" y="10"/>
                    <a:pt x="8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10"/>
                    <a:pt x="10" y="10"/>
                    <a:pt x="10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2" y="10"/>
                    <a:pt x="12" y="9"/>
                  </a:cubicBezTo>
                  <a:cubicBezTo>
                    <a:pt x="13" y="9"/>
                    <a:pt x="13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4" y="7"/>
                    <a:pt x="14" y="7"/>
                    <a:pt x="13" y="5"/>
                  </a:cubicBezTo>
                  <a:cubicBezTo>
                    <a:pt x="13" y="5"/>
                    <a:pt x="12" y="4"/>
                    <a:pt x="12" y="4"/>
                  </a:cubicBezTo>
                  <a:cubicBezTo>
                    <a:pt x="11" y="4"/>
                    <a:pt x="11" y="4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0" y="3"/>
                    <a:pt x="10" y="3"/>
                    <a:pt x="9" y="2"/>
                  </a:cubicBezTo>
                  <a:cubicBezTo>
                    <a:pt x="9" y="2"/>
                    <a:pt x="7" y="1"/>
                    <a:pt x="6" y="1"/>
                  </a:cubicBezTo>
                  <a:cubicBezTo>
                    <a:pt x="6" y="1"/>
                    <a:pt x="6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8" name="Freeform 57"/>
            <p:cNvSpPr>
              <a:spLocks noEditPoints="1"/>
            </p:cNvSpPr>
            <p:nvPr/>
          </p:nvSpPr>
          <p:spPr bwMode="auto">
            <a:xfrm>
              <a:off x="6505" y="2919"/>
              <a:ext cx="21" cy="57"/>
            </a:xfrm>
            <a:custGeom>
              <a:avLst/>
              <a:gdLst>
                <a:gd name="T0" fmla="*/ 9 w 9"/>
                <a:gd name="T1" fmla="*/ 21 h 24"/>
                <a:gd name="T2" fmla="*/ 9 w 9"/>
                <a:gd name="T3" fmla="*/ 20 h 24"/>
                <a:gd name="T4" fmla="*/ 9 w 9"/>
                <a:gd name="T5" fmla="*/ 20 h 24"/>
                <a:gd name="T6" fmla="*/ 9 w 9"/>
                <a:gd name="T7" fmla="*/ 19 h 24"/>
                <a:gd name="T8" fmla="*/ 8 w 9"/>
                <a:gd name="T9" fmla="*/ 20 h 24"/>
                <a:gd name="T10" fmla="*/ 9 w 9"/>
                <a:gd name="T11" fmla="*/ 19 h 24"/>
                <a:gd name="T12" fmla="*/ 9 w 9"/>
                <a:gd name="T13" fmla="*/ 18 h 24"/>
                <a:gd name="T14" fmla="*/ 8 w 9"/>
                <a:gd name="T15" fmla="*/ 18 h 24"/>
                <a:gd name="T16" fmla="*/ 7 w 9"/>
                <a:gd name="T17" fmla="*/ 16 h 24"/>
                <a:gd name="T18" fmla="*/ 7 w 9"/>
                <a:gd name="T19" fmla="*/ 15 h 24"/>
                <a:gd name="T20" fmla="*/ 6 w 9"/>
                <a:gd name="T21" fmla="*/ 15 h 24"/>
                <a:gd name="T22" fmla="*/ 5 w 9"/>
                <a:gd name="T23" fmla="*/ 14 h 24"/>
                <a:gd name="T24" fmla="*/ 7 w 9"/>
                <a:gd name="T25" fmla="*/ 12 h 24"/>
                <a:gd name="T26" fmla="*/ 7 w 9"/>
                <a:gd name="T27" fmla="*/ 8 h 24"/>
                <a:gd name="T28" fmla="*/ 7 w 9"/>
                <a:gd name="T29" fmla="*/ 6 h 24"/>
                <a:gd name="T30" fmla="*/ 5 w 9"/>
                <a:gd name="T31" fmla="*/ 5 h 24"/>
                <a:gd name="T32" fmla="*/ 5 w 9"/>
                <a:gd name="T33" fmla="*/ 5 h 24"/>
                <a:gd name="T34" fmla="*/ 5 w 9"/>
                <a:gd name="T35" fmla="*/ 5 h 24"/>
                <a:gd name="T36" fmla="*/ 5 w 9"/>
                <a:gd name="T37" fmla="*/ 4 h 24"/>
                <a:gd name="T38" fmla="*/ 4 w 9"/>
                <a:gd name="T39" fmla="*/ 4 h 24"/>
                <a:gd name="T40" fmla="*/ 5 w 9"/>
                <a:gd name="T41" fmla="*/ 4 h 24"/>
                <a:gd name="T42" fmla="*/ 2 w 9"/>
                <a:gd name="T43" fmla="*/ 1 h 24"/>
                <a:gd name="T44" fmla="*/ 1 w 9"/>
                <a:gd name="T45" fmla="*/ 0 h 24"/>
                <a:gd name="T46" fmla="*/ 1 w 9"/>
                <a:gd name="T47" fmla="*/ 1 h 24"/>
                <a:gd name="T48" fmla="*/ 0 w 9"/>
                <a:gd name="T49" fmla="*/ 5 h 24"/>
                <a:gd name="T50" fmla="*/ 0 w 9"/>
                <a:gd name="T51" fmla="*/ 6 h 24"/>
                <a:gd name="T52" fmla="*/ 0 w 9"/>
                <a:gd name="T53" fmla="*/ 7 h 24"/>
                <a:gd name="T54" fmla="*/ 1 w 9"/>
                <a:gd name="T55" fmla="*/ 12 h 24"/>
                <a:gd name="T56" fmla="*/ 3 w 9"/>
                <a:gd name="T57" fmla="*/ 14 h 24"/>
                <a:gd name="T58" fmla="*/ 3 w 9"/>
                <a:gd name="T59" fmla="*/ 15 h 24"/>
                <a:gd name="T60" fmla="*/ 4 w 9"/>
                <a:gd name="T61" fmla="*/ 19 h 24"/>
                <a:gd name="T62" fmla="*/ 4 w 9"/>
                <a:gd name="T63" fmla="*/ 20 h 24"/>
                <a:gd name="T64" fmla="*/ 4 w 9"/>
                <a:gd name="T65" fmla="*/ 20 h 24"/>
                <a:gd name="T66" fmla="*/ 5 w 9"/>
                <a:gd name="T67" fmla="*/ 23 h 24"/>
                <a:gd name="T68" fmla="*/ 7 w 9"/>
                <a:gd name="T69" fmla="*/ 24 h 24"/>
                <a:gd name="T70" fmla="*/ 9 w 9"/>
                <a:gd name="T71" fmla="*/ 21 h 24"/>
                <a:gd name="T72" fmla="*/ 5 w 9"/>
                <a:gd name="T73" fmla="*/ 19 h 24"/>
                <a:gd name="T74" fmla="*/ 5 w 9"/>
                <a:gd name="T75" fmla="*/ 19 h 24"/>
                <a:gd name="T76" fmla="*/ 5 w 9"/>
                <a:gd name="T77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" h="24">
                  <a:moveTo>
                    <a:pt x="9" y="21"/>
                  </a:moveTo>
                  <a:cubicBezTo>
                    <a:pt x="9" y="21"/>
                    <a:pt x="9" y="21"/>
                    <a:pt x="9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8" y="20"/>
                    <a:pt x="8" y="20"/>
                    <a:pt x="8" y="20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6"/>
                    <a:pt x="7" y="16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ubicBezTo>
                    <a:pt x="6" y="14"/>
                    <a:pt x="7" y="13"/>
                    <a:pt x="7" y="12"/>
                  </a:cubicBezTo>
                  <a:cubicBezTo>
                    <a:pt x="7" y="11"/>
                    <a:pt x="7" y="10"/>
                    <a:pt x="7" y="8"/>
                  </a:cubicBezTo>
                  <a:cubicBezTo>
                    <a:pt x="7" y="7"/>
                    <a:pt x="7" y="7"/>
                    <a:pt x="7" y="6"/>
                  </a:cubicBezTo>
                  <a:cubicBezTo>
                    <a:pt x="6" y="5"/>
                    <a:pt x="6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3"/>
                    <a:pt x="4" y="0"/>
                    <a:pt x="2" y="1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2"/>
                    <a:pt x="0" y="4"/>
                    <a:pt x="0" y="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9"/>
                    <a:pt x="0" y="11"/>
                    <a:pt x="1" y="12"/>
                  </a:cubicBezTo>
                  <a:cubicBezTo>
                    <a:pt x="1" y="13"/>
                    <a:pt x="2" y="14"/>
                    <a:pt x="3" y="14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2" y="17"/>
                    <a:pt x="3" y="18"/>
                    <a:pt x="4" y="19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0"/>
                    <a:pt x="4" y="20"/>
                    <a:pt x="4" y="20"/>
                  </a:cubicBezTo>
                  <a:cubicBezTo>
                    <a:pt x="4" y="21"/>
                    <a:pt x="4" y="22"/>
                    <a:pt x="5" y="23"/>
                  </a:cubicBezTo>
                  <a:cubicBezTo>
                    <a:pt x="6" y="23"/>
                    <a:pt x="7" y="24"/>
                    <a:pt x="7" y="24"/>
                  </a:cubicBezTo>
                  <a:cubicBezTo>
                    <a:pt x="8" y="24"/>
                    <a:pt x="9" y="23"/>
                    <a:pt x="9" y="21"/>
                  </a:cubicBezTo>
                  <a:close/>
                  <a:moveTo>
                    <a:pt x="5" y="19"/>
                  </a:moveTo>
                  <a:cubicBezTo>
                    <a:pt x="5" y="19"/>
                    <a:pt x="5" y="19"/>
                    <a:pt x="5" y="19"/>
                  </a:cubicBezTo>
                  <a:cubicBezTo>
                    <a:pt x="5" y="19"/>
                    <a:pt x="5" y="19"/>
                    <a:pt x="5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6531" y="2943"/>
              <a:ext cx="12" cy="21"/>
            </a:xfrm>
            <a:custGeom>
              <a:avLst/>
              <a:gdLst>
                <a:gd name="T0" fmla="*/ 4 w 5"/>
                <a:gd name="T1" fmla="*/ 1 h 9"/>
                <a:gd name="T2" fmla="*/ 2 w 5"/>
                <a:gd name="T3" fmla="*/ 0 h 9"/>
                <a:gd name="T4" fmla="*/ 1 w 5"/>
                <a:gd name="T5" fmla="*/ 0 h 9"/>
                <a:gd name="T6" fmla="*/ 0 w 5"/>
                <a:gd name="T7" fmla="*/ 3 h 9"/>
                <a:gd name="T8" fmla="*/ 1 w 5"/>
                <a:gd name="T9" fmla="*/ 8 h 9"/>
                <a:gd name="T10" fmla="*/ 3 w 5"/>
                <a:gd name="T11" fmla="*/ 9 h 9"/>
                <a:gd name="T12" fmla="*/ 4 w 5"/>
                <a:gd name="T13" fmla="*/ 7 h 9"/>
                <a:gd name="T14" fmla="*/ 4 w 5"/>
                <a:gd name="T15" fmla="*/ 5 h 9"/>
                <a:gd name="T16" fmla="*/ 4 w 5"/>
                <a:gd name="T17" fmla="*/ 1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" h="9">
                  <a:moveTo>
                    <a:pt x="4" y="1"/>
                  </a:moveTo>
                  <a:cubicBezTo>
                    <a:pt x="3" y="0"/>
                    <a:pt x="3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1"/>
                    <a:pt x="0" y="2"/>
                    <a:pt x="0" y="3"/>
                  </a:cubicBezTo>
                  <a:cubicBezTo>
                    <a:pt x="0" y="3"/>
                    <a:pt x="0" y="7"/>
                    <a:pt x="1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5" y="4"/>
                    <a:pt x="5" y="2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6519" y="2997"/>
              <a:ext cx="16" cy="15"/>
            </a:xfrm>
            <a:custGeom>
              <a:avLst/>
              <a:gdLst>
                <a:gd name="T0" fmla="*/ 4 w 7"/>
                <a:gd name="T1" fmla="*/ 1 h 6"/>
                <a:gd name="T2" fmla="*/ 3 w 7"/>
                <a:gd name="T3" fmla="*/ 0 h 6"/>
                <a:gd name="T4" fmla="*/ 3 w 7"/>
                <a:gd name="T5" fmla="*/ 1 h 6"/>
                <a:gd name="T6" fmla="*/ 2 w 7"/>
                <a:gd name="T7" fmla="*/ 1 h 6"/>
                <a:gd name="T8" fmla="*/ 1 w 7"/>
                <a:gd name="T9" fmla="*/ 3 h 6"/>
                <a:gd name="T10" fmla="*/ 2 w 7"/>
                <a:gd name="T11" fmla="*/ 4 h 6"/>
                <a:gd name="T12" fmla="*/ 3 w 7"/>
                <a:gd name="T13" fmla="*/ 5 h 6"/>
                <a:gd name="T14" fmla="*/ 3 w 7"/>
                <a:gd name="T15" fmla="*/ 5 h 6"/>
                <a:gd name="T16" fmla="*/ 5 w 7"/>
                <a:gd name="T17" fmla="*/ 6 h 6"/>
                <a:gd name="T18" fmla="*/ 6 w 7"/>
                <a:gd name="T19" fmla="*/ 5 h 6"/>
                <a:gd name="T20" fmla="*/ 6 w 7"/>
                <a:gd name="T21" fmla="*/ 5 h 6"/>
                <a:gd name="T22" fmla="*/ 7 w 7"/>
                <a:gd name="T23" fmla="*/ 4 h 6"/>
                <a:gd name="T24" fmla="*/ 6 w 7"/>
                <a:gd name="T25" fmla="*/ 1 h 6"/>
                <a:gd name="T26" fmla="*/ 4 w 7"/>
                <a:gd name="T27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" h="6">
                  <a:moveTo>
                    <a:pt x="4" y="1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2" y="1"/>
                    <a:pt x="1" y="2"/>
                    <a:pt x="1" y="3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5"/>
                    <a:pt x="2" y="5"/>
                    <a:pt x="3" y="5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4" y="5"/>
                    <a:pt x="4" y="6"/>
                    <a:pt x="5" y="6"/>
                  </a:cubicBezTo>
                  <a:cubicBezTo>
                    <a:pt x="5" y="6"/>
                    <a:pt x="5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3"/>
                    <a:pt x="6" y="2"/>
                    <a:pt x="6" y="1"/>
                  </a:cubicBezTo>
                  <a:cubicBezTo>
                    <a:pt x="5" y="1"/>
                    <a:pt x="4" y="1"/>
                    <a:pt x="4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6422" y="3064"/>
              <a:ext cx="50" cy="71"/>
            </a:xfrm>
            <a:custGeom>
              <a:avLst/>
              <a:gdLst>
                <a:gd name="T0" fmla="*/ 10 w 21"/>
                <a:gd name="T1" fmla="*/ 8 h 30"/>
                <a:gd name="T2" fmla="*/ 9 w 21"/>
                <a:gd name="T3" fmla="*/ 8 h 30"/>
                <a:gd name="T4" fmla="*/ 9 w 21"/>
                <a:gd name="T5" fmla="*/ 7 h 30"/>
                <a:gd name="T6" fmla="*/ 9 w 21"/>
                <a:gd name="T7" fmla="*/ 6 h 30"/>
                <a:gd name="T8" fmla="*/ 5 w 21"/>
                <a:gd name="T9" fmla="*/ 2 h 30"/>
                <a:gd name="T10" fmla="*/ 0 w 21"/>
                <a:gd name="T11" fmla="*/ 2 h 30"/>
                <a:gd name="T12" fmla="*/ 0 w 21"/>
                <a:gd name="T13" fmla="*/ 2 h 30"/>
                <a:gd name="T14" fmla="*/ 0 w 21"/>
                <a:gd name="T15" fmla="*/ 3 h 30"/>
                <a:gd name="T16" fmla="*/ 2 w 21"/>
                <a:gd name="T17" fmla="*/ 5 h 30"/>
                <a:gd name="T18" fmla="*/ 2 w 21"/>
                <a:gd name="T19" fmla="*/ 6 h 30"/>
                <a:gd name="T20" fmla="*/ 2 w 21"/>
                <a:gd name="T21" fmla="*/ 7 h 30"/>
                <a:gd name="T22" fmla="*/ 2 w 21"/>
                <a:gd name="T23" fmla="*/ 10 h 30"/>
                <a:gd name="T24" fmla="*/ 3 w 21"/>
                <a:gd name="T25" fmla="*/ 12 h 30"/>
                <a:gd name="T26" fmla="*/ 3 w 21"/>
                <a:gd name="T27" fmla="*/ 13 h 30"/>
                <a:gd name="T28" fmla="*/ 4 w 21"/>
                <a:gd name="T29" fmla="*/ 14 h 30"/>
                <a:gd name="T30" fmla="*/ 5 w 21"/>
                <a:gd name="T31" fmla="*/ 17 h 30"/>
                <a:gd name="T32" fmla="*/ 6 w 21"/>
                <a:gd name="T33" fmla="*/ 19 h 30"/>
                <a:gd name="T34" fmla="*/ 8 w 21"/>
                <a:gd name="T35" fmla="*/ 21 h 30"/>
                <a:gd name="T36" fmla="*/ 9 w 21"/>
                <a:gd name="T37" fmla="*/ 22 h 30"/>
                <a:gd name="T38" fmla="*/ 10 w 21"/>
                <a:gd name="T39" fmla="*/ 23 h 30"/>
                <a:gd name="T40" fmla="*/ 11 w 21"/>
                <a:gd name="T41" fmla="*/ 25 h 30"/>
                <a:gd name="T42" fmla="*/ 12 w 21"/>
                <a:gd name="T43" fmla="*/ 25 h 30"/>
                <a:gd name="T44" fmla="*/ 13 w 21"/>
                <a:gd name="T45" fmla="*/ 27 h 30"/>
                <a:gd name="T46" fmla="*/ 14 w 21"/>
                <a:gd name="T47" fmla="*/ 28 h 30"/>
                <a:gd name="T48" fmla="*/ 15 w 21"/>
                <a:gd name="T49" fmla="*/ 28 h 30"/>
                <a:gd name="T50" fmla="*/ 15 w 21"/>
                <a:gd name="T51" fmla="*/ 29 h 30"/>
                <a:gd name="T52" fmla="*/ 18 w 21"/>
                <a:gd name="T53" fmla="*/ 30 h 30"/>
                <a:gd name="T54" fmla="*/ 18 w 21"/>
                <a:gd name="T55" fmla="*/ 30 h 30"/>
                <a:gd name="T56" fmla="*/ 21 w 21"/>
                <a:gd name="T57" fmla="*/ 27 h 30"/>
                <a:gd name="T58" fmla="*/ 19 w 21"/>
                <a:gd name="T59" fmla="*/ 23 h 30"/>
                <a:gd name="T60" fmla="*/ 19 w 21"/>
                <a:gd name="T61" fmla="*/ 22 h 30"/>
                <a:gd name="T62" fmla="*/ 18 w 21"/>
                <a:gd name="T63" fmla="*/ 21 h 30"/>
                <a:gd name="T64" fmla="*/ 18 w 21"/>
                <a:gd name="T65" fmla="*/ 21 h 30"/>
                <a:gd name="T66" fmla="*/ 15 w 21"/>
                <a:gd name="T67" fmla="*/ 17 h 30"/>
                <a:gd name="T68" fmla="*/ 15 w 21"/>
                <a:gd name="T69" fmla="*/ 16 h 30"/>
                <a:gd name="T70" fmla="*/ 14 w 21"/>
                <a:gd name="T71" fmla="*/ 16 h 30"/>
                <a:gd name="T72" fmla="*/ 13 w 21"/>
                <a:gd name="T73" fmla="*/ 13 h 30"/>
                <a:gd name="T74" fmla="*/ 11 w 21"/>
                <a:gd name="T75" fmla="*/ 9 h 30"/>
                <a:gd name="T76" fmla="*/ 10 w 21"/>
                <a:gd name="T77" fmla="*/ 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" h="30">
                  <a:moveTo>
                    <a:pt x="10" y="8"/>
                  </a:moveTo>
                  <a:cubicBezTo>
                    <a:pt x="10" y="8"/>
                    <a:pt x="10" y="8"/>
                    <a:pt x="9" y="8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4"/>
                    <a:pt x="7" y="3"/>
                    <a:pt x="5" y="2"/>
                  </a:cubicBezTo>
                  <a:cubicBezTo>
                    <a:pt x="5" y="1"/>
                    <a:pt x="2" y="0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5"/>
                    <a:pt x="1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2" y="9"/>
                    <a:pt x="2" y="10"/>
                  </a:cubicBezTo>
                  <a:cubicBezTo>
                    <a:pt x="2" y="11"/>
                    <a:pt x="3" y="12"/>
                    <a:pt x="3" y="12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3"/>
                    <a:pt x="4" y="14"/>
                  </a:cubicBezTo>
                  <a:cubicBezTo>
                    <a:pt x="4" y="16"/>
                    <a:pt x="5" y="17"/>
                    <a:pt x="5" y="17"/>
                  </a:cubicBezTo>
                  <a:cubicBezTo>
                    <a:pt x="5" y="18"/>
                    <a:pt x="5" y="18"/>
                    <a:pt x="6" y="19"/>
                  </a:cubicBezTo>
                  <a:cubicBezTo>
                    <a:pt x="6" y="20"/>
                    <a:pt x="7" y="20"/>
                    <a:pt x="8" y="21"/>
                  </a:cubicBezTo>
                  <a:cubicBezTo>
                    <a:pt x="8" y="21"/>
                    <a:pt x="9" y="22"/>
                    <a:pt x="9" y="22"/>
                  </a:cubicBezTo>
                  <a:cubicBezTo>
                    <a:pt x="9" y="22"/>
                    <a:pt x="10" y="23"/>
                    <a:pt x="10" y="23"/>
                  </a:cubicBezTo>
                  <a:cubicBezTo>
                    <a:pt x="11" y="24"/>
                    <a:pt x="11" y="24"/>
                    <a:pt x="11" y="25"/>
                  </a:cubicBezTo>
                  <a:cubicBezTo>
                    <a:pt x="11" y="25"/>
                    <a:pt x="11" y="25"/>
                    <a:pt x="12" y="25"/>
                  </a:cubicBezTo>
                  <a:cubicBezTo>
                    <a:pt x="12" y="26"/>
                    <a:pt x="12" y="27"/>
                    <a:pt x="13" y="27"/>
                  </a:cubicBezTo>
                  <a:cubicBezTo>
                    <a:pt x="13" y="28"/>
                    <a:pt x="14" y="28"/>
                    <a:pt x="14" y="28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5" y="28"/>
                    <a:pt x="15" y="29"/>
                    <a:pt x="15" y="29"/>
                  </a:cubicBezTo>
                  <a:cubicBezTo>
                    <a:pt x="16" y="29"/>
                    <a:pt x="16" y="30"/>
                    <a:pt x="18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9" y="30"/>
                    <a:pt x="21" y="29"/>
                    <a:pt x="21" y="27"/>
                  </a:cubicBezTo>
                  <a:cubicBezTo>
                    <a:pt x="21" y="25"/>
                    <a:pt x="20" y="24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8" y="19"/>
                    <a:pt x="17" y="17"/>
                    <a:pt x="15" y="17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3" y="16"/>
                    <a:pt x="13" y="15"/>
                    <a:pt x="13" y="13"/>
                  </a:cubicBezTo>
                  <a:cubicBezTo>
                    <a:pt x="12" y="11"/>
                    <a:pt x="12" y="10"/>
                    <a:pt x="11" y="9"/>
                  </a:cubicBezTo>
                  <a:cubicBezTo>
                    <a:pt x="11" y="8"/>
                    <a:pt x="10" y="8"/>
                    <a:pt x="1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5109" y="557"/>
              <a:ext cx="17" cy="19"/>
            </a:xfrm>
            <a:custGeom>
              <a:avLst/>
              <a:gdLst>
                <a:gd name="T0" fmla="*/ 2 w 7"/>
                <a:gd name="T1" fmla="*/ 5 h 8"/>
                <a:gd name="T2" fmla="*/ 2 w 7"/>
                <a:gd name="T3" fmla="*/ 6 h 8"/>
                <a:gd name="T4" fmla="*/ 5 w 7"/>
                <a:gd name="T5" fmla="*/ 8 h 8"/>
                <a:gd name="T6" fmla="*/ 6 w 7"/>
                <a:gd name="T7" fmla="*/ 8 h 8"/>
                <a:gd name="T8" fmla="*/ 6 w 7"/>
                <a:gd name="T9" fmla="*/ 7 h 8"/>
                <a:gd name="T10" fmla="*/ 7 w 7"/>
                <a:gd name="T11" fmla="*/ 7 h 8"/>
                <a:gd name="T12" fmla="*/ 6 w 7"/>
                <a:gd name="T13" fmla="*/ 5 h 8"/>
                <a:gd name="T14" fmla="*/ 5 w 7"/>
                <a:gd name="T15" fmla="*/ 5 h 8"/>
                <a:gd name="T16" fmla="*/ 6 w 7"/>
                <a:gd name="T17" fmla="*/ 4 h 8"/>
                <a:gd name="T18" fmla="*/ 6 w 7"/>
                <a:gd name="T19" fmla="*/ 2 h 8"/>
                <a:gd name="T20" fmla="*/ 4 w 7"/>
                <a:gd name="T21" fmla="*/ 1 h 8"/>
                <a:gd name="T22" fmla="*/ 2 w 7"/>
                <a:gd name="T23" fmla="*/ 0 h 8"/>
                <a:gd name="T24" fmla="*/ 1 w 7"/>
                <a:gd name="T25" fmla="*/ 0 h 8"/>
                <a:gd name="T26" fmla="*/ 1 w 7"/>
                <a:gd name="T27" fmla="*/ 0 h 8"/>
                <a:gd name="T28" fmla="*/ 0 w 7"/>
                <a:gd name="T29" fmla="*/ 1 h 8"/>
                <a:gd name="T30" fmla="*/ 2 w 7"/>
                <a:gd name="T31" fmla="*/ 5 h 8"/>
                <a:gd name="T32" fmla="*/ 2 w 7"/>
                <a:gd name="T33" fmla="*/ 5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" h="8">
                  <a:moveTo>
                    <a:pt x="2" y="5"/>
                  </a:moveTo>
                  <a:cubicBezTo>
                    <a:pt x="2" y="5"/>
                    <a:pt x="2" y="5"/>
                    <a:pt x="2" y="6"/>
                  </a:cubicBezTo>
                  <a:cubicBezTo>
                    <a:pt x="3" y="7"/>
                    <a:pt x="4" y="8"/>
                    <a:pt x="5" y="8"/>
                  </a:cubicBezTo>
                  <a:cubicBezTo>
                    <a:pt x="5" y="8"/>
                    <a:pt x="6" y="8"/>
                    <a:pt x="6" y="8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6"/>
                    <a:pt x="6" y="5"/>
                    <a:pt x="6" y="5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3"/>
                    <a:pt x="6" y="2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0"/>
                    <a:pt x="2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3" name="Freeform 62"/>
            <p:cNvSpPr>
              <a:spLocks noEditPoints="1"/>
            </p:cNvSpPr>
            <p:nvPr/>
          </p:nvSpPr>
          <p:spPr bwMode="auto">
            <a:xfrm>
              <a:off x="5121" y="536"/>
              <a:ext cx="177" cy="52"/>
            </a:xfrm>
            <a:custGeom>
              <a:avLst/>
              <a:gdLst>
                <a:gd name="T0" fmla="*/ 4 w 75"/>
                <a:gd name="T1" fmla="*/ 12 h 22"/>
                <a:gd name="T2" fmla="*/ 5 w 75"/>
                <a:gd name="T3" fmla="*/ 14 h 22"/>
                <a:gd name="T4" fmla="*/ 8 w 75"/>
                <a:gd name="T5" fmla="*/ 18 h 22"/>
                <a:gd name="T6" fmla="*/ 13 w 75"/>
                <a:gd name="T7" fmla="*/ 19 h 22"/>
                <a:gd name="T8" fmla="*/ 17 w 75"/>
                <a:gd name="T9" fmla="*/ 22 h 22"/>
                <a:gd name="T10" fmla="*/ 21 w 75"/>
                <a:gd name="T11" fmla="*/ 22 h 22"/>
                <a:gd name="T12" fmla="*/ 25 w 75"/>
                <a:gd name="T13" fmla="*/ 20 h 22"/>
                <a:gd name="T14" fmla="*/ 29 w 75"/>
                <a:gd name="T15" fmla="*/ 19 h 22"/>
                <a:gd name="T16" fmla="*/ 32 w 75"/>
                <a:gd name="T17" fmla="*/ 17 h 22"/>
                <a:gd name="T18" fmla="*/ 36 w 75"/>
                <a:gd name="T19" fmla="*/ 17 h 22"/>
                <a:gd name="T20" fmla="*/ 39 w 75"/>
                <a:gd name="T21" fmla="*/ 16 h 22"/>
                <a:gd name="T22" fmla="*/ 41 w 75"/>
                <a:gd name="T23" fmla="*/ 13 h 22"/>
                <a:gd name="T24" fmla="*/ 44 w 75"/>
                <a:gd name="T25" fmla="*/ 8 h 22"/>
                <a:gd name="T26" fmla="*/ 46 w 75"/>
                <a:gd name="T27" fmla="*/ 7 h 22"/>
                <a:gd name="T28" fmla="*/ 50 w 75"/>
                <a:gd name="T29" fmla="*/ 11 h 22"/>
                <a:gd name="T30" fmla="*/ 57 w 75"/>
                <a:gd name="T31" fmla="*/ 12 h 22"/>
                <a:gd name="T32" fmla="*/ 58 w 75"/>
                <a:gd name="T33" fmla="*/ 12 h 22"/>
                <a:gd name="T34" fmla="*/ 62 w 75"/>
                <a:gd name="T35" fmla="*/ 13 h 22"/>
                <a:gd name="T36" fmla="*/ 64 w 75"/>
                <a:gd name="T37" fmla="*/ 13 h 22"/>
                <a:gd name="T38" fmla="*/ 69 w 75"/>
                <a:gd name="T39" fmla="*/ 10 h 22"/>
                <a:gd name="T40" fmla="*/ 71 w 75"/>
                <a:gd name="T41" fmla="*/ 12 h 22"/>
                <a:gd name="T42" fmla="*/ 74 w 75"/>
                <a:gd name="T43" fmla="*/ 6 h 22"/>
                <a:gd name="T44" fmla="*/ 73 w 75"/>
                <a:gd name="T45" fmla="*/ 4 h 22"/>
                <a:gd name="T46" fmla="*/ 70 w 75"/>
                <a:gd name="T47" fmla="*/ 4 h 22"/>
                <a:gd name="T48" fmla="*/ 67 w 75"/>
                <a:gd name="T49" fmla="*/ 3 h 22"/>
                <a:gd name="T50" fmla="*/ 65 w 75"/>
                <a:gd name="T51" fmla="*/ 3 h 22"/>
                <a:gd name="T52" fmla="*/ 60 w 75"/>
                <a:gd name="T53" fmla="*/ 4 h 22"/>
                <a:gd name="T54" fmla="*/ 55 w 75"/>
                <a:gd name="T55" fmla="*/ 4 h 22"/>
                <a:gd name="T56" fmla="*/ 55 w 75"/>
                <a:gd name="T57" fmla="*/ 4 h 22"/>
                <a:gd name="T58" fmla="*/ 51 w 75"/>
                <a:gd name="T59" fmla="*/ 6 h 22"/>
                <a:gd name="T60" fmla="*/ 48 w 75"/>
                <a:gd name="T61" fmla="*/ 3 h 22"/>
                <a:gd name="T62" fmla="*/ 45 w 75"/>
                <a:gd name="T63" fmla="*/ 5 h 22"/>
                <a:gd name="T64" fmla="*/ 42 w 75"/>
                <a:gd name="T65" fmla="*/ 5 h 22"/>
                <a:gd name="T66" fmla="*/ 39 w 75"/>
                <a:gd name="T67" fmla="*/ 3 h 22"/>
                <a:gd name="T68" fmla="*/ 35 w 75"/>
                <a:gd name="T69" fmla="*/ 3 h 22"/>
                <a:gd name="T70" fmla="*/ 29 w 75"/>
                <a:gd name="T71" fmla="*/ 3 h 22"/>
                <a:gd name="T72" fmla="*/ 22 w 75"/>
                <a:gd name="T73" fmla="*/ 2 h 22"/>
                <a:gd name="T74" fmla="*/ 17 w 75"/>
                <a:gd name="T75" fmla="*/ 0 h 22"/>
                <a:gd name="T76" fmla="*/ 16 w 75"/>
                <a:gd name="T77" fmla="*/ 3 h 22"/>
                <a:gd name="T78" fmla="*/ 15 w 75"/>
                <a:gd name="T79" fmla="*/ 6 h 22"/>
                <a:gd name="T80" fmla="*/ 11 w 75"/>
                <a:gd name="T81" fmla="*/ 4 h 22"/>
                <a:gd name="T82" fmla="*/ 3 w 75"/>
                <a:gd name="T83" fmla="*/ 4 h 22"/>
                <a:gd name="T84" fmla="*/ 2 w 75"/>
                <a:gd name="T85" fmla="*/ 5 h 22"/>
                <a:gd name="T86" fmla="*/ 35 w 75"/>
                <a:gd name="T87" fmla="*/ 16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5" h="22">
                  <a:moveTo>
                    <a:pt x="3" y="9"/>
                  </a:moveTo>
                  <a:cubicBezTo>
                    <a:pt x="3" y="10"/>
                    <a:pt x="3" y="10"/>
                    <a:pt x="3" y="11"/>
                  </a:cubicBezTo>
                  <a:cubicBezTo>
                    <a:pt x="3" y="11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4" y="12"/>
                    <a:pt x="5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6" y="13"/>
                    <a:pt x="6" y="13"/>
                    <a:pt x="6" y="13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5"/>
                    <a:pt x="5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10" y="19"/>
                    <a:pt x="11" y="19"/>
                    <a:pt x="12" y="19"/>
                  </a:cubicBezTo>
                  <a:cubicBezTo>
                    <a:pt x="12" y="19"/>
                    <a:pt x="13" y="19"/>
                    <a:pt x="13" y="19"/>
                  </a:cubicBezTo>
                  <a:cubicBezTo>
                    <a:pt x="14" y="20"/>
                    <a:pt x="14" y="20"/>
                    <a:pt x="15" y="20"/>
                  </a:cubicBezTo>
                  <a:cubicBezTo>
                    <a:pt x="15" y="20"/>
                    <a:pt x="15" y="20"/>
                    <a:pt x="15" y="21"/>
                  </a:cubicBezTo>
                  <a:cubicBezTo>
                    <a:pt x="15" y="21"/>
                    <a:pt x="16" y="22"/>
                    <a:pt x="17" y="22"/>
                  </a:cubicBezTo>
                  <a:cubicBezTo>
                    <a:pt x="17" y="22"/>
                    <a:pt x="18" y="22"/>
                    <a:pt x="19" y="22"/>
                  </a:cubicBezTo>
                  <a:cubicBezTo>
                    <a:pt x="20" y="22"/>
                    <a:pt x="20" y="22"/>
                    <a:pt x="20" y="22"/>
                  </a:cubicBezTo>
                  <a:cubicBezTo>
                    <a:pt x="20" y="22"/>
                    <a:pt x="20" y="22"/>
                    <a:pt x="21" y="22"/>
                  </a:cubicBezTo>
                  <a:cubicBezTo>
                    <a:pt x="21" y="22"/>
                    <a:pt x="22" y="22"/>
                    <a:pt x="23" y="22"/>
                  </a:cubicBezTo>
                  <a:cubicBezTo>
                    <a:pt x="24" y="22"/>
                    <a:pt x="25" y="22"/>
                    <a:pt x="25" y="21"/>
                  </a:cubicBezTo>
                  <a:cubicBezTo>
                    <a:pt x="25" y="21"/>
                    <a:pt x="25" y="21"/>
                    <a:pt x="25" y="20"/>
                  </a:cubicBezTo>
                  <a:cubicBezTo>
                    <a:pt x="26" y="21"/>
                    <a:pt x="27" y="20"/>
                    <a:pt x="27" y="20"/>
                  </a:cubicBezTo>
                  <a:cubicBezTo>
                    <a:pt x="28" y="20"/>
                    <a:pt x="28" y="19"/>
                    <a:pt x="28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8"/>
                    <a:pt x="30" y="18"/>
                    <a:pt x="30" y="18"/>
                  </a:cubicBezTo>
                  <a:cubicBezTo>
                    <a:pt x="31" y="18"/>
                    <a:pt x="31" y="18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3" y="17"/>
                    <a:pt x="33" y="16"/>
                  </a:cubicBezTo>
                  <a:cubicBezTo>
                    <a:pt x="33" y="17"/>
                    <a:pt x="33" y="17"/>
                    <a:pt x="33" y="17"/>
                  </a:cubicBezTo>
                  <a:cubicBezTo>
                    <a:pt x="34" y="18"/>
                    <a:pt x="35" y="18"/>
                    <a:pt x="36" y="17"/>
                  </a:cubicBezTo>
                  <a:cubicBezTo>
                    <a:pt x="36" y="18"/>
                    <a:pt x="37" y="18"/>
                    <a:pt x="37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9" y="18"/>
                    <a:pt x="39" y="17"/>
                    <a:pt x="39" y="16"/>
                  </a:cubicBezTo>
                  <a:cubicBezTo>
                    <a:pt x="39" y="16"/>
                    <a:pt x="39" y="16"/>
                    <a:pt x="39" y="16"/>
                  </a:cubicBezTo>
                  <a:cubicBezTo>
                    <a:pt x="40" y="16"/>
                    <a:pt x="41" y="16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2" y="13"/>
                    <a:pt x="43" y="13"/>
                    <a:pt x="44" y="12"/>
                  </a:cubicBezTo>
                  <a:cubicBezTo>
                    <a:pt x="45" y="11"/>
                    <a:pt x="44" y="9"/>
                    <a:pt x="44" y="9"/>
                  </a:cubicBezTo>
                  <a:cubicBezTo>
                    <a:pt x="44" y="9"/>
                    <a:pt x="43" y="8"/>
                    <a:pt x="44" y="8"/>
                  </a:cubicBezTo>
                  <a:cubicBezTo>
                    <a:pt x="44" y="8"/>
                    <a:pt x="45" y="7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ubicBezTo>
                    <a:pt x="45" y="7"/>
                    <a:pt x="46" y="7"/>
                    <a:pt x="46" y="7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6" y="9"/>
                    <a:pt x="46" y="10"/>
                    <a:pt x="47" y="10"/>
                  </a:cubicBezTo>
                  <a:cubicBezTo>
                    <a:pt x="48" y="11"/>
                    <a:pt x="50" y="11"/>
                    <a:pt x="50" y="11"/>
                  </a:cubicBezTo>
                  <a:cubicBezTo>
                    <a:pt x="51" y="11"/>
                    <a:pt x="52" y="11"/>
                    <a:pt x="52" y="12"/>
                  </a:cubicBezTo>
                  <a:cubicBezTo>
                    <a:pt x="53" y="12"/>
                    <a:pt x="53" y="12"/>
                    <a:pt x="54" y="12"/>
                  </a:cubicBezTo>
                  <a:cubicBezTo>
                    <a:pt x="55" y="12"/>
                    <a:pt x="56" y="12"/>
                    <a:pt x="57" y="12"/>
                  </a:cubicBezTo>
                  <a:cubicBezTo>
                    <a:pt x="57" y="12"/>
                    <a:pt x="57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9" y="12"/>
                    <a:pt x="59" y="13"/>
                    <a:pt x="60" y="13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1" y="13"/>
                    <a:pt x="61" y="13"/>
                    <a:pt x="62" y="13"/>
                  </a:cubicBezTo>
                  <a:cubicBezTo>
                    <a:pt x="62" y="13"/>
                    <a:pt x="62" y="13"/>
                    <a:pt x="62" y="13"/>
                  </a:cubicBezTo>
                  <a:cubicBezTo>
                    <a:pt x="62" y="13"/>
                    <a:pt x="63" y="13"/>
                    <a:pt x="63" y="13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5" y="13"/>
                    <a:pt x="66" y="13"/>
                    <a:pt x="67" y="12"/>
                  </a:cubicBezTo>
                  <a:cubicBezTo>
                    <a:pt x="68" y="12"/>
                    <a:pt x="68" y="12"/>
                    <a:pt x="69" y="11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9" y="12"/>
                    <a:pt x="70" y="12"/>
                  </a:cubicBezTo>
                  <a:cubicBezTo>
                    <a:pt x="70" y="12"/>
                    <a:pt x="70" y="12"/>
                    <a:pt x="71" y="12"/>
                  </a:cubicBezTo>
                  <a:cubicBezTo>
                    <a:pt x="72" y="12"/>
                    <a:pt x="73" y="11"/>
                    <a:pt x="73" y="10"/>
                  </a:cubicBezTo>
                  <a:cubicBezTo>
                    <a:pt x="74" y="9"/>
                    <a:pt x="74" y="9"/>
                    <a:pt x="74" y="9"/>
                  </a:cubicBezTo>
                  <a:cubicBezTo>
                    <a:pt x="74" y="8"/>
                    <a:pt x="75" y="7"/>
                    <a:pt x="74" y="6"/>
                  </a:cubicBezTo>
                  <a:cubicBezTo>
                    <a:pt x="74" y="6"/>
                    <a:pt x="74" y="6"/>
                    <a:pt x="74" y="6"/>
                  </a:cubicBezTo>
                  <a:cubicBezTo>
                    <a:pt x="74" y="6"/>
                    <a:pt x="74" y="6"/>
                    <a:pt x="74" y="5"/>
                  </a:cubicBezTo>
                  <a:cubicBezTo>
                    <a:pt x="74" y="5"/>
                    <a:pt x="74" y="5"/>
                    <a:pt x="73" y="4"/>
                  </a:cubicBezTo>
                  <a:cubicBezTo>
                    <a:pt x="73" y="3"/>
                    <a:pt x="73" y="3"/>
                    <a:pt x="73" y="3"/>
                  </a:cubicBezTo>
                  <a:cubicBezTo>
                    <a:pt x="72" y="3"/>
                    <a:pt x="72" y="3"/>
                    <a:pt x="72" y="3"/>
                  </a:cubicBezTo>
                  <a:cubicBezTo>
                    <a:pt x="71" y="3"/>
                    <a:pt x="71" y="3"/>
                    <a:pt x="70" y="4"/>
                  </a:cubicBezTo>
                  <a:cubicBezTo>
                    <a:pt x="70" y="4"/>
                    <a:pt x="69" y="4"/>
                    <a:pt x="69" y="4"/>
                  </a:cubicBezTo>
                  <a:cubicBezTo>
                    <a:pt x="69" y="4"/>
                    <a:pt x="69" y="4"/>
                    <a:pt x="69" y="4"/>
                  </a:cubicBezTo>
                  <a:cubicBezTo>
                    <a:pt x="68" y="3"/>
                    <a:pt x="68" y="3"/>
                    <a:pt x="67" y="3"/>
                  </a:cubicBezTo>
                  <a:cubicBezTo>
                    <a:pt x="67" y="3"/>
                    <a:pt x="67" y="3"/>
                    <a:pt x="67" y="3"/>
                  </a:cubicBezTo>
                  <a:cubicBezTo>
                    <a:pt x="66" y="3"/>
                    <a:pt x="66" y="3"/>
                    <a:pt x="65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4" y="3"/>
                    <a:pt x="64" y="3"/>
                  </a:cubicBezTo>
                  <a:cubicBezTo>
                    <a:pt x="62" y="3"/>
                    <a:pt x="61" y="3"/>
                    <a:pt x="60" y="4"/>
                  </a:cubicBezTo>
                  <a:cubicBezTo>
                    <a:pt x="60" y="4"/>
                    <a:pt x="60" y="4"/>
                    <a:pt x="60" y="4"/>
                  </a:cubicBezTo>
                  <a:cubicBezTo>
                    <a:pt x="59" y="3"/>
                    <a:pt x="58" y="3"/>
                    <a:pt x="56" y="4"/>
                  </a:cubicBezTo>
                  <a:cubicBezTo>
                    <a:pt x="56" y="4"/>
                    <a:pt x="56" y="4"/>
                    <a:pt x="56" y="4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5"/>
                    <a:pt x="55" y="5"/>
                    <a:pt x="55" y="5"/>
                  </a:cubicBezTo>
                  <a:cubicBezTo>
                    <a:pt x="55" y="4"/>
                    <a:pt x="55" y="4"/>
                    <a:pt x="5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2" y="4"/>
                    <a:pt x="51" y="4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0" y="6"/>
                    <a:pt x="50" y="6"/>
                  </a:cubicBezTo>
                  <a:cubicBezTo>
                    <a:pt x="50" y="6"/>
                    <a:pt x="50" y="6"/>
                    <a:pt x="49" y="5"/>
                  </a:cubicBezTo>
                  <a:cubicBezTo>
                    <a:pt x="49" y="4"/>
                    <a:pt x="49" y="4"/>
                    <a:pt x="48" y="3"/>
                  </a:cubicBezTo>
                  <a:cubicBezTo>
                    <a:pt x="48" y="3"/>
                    <a:pt x="47" y="3"/>
                    <a:pt x="46" y="3"/>
                  </a:cubicBezTo>
                  <a:cubicBezTo>
                    <a:pt x="46" y="3"/>
                    <a:pt x="45" y="3"/>
                    <a:pt x="45" y="3"/>
                  </a:cubicBezTo>
                  <a:cubicBezTo>
                    <a:pt x="45" y="4"/>
                    <a:pt x="45" y="4"/>
                    <a:pt x="45" y="5"/>
                  </a:cubicBezTo>
                  <a:cubicBezTo>
                    <a:pt x="45" y="5"/>
                    <a:pt x="45" y="5"/>
                    <a:pt x="45" y="5"/>
                  </a:cubicBezTo>
                  <a:cubicBezTo>
                    <a:pt x="45" y="5"/>
                    <a:pt x="44" y="4"/>
                    <a:pt x="43" y="4"/>
                  </a:cubicBezTo>
                  <a:cubicBezTo>
                    <a:pt x="43" y="4"/>
                    <a:pt x="42" y="4"/>
                    <a:pt x="42" y="5"/>
                  </a:cubicBezTo>
                  <a:cubicBezTo>
                    <a:pt x="42" y="5"/>
                    <a:pt x="41" y="4"/>
                    <a:pt x="41" y="4"/>
                  </a:cubicBezTo>
                  <a:cubicBezTo>
                    <a:pt x="41" y="4"/>
                    <a:pt x="41" y="4"/>
                    <a:pt x="40" y="4"/>
                  </a:cubicBezTo>
                  <a:cubicBezTo>
                    <a:pt x="40" y="4"/>
                    <a:pt x="40" y="4"/>
                    <a:pt x="39" y="3"/>
                  </a:cubicBezTo>
                  <a:cubicBezTo>
                    <a:pt x="39" y="3"/>
                    <a:pt x="39" y="3"/>
                    <a:pt x="38" y="3"/>
                  </a:cubicBezTo>
                  <a:cubicBezTo>
                    <a:pt x="37" y="3"/>
                    <a:pt x="37" y="3"/>
                    <a:pt x="36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3" y="3"/>
                    <a:pt x="33" y="3"/>
                    <a:pt x="32" y="3"/>
                  </a:cubicBezTo>
                  <a:cubicBezTo>
                    <a:pt x="31" y="3"/>
                    <a:pt x="30" y="3"/>
                    <a:pt x="29" y="3"/>
                  </a:cubicBezTo>
                  <a:cubicBezTo>
                    <a:pt x="28" y="4"/>
                    <a:pt x="27" y="4"/>
                    <a:pt x="26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3"/>
                    <a:pt x="23" y="2"/>
                    <a:pt x="22" y="2"/>
                  </a:cubicBezTo>
                  <a:cubicBezTo>
                    <a:pt x="22" y="2"/>
                    <a:pt x="22" y="2"/>
                    <a:pt x="21" y="1"/>
                  </a:cubicBezTo>
                  <a:cubicBezTo>
                    <a:pt x="21" y="1"/>
                    <a:pt x="20" y="0"/>
                    <a:pt x="1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4"/>
                    <a:pt x="16" y="5"/>
                    <a:pt x="17" y="6"/>
                  </a:cubicBezTo>
                  <a:cubicBezTo>
                    <a:pt x="17" y="6"/>
                    <a:pt x="16" y="6"/>
                    <a:pt x="16" y="6"/>
                  </a:cubicBezTo>
                  <a:cubicBezTo>
                    <a:pt x="16" y="6"/>
                    <a:pt x="15" y="6"/>
                    <a:pt x="15" y="6"/>
                  </a:cubicBezTo>
                  <a:cubicBezTo>
                    <a:pt x="15" y="5"/>
                    <a:pt x="14" y="4"/>
                    <a:pt x="12" y="4"/>
                  </a:cubicBezTo>
                  <a:cubicBezTo>
                    <a:pt x="12" y="4"/>
                    <a:pt x="12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8" y="2"/>
                    <a:pt x="8" y="2"/>
                    <a:pt x="8" y="2"/>
                  </a:cubicBezTo>
                  <a:cubicBezTo>
                    <a:pt x="6" y="2"/>
                    <a:pt x="4" y="3"/>
                    <a:pt x="3" y="4"/>
                  </a:cubicBezTo>
                  <a:cubicBezTo>
                    <a:pt x="3" y="4"/>
                    <a:pt x="3" y="5"/>
                    <a:pt x="3" y="5"/>
                  </a:cubicBezTo>
                  <a:cubicBezTo>
                    <a:pt x="3" y="5"/>
                    <a:pt x="3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1" y="5"/>
                    <a:pt x="1" y="6"/>
                    <a:pt x="1" y="7"/>
                  </a:cubicBezTo>
                  <a:cubicBezTo>
                    <a:pt x="0" y="8"/>
                    <a:pt x="1" y="8"/>
                    <a:pt x="3" y="9"/>
                  </a:cubicBezTo>
                  <a:close/>
                  <a:moveTo>
                    <a:pt x="35" y="16"/>
                  </a:move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4" name="Freeform 63"/>
            <p:cNvSpPr>
              <a:spLocks noEditPoints="1"/>
            </p:cNvSpPr>
            <p:nvPr/>
          </p:nvSpPr>
          <p:spPr bwMode="auto">
            <a:xfrm>
              <a:off x="4144" y="491"/>
              <a:ext cx="67" cy="38"/>
            </a:xfrm>
            <a:custGeom>
              <a:avLst/>
              <a:gdLst>
                <a:gd name="T0" fmla="*/ 2 w 28"/>
                <a:gd name="T1" fmla="*/ 9 h 16"/>
                <a:gd name="T2" fmla="*/ 4 w 28"/>
                <a:gd name="T3" fmla="*/ 10 h 16"/>
                <a:gd name="T4" fmla="*/ 6 w 28"/>
                <a:gd name="T5" fmla="*/ 11 h 16"/>
                <a:gd name="T6" fmla="*/ 7 w 28"/>
                <a:gd name="T7" fmla="*/ 11 h 16"/>
                <a:gd name="T8" fmla="*/ 9 w 28"/>
                <a:gd name="T9" fmla="*/ 14 h 16"/>
                <a:gd name="T10" fmla="*/ 10 w 28"/>
                <a:gd name="T11" fmla="*/ 14 h 16"/>
                <a:gd name="T12" fmla="*/ 11 w 28"/>
                <a:gd name="T13" fmla="*/ 14 h 16"/>
                <a:gd name="T14" fmla="*/ 14 w 28"/>
                <a:gd name="T15" fmla="*/ 16 h 16"/>
                <a:gd name="T16" fmla="*/ 16 w 28"/>
                <a:gd name="T17" fmla="*/ 15 h 16"/>
                <a:gd name="T18" fmla="*/ 17 w 28"/>
                <a:gd name="T19" fmla="*/ 14 h 16"/>
                <a:gd name="T20" fmla="*/ 18 w 28"/>
                <a:gd name="T21" fmla="*/ 11 h 16"/>
                <a:gd name="T22" fmla="*/ 20 w 28"/>
                <a:gd name="T23" fmla="*/ 11 h 16"/>
                <a:gd name="T24" fmla="*/ 22 w 28"/>
                <a:gd name="T25" fmla="*/ 10 h 16"/>
                <a:gd name="T26" fmla="*/ 23 w 28"/>
                <a:gd name="T27" fmla="*/ 10 h 16"/>
                <a:gd name="T28" fmla="*/ 25 w 28"/>
                <a:gd name="T29" fmla="*/ 8 h 16"/>
                <a:gd name="T30" fmla="*/ 27 w 28"/>
                <a:gd name="T31" fmla="*/ 7 h 16"/>
                <a:gd name="T32" fmla="*/ 27 w 28"/>
                <a:gd name="T33" fmla="*/ 3 h 16"/>
                <a:gd name="T34" fmla="*/ 22 w 28"/>
                <a:gd name="T35" fmla="*/ 2 h 16"/>
                <a:gd name="T36" fmla="*/ 21 w 28"/>
                <a:gd name="T37" fmla="*/ 2 h 16"/>
                <a:gd name="T38" fmla="*/ 19 w 28"/>
                <a:gd name="T39" fmla="*/ 2 h 16"/>
                <a:gd name="T40" fmla="*/ 17 w 28"/>
                <a:gd name="T41" fmla="*/ 4 h 16"/>
                <a:gd name="T42" fmla="*/ 15 w 28"/>
                <a:gd name="T43" fmla="*/ 6 h 16"/>
                <a:gd name="T44" fmla="*/ 13 w 28"/>
                <a:gd name="T45" fmla="*/ 3 h 16"/>
                <a:gd name="T46" fmla="*/ 12 w 28"/>
                <a:gd name="T47" fmla="*/ 2 h 16"/>
                <a:gd name="T48" fmla="*/ 10 w 28"/>
                <a:gd name="T49" fmla="*/ 2 h 16"/>
                <a:gd name="T50" fmla="*/ 9 w 28"/>
                <a:gd name="T51" fmla="*/ 3 h 16"/>
                <a:gd name="T52" fmla="*/ 8 w 28"/>
                <a:gd name="T53" fmla="*/ 4 h 16"/>
                <a:gd name="T54" fmla="*/ 7 w 28"/>
                <a:gd name="T55" fmla="*/ 5 h 16"/>
                <a:gd name="T56" fmla="*/ 6 w 28"/>
                <a:gd name="T57" fmla="*/ 5 h 16"/>
                <a:gd name="T58" fmla="*/ 5 w 28"/>
                <a:gd name="T59" fmla="*/ 5 h 16"/>
                <a:gd name="T60" fmla="*/ 1 w 28"/>
                <a:gd name="T61" fmla="*/ 5 h 16"/>
                <a:gd name="T62" fmla="*/ 0 w 28"/>
                <a:gd name="T63" fmla="*/ 8 h 16"/>
                <a:gd name="T64" fmla="*/ 11 w 28"/>
                <a:gd name="T65" fmla="*/ 10 h 16"/>
                <a:gd name="T66" fmla="*/ 11 w 28"/>
                <a:gd name="T67" fmla="*/ 10 h 16"/>
                <a:gd name="T68" fmla="*/ 12 w 28"/>
                <a:gd name="T69" fmla="*/ 6 h 16"/>
                <a:gd name="T70" fmla="*/ 12 w 28"/>
                <a:gd name="T71" fmla="*/ 9 h 16"/>
                <a:gd name="T72" fmla="*/ 11 w 28"/>
                <a:gd name="T73" fmla="*/ 10 h 16"/>
                <a:gd name="T74" fmla="*/ 11 w 28"/>
                <a:gd name="T75" fmla="*/ 10 h 16"/>
                <a:gd name="T76" fmla="*/ 9 w 28"/>
                <a:gd name="T77" fmla="*/ 9 h 16"/>
                <a:gd name="T78" fmla="*/ 9 w 28"/>
                <a:gd name="T79" fmla="*/ 9 h 16"/>
                <a:gd name="T80" fmla="*/ 11 w 28"/>
                <a:gd name="T81" fmla="*/ 8 h 16"/>
                <a:gd name="T82" fmla="*/ 12 w 28"/>
                <a:gd name="T83" fmla="*/ 7 h 16"/>
                <a:gd name="T84" fmla="*/ 3 w 28"/>
                <a:gd name="T85" fmla="*/ 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8" h="16">
                  <a:moveTo>
                    <a:pt x="1" y="9"/>
                  </a:move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10"/>
                    <a:pt x="2" y="10"/>
                    <a:pt x="3" y="10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5" y="11"/>
                    <a:pt x="6" y="11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2"/>
                    <a:pt x="7" y="12"/>
                  </a:cubicBezTo>
                  <a:cubicBezTo>
                    <a:pt x="7" y="12"/>
                    <a:pt x="7" y="13"/>
                    <a:pt x="8" y="13"/>
                  </a:cubicBezTo>
                  <a:cubicBezTo>
                    <a:pt x="8" y="13"/>
                    <a:pt x="9" y="14"/>
                    <a:pt x="9" y="14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1" y="14"/>
                  </a:cubicBezTo>
                  <a:cubicBezTo>
                    <a:pt x="11" y="14"/>
                    <a:pt x="11" y="14"/>
                    <a:pt x="11" y="14"/>
                  </a:cubicBezTo>
                  <a:cubicBezTo>
                    <a:pt x="11" y="15"/>
                    <a:pt x="11" y="15"/>
                    <a:pt x="12" y="15"/>
                  </a:cubicBezTo>
                  <a:cubicBezTo>
                    <a:pt x="12" y="15"/>
                    <a:pt x="13" y="16"/>
                    <a:pt x="14" y="16"/>
                  </a:cubicBezTo>
                  <a:cubicBezTo>
                    <a:pt x="14" y="16"/>
                    <a:pt x="14" y="16"/>
                    <a:pt x="14" y="16"/>
                  </a:cubicBezTo>
                  <a:cubicBezTo>
                    <a:pt x="15" y="16"/>
                    <a:pt x="15" y="15"/>
                    <a:pt x="15" y="15"/>
                  </a:cubicBezTo>
                  <a:cubicBezTo>
                    <a:pt x="15" y="15"/>
                    <a:pt x="15" y="15"/>
                    <a:pt x="16" y="15"/>
                  </a:cubicBezTo>
                  <a:cubicBezTo>
                    <a:pt x="16" y="15"/>
                    <a:pt x="16" y="14"/>
                    <a:pt x="16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8" y="13"/>
                    <a:pt x="18" y="13"/>
                    <a:pt x="18" y="13"/>
                  </a:cubicBezTo>
                  <a:cubicBezTo>
                    <a:pt x="18" y="12"/>
                    <a:pt x="18" y="12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2"/>
                    <a:pt x="20" y="12"/>
                    <a:pt x="20" y="11"/>
                  </a:cubicBezTo>
                  <a:cubicBezTo>
                    <a:pt x="21" y="11"/>
                    <a:pt x="21" y="11"/>
                    <a:pt x="21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4" y="9"/>
                    <a:pt x="24" y="9"/>
                    <a:pt x="25" y="9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5" y="8"/>
                  </a:cubicBezTo>
                  <a:cubicBezTo>
                    <a:pt x="25" y="8"/>
                    <a:pt x="25" y="8"/>
                    <a:pt x="26" y="8"/>
                  </a:cubicBezTo>
                  <a:cubicBezTo>
                    <a:pt x="26" y="8"/>
                    <a:pt x="26" y="8"/>
                    <a:pt x="26" y="8"/>
                  </a:cubicBezTo>
                  <a:cubicBezTo>
                    <a:pt x="26" y="7"/>
                    <a:pt x="26" y="7"/>
                    <a:pt x="27" y="7"/>
                  </a:cubicBezTo>
                  <a:cubicBezTo>
                    <a:pt x="27" y="7"/>
                    <a:pt x="27" y="6"/>
                    <a:pt x="27" y="6"/>
                  </a:cubicBezTo>
                  <a:cubicBezTo>
                    <a:pt x="28" y="5"/>
                    <a:pt x="28" y="5"/>
                    <a:pt x="28" y="4"/>
                  </a:cubicBezTo>
                  <a:cubicBezTo>
                    <a:pt x="28" y="4"/>
                    <a:pt x="27" y="4"/>
                    <a:pt x="27" y="3"/>
                  </a:cubicBezTo>
                  <a:cubicBezTo>
                    <a:pt x="26" y="3"/>
                    <a:pt x="25" y="3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2"/>
                    <a:pt x="23" y="2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2"/>
                    <a:pt x="19" y="2"/>
                    <a:pt x="19" y="2"/>
                  </a:cubicBezTo>
                  <a:cubicBezTo>
                    <a:pt x="19" y="3"/>
                    <a:pt x="18" y="3"/>
                    <a:pt x="18" y="3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17" y="3"/>
                    <a:pt x="17" y="4"/>
                    <a:pt x="17" y="4"/>
                  </a:cubicBezTo>
                  <a:cubicBezTo>
                    <a:pt x="16" y="4"/>
                    <a:pt x="16" y="5"/>
                    <a:pt x="16" y="6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5" y="4"/>
                    <a:pt x="14" y="4"/>
                    <a:pt x="14" y="4"/>
                  </a:cubicBezTo>
                  <a:cubicBezTo>
                    <a:pt x="14" y="4"/>
                    <a:pt x="13" y="4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3" y="2"/>
                    <a:pt x="13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10" y="2"/>
                    <a:pt x="10" y="2"/>
                  </a:cubicBezTo>
                  <a:cubicBezTo>
                    <a:pt x="10" y="2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5"/>
                    <a:pt x="7" y="5"/>
                  </a:cubicBezTo>
                  <a:cubicBezTo>
                    <a:pt x="7" y="5"/>
                    <a:pt x="7" y="5"/>
                    <a:pt x="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4" y="5"/>
                    <a:pt x="4" y="5"/>
                    <a:pt x="4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2" y="5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0" y="6"/>
                    <a:pt x="0" y="7"/>
                    <a:pt x="0" y="7"/>
                  </a:cubicBezTo>
                  <a:cubicBezTo>
                    <a:pt x="0" y="7"/>
                    <a:pt x="0" y="8"/>
                    <a:pt x="0" y="8"/>
                  </a:cubicBezTo>
                  <a:cubicBezTo>
                    <a:pt x="0" y="8"/>
                    <a:pt x="0" y="8"/>
                    <a:pt x="1" y="9"/>
                  </a:cubicBezTo>
                  <a:close/>
                  <a:moveTo>
                    <a:pt x="11" y="10"/>
                  </a:move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lose/>
                  <a:moveTo>
                    <a:pt x="11" y="10"/>
                  </a:move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lose/>
                  <a:moveTo>
                    <a:pt x="12" y="6"/>
                  </a:moveTo>
                  <a:cubicBezTo>
                    <a:pt x="12" y="7"/>
                    <a:pt x="12" y="7"/>
                    <a:pt x="12" y="7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2" y="9"/>
                    <a:pt x="12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11" y="9"/>
                    <a:pt x="11" y="9"/>
                    <a:pt x="10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" y="9"/>
                    <a:pt x="10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7"/>
                    <a:pt x="11" y="7"/>
                  </a:cubicBezTo>
                  <a:cubicBezTo>
                    <a:pt x="11" y="7"/>
                    <a:pt x="11" y="7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6"/>
                    <a:pt x="12" y="6"/>
                    <a:pt x="12" y="6"/>
                  </a:cubicBezTo>
                  <a:close/>
                  <a:moveTo>
                    <a:pt x="3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3" y="6"/>
                    <a:pt x="3" y="6"/>
                    <a:pt x="3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4192" y="517"/>
              <a:ext cx="21" cy="17"/>
            </a:xfrm>
            <a:custGeom>
              <a:avLst/>
              <a:gdLst>
                <a:gd name="T0" fmla="*/ 5 w 9"/>
                <a:gd name="T1" fmla="*/ 1 h 7"/>
                <a:gd name="T2" fmla="*/ 3 w 9"/>
                <a:gd name="T3" fmla="*/ 1 h 7"/>
                <a:gd name="T4" fmla="*/ 2 w 9"/>
                <a:gd name="T5" fmla="*/ 2 h 7"/>
                <a:gd name="T6" fmla="*/ 2 w 9"/>
                <a:gd name="T7" fmla="*/ 2 h 7"/>
                <a:gd name="T8" fmla="*/ 2 w 9"/>
                <a:gd name="T9" fmla="*/ 3 h 7"/>
                <a:gd name="T10" fmla="*/ 1 w 9"/>
                <a:gd name="T11" fmla="*/ 4 h 7"/>
                <a:gd name="T12" fmla="*/ 0 w 9"/>
                <a:gd name="T13" fmla="*/ 5 h 7"/>
                <a:gd name="T14" fmla="*/ 1 w 9"/>
                <a:gd name="T15" fmla="*/ 7 h 7"/>
                <a:gd name="T16" fmla="*/ 2 w 9"/>
                <a:gd name="T17" fmla="*/ 7 h 7"/>
                <a:gd name="T18" fmla="*/ 4 w 9"/>
                <a:gd name="T19" fmla="*/ 7 h 7"/>
                <a:gd name="T20" fmla="*/ 4 w 9"/>
                <a:gd name="T21" fmla="*/ 7 h 7"/>
                <a:gd name="T22" fmla="*/ 4 w 9"/>
                <a:gd name="T23" fmla="*/ 7 h 7"/>
                <a:gd name="T24" fmla="*/ 5 w 9"/>
                <a:gd name="T25" fmla="*/ 7 h 7"/>
                <a:gd name="T26" fmla="*/ 6 w 9"/>
                <a:gd name="T27" fmla="*/ 7 h 7"/>
                <a:gd name="T28" fmla="*/ 7 w 9"/>
                <a:gd name="T29" fmla="*/ 7 h 7"/>
                <a:gd name="T30" fmla="*/ 9 w 9"/>
                <a:gd name="T31" fmla="*/ 5 h 7"/>
                <a:gd name="T32" fmla="*/ 8 w 9"/>
                <a:gd name="T33" fmla="*/ 3 h 7"/>
                <a:gd name="T34" fmla="*/ 7 w 9"/>
                <a:gd name="T35" fmla="*/ 2 h 7"/>
                <a:gd name="T36" fmla="*/ 7 w 9"/>
                <a:gd name="T37" fmla="*/ 2 h 7"/>
                <a:gd name="T38" fmla="*/ 6 w 9"/>
                <a:gd name="T39" fmla="*/ 1 h 7"/>
                <a:gd name="T40" fmla="*/ 6 w 9"/>
                <a:gd name="T41" fmla="*/ 1 h 7"/>
                <a:gd name="T42" fmla="*/ 5 w 9"/>
                <a:gd name="T43" fmla="*/ 2 h 7"/>
                <a:gd name="T44" fmla="*/ 5 w 9"/>
                <a:gd name="T45" fmla="*/ 2 h 7"/>
                <a:gd name="T46" fmla="*/ 5 w 9"/>
                <a:gd name="T47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7">
                  <a:moveTo>
                    <a:pt x="5" y="1"/>
                  </a:moveTo>
                  <a:cubicBezTo>
                    <a:pt x="5" y="0"/>
                    <a:pt x="3" y="1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4"/>
                    <a:pt x="0" y="5"/>
                    <a:pt x="0" y="5"/>
                  </a:cubicBezTo>
                  <a:cubicBezTo>
                    <a:pt x="1" y="6"/>
                    <a:pt x="1" y="6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6" y="7"/>
                    <a:pt x="7" y="7"/>
                    <a:pt x="7" y="7"/>
                  </a:cubicBezTo>
                  <a:cubicBezTo>
                    <a:pt x="9" y="6"/>
                    <a:pt x="9" y="5"/>
                    <a:pt x="9" y="5"/>
                  </a:cubicBezTo>
                  <a:cubicBezTo>
                    <a:pt x="9" y="4"/>
                    <a:pt x="9" y="4"/>
                    <a:pt x="8" y="3"/>
                  </a:cubicBezTo>
                  <a:cubicBezTo>
                    <a:pt x="8" y="3"/>
                    <a:pt x="8" y="2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5" y="2"/>
                    <a:pt x="5" y="2"/>
                    <a:pt x="5" y="2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6" name="Freeform 65"/>
            <p:cNvSpPr>
              <a:spLocks noEditPoints="1"/>
            </p:cNvSpPr>
            <p:nvPr/>
          </p:nvSpPr>
          <p:spPr bwMode="auto">
            <a:xfrm>
              <a:off x="4211" y="510"/>
              <a:ext cx="21" cy="17"/>
            </a:xfrm>
            <a:custGeom>
              <a:avLst/>
              <a:gdLst>
                <a:gd name="T0" fmla="*/ 1 w 9"/>
                <a:gd name="T1" fmla="*/ 6 h 7"/>
                <a:gd name="T2" fmla="*/ 2 w 9"/>
                <a:gd name="T3" fmla="*/ 7 h 7"/>
                <a:gd name="T4" fmla="*/ 3 w 9"/>
                <a:gd name="T5" fmla="*/ 7 h 7"/>
                <a:gd name="T6" fmla="*/ 4 w 9"/>
                <a:gd name="T7" fmla="*/ 7 h 7"/>
                <a:gd name="T8" fmla="*/ 4 w 9"/>
                <a:gd name="T9" fmla="*/ 7 h 7"/>
                <a:gd name="T10" fmla="*/ 4 w 9"/>
                <a:gd name="T11" fmla="*/ 7 h 7"/>
                <a:gd name="T12" fmla="*/ 5 w 9"/>
                <a:gd name="T13" fmla="*/ 7 h 7"/>
                <a:gd name="T14" fmla="*/ 5 w 9"/>
                <a:gd name="T15" fmla="*/ 6 h 7"/>
                <a:gd name="T16" fmla="*/ 5 w 9"/>
                <a:gd name="T17" fmla="*/ 6 h 7"/>
                <a:gd name="T18" fmla="*/ 5 w 9"/>
                <a:gd name="T19" fmla="*/ 6 h 7"/>
                <a:gd name="T20" fmla="*/ 6 w 9"/>
                <a:gd name="T21" fmla="*/ 6 h 7"/>
                <a:gd name="T22" fmla="*/ 6 w 9"/>
                <a:gd name="T23" fmla="*/ 6 h 7"/>
                <a:gd name="T24" fmla="*/ 7 w 9"/>
                <a:gd name="T25" fmla="*/ 6 h 7"/>
                <a:gd name="T26" fmla="*/ 8 w 9"/>
                <a:gd name="T27" fmla="*/ 6 h 7"/>
                <a:gd name="T28" fmla="*/ 8 w 9"/>
                <a:gd name="T29" fmla="*/ 5 h 7"/>
                <a:gd name="T30" fmla="*/ 9 w 9"/>
                <a:gd name="T31" fmla="*/ 3 h 7"/>
                <a:gd name="T32" fmla="*/ 8 w 9"/>
                <a:gd name="T33" fmla="*/ 1 h 7"/>
                <a:gd name="T34" fmla="*/ 7 w 9"/>
                <a:gd name="T35" fmla="*/ 1 h 7"/>
                <a:gd name="T36" fmla="*/ 7 w 9"/>
                <a:gd name="T37" fmla="*/ 1 h 7"/>
                <a:gd name="T38" fmla="*/ 7 w 9"/>
                <a:gd name="T39" fmla="*/ 0 h 7"/>
                <a:gd name="T40" fmla="*/ 5 w 9"/>
                <a:gd name="T41" fmla="*/ 0 h 7"/>
                <a:gd name="T42" fmla="*/ 4 w 9"/>
                <a:gd name="T43" fmla="*/ 0 h 7"/>
                <a:gd name="T44" fmla="*/ 3 w 9"/>
                <a:gd name="T45" fmla="*/ 1 h 7"/>
                <a:gd name="T46" fmla="*/ 2 w 9"/>
                <a:gd name="T47" fmla="*/ 2 h 7"/>
                <a:gd name="T48" fmla="*/ 2 w 9"/>
                <a:gd name="T49" fmla="*/ 2 h 7"/>
                <a:gd name="T50" fmla="*/ 1 w 9"/>
                <a:gd name="T51" fmla="*/ 2 h 7"/>
                <a:gd name="T52" fmla="*/ 0 w 9"/>
                <a:gd name="T53" fmla="*/ 3 h 7"/>
                <a:gd name="T54" fmla="*/ 0 w 9"/>
                <a:gd name="T55" fmla="*/ 5 h 7"/>
                <a:gd name="T56" fmla="*/ 1 w 9"/>
                <a:gd name="T57" fmla="*/ 6 h 7"/>
                <a:gd name="T58" fmla="*/ 6 w 9"/>
                <a:gd name="T59" fmla="*/ 2 h 7"/>
                <a:gd name="T60" fmla="*/ 6 w 9"/>
                <a:gd name="T61" fmla="*/ 2 h 7"/>
                <a:gd name="T62" fmla="*/ 6 w 9"/>
                <a:gd name="T63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" h="7">
                  <a:moveTo>
                    <a:pt x="1" y="6"/>
                  </a:moveTo>
                  <a:cubicBezTo>
                    <a:pt x="1" y="6"/>
                    <a:pt x="2" y="7"/>
                    <a:pt x="2" y="7"/>
                  </a:cubicBezTo>
                  <a:cubicBezTo>
                    <a:pt x="2" y="7"/>
                    <a:pt x="3" y="7"/>
                    <a:pt x="3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7"/>
                    <a:pt x="5" y="7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6" y="6"/>
                    <a:pt x="6" y="6"/>
                    <a:pt x="6" y="6"/>
                  </a:cubicBezTo>
                  <a:cubicBezTo>
                    <a:pt x="7" y="6"/>
                    <a:pt x="7" y="6"/>
                    <a:pt x="7" y="6"/>
                  </a:cubicBezTo>
                  <a:cubicBezTo>
                    <a:pt x="7" y="6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4"/>
                    <a:pt x="9" y="4"/>
                    <a:pt x="9" y="3"/>
                  </a:cubicBezTo>
                  <a:cubicBezTo>
                    <a:pt x="9" y="3"/>
                    <a:pt x="9" y="2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0" y="6"/>
                    <a:pt x="1" y="6"/>
                    <a:pt x="1" y="6"/>
                  </a:cubicBezTo>
                  <a:close/>
                  <a:moveTo>
                    <a:pt x="6" y="2"/>
                  </a:move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6" y="2"/>
                    <a:pt x="6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7" name="Freeform 66"/>
            <p:cNvSpPr>
              <a:spLocks noEditPoints="1"/>
            </p:cNvSpPr>
            <p:nvPr/>
          </p:nvSpPr>
          <p:spPr bwMode="auto">
            <a:xfrm>
              <a:off x="4227" y="475"/>
              <a:ext cx="107" cy="54"/>
            </a:xfrm>
            <a:custGeom>
              <a:avLst/>
              <a:gdLst>
                <a:gd name="T0" fmla="*/ 4 w 45"/>
                <a:gd name="T1" fmla="*/ 14 h 23"/>
                <a:gd name="T2" fmla="*/ 6 w 45"/>
                <a:gd name="T3" fmla="*/ 14 h 23"/>
                <a:gd name="T4" fmla="*/ 8 w 45"/>
                <a:gd name="T5" fmla="*/ 13 h 23"/>
                <a:gd name="T6" fmla="*/ 10 w 45"/>
                <a:gd name="T7" fmla="*/ 12 h 23"/>
                <a:gd name="T8" fmla="*/ 11 w 45"/>
                <a:gd name="T9" fmla="*/ 13 h 23"/>
                <a:gd name="T10" fmla="*/ 13 w 45"/>
                <a:gd name="T11" fmla="*/ 13 h 23"/>
                <a:gd name="T12" fmla="*/ 15 w 45"/>
                <a:gd name="T13" fmla="*/ 13 h 23"/>
                <a:gd name="T14" fmla="*/ 15 w 45"/>
                <a:gd name="T15" fmla="*/ 14 h 23"/>
                <a:gd name="T16" fmla="*/ 12 w 45"/>
                <a:gd name="T17" fmla="*/ 16 h 23"/>
                <a:gd name="T18" fmla="*/ 10 w 45"/>
                <a:gd name="T19" fmla="*/ 20 h 23"/>
                <a:gd name="T20" fmla="*/ 10 w 45"/>
                <a:gd name="T21" fmla="*/ 22 h 23"/>
                <a:gd name="T22" fmla="*/ 13 w 45"/>
                <a:gd name="T23" fmla="*/ 22 h 23"/>
                <a:gd name="T24" fmla="*/ 16 w 45"/>
                <a:gd name="T25" fmla="*/ 21 h 23"/>
                <a:gd name="T26" fmla="*/ 16 w 45"/>
                <a:gd name="T27" fmla="*/ 20 h 23"/>
                <a:gd name="T28" fmla="*/ 20 w 45"/>
                <a:gd name="T29" fmla="*/ 18 h 23"/>
                <a:gd name="T30" fmla="*/ 21 w 45"/>
                <a:gd name="T31" fmla="*/ 18 h 23"/>
                <a:gd name="T32" fmla="*/ 25 w 45"/>
                <a:gd name="T33" fmla="*/ 17 h 23"/>
                <a:gd name="T34" fmla="*/ 28 w 45"/>
                <a:gd name="T35" fmla="*/ 17 h 23"/>
                <a:gd name="T36" fmla="*/ 28 w 45"/>
                <a:gd name="T37" fmla="*/ 19 h 23"/>
                <a:gd name="T38" fmla="*/ 33 w 45"/>
                <a:gd name="T39" fmla="*/ 15 h 23"/>
                <a:gd name="T40" fmla="*/ 41 w 45"/>
                <a:gd name="T41" fmla="*/ 13 h 23"/>
                <a:gd name="T42" fmla="*/ 44 w 45"/>
                <a:gd name="T43" fmla="*/ 7 h 23"/>
                <a:gd name="T44" fmla="*/ 41 w 45"/>
                <a:gd name="T45" fmla="*/ 4 h 23"/>
                <a:gd name="T46" fmla="*/ 37 w 45"/>
                <a:gd name="T47" fmla="*/ 7 h 23"/>
                <a:gd name="T48" fmla="*/ 35 w 45"/>
                <a:gd name="T49" fmla="*/ 9 h 23"/>
                <a:gd name="T50" fmla="*/ 32 w 45"/>
                <a:gd name="T51" fmla="*/ 11 h 23"/>
                <a:gd name="T52" fmla="*/ 30 w 45"/>
                <a:gd name="T53" fmla="*/ 7 h 23"/>
                <a:gd name="T54" fmla="*/ 24 w 45"/>
                <a:gd name="T55" fmla="*/ 8 h 23"/>
                <a:gd name="T56" fmla="*/ 21 w 45"/>
                <a:gd name="T57" fmla="*/ 11 h 23"/>
                <a:gd name="T58" fmla="*/ 21 w 45"/>
                <a:gd name="T59" fmla="*/ 14 h 23"/>
                <a:gd name="T60" fmla="*/ 17 w 45"/>
                <a:gd name="T61" fmla="*/ 14 h 23"/>
                <a:gd name="T62" fmla="*/ 16 w 45"/>
                <a:gd name="T63" fmla="*/ 12 h 23"/>
                <a:gd name="T64" fmla="*/ 14 w 45"/>
                <a:gd name="T65" fmla="*/ 9 h 23"/>
                <a:gd name="T66" fmla="*/ 11 w 45"/>
                <a:gd name="T67" fmla="*/ 9 h 23"/>
                <a:gd name="T68" fmla="*/ 11 w 45"/>
                <a:gd name="T69" fmla="*/ 8 h 23"/>
                <a:gd name="T70" fmla="*/ 13 w 45"/>
                <a:gd name="T71" fmla="*/ 7 h 23"/>
                <a:gd name="T72" fmla="*/ 15 w 45"/>
                <a:gd name="T73" fmla="*/ 6 h 23"/>
                <a:gd name="T74" fmla="*/ 17 w 45"/>
                <a:gd name="T75" fmla="*/ 5 h 23"/>
                <a:gd name="T76" fmla="*/ 16 w 45"/>
                <a:gd name="T77" fmla="*/ 2 h 23"/>
                <a:gd name="T78" fmla="*/ 15 w 45"/>
                <a:gd name="T79" fmla="*/ 1 h 23"/>
                <a:gd name="T80" fmla="*/ 12 w 45"/>
                <a:gd name="T81" fmla="*/ 0 h 23"/>
                <a:gd name="T82" fmla="*/ 9 w 45"/>
                <a:gd name="T83" fmla="*/ 3 h 23"/>
                <a:gd name="T84" fmla="*/ 9 w 45"/>
                <a:gd name="T85" fmla="*/ 3 h 23"/>
                <a:gd name="T86" fmla="*/ 7 w 45"/>
                <a:gd name="T87" fmla="*/ 4 h 23"/>
                <a:gd name="T88" fmla="*/ 6 w 45"/>
                <a:gd name="T89" fmla="*/ 4 h 23"/>
                <a:gd name="T90" fmla="*/ 5 w 45"/>
                <a:gd name="T91" fmla="*/ 6 h 23"/>
                <a:gd name="T92" fmla="*/ 3 w 45"/>
                <a:gd name="T93" fmla="*/ 5 h 23"/>
                <a:gd name="T94" fmla="*/ 2 w 45"/>
                <a:gd name="T95" fmla="*/ 9 h 23"/>
                <a:gd name="T96" fmla="*/ 0 w 45"/>
                <a:gd name="T97" fmla="*/ 11 h 23"/>
                <a:gd name="T98" fmla="*/ 3 w 45"/>
                <a:gd name="T99" fmla="*/ 9 h 23"/>
                <a:gd name="T100" fmla="*/ 3 w 45"/>
                <a:gd name="T101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5" h="23">
                  <a:moveTo>
                    <a:pt x="2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3" y="13"/>
                    <a:pt x="4" y="13"/>
                    <a:pt x="4" y="14"/>
                  </a:cubicBezTo>
                  <a:cubicBezTo>
                    <a:pt x="4" y="14"/>
                    <a:pt x="4" y="14"/>
                    <a:pt x="4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4"/>
                    <a:pt x="7" y="13"/>
                  </a:cubicBezTo>
                  <a:cubicBezTo>
                    <a:pt x="7" y="13"/>
                    <a:pt x="8" y="13"/>
                    <a:pt x="8" y="13"/>
                  </a:cubicBezTo>
                  <a:cubicBezTo>
                    <a:pt x="9" y="13"/>
                    <a:pt x="9" y="13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1" y="13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4" y="13"/>
                    <a:pt x="14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5" y="12"/>
                    <a:pt x="15" y="12"/>
                    <a:pt x="16" y="12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15" y="14"/>
                    <a:pt x="15" y="14"/>
                    <a:pt x="15" y="14"/>
                  </a:cubicBezTo>
                  <a:cubicBezTo>
                    <a:pt x="14" y="14"/>
                    <a:pt x="14" y="14"/>
                    <a:pt x="13" y="15"/>
                  </a:cubicBezTo>
                  <a:cubicBezTo>
                    <a:pt x="13" y="15"/>
                    <a:pt x="13" y="16"/>
                    <a:pt x="13" y="16"/>
                  </a:cubicBezTo>
                  <a:cubicBezTo>
                    <a:pt x="13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1" y="17"/>
                    <a:pt x="10" y="17"/>
                    <a:pt x="10" y="17"/>
                  </a:cubicBezTo>
                  <a:cubicBezTo>
                    <a:pt x="9" y="18"/>
                    <a:pt x="9" y="19"/>
                    <a:pt x="10" y="20"/>
                  </a:cubicBezTo>
                  <a:cubicBezTo>
                    <a:pt x="9" y="20"/>
                    <a:pt x="9" y="20"/>
                    <a:pt x="9" y="20"/>
                  </a:cubicBezTo>
                  <a:cubicBezTo>
                    <a:pt x="9" y="22"/>
                    <a:pt x="9" y="22"/>
                    <a:pt x="9" y="2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3"/>
                    <a:pt x="11" y="23"/>
                    <a:pt x="11" y="23"/>
                  </a:cubicBezTo>
                  <a:cubicBezTo>
                    <a:pt x="12" y="23"/>
                    <a:pt x="12" y="23"/>
                    <a:pt x="13" y="23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22"/>
                    <a:pt x="14" y="22"/>
                    <a:pt x="14" y="22"/>
                  </a:cubicBezTo>
                  <a:cubicBezTo>
                    <a:pt x="15" y="22"/>
                    <a:pt x="16" y="22"/>
                    <a:pt x="16" y="21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7" y="21"/>
                    <a:pt x="17" y="21"/>
                    <a:pt x="18" y="21"/>
                  </a:cubicBezTo>
                  <a:cubicBezTo>
                    <a:pt x="18" y="21"/>
                    <a:pt x="19" y="21"/>
                    <a:pt x="19" y="20"/>
                  </a:cubicBezTo>
                  <a:cubicBezTo>
                    <a:pt x="20" y="20"/>
                    <a:pt x="20" y="19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0" y="18"/>
                    <a:pt x="20" y="18"/>
                  </a:cubicBezTo>
                  <a:cubicBezTo>
                    <a:pt x="20" y="18"/>
                    <a:pt x="21" y="18"/>
                    <a:pt x="21" y="18"/>
                  </a:cubicBezTo>
                  <a:cubicBezTo>
                    <a:pt x="22" y="18"/>
                    <a:pt x="22" y="18"/>
                    <a:pt x="23" y="17"/>
                  </a:cubicBezTo>
                  <a:cubicBezTo>
                    <a:pt x="23" y="17"/>
                    <a:pt x="23" y="16"/>
                    <a:pt x="23" y="16"/>
                  </a:cubicBezTo>
                  <a:cubicBezTo>
                    <a:pt x="23" y="17"/>
                    <a:pt x="24" y="17"/>
                    <a:pt x="25" y="17"/>
                  </a:cubicBezTo>
                  <a:cubicBezTo>
                    <a:pt x="26" y="17"/>
                    <a:pt x="26" y="17"/>
                    <a:pt x="27" y="17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7"/>
                    <a:pt x="27" y="17"/>
                    <a:pt x="28" y="17"/>
                  </a:cubicBezTo>
                  <a:cubicBezTo>
                    <a:pt x="28" y="17"/>
                    <a:pt x="29" y="17"/>
                    <a:pt x="29" y="17"/>
                  </a:cubicBezTo>
                  <a:cubicBezTo>
                    <a:pt x="29" y="17"/>
                    <a:pt x="29" y="17"/>
                    <a:pt x="30" y="17"/>
                  </a:cubicBezTo>
                  <a:cubicBezTo>
                    <a:pt x="28" y="19"/>
                    <a:pt x="28" y="19"/>
                    <a:pt x="28" y="19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2" y="17"/>
                    <a:pt x="32" y="16"/>
                    <a:pt x="33" y="16"/>
                  </a:cubicBezTo>
                  <a:cubicBezTo>
                    <a:pt x="33" y="16"/>
                    <a:pt x="33" y="15"/>
                    <a:pt x="33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6" y="15"/>
                    <a:pt x="37" y="15"/>
                    <a:pt x="39" y="14"/>
                  </a:cubicBezTo>
                  <a:cubicBezTo>
                    <a:pt x="39" y="14"/>
                    <a:pt x="40" y="13"/>
                    <a:pt x="41" y="13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42" y="13"/>
                    <a:pt x="43" y="12"/>
                    <a:pt x="44" y="11"/>
                  </a:cubicBezTo>
                  <a:cubicBezTo>
                    <a:pt x="45" y="10"/>
                    <a:pt x="45" y="8"/>
                    <a:pt x="44" y="7"/>
                  </a:cubicBezTo>
                  <a:cubicBezTo>
                    <a:pt x="44" y="6"/>
                    <a:pt x="44" y="5"/>
                    <a:pt x="42" y="4"/>
                  </a:cubicBezTo>
                  <a:cubicBezTo>
                    <a:pt x="45" y="1"/>
                    <a:pt x="45" y="1"/>
                    <a:pt x="45" y="1"/>
                  </a:cubicBezTo>
                  <a:cubicBezTo>
                    <a:pt x="41" y="4"/>
                    <a:pt x="41" y="4"/>
                    <a:pt x="41" y="4"/>
                  </a:cubicBezTo>
                  <a:cubicBezTo>
                    <a:pt x="40" y="4"/>
                    <a:pt x="40" y="4"/>
                    <a:pt x="39" y="5"/>
                  </a:cubicBezTo>
                  <a:cubicBezTo>
                    <a:pt x="39" y="5"/>
                    <a:pt x="39" y="6"/>
                    <a:pt x="39" y="6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7"/>
                    <a:pt x="37" y="7"/>
                    <a:pt x="36" y="8"/>
                  </a:cubicBezTo>
                  <a:cubicBezTo>
                    <a:pt x="36" y="8"/>
                    <a:pt x="36" y="9"/>
                    <a:pt x="35" y="9"/>
                  </a:cubicBezTo>
                  <a:cubicBezTo>
                    <a:pt x="35" y="9"/>
                    <a:pt x="35" y="9"/>
                    <a:pt x="35" y="9"/>
                  </a:cubicBezTo>
                  <a:cubicBezTo>
                    <a:pt x="33" y="11"/>
                    <a:pt x="33" y="11"/>
                    <a:pt x="33" y="11"/>
                  </a:cubicBezTo>
                  <a:cubicBezTo>
                    <a:pt x="33" y="11"/>
                    <a:pt x="33" y="10"/>
                    <a:pt x="33" y="10"/>
                  </a:cubicBezTo>
                  <a:cubicBezTo>
                    <a:pt x="32" y="11"/>
                    <a:pt x="32" y="11"/>
                    <a:pt x="32" y="11"/>
                  </a:cubicBezTo>
                  <a:cubicBezTo>
                    <a:pt x="33" y="10"/>
                    <a:pt x="33" y="10"/>
                    <a:pt x="33" y="10"/>
                  </a:cubicBezTo>
                  <a:cubicBezTo>
                    <a:pt x="33" y="9"/>
                    <a:pt x="33" y="9"/>
                    <a:pt x="32" y="8"/>
                  </a:cubicBezTo>
                  <a:cubicBezTo>
                    <a:pt x="32" y="8"/>
                    <a:pt x="31" y="7"/>
                    <a:pt x="30" y="7"/>
                  </a:cubicBezTo>
                  <a:cubicBezTo>
                    <a:pt x="29" y="7"/>
                    <a:pt x="28" y="8"/>
                    <a:pt x="28" y="8"/>
                  </a:cubicBezTo>
                  <a:cubicBezTo>
                    <a:pt x="27" y="9"/>
                    <a:pt x="26" y="9"/>
                    <a:pt x="26" y="9"/>
                  </a:cubicBezTo>
                  <a:cubicBezTo>
                    <a:pt x="25" y="8"/>
                    <a:pt x="25" y="8"/>
                    <a:pt x="24" y="8"/>
                  </a:cubicBezTo>
                  <a:cubicBezTo>
                    <a:pt x="23" y="8"/>
                    <a:pt x="22" y="9"/>
                    <a:pt x="22" y="10"/>
                  </a:cubicBezTo>
                  <a:cubicBezTo>
                    <a:pt x="21" y="10"/>
                    <a:pt x="21" y="11"/>
                    <a:pt x="21" y="11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1" y="12"/>
                    <a:pt x="20" y="12"/>
                    <a:pt x="20" y="13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21" y="14"/>
                    <a:pt x="21" y="14"/>
                    <a:pt x="21" y="14"/>
                  </a:cubicBezTo>
                  <a:cubicBezTo>
                    <a:pt x="20" y="14"/>
                    <a:pt x="20" y="14"/>
                    <a:pt x="20" y="14"/>
                  </a:cubicBezTo>
                  <a:cubicBezTo>
                    <a:pt x="19" y="14"/>
                    <a:pt x="18" y="14"/>
                    <a:pt x="18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14"/>
                    <a:pt x="16" y="14"/>
                    <a:pt x="16" y="14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1"/>
                    <a:pt x="16" y="10"/>
                  </a:cubicBezTo>
                  <a:cubicBezTo>
                    <a:pt x="16" y="10"/>
                    <a:pt x="16" y="10"/>
                    <a:pt x="16" y="9"/>
                  </a:cubicBezTo>
                  <a:cubicBezTo>
                    <a:pt x="15" y="9"/>
                    <a:pt x="15" y="9"/>
                    <a:pt x="14" y="9"/>
                  </a:cubicBezTo>
                  <a:cubicBezTo>
                    <a:pt x="14" y="9"/>
                    <a:pt x="14" y="9"/>
                    <a:pt x="13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2" y="7"/>
                    <a:pt x="13" y="7"/>
                    <a:pt x="13" y="7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13" y="7"/>
                    <a:pt x="14" y="7"/>
                    <a:pt x="14" y="7"/>
                  </a:cubicBezTo>
                  <a:cubicBezTo>
                    <a:pt x="15" y="7"/>
                    <a:pt x="15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6" y="6"/>
                    <a:pt x="17" y="6"/>
                    <a:pt x="17" y="5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7" y="3"/>
                    <a:pt x="16" y="3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2"/>
                    <a:pt x="16" y="2"/>
                  </a:cubicBezTo>
                  <a:cubicBezTo>
                    <a:pt x="16" y="2"/>
                    <a:pt x="16" y="1"/>
                    <a:pt x="15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1" y="0"/>
                    <a:pt x="10" y="1"/>
                    <a:pt x="10" y="1"/>
                  </a:cubicBezTo>
                  <a:cubicBezTo>
                    <a:pt x="10" y="2"/>
                    <a:pt x="10" y="2"/>
                    <a:pt x="10" y="3"/>
                  </a:cubicBezTo>
                  <a:cubicBezTo>
                    <a:pt x="10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3"/>
                    <a:pt x="8" y="3"/>
                    <a:pt x="8" y="4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6" y="4"/>
                    <a:pt x="6" y="4"/>
                    <a:pt x="6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5" y="6"/>
                    <a:pt x="5" y="6"/>
                    <a:pt x="5" y="6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5"/>
                    <a:pt x="3" y="5"/>
                    <a:pt x="3" y="5"/>
                  </a:cubicBezTo>
                  <a:cubicBezTo>
                    <a:pt x="2" y="5"/>
                    <a:pt x="2" y="5"/>
                    <a:pt x="2" y="6"/>
                  </a:cubicBezTo>
                  <a:cubicBezTo>
                    <a:pt x="1" y="6"/>
                    <a:pt x="0" y="7"/>
                    <a:pt x="1" y="7"/>
                  </a:cubicBezTo>
                  <a:cubicBezTo>
                    <a:pt x="1" y="8"/>
                    <a:pt x="1" y="9"/>
                    <a:pt x="2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1" y="9"/>
                    <a:pt x="1" y="10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1"/>
                    <a:pt x="0" y="12"/>
                    <a:pt x="1" y="12"/>
                  </a:cubicBezTo>
                  <a:cubicBezTo>
                    <a:pt x="1" y="13"/>
                    <a:pt x="1" y="13"/>
                    <a:pt x="2" y="13"/>
                  </a:cubicBezTo>
                  <a:close/>
                  <a:moveTo>
                    <a:pt x="3" y="9"/>
                  </a:move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3" y="9"/>
                    <a:pt x="3" y="9"/>
                    <a:pt x="3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4274" y="517"/>
              <a:ext cx="17" cy="17"/>
            </a:xfrm>
            <a:custGeom>
              <a:avLst/>
              <a:gdLst>
                <a:gd name="T0" fmla="*/ 1 w 7"/>
                <a:gd name="T1" fmla="*/ 5 h 7"/>
                <a:gd name="T2" fmla="*/ 1 w 7"/>
                <a:gd name="T3" fmla="*/ 6 h 7"/>
                <a:gd name="T4" fmla="*/ 2 w 7"/>
                <a:gd name="T5" fmla="*/ 7 h 7"/>
                <a:gd name="T6" fmla="*/ 2 w 7"/>
                <a:gd name="T7" fmla="*/ 7 h 7"/>
                <a:gd name="T8" fmla="*/ 6 w 7"/>
                <a:gd name="T9" fmla="*/ 5 h 7"/>
                <a:gd name="T10" fmla="*/ 7 w 7"/>
                <a:gd name="T11" fmla="*/ 3 h 7"/>
                <a:gd name="T12" fmla="*/ 5 w 7"/>
                <a:gd name="T13" fmla="*/ 0 h 7"/>
                <a:gd name="T14" fmla="*/ 4 w 7"/>
                <a:gd name="T15" fmla="*/ 0 h 7"/>
                <a:gd name="T16" fmla="*/ 1 w 7"/>
                <a:gd name="T17" fmla="*/ 1 h 7"/>
                <a:gd name="T18" fmla="*/ 0 w 7"/>
                <a:gd name="T19" fmla="*/ 4 h 7"/>
                <a:gd name="T20" fmla="*/ 1 w 7"/>
                <a:gd name="T21" fmla="*/ 5 h 7"/>
                <a:gd name="T22" fmla="*/ 1 w 7"/>
                <a:gd name="T23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" h="7">
                  <a:moveTo>
                    <a:pt x="1" y="5"/>
                  </a:moveTo>
                  <a:cubicBezTo>
                    <a:pt x="1" y="6"/>
                    <a:pt x="1" y="6"/>
                    <a:pt x="1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3" y="7"/>
                    <a:pt x="5" y="5"/>
                    <a:pt x="6" y="5"/>
                  </a:cubicBezTo>
                  <a:cubicBezTo>
                    <a:pt x="6" y="5"/>
                    <a:pt x="7" y="4"/>
                    <a:pt x="7" y="3"/>
                  </a:cubicBezTo>
                  <a:cubicBezTo>
                    <a:pt x="7" y="2"/>
                    <a:pt x="6" y="1"/>
                    <a:pt x="5" y="0"/>
                  </a:cubicBezTo>
                  <a:cubicBezTo>
                    <a:pt x="5" y="0"/>
                    <a:pt x="4" y="0"/>
                    <a:pt x="4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0" y="4"/>
                    <a:pt x="1" y="5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4220" y="605"/>
              <a:ext cx="182" cy="189"/>
            </a:xfrm>
            <a:custGeom>
              <a:avLst/>
              <a:gdLst>
                <a:gd name="T0" fmla="*/ 46 w 77"/>
                <a:gd name="T1" fmla="*/ 10 h 80"/>
                <a:gd name="T2" fmla="*/ 44 w 77"/>
                <a:gd name="T3" fmla="*/ 9 h 80"/>
                <a:gd name="T4" fmla="*/ 41 w 77"/>
                <a:gd name="T5" fmla="*/ 12 h 80"/>
                <a:gd name="T6" fmla="*/ 35 w 77"/>
                <a:gd name="T7" fmla="*/ 15 h 80"/>
                <a:gd name="T8" fmla="*/ 32 w 77"/>
                <a:gd name="T9" fmla="*/ 17 h 80"/>
                <a:gd name="T10" fmla="*/ 29 w 77"/>
                <a:gd name="T11" fmla="*/ 20 h 80"/>
                <a:gd name="T12" fmla="*/ 27 w 77"/>
                <a:gd name="T13" fmla="*/ 22 h 80"/>
                <a:gd name="T14" fmla="*/ 22 w 77"/>
                <a:gd name="T15" fmla="*/ 25 h 80"/>
                <a:gd name="T16" fmla="*/ 22 w 77"/>
                <a:gd name="T17" fmla="*/ 25 h 80"/>
                <a:gd name="T18" fmla="*/ 21 w 77"/>
                <a:gd name="T19" fmla="*/ 29 h 80"/>
                <a:gd name="T20" fmla="*/ 19 w 77"/>
                <a:gd name="T21" fmla="*/ 31 h 80"/>
                <a:gd name="T22" fmla="*/ 17 w 77"/>
                <a:gd name="T23" fmla="*/ 34 h 80"/>
                <a:gd name="T24" fmla="*/ 16 w 77"/>
                <a:gd name="T25" fmla="*/ 37 h 80"/>
                <a:gd name="T26" fmla="*/ 13 w 77"/>
                <a:gd name="T27" fmla="*/ 44 h 80"/>
                <a:gd name="T28" fmla="*/ 15 w 77"/>
                <a:gd name="T29" fmla="*/ 44 h 80"/>
                <a:gd name="T30" fmla="*/ 13 w 77"/>
                <a:gd name="T31" fmla="*/ 46 h 80"/>
                <a:gd name="T32" fmla="*/ 9 w 77"/>
                <a:gd name="T33" fmla="*/ 50 h 80"/>
                <a:gd name="T34" fmla="*/ 7 w 77"/>
                <a:gd name="T35" fmla="*/ 51 h 80"/>
                <a:gd name="T36" fmla="*/ 9 w 77"/>
                <a:gd name="T37" fmla="*/ 55 h 80"/>
                <a:gd name="T38" fmla="*/ 9 w 77"/>
                <a:gd name="T39" fmla="*/ 56 h 80"/>
                <a:gd name="T40" fmla="*/ 0 w 77"/>
                <a:gd name="T41" fmla="*/ 52 h 80"/>
                <a:gd name="T42" fmla="*/ 3 w 77"/>
                <a:gd name="T43" fmla="*/ 64 h 80"/>
                <a:gd name="T44" fmla="*/ 10 w 77"/>
                <a:gd name="T45" fmla="*/ 69 h 80"/>
                <a:gd name="T46" fmla="*/ 13 w 77"/>
                <a:gd name="T47" fmla="*/ 70 h 80"/>
                <a:gd name="T48" fmla="*/ 14 w 77"/>
                <a:gd name="T49" fmla="*/ 72 h 80"/>
                <a:gd name="T50" fmla="*/ 17 w 77"/>
                <a:gd name="T51" fmla="*/ 77 h 80"/>
                <a:gd name="T52" fmla="*/ 21 w 77"/>
                <a:gd name="T53" fmla="*/ 79 h 80"/>
                <a:gd name="T54" fmla="*/ 23 w 77"/>
                <a:gd name="T55" fmla="*/ 79 h 80"/>
                <a:gd name="T56" fmla="*/ 28 w 77"/>
                <a:gd name="T57" fmla="*/ 79 h 80"/>
                <a:gd name="T58" fmla="*/ 32 w 77"/>
                <a:gd name="T59" fmla="*/ 78 h 80"/>
                <a:gd name="T60" fmla="*/ 36 w 77"/>
                <a:gd name="T61" fmla="*/ 77 h 80"/>
                <a:gd name="T62" fmla="*/ 34 w 77"/>
                <a:gd name="T63" fmla="*/ 73 h 80"/>
                <a:gd name="T64" fmla="*/ 29 w 77"/>
                <a:gd name="T65" fmla="*/ 67 h 80"/>
                <a:gd name="T66" fmla="*/ 25 w 77"/>
                <a:gd name="T67" fmla="*/ 58 h 80"/>
                <a:gd name="T68" fmla="*/ 25 w 77"/>
                <a:gd name="T69" fmla="*/ 56 h 80"/>
                <a:gd name="T70" fmla="*/ 26 w 77"/>
                <a:gd name="T71" fmla="*/ 50 h 80"/>
                <a:gd name="T72" fmla="*/ 27 w 77"/>
                <a:gd name="T73" fmla="*/ 47 h 80"/>
                <a:gd name="T74" fmla="*/ 30 w 77"/>
                <a:gd name="T75" fmla="*/ 43 h 80"/>
                <a:gd name="T76" fmla="*/ 31 w 77"/>
                <a:gd name="T77" fmla="*/ 42 h 80"/>
                <a:gd name="T78" fmla="*/ 36 w 77"/>
                <a:gd name="T79" fmla="*/ 36 h 80"/>
                <a:gd name="T80" fmla="*/ 38 w 77"/>
                <a:gd name="T81" fmla="*/ 32 h 80"/>
                <a:gd name="T82" fmla="*/ 42 w 77"/>
                <a:gd name="T83" fmla="*/ 31 h 80"/>
                <a:gd name="T84" fmla="*/ 44 w 77"/>
                <a:gd name="T85" fmla="*/ 27 h 80"/>
                <a:gd name="T86" fmla="*/ 48 w 77"/>
                <a:gd name="T87" fmla="*/ 23 h 80"/>
                <a:gd name="T88" fmla="*/ 53 w 77"/>
                <a:gd name="T89" fmla="*/ 21 h 80"/>
                <a:gd name="T90" fmla="*/ 57 w 77"/>
                <a:gd name="T91" fmla="*/ 19 h 80"/>
                <a:gd name="T92" fmla="*/ 61 w 77"/>
                <a:gd name="T93" fmla="*/ 17 h 80"/>
                <a:gd name="T94" fmla="*/ 67 w 77"/>
                <a:gd name="T95" fmla="*/ 14 h 80"/>
                <a:gd name="T96" fmla="*/ 70 w 77"/>
                <a:gd name="T97" fmla="*/ 13 h 80"/>
                <a:gd name="T98" fmla="*/ 75 w 77"/>
                <a:gd name="T99" fmla="*/ 10 h 80"/>
                <a:gd name="T100" fmla="*/ 76 w 77"/>
                <a:gd name="T101" fmla="*/ 2 h 80"/>
                <a:gd name="T102" fmla="*/ 69 w 77"/>
                <a:gd name="T103" fmla="*/ 0 h 80"/>
                <a:gd name="T104" fmla="*/ 65 w 77"/>
                <a:gd name="T105" fmla="*/ 2 h 80"/>
                <a:gd name="T106" fmla="*/ 63 w 77"/>
                <a:gd name="T107" fmla="*/ 3 h 80"/>
                <a:gd name="T108" fmla="*/ 61 w 77"/>
                <a:gd name="T109" fmla="*/ 7 h 80"/>
                <a:gd name="T110" fmla="*/ 58 w 77"/>
                <a:gd name="T111" fmla="*/ 7 h 80"/>
                <a:gd name="T112" fmla="*/ 56 w 77"/>
                <a:gd name="T113" fmla="*/ 7 h 80"/>
                <a:gd name="T114" fmla="*/ 52 w 77"/>
                <a:gd name="T115" fmla="*/ 9 h 80"/>
                <a:gd name="T116" fmla="*/ 50 w 77"/>
                <a:gd name="T117" fmla="*/ 1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7" h="80">
                  <a:moveTo>
                    <a:pt x="47" y="10"/>
                  </a:move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5" y="9"/>
                    <a:pt x="45" y="9"/>
                  </a:cubicBezTo>
                  <a:cubicBezTo>
                    <a:pt x="45" y="9"/>
                    <a:pt x="44" y="9"/>
                    <a:pt x="44" y="9"/>
                  </a:cubicBezTo>
                  <a:cubicBezTo>
                    <a:pt x="43" y="9"/>
                    <a:pt x="42" y="10"/>
                    <a:pt x="42" y="10"/>
                  </a:cubicBezTo>
                  <a:cubicBezTo>
                    <a:pt x="41" y="11"/>
                    <a:pt x="41" y="11"/>
                    <a:pt x="41" y="11"/>
                  </a:cubicBezTo>
                  <a:cubicBezTo>
                    <a:pt x="41" y="11"/>
                    <a:pt x="41" y="11"/>
                    <a:pt x="41" y="12"/>
                  </a:cubicBezTo>
                  <a:cubicBezTo>
                    <a:pt x="40" y="12"/>
                    <a:pt x="40" y="12"/>
                    <a:pt x="40" y="12"/>
                  </a:cubicBezTo>
                  <a:cubicBezTo>
                    <a:pt x="38" y="12"/>
                    <a:pt x="38" y="12"/>
                    <a:pt x="38" y="13"/>
                  </a:cubicBezTo>
                  <a:cubicBezTo>
                    <a:pt x="37" y="14"/>
                    <a:pt x="36" y="14"/>
                    <a:pt x="35" y="15"/>
                  </a:cubicBezTo>
                  <a:cubicBezTo>
                    <a:pt x="35" y="15"/>
                    <a:pt x="34" y="15"/>
                    <a:pt x="34" y="15"/>
                  </a:cubicBezTo>
                  <a:cubicBezTo>
                    <a:pt x="33" y="16"/>
                    <a:pt x="33" y="16"/>
                    <a:pt x="32" y="16"/>
                  </a:cubicBezTo>
                  <a:cubicBezTo>
                    <a:pt x="32" y="16"/>
                    <a:pt x="32" y="17"/>
                    <a:pt x="32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1" y="17"/>
                    <a:pt x="30" y="17"/>
                    <a:pt x="30" y="17"/>
                  </a:cubicBezTo>
                  <a:cubicBezTo>
                    <a:pt x="29" y="18"/>
                    <a:pt x="29" y="19"/>
                    <a:pt x="29" y="20"/>
                  </a:cubicBezTo>
                  <a:cubicBezTo>
                    <a:pt x="29" y="20"/>
                    <a:pt x="28" y="20"/>
                    <a:pt x="28" y="21"/>
                  </a:cubicBezTo>
                  <a:cubicBezTo>
                    <a:pt x="28" y="21"/>
                    <a:pt x="28" y="21"/>
                    <a:pt x="28" y="22"/>
                  </a:cubicBezTo>
                  <a:cubicBezTo>
                    <a:pt x="28" y="22"/>
                    <a:pt x="28" y="22"/>
                    <a:pt x="27" y="22"/>
                  </a:cubicBezTo>
                  <a:cubicBezTo>
                    <a:pt x="27" y="22"/>
                    <a:pt x="27" y="22"/>
                    <a:pt x="26" y="22"/>
                  </a:cubicBezTo>
                  <a:cubicBezTo>
                    <a:pt x="24" y="22"/>
                    <a:pt x="23" y="23"/>
                    <a:pt x="23" y="24"/>
                  </a:cubicBezTo>
                  <a:cubicBezTo>
                    <a:pt x="23" y="24"/>
                    <a:pt x="23" y="24"/>
                    <a:pt x="22" y="25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6"/>
                    <a:pt x="22" y="26"/>
                    <a:pt x="22" y="26"/>
                  </a:cubicBezTo>
                  <a:cubicBezTo>
                    <a:pt x="22" y="25"/>
                    <a:pt x="22" y="25"/>
                    <a:pt x="22" y="25"/>
                  </a:cubicBezTo>
                  <a:cubicBezTo>
                    <a:pt x="21" y="25"/>
                    <a:pt x="20" y="25"/>
                    <a:pt x="20" y="26"/>
                  </a:cubicBezTo>
                  <a:cubicBezTo>
                    <a:pt x="19" y="27"/>
                    <a:pt x="19" y="27"/>
                    <a:pt x="20" y="28"/>
                  </a:cubicBezTo>
                  <a:cubicBezTo>
                    <a:pt x="20" y="29"/>
                    <a:pt x="20" y="29"/>
                    <a:pt x="21" y="29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0" y="30"/>
                    <a:pt x="19" y="30"/>
                    <a:pt x="19" y="31"/>
                  </a:cubicBezTo>
                  <a:cubicBezTo>
                    <a:pt x="18" y="31"/>
                    <a:pt x="18" y="32"/>
                    <a:pt x="18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5"/>
                    <a:pt x="17" y="36"/>
                    <a:pt x="18" y="36"/>
                  </a:cubicBezTo>
                  <a:cubicBezTo>
                    <a:pt x="17" y="36"/>
                    <a:pt x="17" y="37"/>
                    <a:pt x="16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4" y="39"/>
                    <a:pt x="13" y="40"/>
                  </a:cubicBezTo>
                  <a:cubicBezTo>
                    <a:pt x="13" y="40"/>
                    <a:pt x="12" y="42"/>
                    <a:pt x="13" y="44"/>
                  </a:cubicBezTo>
                  <a:cubicBezTo>
                    <a:pt x="13" y="44"/>
                    <a:pt x="13" y="45"/>
                    <a:pt x="14" y="45"/>
                  </a:cubicBezTo>
                  <a:cubicBezTo>
                    <a:pt x="14" y="45"/>
                    <a:pt x="14" y="45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5"/>
                    <a:pt x="15" y="45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4" y="46"/>
                    <a:pt x="13" y="46"/>
                  </a:cubicBezTo>
                  <a:cubicBezTo>
                    <a:pt x="12" y="46"/>
                    <a:pt x="12" y="46"/>
                    <a:pt x="12" y="46"/>
                  </a:cubicBezTo>
                  <a:cubicBezTo>
                    <a:pt x="12" y="46"/>
                    <a:pt x="11" y="46"/>
                    <a:pt x="10" y="47"/>
                  </a:cubicBezTo>
                  <a:cubicBezTo>
                    <a:pt x="9" y="48"/>
                    <a:pt x="9" y="49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8" y="50"/>
                    <a:pt x="7" y="51"/>
                  </a:cubicBezTo>
                  <a:cubicBezTo>
                    <a:pt x="6" y="52"/>
                    <a:pt x="6" y="52"/>
                    <a:pt x="6" y="53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8" y="55"/>
                    <a:pt x="8" y="55"/>
                    <a:pt x="9" y="55"/>
                  </a:cubicBezTo>
                  <a:cubicBezTo>
                    <a:pt x="9" y="55"/>
                    <a:pt x="9" y="55"/>
                    <a:pt x="9" y="55"/>
                  </a:cubicBezTo>
                  <a:cubicBezTo>
                    <a:pt x="9" y="55"/>
                    <a:pt x="9" y="55"/>
                    <a:pt x="10" y="55"/>
                  </a:cubicBezTo>
                  <a:cubicBezTo>
                    <a:pt x="9" y="55"/>
                    <a:pt x="9" y="56"/>
                    <a:pt x="9" y="56"/>
                  </a:cubicBezTo>
                  <a:cubicBezTo>
                    <a:pt x="9" y="57"/>
                    <a:pt x="8" y="58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4" y="60"/>
                    <a:pt x="3" y="60"/>
                  </a:cubicBezTo>
                  <a:cubicBezTo>
                    <a:pt x="3" y="61"/>
                    <a:pt x="3" y="63"/>
                    <a:pt x="3" y="64"/>
                  </a:cubicBezTo>
                  <a:cubicBezTo>
                    <a:pt x="3" y="66"/>
                    <a:pt x="5" y="70"/>
                    <a:pt x="8" y="70"/>
                  </a:cubicBezTo>
                  <a:cubicBezTo>
                    <a:pt x="8" y="70"/>
                    <a:pt x="9" y="70"/>
                    <a:pt x="9" y="69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10" y="69"/>
                    <a:pt x="11" y="69"/>
                    <a:pt x="11" y="69"/>
                  </a:cubicBezTo>
                  <a:cubicBezTo>
                    <a:pt x="11" y="69"/>
                    <a:pt x="12" y="69"/>
                    <a:pt x="13" y="69"/>
                  </a:cubicBezTo>
                  <a:cubicBezTo>
                    <a:pt x="13" y="69"/>
                    <a:pt x="13" y="70"/>
                    <a:pt x="13" y="70"/>
                  </a:cubicBezTo>
                  <a:cubicBezTo>
                    <a:pt x="13" y="70"/>
                    <a:pt x="13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3" y="73"/>
                    <a:pt x="13" y="74"/>
                    <a:pt x="13" y="75"/>
                  </a:cubicBezTo>
                  <a:cubicBezTo>
                    <a:pt x="14" y="76"/>
                    <a:pt x="15" y="77"/>
                    <a:pt x="16" y="77"/>
                  </a:cubicBezTo>
                  <a:cubicBezTo>
                    <a:pt x="16" y="77"/>
                    <a:pt x="16" y="77"/>
                    <a:pt x="17" y="77"/>
                  </a:cubicBezTo>
                  <a:cubicBezTo>
                    <a:pt x="17" y="77"/>
                    <a:pt x="17" y="77"/>
                    <a:pt x="17" y="78"/>
                  </a:cubicBezTo>
                  <a:cubicBezTo>
                    <a:pt x="18" y="78"/>
                    <a:pt x="19" y="79"/>
                    <a:pt x="20" y="79"/>
                  </a:cubicBezTo>
                  <a:cubicBezTo>
                    <a:pt x="20" y="79"/>
                    <a:pt x="21" y="79"/>
                    <a:pt x="21" y="79"/>
                  </a:cubicBezTo>
                  <a:cubicBezTo>
                    <a:pt x="21" y="79"/>
                    <a:pt x="22" y="79"/>
                    <a:pt x="22" y="78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22" y="79"/>
                    <a:pt x="22" y="79"/>
                    <a:pt x="23" y="79"/>
                  </a:cubicBezTo>
                  <a:cubicBezTo>
                    <a:pt x="23" y="80"/>
                    <a:pt x="24" y="80"/>
                    <a:pt x="25" y="80"/>
                  </a:cubicBezTo>
                  <a:cubicBezTo>
                    <a:pt x="26" y="80"/>
                    <a:pt x="26" y="79"/>
                    <a:pt x="27" y="78"/>
                  </a:cubicBezTo>
                  <a:cubicBezTo>
                    <a:pt x="27" y="79"/>
                    <a:pt x="27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30" y="79"/>
                    <a:pt x="31" y="79"/>
                    <a:pt x="32" y="78"/>
                  </a:cubicBezTo>
                  <a:cubicBezTo>
                    <a:pt x="32" y="78"/>
                    <a:pt x="32" y="78"/>
                    <a:pt x="32" y="78"/>
                  </a:cubicBezTo>
                  <a:cubicBezTo>
                    <a:pt x="33" y="78"/>
                    <a:pt x="33" y="78"/>
                    <a:pt x="33" y="78"/>
                  </a:cubicBezTo>
                  <a:cubicBezTo>
                    <a:pt x="34" y="78"/>
                    <a:pt x="34" y="78"/>
                    <a:pt x="34" y="78"/>
                  </a:cubicBezTo>
                  <a:cubicBezTo>
                    <a:pt x="35" y="78"/>
                    <a:pt x="36" y="78"/>
                    <a:pt x="36" y="77"/>
                  </a:cubicBezTo>
                  <a:cubicBezTo>
                    <a:pt x="36" y="77"/>
                    <a:pt x="37" y="76"/>
                    <a:pt x="36" y="75"/>
                  </a:cubicBezTo>
                  <a:cubicBezTo>
                    <a:pt x="35" y="74"/>
                    <a:pt x="35" y="74"/>
                    <a:pt x="34" y="74"/>
                  </a:cubicBezTo>
                  <a:cubicBezTo>
                    <a:pt x="34" y="74"/>
                    <a:pt x="34" y="73"/>
                    <a:pt x="34" y="73"/>
                  </a:cubicBezTo>
                  <a:cubicBezTo>
                    <a:pt x="33" y="73"/>
                    <a:pt x="33" y="72"/>
                    <a:pt x="32" y="71"/>
                  </a:cubicBezTo>
                  <a:cubicBezTo>
                    <a:pt x="32" y="71"/>
                    <a:pt x="31" y="70"/>
                    <a:pt x="31" y="70"/>
                  </a:cubicBezTo>
                  <a:cubicBezTo>
                    <a:pt x="30" y="69"/>
                    <a:pt x="30" y="68"/>
                    <a:pt x="29" y="67"/>
                  </a:cubicBezTo>
                  <a:cubicBezTo>
                    <a:pt x="28" y="66"/>
                    <a:pt x="27" y="65"/>
                    <a:pt x="26" y="64"/>
                  </a:cubicBezTo>
                  <a:cubicBezTo>
                    <a:pt x="25" y="63"/>
                    <a:pt x="25" y="62"/>
                    <a:pt x="25" y="61"/>
                  </a:cubicBezTo>
                  <a:cubicBezTo>
                    <a:pt x="25" y="60"/>
                    <a:pt x="25" y="59"/>
                    <a:pt x="25" y="58"/>
                  </a:cubicBezTo>
                  <a:cubicBezTo>
                    <a:pt x="25" y="57"/>
                    <a:pt x="25" y="57"/>
                    <a:pt x="25" y="57"/>
                  </a:cubicBezTo>
                  <a:cubicBezTo>
                    <a:pt x="24" y="57"/>
                    <a:pt x="24" y="57"/>
                    <a:pt x="24" y="56"/>
                  </a:cubicBezTo>
                  <a:cubicBezTo>
                    <a:pt x="24" y="56"/>
                    <a:pt x="25" y="56"/>
                    <a:pt x="25" y="56"/>
                  </a:cubicBezTo>
                  <a:cubicBezTo>
                    <a:pt x="26" y="55"/>
                    <a:pt x="26" y="54"/>
                    <a:pt x="26" y="53"/>
                  </a:cubicBezTo>
                  <a:cubicBezTo>
                    <a:pt x="26" y="53"/>
                    <a:pt x="26" y="53"/>
                    <a:pt x="26" y="52"/>
                  </a:cubicBezTo>
                  <a:cubicBezTo>
                    <a:pt x="27" y="52"/>
                    <a:pt x="26" y="51"/>
                    <a:pt x="26" y="50"/>
                  </a:cubicBezTo>
                  <a:cubicBezTo>
                    <a:pt x="26" y="50"/>
                    <a:pt x="26" y="50"/>
                    <a:pt x="26" y="49"/>
                  </a:cubicBezTo>
                  <a:cubicBezTo>
                    <a:pt x="26" y="49"/>
                    <a:pt x="26" y="49"/>
                    <a:pt x="26" y="49"/>
                  </a:cubicBezTo>
                  <a:cubicBezTo>
                    <a:pt x="27" y="48"/>
                    <a:pt x="27" y="48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9" y="47"/>
                    <a:pt x="30" y="45"/>
                  </a:cubicBezTo>
                  <a:cubicBezTo>
                    <a:pt x="30" y="44"/>
                    <a:pt x="30" y="44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3"/>
                    <a:pt x="31" y="42"/>
                  </a:cubicBezTo>
                  <a:cubicBezTo>
                    <a:pt x="32" y="42"/>
                    <a:pt x="32" y="41"/>
                    <a:pt x="33" y="40"/>
                  </a:cubicBezTo>
                  <a:cubicBezTo>
                    <a:pt x="33" y="40"/>
                    <a:pt x="34" y="40"/>
                    <a:pt x="34" y="39"/>
                  </a:cubicBezTo>
                  <a:cubicBezTo>
                    <a:pt x="35" y="39"/>
                    <a:pt x="36" y="36"/>
                    <a:pt x="36" y="36"/>
                  </a:cubicBezTo>
                  <a:cubicBezTo>
                    <a:pt x="36" y="35"/>
                    <a:pt x="36" y="34"/>
                    <a:pt x="36" y="33"/>
                  </a:cubicBezTo>
                  <a:cubicBezTo>
                    <a:pt x="36" y="33"/>
                    <a:pt x="37" y="33"/>
                    <a:pt x="37" y="32"/>
                  </a:cubicBezTo>
                  <a:cubicBezTo>
                    <a:pt x="37" y="32"/>
                    <a:pt x="38" y="32"/>
                    <a:pt x="38" y="32"/>
                  </a:cubicBezTo>
                  <a:cubicBezTo>
                    <a:pt x="38" y="32"/>
                    <a:pt x="38" y="32"/>
                    <a:pt x="39" y="32"/>
                  </a:cubicBezTo>
                  <a:cubicBezTo>
                    <a:pt x="40" y="32"/>
                    <a:pt x="41" y="32"/>
                    <a:pt x="41" y="31"/>
                  </a:cubicBezTo>
                  <a:cubicBezTo>
                    <a:pt x="41" y="31"/>
                    <a:pt x="41" y="31"/>
                    <a:pt x="42" y="31"/>
                  </a:cubicBezTo>
                  <a:cubicBezTo>
                    <a:pt x="42" y="31"/>
                    <a:pt x="43" y="30"/>
                    <a:pt x="43" y="30"/>
                  </a:cubicBezTo>
                  <a:cubicBezTo>
                    <a:pt x="44" y="29"/>
                    <a:pt x="44" y="28"/>
                    <a:pt x="44" y="28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6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8" y="23"/>
                  </a:cubicBezTo>
                  <a:cubicBezTo>
                    <a:pt x="48" y="23"/>
                    <a:pt x="48" y="23"/>
                    <a:pt x="49" y="23"/>
                  </a:cubicBezTo>
                  <a:cubicBezTo>
                    <a:pt x="50" y="23"/>
                    <a:pt x="51" y="22"/>
                    <a:pt x="52" y="21"/>
                  </a:cubicBezTo>
                  <a:cubicBezTo>
                    <a:pt x="52" y="21"/>
                    <a:pt x="52" y="21"/>
                    <a:pt x="53" y="21"/>
                  </a:cubicBezTo>
                  <a:cubicBezTo>
                    <a:pt x="53" y="21"/>
                    <a:pt x="54" y="21"/>
                    <a:pt x="55" y="20"/>
                  </a:cubicBezTo>
                  <a:cubicBezTo>
                    <a:pt x="55" y="20"/>
                    <a:pt x="55" y="20"/>
                    <a:pt x="56" y="19"/>
                  </a:cubicBezTo>
                  <a:cubicBezTo>
                    <a:pt x="56" y="19"/>
                    <a:pt x="56" y="19"/>
                    <a:pt x="57" y="19"/>
                  </a:cubicBezTo>
                  <a:cubicBezTo>
                    <a:pt x="57" y="19"/>
                    <a:pt x="58" y="19"/>
                    <a:pt x="59" y="19"/>
                  </a:cubicBezTo>
                  <a:cubicBezTo>
                    <a:pt x="59" y="18"/>
                    <a:pt x="60" y="18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2" y="16"/>
                    <a:pt x="62" y="16"/>
                    <a:pt x="63" y="16"/>
                  </a:cubicBezTo>
                  <a:cubicBezTo>
                    <a:pt x="63" y="16"/>
                    <a:pt x="64" y="16"/>
                    <a:pt x="64" y="16"/>
                  </a:cubicBezTo>
                  <a:cubicBezTo>
                    <a:pt x="65" y="15"/>
                    <a:pt x="66" y="15"/>
                    <a:pt x="67" y="14"/>
                  </a:cubicBezTo>
                  <a:cubicBezTo>
                    <a:pt x="67" y="14"/>
                    <a:pt x="67" y="14"/>
                    <a:pt x="67" y="14"/>
                  </a:cubicBezTo>
                  <a:cubicBezTo>
                    <a:pt x="68" y="14"/>
                    <a:pt x="68" y="14"/>
                    <a:pt x="69" y="14"/>
                  </a:cubicBezTo>
                  <a:cubicBezTo>
                    <a:pt x="69" y="14"/>
                    <a:pt x="69" y="13"/>
                    <a:pt x="70" y="13"/>
                  </a:cubicBezTo>
                  <a:cubicBezTo>
                    <a:pt x="71" y="13"/>
                    <a:pt x="72" y="12"/>
                    <a:pt x="73" y="11"/>
                  </a:cubicBezTo>
                  <a:cubicBezTo>
                    <a:pt x="73" y="11"/>
                    <a:pt x="73" y="11"/>
                    <a:pt x="73" y="11"/>
                  </a:cubicBezTo>
                  <a:cubicBezTo>
                    <a:pt x="74" y="11"/>
                    <a:pt x="74" y="10"/>
                    <a:pt x="75" y="10"/>
                  </a:cubicBezTo>
                  <a:cubicBezTo>
                    <a:pt x="75" y="9"/>
                    <a:pt x="75" y="9"/>
                    <a:pt x="75" y="9"/>
                  </a:cubicBezTo>
                  <a:cubicBezTo>
                    <a:pt x="76" y="9"/>
                    <a:pt x="77" y="8"/>
                    <a:pt x="77" y="6"/>
                  </a:cubicBezTo>
                  <a:cubicBezTo>
                    <a:pt x="77" y="5"/>
                    <a:pt x="77" y="3"/>
                    <a:pt x="76" y="2"/>
                  </a:cubicBezTo>
                  <a:cubicBezTo>
                    <a:pt x="75" y="1"/>
                    <a:pt x="74" y="0"/>
                    <a:pt x="72" y="0"/>
                  </a:cubicBezTo>
                  <a:cubicBezTo>
                    <a:pt x="72" y="0"/>
                    <a:pt x="71" y="0"/>
                    <a:pt x="70" y="0"/>
                  </a:cubicBezTo>
                  <a:cubicBezTo>
                    <a:pt x="70" y="0"/>
                    <a:pt x="69" y="0"/>
                    <a:pt x="69" y="0"/>
                  </a:cubicBezTo>
                  <a:cubicBezTo>
                    <a:pt x="68" y="0"/>
                    <a:pt x="67" y="1"/>
                    <a:pt x="66" y="1"/>
                  </a:cubicBezTo>
                  <a:cubicBezTo>
                    <a:pt x="66" y="2"/>
                    <a:pt x="66" y="2"/>
                    <a:pt x="66" y="2"/>
                  </a:cubicBezTo>
                  <a:cubicBezTo>
                    <a:pt x="66" y="2"/>
                    <a:pt x="66" y="2"/>
                    <a:pt x="65" y="2"/>
                  </a:cubicBezTo>
                  <a:cubicBezTo>
                    <a:pt x="65" y="2"/>
                    <a:pt x="65" y="2"/>
                    <a:pt x="64" y="2"/>
                  </a:cubicBezTo>
                  <a:cubicBezTo>
                    <a:pt x="64" y="2"/>
                    <a:pt x="64" y="2"/>
                    <a:pt x="64" y="3"/>
                  </a:cubicBezTo>
                  <a:cubicBezTo>
                    <a:pt x="63" y="3"/>
                    <a:pt x="63" y="3"/>
                    <a:pt x="63" y="3"/>
                  </a:cubicBezTo>
                  <a:cubicBezTo>
                    <a:pt x="62" y="3"/>
                    <a:pt x="61" y="4"/>
                    <a:pt x="61" y="5"/>
                  </a:cubicBezTo>
                  <a:cubicBezTo>
                    <a:pt x="61" y="5"/>
                    <a:pt x="62" y="6"/>
                    <a:pt x="62" y="6"/>
                  </a:cubicBezTo>
                  <a:cubicBezTo>
                    <a:pt x="62" y="6"/>
                    <a:pt x="62" y="6"/>
                    <a:pt x="61" y="7"/>
                  </a:cubicBezTo>
                  <a:cubicBezTo>
                    <a:pt x="61" y="7"/>
                    <a:pt x="61" y="7"/>
                    <a:pt x="61" y="7"/>
                  </a:cubicBezTo>
                  <a:cubicBezTo>
                    <a:pt x="60" y="6"/>
                    <a:pt x="59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8" y="7"/>
                    <a:pt x="57" y="7"/>
                  </a:cubicBezTo>
                  <a:cubicBezTo>
                    <a:pt x="57" y="7"/>
                    <a:pt x="57" y="7"/>
                    <a:pt x="57" y="7"/>
                  </a:cubicBezTo>
                  <a:cubicBezTo>
                    <a:pt x="57" y="7"/>
                    <a:pt x="57" y="7"/>
                    <a:pt x="56" y="7"/>
                  </a:cubicBezTo>
                  <a:cubicBezTo>
                    <a:pt x="55" y="7"/>
                    <a:pt x="55" y="8"/>
                    <a:pt x="54" y="8"/>
                  </a:cubicBezTo>
                  <a:cubicBezTo>
                    <a:pt x="54" y="9"/>
                    <a:pt x="53" y="9"/>
                    <a:pt x="53" y="9"/>
                  </a:cubicBezTo>
                  <a:cubicBezTo>
                    <a:pt x="53" y="9"/>
                    <a:pt x="53" y="9"/>
                    <a:pt x="52" y="9"/>
                  </a:cubicBezTo>
                  <a:cubicBezTo>
                    <a:pt x="52" y="9"/>
                    <a:pt x="52" y="9"/>
                    <a:pt x="51" y="9"/>
                  </a:cubicBezTo>
                  <a:cubicBezTo>
                    <a:pt x="51" y="9"/>
                    <a:pt x="51" y="9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8" y="10"/>
                    <a:pt x="47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4289" y="465"/>
              <a:ext cx="49" cy="14"/>
            </a:xfrm>
            <a:custGeom>
              <a:avLst/>
              <a:gdLst>
                <a:gd name="T0" fmla="*/ 7 w 21"/>
                <a:gd name="T1" fmla="*/ 6 h 6"/>
                <a:gd name="T2" fmla="*/ 7 w 21"/>
                <a:gd name="T3" fmla="*/ 6 h 6"/>
                <a:gd name="T4" fmla="*/ 8 w 21"/>
                <a:gd name="T5" fmla="*/ 6 h 6"/>
                <a:gd name="T6" fmla="*/ 8 w 21"/>
                <a:gd name="T7" fmla="*/ 6 h 6"/>
                <a:gd name="T8" fmla="*/ 9 w 21"/>
                <a:gd name="T9" fmla="*/ 6 h 6"/>
                <a:gd name="T10" fmla="*/ 10 w 21"/>
                <a:gd name="T11" fmla="*/ 6 h 6"/>
                <a:gd name="T12" fmla="*/ 10 w 21"/>
                <a:gd name="T13" fmla="*/ 6 h 6"/>
                <a:gd name="T14" fmla="*/ 10 w 21"/>
                <a:gd name="T15" fmla="*/ 6 h 6"/>
                <a:gd name="T16" fmla="*/ 11 w 21"/>
                <a:gd name="T17" fmla="*/ 6 h 6"/>
                <a:gd name="T18" fmla="*/ 11 w 21"/>
                <a:gd name="T19" fmla="*/ 5 h 6"/>
                <a:gd name="T20" fmla="*/ 21 w 21"/>
                <a:gd name="T21" fmla="*/ 4 h 6"/>
                <a:gd name="T22" fmla="*/ 11 w 21"/>
                <a:gd name="T23" fmla="*/ 3 h 6"/>
                <a:gd name="T24" fmla="*/ 11 w 21"/>
                <a:gd name="T25" fmla="*/ 3 h 6"/>
                <a:gd name="T26" fmla="*/ 11 w 21"/>
                <a:gd name="T27" fmla="*/ 1 h 6"/>
                <a:gd name="T28" fmla="*/ 11 w 21"/>
                <a:gd name="T29" fmla="*/ 1 h 6"/>
                <a:gd name="T30" fmla="*/ 9 w 21"/>
                <a:gd name="T31" fmla="*/ 0 h 6"/>
                <a:gd name="T32" fmla="*/ 9 w 21"/>
                <a:gd name="T33" fmla="*/ 0 h 6"/>
                <a:gd name="T34" fmla="*/ 8 w 21"/>
                <a:gd name="T35" fmla="*/ 0 h 6"/>
                <a:gd name="T36" fmla="*/ 6 w 21"/>
                <a:gd name="T37" fmla="*/ 0 h 6"/>
                <a:gd name="T38" fmla="*/ 6 w 21"/>
                <a:gd name="T39" fmla="*/ 1 h 6"/>
                <a:gd name="T40" fmla="*/ 4 w 21"/>
                <a:gd name="T41" fmla="*/ 1 h 6"/>
                <a:gd name="T42" fmla="*/ 4 w 21"/>
                <a:gd name="T43" fmla="*/ 3 h 6"/>
                <a:gd name="T44" fmla="*/ 4 w 21"/>
                <a:gd name="T45" fmla="*/ 4 h 6"/>
                <a:gd name="T46" fmla="*/ 0 w 21"/>
                <a:gd name="T47" fmla="*/ 5 h 6"/>
                <a:gd name="T48" fmla="*/ 7 w 21"/>
                <a:gd name="T4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1" h="6">
                  <a:moveTo>
                    <a:pt x="7" y="6"/>
                  </a:moveTo>
                  <a:cubicBezTo>
                    <a:pt x="7" y="6"/>
                    <a:pt x="7" y="6"/>
                    <a:pt x="7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0" y="6"/>
                    <a:pt x="10" y="6"/>
                    <a:pt x="10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21" y="4"/>
                    <a:pt x="21" y="4"/>
                    <a:pt x="21" y="4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1" y="2"/>
                    <a:pt x="11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0" y="1"/>
                    <a:pt x="10" y="0"/>
                    <a:pt x="9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2"/>
                    <a:pt x="4" y="3"/>
                    <a:pt x="4" y="3"/>
                  </a:cubicBezTo>
                  <a:cubicBezTo>
                    <a:pt x="4" y="3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lnTo>
                    <a:pt x="7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1" name="Freeform 70"/>
            <p:cNvSpPr>
              <a:spLocks noEditPoints="1"/>
            </p:cNvSpPr>
            <p:nvPr/>
          </p:nvSpPr>
          <p:spPr bwMode="auto">
            <a:xfrm>
              <a:off x="3816" y="505"/>
              <a:ext cx="163" cy="121"/>
            </a:xfrm>
            <a:custGeom>
              <a:avLst/>
              <a:gdLst>
                <a:gd name="T0" fmla="*/ 3 w 69"/>
                <a:gd name="T1" fmla="*/ 25 h 51"/>
                <a:gd name="T2" fmla="*/ 8 w 69"/>
                <a:gd name="T3" fmla="*/ 32 h 51"/>
                <a:gd name="T4" fmla="*/ 10 w 69"/>
                <a:gd name="T5" fmla="*/ 42 h 51"/>
                <a:gd name="T6" fmla="*/ 15 w 69"/>
                <a:gd name="T7" fmla="*/ 47 h 51"/>
                <a:gd name="T8" fmla="*/ 23 w 69"/>
                <a:gd name="T9" fmla="*/ 48 h 51"/>
                <a:gd name="T10" fmla="*/ 26 w 69"/>
                <a:gd name="T11" fmla="*/ 44 h 51"/>
                <a:gd name="T12" fmla="*/ 26 w 69"/>
                <a:gd name="T13" fmla="*/ 38 h 51"/>
                <a:gd name="T14" fmla="*/ 32 w 69"/>
                <a:gd name="T15" fmla="*/ 32 h 51"/>
                <a:gd name="T16" fmla="*/ 34 w 69"/>
                <a:gd name="T17" fmla="*/ 28 h 51"/>
                <a:gd name="T18" fmla="*/ 38 w 69"/>
                <a:gd name="T19" fmla="*/ 31 h 51"/>
                <a:gd name="T20" fmla="*/ 38 w 69"/>
                <a:gd name="T21" fmla="*/ 36 h 51"/>
                <a:gd name="T22" fmla="*/ 38 w 69"/>
                <a:gd name="T23" fmla="*/ 41 h 51"/>
                <a:gd name="T24" fmla="*/ 42 w 69"/>
                <a:gd name="T25" fmla="*/ 40 h 51"/>
                <a:gd name="T26" fmla="*/ 46 w 69"/>
                <a:gd name="T27" fmla="*/ 42 h 51"/>
                <a:gd name="T28" fmla="*/ 51 w 69"/>
                <a:gd name="T29" fmla="*/ 40 h 51"/>
                <a:gd name="T30" fmla="*/ 55 w 69"/>
                <a:gd name="T31" fmla="*/ 39 h 51"/>
                <a:gd name="T32" fmla="*/ 53 w 69"/>
                <a:gd name="T33" fmla="*/ 33 h 51"/>
                <a:gd name="T34" fmla="*/ 45 w 69"/>
                <a:gd name="T35" fmla="*/ 30 h 51"/>
                <a:gd name="T36" fmla="*/ 43 w 69"/>
                <a:gd name="T37" fmla="*/ 24 h 51"/>
                <a:gd name="T38" fmla="*/ 36 w 69"/>
                <a:gd name="T39" fmla="*/ 17 h 51"/>
                <a:gd name="T40" fmla="*/ 31 w 69"/>
                <a:gd name="T41" fmla="*/ 12 h 51"/>
                <a:gd name="T42" fmla="*/ 36 w 69"/>
                <a:gd name="T43" fmla="*/ 12 h 51"/>
                <a:gd name="T44" fmla="*/ 39 w 69"/>
                <a:gd name="T45" fmla="*/ 15 h 51"/>
                <a:gd name="T46" fmla="*/ 46 w 69"/>
                <a:gd name="T47" fmla="*/ 19 h 51"/>
                <a:gd name="T48" fmla="*/ 53 w 69"/>
                <a:gd name="T49" fmla="*/ 20 h 51"/>
                <a:gd name="T50" fmla="*/ 58 w 69"/>
                <a:gd name="T51" fmla="*/ 18 h 51"/>
                <a:gd name="T52" fmla="*/ 64 w 69"/>
                <a:gd name="T53" fmla="*/ 15 h 51"/>
                <a:gd name="T54" fmla="*/ 69 w 69"/>
                <a:gd name="T55" fmla="*/ 9 h 51"/>
                <a:gd name="T56" fmla="*/ 67 w 69"/>
                <a:gd name="T57" fmla="*/ 4 h 51"/>
                <a:gd name="T58" fmla="*/ 63 w 69"/>
                <a:gd name="T59" fmla="*/ 4 h 51"/>
                <a:gd name="T60" fmla="*/ 58 w 69"/>
                <a:gd name="T61" fmla="*/ 4 h 51"/>
                <a:gd name="T62" fmla="*/ 53 w 69"/>
                <a:gd name="T63" fmla="*/ 4 h 51"/>
                <a:gd name="T64" fmla="*/ 47 w 69"/>
                <a:gd name="T65" fmla="*/ 4 h 51"/>
                <a:gd name="T66" fmla="*/ 43 w 69"/>
                <a:gd name="T67" fmla="*/ 3 h 51"/>
                <a:gd name="T68" fmla="*/ 37 w 69"/>
                <a:gd name="T69" fmla="*/ 3 h 51"/>
                <a:gd name="T70" fmla="*/ 31 w 69"/>
                <a:gd name="T71" fmla="*/ 4 h 51"/>
                <a:gd name="T72" fmla="*/ 31 w 69"/>
                <a:gd name="T73" fmla="*/ 8 h 51"/>
                <a:gd name="T74" fmla="*/ 23 w 69"/>
                <a:gd name="T75" fmla="*/ 7 h 51"/>
                <a:gd name="T76" fmla="*/ 18 w 69"/>
                <a:gd name="T77" fmla="*/ 10 h 51"/>
                <a:gd name="T78" fmla="*/ 13 w 69"/>
                <a:gd name="T79" fmla="*/ 13 h 51"/>
                <a:gd name="T80" fmla="*/ 12 w 69"/>
                <a:gd name="T81" fmla="*/ 8 h 51"/>
                <a:gd name="T82" fmla="*/ 2 w 69"/>
                <a:gd name="T83" fmla="*/ 10 h 51"/>
                <a:gd name="T84" fmla="*/ 1 w 69"/>
                <a:gd name="T85" fmla="*/ 18 h 51"/>
                <a:gd name="T86" fmla="*/ 45 w 69"/>
                <a:gd name="T87" fmla="*/ 11 h 51"/>
                <a:gd name="T88" fmla="*/ 41 w 69"/>
                <a:gd name="T89" fmla="*/ 12 h 51"/>
                <a:gd name="T90" fmla="*/ 38 w 69"/>
                <a:gd name="T91" fmla="*/ 4 h 51"/>
                <a:gd name="T92" fmla="*/ 10 w 69"/>
                <a:gd name="T93" fmla="*/ 35 h 51"/>
                <a:gd name="T94" fmla="*/ 12 w 69"/>
                <a:gd name="T95" fmla="*/ 37 h 51"/>
                <a:gd name="T96" fmla="*/ 15 w 69"/>
                <a:gd name="T97" fmla="*/ 34 h 51"/>
                <a:gd name="T98" fmla="*/ 14 w 69"/>
                <a:gd name="T99" fmla="*/ 29 h 51"/>
                <a:gd name="T100" fmla="*/ 13 w 69"/>
                <a:gd name="T101" fmla="*/ 28 h 51"/>
                <a:gd name="T102" fmla="*/ 18 w 69"/>
                <a:gd name="T103" fmla="*/ 28 h 51"/>
                <a:gd name="T104" fmla="*/ 49 w 69"/>
                <a:gd name="T105" fmla="*/ 33 h 51"/>
                <a:gd name="T106" fmla="*/ 20 w 69"/>
                <a:gd name="T107" fmla="*/ 15 h 51"/>
                <a:gd name="T108" fmla="*/ 7 w 69"/>
                <a:gd name="T109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9" h="51">
                  <a:moveTo>
                    <a:pt x="1" y="22"/>
                  </a:moveTo>
                  <a:cubicBezTo>
                    <a:pt x="1" y="22"/>
                    <a:pt x="1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4"/>
                    <a:pt x="2" y="24"/>
                    <a:pt x="2" y="24"/>
                  </a:cubicBezTo>
                  <a:cubicBezTo>
                    <a:pt x="3" y="24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3" y="26"/>
                    <a:pt x="3" y="26"/>
                    <a:pt x="3" y="26"/>
                  </a:cubicBezTo>
                  <a:cubicBezTo>
                    <a:pt x="3" y="27"/>
                    <a:pt x="3" y="28"/>
                    <a:pt x="5" y="28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5" y="29"/>
                    <a:pt x="6" y="29"/>
                    <a:pt x="7" y="30"/>
                  </a:cubicBezTo>
                  <a:cubicBezTo>
                    <a:pt x="7" y="30"/>
                    <a:pt x="8" y="30"/>
                    <a:pt x="9" y="30"/>
                  </a:cubicBezTo>
                  <a:cubicBezTo>
                    <a:pt x="8" y="31"/>
                    <a:pt x="8" y="31"/>
                    <a:pt x="8" y="32"/>
                  </a:cubicBezTo>
                  <a:cubicBezTo>
                    <a:pt x="7" y="33"/>
                    <a:pt x="7" y="34"/>
                    <a:pt x="7" y="35"/>
                  </a:cubicBezTo>
                  <a:cubicBezTo>
                    <a:pt x="7" y="36"/>
                    <a:pt x="7" y="36"/>
                    <a:pt x="7" y="36"/>
                  </a:cubicBezTo>
                  <a:cubicBezTo>
                    <a:pt x="8" y="36"/>
                    <a:pt x="8" y="36"/>
                    <a:pt x="8" y="36"/>
                  </a:cubicBezTo>
                  <a:cubicBezTo>
                    <a:pt x="8" y="36"/>
                    <a:pt x="9" y="36"/>
                    <a:pt x="9" y="36"/>
                  </a:cubicBezTo>
                  <a:cubicBezTo>
                    <a:pt x="8" y="37"/>
                    <a:pt x="7" y="38"/>
                    <a:pt x="8" y="40"/>
                  </a:cubicBezTo>
                  <a:cubicBezTo>
                    <a:pt x="8" y="41"/>
                    <a:pt x="9" y="42"/>
                    <a:pt x="10" y="42"/>
                  </a:cubicBezTo>
                  <a:cubicBezTo>
                    <a:pt x="10" y="42"/>
                    <a:pt x="10" y="42"/>
                    <a:pt x="10" y="43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4"/>
                    <a:pt x="11" y="44"/>
                    <a:pt x="12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4" y="46"/>
                  </a:cubicBezTo>
                  <a:cubicBezTo>
                    <a:pt x="14" y="47"/>
                    <a:pt x="14" y="47"/>
                    <a:pt x="15" y="47"/>
                  </a:cubicBezTo>
                  <a:cubicBezTo>
                    <a:pt x="15" y="48"/>
                    <a:pt x="16" y="49"/>
                    <a:pt x="17" y="49"/>
                  </a:cubicBezTo>
                  <a:cubicBezTo>
                    <a:pt x="17" y="49"/>
                    <a:pt x="17" y="49"/>
                    <a:pt x="17" y="49"/>
                  </a:cubicBezTo>
                  <a:cubicBezTo>
                    <a:pt x="17" y="50"/>
                    <a:pt x="18" y="50"/>
                    <a:pt x="19" y="50"/>
                  </a:cubicBezTo>
                  <a:cubicBezTo>
                    <a:pt x="19" y="50"/>
                    <a:pt x="20" y="51"/>
                    <a:pt x="21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3" y="50"/>
                    <a:pt x="23" y="49"/>
                    <a:pt x="23" y="48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3" y="46"/>
                    <a:pt x="23" y="46"/>
                    <a:pt x="23" y="46"/>
                  </a:cubicBezTo>
                  <a:cubicBezTo>
                    <a:pt x="24" y="46"/>
                    <a:pt x="24" y="46"/>
                    <a:pt x="24" y="46"/>
                  </a:cubicBezTo>
                  <a:cubicBezTo>
                    <a:pt x="25" y="46"/>
                    <a:pt x="25" y="45"/>
                    <a:pt x="26" y="44"/>
                  </a:cubicBezTo>
                  <a:cubicBezTo>
                    <a:pt x="26" y="44"/>
                    <a:pt x="26" y="43"/>
                    <a:pt x="26" y="43"/>
                  </a:cubicBezTo>
                  <a:cubicBezTo>
                    <a:pt x="26" y="43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7" y="41"/>
                    <a:pt x="27" y="40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39"/>
                    <a:pt x="26" y="38"/>
                    <a:pt x="26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7" y="38"/>
                    <a:pt x="27" y="38"/>
                    <a:pt x="27" y="38"/>
                  </a:cubicBezTo>
                  <a:cubicBezTo>
                    <a:pt x="28" y="38"/>
                    <a:pt x="29" y="38"/>
                    <a:pt x="29" y="37"/>
                  </a:cubicBezTo>
                  <a:cubicBezTo>
                    <a:pt x="30" y="37"/>
                    <a:pt x="30" y="36"/>
                    <a:pt x="31" y="36"/>
                  </a:cubicBezTo>
                  <a:cubicBezTo>
                    <a:pt x="32" y="35"/>
                    <a:pt x="32" y="34"/>
                    <a:pt x="32" y="33"/>
                  </a:cubicBezTo>
                  <a:cubicBezTo>
                    <a:pt x="32" y="33"/>
                    <a:pt x="32" y="33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32" y="31"/>
                    <a:pt x="33" y="31"/>
                    <a:pt x="33" y="30"/>
                  </a:cubicBezTo>
                  <a:cubicBezTo>
                    <a:pt x="33" y="30"/>
                    <a:pt x="33" y="30"/>
                    <a:pt x="33" y="29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33" y="29"/>
                    <a:pt x="33" y="28"/>
                    <a:pt x="34" y="28"/>
                  </a:cubicBezTo>
                  <a:cubicBezTo>
                    <a:pt x="34" y="28"/>
                    <a:pt x="34" y="28"/>
                    <a:pt x="35" y="28"/>
                  </a:cubicBezTo>
                  <a:cubicBezTo>
                    <a:pt x="35" y="27"/>
                    <a:pt x="36" y="27"/>
                    <a:pt x="36" y="27"/>
                  </a:cubicBezTo>
                  <a:cubicBezTo>
                    <a:pt x="36" y="28"/>
                    <a:pt x="37" y="28"/>
                    <a:pt x="37" y="28"/>
                  </a:cubicBezTo>
                  <a:cubicBezTo>
                    <a:pt x="37" y="29"/>
                    <a:pt x="38" y="29"/>
                    <a:pt x="38" y="29"/>
                  </a:cubicBezTo>
                  <a:cubicBezTo>
                    <a:pt x="38" y="29"/>
                    <a:pt x="37" y="30"/>
                    <a:pt x="38" y="31"/>
                  </a:cubicBezTo>
                  <a:cubicBezTo>
                    <a:pt x="38" y="31"/>
                    <a:pt x="38" y="31"/>
                    <a:pt x="38" y="31"/>
                  </a:cubicBezTo>
                  <a:cubicBezTo>
                    <a:pt x="38" y="31"/>
                    <a:pt x="38" y="31"/>
                    <a:pt x="38" y="32"/>
                  </a:cubicBezTo>
                  <a:cubicBezTo>
                    <a:pt x="38" y="33"/>
                    <a:pt x="39" y="33"/>
                    <a:pt x="39" y="34"/>
                  </a:cubicBezTo>
                  <a:cubicBezTo>
                    <a:pt x="39" y="34"/>
                    <a:pt x="39" y="34"/>
                    <a:pt x="39" y="34"/>
                  </a:cubicBezTo>
                  <a:cubicBezTo>
                    <a:pt x="39" y="34"/>
                    <a:pt x="39" y="34"/>
                    <a:pt x="39" y="35"/>
                  </a:cubicBezTo>
                  <a:cubicBezTo>
                    <a:pt x="39" y="35"/>
                    <a:pt x="39" y="35"/>
                    <a:pt x="39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6"/>
                    <a:pt x="38" y="36"/>
                    <a:pt x="38" y="36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8" y="37"/>
                    <a:pt x="38" y="37"/>
                    <a:pt x="38" y="37"/>
                  </a:cubicBezTo>
                  <a:cubicBezTo>
                    <a:pt x="37" y="37"/>
                    <a:pt x="37" y="37"/>
                    <a:pt x="37" y="38"/>
                  </a:cubicBezTo>
                  <a:cubicBezTo>
                    <a:pt x="37" y="38"/>
                    <a:pt x="36" y="38"/>
                    <a:pt x="36" y="40"/>
                  </a:cubicBezTo>
                  <a:cubicBezTo>
                    <a:pt x="36" y="40"/>
                    <a:pt x="37" y="41"/>
                    <a:pt x="38" y="41"/>
                  </a:cubicBezTo>
                  <a:cubicBezTo>
                    <a:pt x="38" y="41"/>
                    <a:pt x="39" y="41"/>
                    <a:pt x="39" y="41"/>
                  </a:cubicBezTo>
                  <a:cubicBezTo>
                    <a:pt x="39" y="41"/>
                    <a:pt x="39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1" y="40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41" y="40"/>
                    <a:pt x="42" y="40"/>
                    <a:pt x="42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2" y="40"/>
                    <a:pt x="43" y="40"/>
                    <a:pt x="43" y="40"/>
                  </a:cubicBezTo>
                  <a:cubicBezTo>
                    <a:pt x="42" y="41"/>
                    <a:pt x="43" y="42"/>
                    <a:pt x="43" y="42"/>
                  </a:cubicBezTo>
                  <a:cubicBezTo>
                    <a:pt x="43" y="43"/>
                    <a:pt x="44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7" y="42"/>
                    <a:pt x="47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8" y="41"/>
                    <a:pt x="48" y="41"/>
                    <a:pt x="49" y="41"/>
                  </a:cubicBezTo>
                  <a:cubicBezTo>
                    <a:pt x="49" y="41"/>
                    <a:pt x="49" y="41"/>
                    <a:pt x="49" y="41"/>
                  </a:cubicBezTo>
                  <a:cubicBezTo>
                    <a:pt x="51" y="41"/>
                    <a:pt x="51" y="40"/>
                    <a:pt x="51" y="40"/>
                  </a:cubicBezTo>
                  <a:cubicBezTo>
                    <a:pt x="52" y="39"/>
                    <a:pt x="52" y="39"/>
                    <a:pt x="52" y="38"/>
                  </a:cubicBezTo>
                  <a:cubicBezTo>
                    <a:pt x="52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3" y="38"/>
                    <a:pt x="53" y="38"/>
                    <a:pt x="53" y="38"/>
                  </a:cubicBezTo>
                  <a:cubicBezTo>
                    <a:pt x="54" y="39"/>
                    <a:pt x="54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6" y="39"/>
                    <a:pt x="56" y="38"/>
                    <a:pt x="56" y="37"/>
                  </a:cubicBezTo>
                  <a:cubicBezTo>
                    <a:pt x="57" y="36"/>
                    <a:pt x="56" y="35"/>
                    <a:pt x="55" y="35"/>
                  </a:cubicBezTo>
                  <a:cubicBezTo>
                    <a:pt x="55" y="35"/>
                    <a:pt x="55" y="35"/>
                    <a:pt x="54" y="35"/>
                  </a:cubicBezTo>
                  <a:cubicBezTo>
                    <a:pt x="54" y="35"/>
                    <a:pt x="54" y="34"/>
                    <a:pt x="54" y="34"/>
                  </a:cubicBezTo>
                  <a:cubicBezTo>
                    <a:pt x="54" y="34"/>
                    <a:pt x="54" y="33"/>
                    <a:pt x="53" y="33"/>
                  </a:cubicBezTo>
                  <a:cubicBezTo>
                    <a:pt x="53" y="33"/>
                    <a:pt x="53" y="33"/>
                    <a:pt x="53" y="33"/>
                  </a:cubicBezTo>
                  <a:cubicBezTo>
                    <a:pt x="52" y="33"/>
                    <a:pt x="52" y="33"/>
                    <a:pt x="51" y="34"/>
                  </a:cubicBezTo>
                  <a:cubicBezTo>
                    <a:pt x="51" y="33"/>
                    <a:pt x="51" y="33"/>
                    <a:pt x="50" y="33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1"/>
                    <a:pt x="50" y="30"/>
                    <a:pt x="49" y="29"/>
                  </a:cubicBezTo>
                  <a:cubicBezTo>
                    <a:pt x="47" y="29"/>
                    <a:pt x="46" y="29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6" y="29"/>
                    <a:pt x="46" y="29"/>
                    <a:pt x="46" y="28"/>
                  </a:cubicBezTo>
                  <a:cubicBezTo>
                    <a:pt x="47" y="27"/>
                    <a:pt x="47" y="26"/>
                    <a:pt x="47" y="25"/>
                  </a:cubicBezTo>
                  <a:cubicBezTo>
                    <a:pt x="47" y="24"/>
                    <a:pt x="45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3"/>
                    <a:pt x="43" y="23"/>
                  </a:cubicBezTo>
                  <a:cubicBezTo>
                    <a:pt x="43" y="21"/>
                    <a:pt x="41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ubicBezTo>
                    <a:pt x="38" y="19"/>
                    <a:pt x="38" y="19"/>
                    <a:pt x="38" y="18"/>
                  </a:cubicBezTo>
                  <a:cubicBezTo>
                    <a:pt x="37" y="18"/>
                    <a:pt x="37" y="18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5" y="14"/>
                    <a:pt x="35" y="14"/>
                    <a:pt x="35" y="14"/>
                  </a:cubicBezTo>
                  <a:cubicBezTo>
                    <a:pt x="35" y="14"/>
                    <a:pt x="35" y="13"/>
                    <a:pt x="35" y="12"/>
                  </a:cubicBezTo>
                  <a:cubicBezTo>
                    <a:pt x="34" y="11"/>
                    <a:pt x="32" y="11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1"/>
                    <a:pt x="31" y="11"/>
                    <a:pt x="31" y="10"/>
                  </a:cubicBezTo>
                  <a:cubicBezTo>
                    <a:pt x="31" y="10"/>
                    <a:pt x="31" y="10"/>
                    <a:pt x="31" y="10"/>
                  </a:cubicBezTo>
                  <a:cubicBezTo>
                    <a:pt x="32" y="10"/>
                    <a:pt x="32" y="11"/>
                    <a:pt x="33" y="11"/>
                  </a:cubicBezTo>
                  <a:cubicBezTo>
                    <a:pt x="33" y="11"/>
                    <a:pt x="34" y="12"/>
                    <a:pt x="34" y="12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5" y="12"/>
                    <a:pt x="36" y="12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7" y="12"/>
                    <a:pt x="37" y="12"/>
                    <a:pt x="38" y="12"/>
                  </a:cubicBezTo>
                  <a:cubicBezTo>
                    <a:pt x="38" y="12"/>
                    <a:pt x="38" y="12"/>
                    <a:pt x="38" y="12"/>
                  </a:cubicBezTo>
                  <a:cubicBezTo>
                    <a:pt x="38" y="12"/>
                    <a:pt x="37" y="13"/>
                    <a:pt x="37" y="13"/>
                  </a:cubicBezTo>
                  <a:cubicBezTo>
                    <a:pt x="37" y="14"/>
                    <a:pt x="37" y="14"/>
                    <a:pt x="38" y="15"/>
                  </a:cubicBezTo>
                  <a:cubicBezTo>
                    <a:pt x="38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6"/>
                    <a:pt x="40" y="17"/>
                    <a:pt x="42" y="17"/>
                  </a:cubicBezTo>
                  <a:cubicBezTo>
                    <a:pt x="43" y="17"/>
                    <a:pt x="43" y="17"/>
                    <a:pt x="44" y="17"/>
                  </a:cubicBezTo>
                  <a:cubicBezTo>
                    <a:pt x="44" y="18"/>
                    <a:pt x="45" y="18"/>
                    <a:pt x="45" y="18"/>
                  </a:cubicBezTo>
                  <a:cubicBezTo>
                    <a:pt x="45" y="18"/>
                    <a:pt x="45" y="18"/>
                    <a:pt x="46" y="18"/>
                  </a:cubicBezTo>
                  <a:cubicBezTo>
                    <a:pt x="46" y="18"/>
                    <a:pt x="46" y="19"/>
                    <a:pt x="46" y="19"/>
                  </a:cubicBezTo>
                  <a:cubicBezTo>
                    <a:pt x="47" y="20"/>
                    <a:pt x="48" y="20"/>
                    <a:pt x="49" y="20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51" y="20"/>
                    <a:pt x="51" y="20"/>
                    <a:pt x="51" y="20"/>
                  </a:cubicBezTo>
                  <a:cubicBezTo>
                    <a:pt x="52" y="20"/>
                    <a:pt x="52" y="20"/>
                    <a:pt x="52" y="20"/>
                  </a:cubicBezTo>
                  <a:cubicBezTo>
                    <a:pt x="52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20"/>
                    <a:pt x="54" y="20"/>
                    <a:pt x="55" y="20"/>
                  </a:cubicBezTo>
                  <a:cubicBezTo>
                    <a:pt x="55" y="20"/>
                    <a:pt x="55" y="19"/>
                    <a:pt x="55" y="19"/>
                  </a:cubicBezTo>
                  <a:cubicBezTo>
                    <a:pt x="55" y="19"/>
                    <a:pt x="56" y="19"/>
                    <a:pt x="56" y="19"/>
                  </a:cubicBezTo>
                  <a:cubicBezTo>
                    <a:pt x="56" y="19"/>
                    <a:pt x="56" y="19"/>
                    <a:pt x="56" y="19"/>
                  </a:cubicBezTo>
                  <a:cubicBezTo>
                    <a:pt x="57" y="19"/>
                    <a:pt x="57" y="18"/>
                    <a:pt x="58" y="18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9" y="18"/>
                    <a:pt x="59" y="18"/>
                    <a:pt x="59" y="18"/>
                  </a:cubicBezTo>
                  <a:cubicBezTo>
                    <a:pt x="59" y="18"/>
                    <a:pt x="60" y="17"/>
                    <a:pt x="60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1" y="17"/>
                    <a:pt x="61" y="17"/>
                  </a:cubicBezTo>
                  <a:cubicBezTo>
                    <a:pt x="61" y="17"/>
                    <a:pt x="62" y="17"/>
                    <a:pt x="62" y="17"/>
                  </a:cubicBezTo>
                  <a:cubicBezTo>
                    <a:pt x="63" y="16"/>
                    <a:pt x="63" y="16"/>
                    <a:pt x="64" y="15"/>
                  </a:cubicBezTo>
                  <a:cubicBezTo>
                    <a:pt x="64" y="15"/>
                    <a:pt x="64" y="14"/>
                    <a:pt x="64" y="14"/>
                  </a:cubicBezTo>
                  <a:cubicBezTo>
                    <a:pt x="64" y="13"/>
                    <a:pt x="64" y="13"/>
                    <a:pt x="64" y="13"/>
                  </a:cubicBezTo>
                  <a:cubicBezTo>
                    <a:pt x="64" y="13"/>
                    <a:pt x="65" y="13"/>
                    <a:pt x="65" y="13"/>
                  </a:cubicBezTo>
                  <a:cubicBezTo>
                    <a:pt x="65" y="13"/>
                    <a:pt x="65" y="13"/>
                    <a:pt x="66" y="13"/>
                  </a:cubicBezTo>
                  <a:cubicBezTo>
                    <a:pt x="66" y="13"/>
                    <a:pt x="66" y="13"/>
                    <a:pt x="66" y="12"/>
                  </a:cubicBezTo>
                  <a:cubicBezTo>
                    <a:pt x="68" y="11"/>
                    <a:pt x="68" y="10"/>
                    <a:pt x="69" y="9"/>
                  </a:cubicBezTo>
                  <a:cubicBezTo>
                    <a:pt x="69" y="9"/>
                    <a:pt x="69" y="7"/>
                    <a:pt x="69" y="6"/>
                  </a:cubicBezTo>
                  <a:cubicBezTo>
                    <a:pt x="69" y="6"/>
                    <a:pt x="68" y="5"/>
                    <a:pt x="68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67" y="4"/>
                    <a:pt x="67" y="4"/>
                    <a:pt x="67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6" y="4"/>
                    <a:pt x="66" y="4"/>
                    <a:pt x="66" y="4"/>
                  </a:cubicBezTo>
                  <a:cubicBezTo>
                    <a:pt x="65" y="4"/>
                    <a:pt x="64" y="4"/>
                    <a:pt x="64" y="4"/>
                  </a:cubicBezTo>
                  <a:cubicBezTo>
                    <a:pt x="64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3" y="4"/>
                    <a:pt x="63" y="4"/>
                    <a:pt x="63" y="4"/>
                  </a:cubicBezTo>
                  <a:cubicBezTo>
                    <a:pt x="62" y="3"/>
                    <a:pt x="62" y="3"/>
                    <a:pt x="61" y="3"/>
                  </a:cubicBezTo>
                  <a:cubicBezTo>
                    <a:pt x="60" y="2"/>
                    <a:pt x="59" y="3"/>
                    <a:pt x="59" y="3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9" y="4"/>
                    <a:pt x="59" y="4"/>
                    <a:pt x="59" y="4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58" y="3"/>
                    <a:pt x="58" y="3"/>
                    <a:pt x="58" y="4"/>
                  </a:cubicBezTo>
                  <a:cubicBezTo>
                    <a:pt x="58" y="3"/>
                    <a:pt x="57" y="3"/>
                    <a:pt x="56" y="3"/>
                  </a:cubicBezTo>
                  <a:cubicBezTo>
                    <a:pt x="55" y="3"/>
                    <a:pt x="54" y="3"/>
                    <a:pt x="54" y="4"/>
                  </a:cubicBezTo>
                  <a:cubicBezTo>
                    <a:pt x="54" y="4"/>
                    <a:pt x="54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4"/>
                    <a:pt x="53" y="4"/>
                  </a:cubicBezTo>
                  <a:cubicBezTo>
                    <a:pt x="53" y="3"/>
                    <a:pt x="53" y="3"/>
                    <a:pt x="52" y="2"/>
                  </a:cubicBezTo>
                  <a:cubicBezTo>
                    <a:pt x="52" y="2"/>
                    <a:pt x="51" y="1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49" y="2"/>
                    <a:pt x="48" y="2"/>
                    <a:pt x="48" y="3"/>
                  </a:cubicBezTo>
                  <a:cubicBezTo>
                    <a:pt x="47" y="3"/>
                    <a:pt x="47" y="4"/>
                    <a:pt x="47" y="4"/>
                  </a:cubicBezTo>
                  <a:cubicBezTo>
                    <a:pt x="47" y="4"/>
                    <a:pt x="47" y="4"/>
                    <a:pt x="47" y="5"/>
                  </a:cubicBezTo>
                  <a:cubicBezTo>
                    <a:pt x="47" y="4"/>
                    <a:pt x="46" y="4"/>
                    <a:pt x="46" y="4"/>
                  </a:cubicBezTo>
                  <a:cubicBezTo>
                    <a:pt x="45" y="4"/>
                    <a:pt x="45" y="4"/>
                    <a:pt x="45" y="4"/>
                  </a:cubicBezTo>
                  <a:cubicBezTo>
                    <a:pt x="45" y="4"/>
                    <a:pt x="45" y="4"/>
                    <a:pt x="44" y="4"/>
                  </a:cubicBezTo>
                  <a:cubicBezTo>
                    <a:pt x="44" y="4"/>
                    <a:pt x="44" y="4"/>
                    <a:pt x="44" y="4"/>
                  </a:cubicBezTo>
                  <a:cubicBezTo>
                    <a:pt x="43" y="4"/>
                    <a:pt x="43" y="4"/>
                    <a:pt x="43" y="3"/>
                  </a:cubicBezTo>
                  <a:cubicBezTo>
                    <a:pt x="43" y="3"/>
                    <a:pt x="42" y="3"/>
                    <a:pt x="42" y="3"/>
                  </a:cubicBezTo>
                  <a:cubicBezTo>
                    <a:pt x="42" y="3"/>
                    <a:pt x="42" y="3"/>
                    <a:pt x="42" y="3"/>
                  </a:cubicBezTo>
                  <a:cubicBezTo>
                    <a:pt x="42" y="3"/>
                    <a:pt x="41" y="3"/>
                    <a:pt x="41" y="2"/>
                  </a:cubicBezTo>
                  <a:cubicBezTo>
                    <a:pt x="41" y="2"/>
                    <a:pt x="40" y="1"/>
                    <a:pt x="40" y="1"/>
                  </a:cubicBezTo>
                  <a:cubicBezTo>
                    <a:pt x="40" y="1"/>
                    <a:pt x="38" y="0"/>
                    <a:pt x="38" y="1"/>
                  </a:cubicBezTo>
                  <a:cubicBezTo>
                    <a:pt x="37" y="1"/>
                    <a:pt x="37" y="2"/>
                    <a:pt x="37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3"/>
                    <a:pt x="35" y="3"/>
                    <a:pt x="35" y="3"/>
                  </a:cubicBezTo>
                  <a:cubicBezTo>
                    <a:pt x="34" y="3"/>
                    <a:pt x="34" y="3"/>
                    <a:pt x="33" y="3"/>
                  </a:cubicBezTo>
                  <a:cubicBezTo>
                    <a:pt x="33" y="3"/>
                    <a:pt x="32" y="3"/>
                    <a:pt x="31" y="4"/>
                  </a:cubicBezTo>
                  <a:cubicBezTo>
                    <a:pt x="31" y="4"/>
                    <a:pt x="31" y="5"/>
                    <a:pt x="31" y="5"/>
                  </a:cubicBezTo>
                  <a:cubicBezTo>
                    <a:pt x="31" y="6"/>
                    <a:pt x="32" y="6"/>
                    <a:pt x="32" y="7"/>
                  </a:cubicBezTo>
                  <a:cubicBezTo>
                    <a:pt x="32" y="7"/>
                    <a:pt x="32" y="7"/>
                    <a:pt x="32" y="7"/>
                  </a:cubicBezTo>
                  <a:cubicBezTo>
                    <a:pt x="32" y="7"/>
                    <a:pt x="33" y="7"/>
                    <a:pt x="33" y="7"/>
                  </a:cubicBezTo>
                  <a:cubicBezTo>
                    <a:pt x="32" y="7"/>
                    <a:pt x="32" y="7"/>
                    <a:pt x="32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7"/>
                    <a:pt x="31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9" y="6"/>
                    <a:pt x="28" y="6"/>
                    <a:pt x="28" y="7"/>
                  </a:cubicBezTo>
                  <a:cubicBezTo>
                    <a:pt x="28" y="6"/>
                    <a:pt x="27" y="5"/>
                    <a:pt x="26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4" y="5"/>
                    <a:pt x="23" y="5"/>
                    <a:pt x="23" y="7"/>
                  </a:cubicBezTo>
                  <a:cubicBezTo>
                    <a:pt x="23" y="8"/>
                    <a:pt x="23" y="8"/>
                    <a:pt x="22" y="8"/>
                  </a:cubicBezTo>
                  <a:cubicBezTo>
                    <a:pt x="22" y="9"/>
                    <a:pt x="21" y="10"/>
                    <a:pt x="21" y="11"/>
                  </a:cubicBezTo>
                  <a:cubicBezTo>
                    <a:pt x="20" y="11"/>
                    <a:pt x="20" y="11"/>
                    <a:pt x="20" y="11"/>
                  </a:cubicBezTo>
                  <a:cubicBezTo>
                    <a:pt x="20" y="10"/>
                    <a:pt x="19" y="10"/>
                    <a:pt x="18" y="10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5" y="11"/>
                  </a:cubicBezTo>
                  <a:cubicBezTo>
                    <a:pt x="14" y="11"/>
                    <a:pt x="14" y="12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2" y="13"/>
                  </a:cubicBezTo>
                  <a:cubicBezTo>
                    <a:pt x="12" y="13"/>
                    <a:pt x="12" y="12"/>
                    <a:pt x="12" y="12"/>
                  </a:cubicBezTo>
                  <a:cubicBezTo>
                    <a:pt x="13" y="12"/>
                    <a:pt x="13" y="12"/>
                    <a:pt x="14" y="12"/>
                  </a:cubicBezTo>
                  <a:cubicBezTo>
                    <a:pt x="16" y="11"/>
                    <a:pt x="16" y="9"/>
                    <a:pt x="16" y="9"/>
                  </a:cubicBezTo>
                  <a:cubicBezTo>
                    <a:pt x="16" y="8"/>
                    <a:pt x="15" y="7"/>
                    <a:pt x="14" y="7"/>
                  </a:cubicBezTo>
                  <a:cubicBezTo>
                    <a:pt x="13" y="7"/>
                    <a:pt x="13" y="7"/>
                    <a:pt x="12" y="8"/>
                  </a:cubicBezTo>
                  <a:cubicBezTo>
                    <a:pt x="12" y="8"/>
                    <a:pt x="12" y="8"/>
                    <a:pt x="11" y="7"/>
                  </a:cubicBezTo>
                  <a:cubicBezTo>
                    <a:pt x="10" y="7"/>
                    <a:pt x="9" y="7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6" y="8"/>
                    <a:pt x="5" y="7"/>
                    <a:pt x="4" y="8"/>
                  </a:cubicBezTo>
                  <a:cubicBezTo>
                    <a:pt x="3" y="8"/>
                    <a:pt x="3" y="9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11"/>
                    <a:pt x="1" y="11"/>
                    <a:pt x="1" y="12"/>
                  </a:cubicBezTo>
                  <a:cubicBezTo>
                    <a:pt x="0" y="13"/>
                    <a:pt x="0" y="14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16"/>
                    <a:pt x="0" y="17"/>
                    <a:pt x="1" y="18"/>
                  </a:cubicBezTo>
                  <a:cubicBezTo>
                    <a:pt x="1" y="18"/>
                    <a:pt x="1" y="19"/>
                    <a:pt x="2" y="19"/>
                  </a:cubicBezTo>
                  <a:cubicBezTo>
                    <a:pt x="1" y="19"/>
                    <a:pt x="1" y="19"/>
                    <a:pt x="1" y="20"/>
                  </a:cubicBezTo>
                  <a:cubicBezTo>
                    <a:pt x="0" y="20"/>
                    <a:pt x="0" y="21"/>
                    <a:pt x="1" y="22"/>
                  </a:cubicBezTo>
                  <a:close/>
                  <a:moveTo>
                    <a:pt x="45" y="11"/>
                  </a:move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1"/>
                  </a:cubicBezTo>
                  <a:close/>
                  <a:moveTo>
                    <a:pt x="41" y="12"/>
                  </a:move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ubicBezTo>
                    <a:pt x="41" y="12"/>
                    <a:pt x="41" y="12"/>
                    <a:pt x="41" y="12"/>
                  </a:cubicBezTo>
                  <a:close/>
                  <a:moveTo>
                    <a:pt x="54" y="18"/>
                  </a:moveTo>
                  <a:cubicBezTo>
                    <a:pt x="54" y="18"/>
                    <a:pt x="54" y="18"/>
                    <a:pt x="54" y="18"/>
                  </a:cubicBezTo>
                  <a:cubicBezTo>
                    <a:pt x="54" y="18"/>
                    <a:pt x="54" y="18"/>
                    <a:pt x="54" y="18"/>
                  </a:cubicBezTo>
                  <a:close/>
                  <a:moveTo>
                    <a:pt x="38" y="3"/>
                  </a:moveTo>
                  <a:cubicBezTo>
                    <a:pt x="38" y="3"/>
                    <a:pt x="38" y="3"/>
                    <a:pt x="38" y="3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8" y="3"/>
                    <a:pt x="38" y="3"/>
                    <a:pt x="38" y="3"/>
                  </a:cubicBezTo>
                  <a:close/>
                  <a:moveTo>
                    <a:pt x="10" y="36"/>
                  </a:moveTo>
                  <a:cubicBezTo>
                    <a:pt x="10" y="36"/>
                    <a:pt x="10" y="36"/>
                    <a:pt x="10" y="36"/>
                  </a:cubicBezTo>
                  <a:cubicBezTo>
                    <a:pt x="10" y="35"/>
                    <a:pt x="10" y="35"/>
                    <a:pt x="10" y="35"/>
                  </a:cubicBezTo>
                  <a:lnTo>
                    <a:pt x="10" y="36"/>
                  </a:lnTo>
                  <a:close/>
                  <a:moveTo>
                    <a:pt x="20" y="27"/>
                  </a:moveTo>
                  <a:cubicBezTo>
                    <a:pt x="20" y="27"/>
                    <a:pt x="20" y="27"/>
                    <a:pt x="21" y="27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0" y="27"/>
                    <a:pt x="20" y="27"/>
                    <a:pt x="20" y="27"/>
                  </a:cubicBezTo>
                  <a:close/>
                  <a:moveTo>
                    <a:pt x="12" y="37"/>
                  </a:moveTo>
                  <a:cubicBezTo>
                    <a:pt x="12" y="37"/>
                    <a:pt x="12" y="36"/>
                    <a:pt x="12" y="36"/>
                  </a:cubicBezTo>
                  <a:cubicBezTo>
                    <a:pt x="12" y="36"/>
                    <a:pt x="12" y="36"/>
                    <a:pt x="11" y="36"/>
                  </a:cubicBezTo>
                  <a:cubicBezTo>
                    <a:pt x="12" y="36"/>
                    <a:pt x="12" y="36"/>
                    <a:pt x="12" y="36"/>
                  </a:cubicBezTo>
                  <a:cubicBezTo>
                    <a:pt x="12" y="36"/>
                    <a:pt x="12" y="36"/>
                    <a:pt x="12" y="37"/>
                  </a:cubicBezTo>
                  <a:close/>
                  <a:moveTo>
                    <a:pt x="15" y="34"/>
                  </a:moveTo>
                  <a:cubicBezTo>
                    <a:pt x="15" y="34"/>
                    <a:pt x="15" y="34"/>
                    <a:pt x="15" y="34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lnTo>
                    <a:pt x="15" y="34"/>
                  </a:lnTo>
                  <a:close/>
                  <a:moveTo>
                    <a:pt x="17" y="28"/>
                  </a:moveTo>
                  <a:cubicBezTo>
                    <a:pt x="16" y="28"/>
                    <a:pt x="16" y="28"/>
                    <a:pt x="16" y="28"/>
                  </a:cubicBezTo>
                  <a:cubicBezTo>
                    <a:pt x="15" y="28"/>
                    <a:pt x="15" y="28"/>
                    <a:pt x="14" y="29"/>
                  </a:cubicBezTo>
                  <a:cubicBezTo>
                    <a:pt x="14" y="29"/>
                    <a:pt x="13" y="29"/>
                    <a:pt x="13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2" y="29"/>
                    <a:pt x="12" y="29"/>
                  </a:cubicBezTo>
                  <a:cubicBezTo>
                    <a:pt x="12" y="29"/>
                    <a:pt x="13" y="29"/>
                    <a:pt x="13" y="29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3" y="28"/>
                    <a:pt x="14" y="28"/>
                    <a:pt x="15" y="28"/>
                  </a:cubicBezTo>
                  <a:cubicBezTo>
                    <a:pt x="16" y="27"/>
                    <a:pt x="16" y="26"/>
                    <a:pt x="16" y="26"/>
                  </a:cubicBezTo>
                  <a:cubicBezTo>
                    <a:pt x="16" y="26"/>
                    <a:pt x="16" y="25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6" y="27"/>
                    <a:pt x="17" y="27"/>
                  </a:cubicBezTo>
                  <a:cubicBezTo>
                    <a:pt x="17" y="27"/>
                    <a:pt x="17" y="28"/>
                    <a:pt x="18" y="28"/>
                  </a:cubicBezTo>
                  <a:cubicBezTo>
                    <a:pt x="17" y="28"/>
                    <a:pt x="17" y="28"/>
                    <a:pt x="17" y="28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21" y="16"/>
                  </a:moveTo>
                  <a:cubicBezTo>
                    <a:pt x="21" y="16"/>
                    <a:pt x="21" y="16"/>
                    <a:pt x="21" y="16"/>
                  </a:cubicBezTo>
                  <a:cubicBezTo>
                    <a:pt x="21" y="16"/>
                    <a:pt x="21" y="16"/>
                    <a:pt x="20" y="16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4"/>
                    <a:pt x="20" y="14"/>
                    <a:pt x="20" y="14"/>
                  </a:cubicBezTo>
                  <a:lnTo>
                    <a:pt x="21" y="16"/>
                  </a:lnTo>
                  <a:close/>
                  <a:moveTo>
                    <a:pt x="7" y="8"/>
                  </a:moveTo>
                  <a:cubicBezTo>
                    <a:pt x="7" y="8"/>
                    <a:pt x="7" y="8"/>
                    <a:pt x="8" y="8"/>
                  </a:cubicBezTo>
                  <a:cubicBezTo>
                    <a:pt x="7" y="9"/>
                    <a:pt x="7" y="9"/>
                    <a:pt x="7" y="9"/>
                  </a:cubicBezTo>
                  <a:lnTo>
                    <a:pt x="7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3513" y="749"/>
              <a:ext cx="31" cy="19"/>
            </a:xfrm>
            <a:custGeom>
              <a:avLst/>
              <a:gdLst>
                <a:gd name="T0" fmla="*/ 6 w 13"/>
                <a:gd name="T1" fmla="*/ 7 h 8"/>
                <a:gd name="T2" fmla="*/ 7 w 13"/>
                <a:gd name="T3" fmla="*/ 7 h 8"/>
                <a:gd name="T4" fmla="*/ 10 w 13"/>
                <a:gd name="T5" fmla="*/ 6 h 8"/>
                <a:gd name="T6" fmla="*/ 10 w 13"/>
                <a:gd name="T7" fmla="*/ 5 h 8"/>
                <a:gd name="T8" fmla="*/ 10 w 13"/>
                <a:gd name="T9" fmla="*/ 5 h 8"/>
                <a:gd name="T10" fmla="*/ 12 w 13"/>
                <a:gd name="T11" fmla="*/ 3 h 8"/>
                <a:gd name="T12" fmla="*/ 12 w 13"/>
                <a:gd name="T13" fmla="*/ 1 h 8"/>
                <a:gd name="T14" fmla="*/ 10 w 13"/>
                <a:gd name="T15" fmla="*/ 0 h 8"/>
                <a:gd name="T16" fmla="*/ 8 w 13"/>
                <a:gd name="T17" fmla="*/ 0 h 8"/>
                <a:gd name="T18" fmla="*/ 7 w 13"/>
                <a:gd name="T19" fmla="*/ 0 h 8"/>
                <a:gd name="T20" fmla="*/ 7 w 13"/>
                <a:gd name="T21" fmla="*/ 1 h 8"/>
                <a:gd name="T22" fmla="*/ 6 w 13"/>
                <a:gd name="T23" fmla="*/ 3 h 8"/>
                <a:gd name="T24" fmla="*/ 5 w 13"/>
                <a:gd name="T25" fmla="*/ 3 h 8"/>
                <a:gd name="T26" fmla="*/ 2 w 13"/>
                <a:gd name="T27" fmla="*/ 4 h 8"/>
                <a:gd name="T28" fmla="*/ 0 w 13"/>
                <a:gd name="T29" fmla="*/ 5 h 8"/>
                <a:gd name="T30" fmla="*/ 0 w 13"/>
                <a:gd name="T31" fmla="*/ 7 h 8"/>
                <a:gd name="T32" fmla="*/ 1 w 13"/>
                <a:gd name="T33" fmla="*/ 6 h 8"/>
                <a:gd name="T34" fmla="*/ 0 w 13"/>
                <a:gd name="T35" fmla="*/ 7 h 8"/>
                <a:gd name="T36" fmla="*/ 1 w 13"/>
                <a:gd name="T37" fmla="*/ 8 h 8"/>
                <a:gd name="T38" fmla="*/ 1 w 13"/>
                <a:gd name="T39" fmla="*/ 8 h 8"/>
                <a:gd name="T40" fmla="*/ 4 w 13"/>
                <a:gd name="T41" fmla="*/ 7 h 8"/>
                <a:gd name="T42" fmla="*/ 5 w 13"/>
                <a:gd name="T43" fmla="*/ 7 h 8"/>
                <a:gd name="T44" fmla="*/ 6 w 13"/>
                <a:gd name="T45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3" h="8">
                  <a:moveTo>
                    <a:pt x="6" y="7"/>
                  </a:moveTo>
                  <a:cubicBezTo>
                    <a:pt x="6" y="7"/>
                    <a:pt x="7" y="7"/>
                    <a:pt x="7" y="7"/>
                  </a:cubicBezTo>
                  <a:cubicBezTo>
                    <a:pt x="8" y="7"/>
                    <a:pt x="9" y="7"/>
                    <a:pt x="10" y="6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1" y="4"/>
                    <a:pt x="11" y="4"/>
                    <a:pt x="12" y="3"/>
                  </a:cubicBezTo>
                  <a:cubicBezTo>
                    <a:pt x="12" y="2"/>
                    <a:pt x="13" y="1"/>
                    <a:pt x="12" y="1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6" y="3"/>
                    <a:pt x="6" y="3"/>
                  </a:cubicBezTo>
                  <a:cubicBezTo>
                    <a:pt x="6" y="3"/>
                    <a:pt x="5" y="3"/>
                    <a:pt x="5" y="3"/>
                  </a:cubicBezTo>
                  <a:cubicBezTo>
                    <a:pt x="4" y="3"/>
                    <a:pt x="3" y="3"/>
                    <a:pt x="2" y="4"/>
                  </a:cubicBezTo>
                  <a:cubicBezTo>
                    <a:pt x="1" y="4"/>
                    <a:pt x="0" y="5"/>
                    <a:pt x="0" y="5"/>
                  </a:cubicBezTo>
                  <a:cubicBezTo>
                    <a:pt x="0" y="6"/>
                    <a:pt x="0" y="6"/>
                    <a:pt x="0" y="7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2" y="8"/>
                    <a:pt x="3" y="7"/>
                    <a:pt x="4" y="7"/>
                  </a:cubicBezTo>
                  <a:cubicBezTo>
                    <a:pt x="4" y="7"/>
                    <a:pt x="5" y="7"/>
                    <a:pt x="5" y="7"/>
                  </a:cubicBezTo>
                  <a:cubicBezTo>
                    <a:pt x="6" y="7"/>
                    <a:pt x="6" y="7"/>
                    <a:pt x="6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3" name="Freeform 72"/>
            <p:cNvSpPr>
              <a:spLocks noEditPoints="1"/>
            </p:cNvSpPr>
            <p:nvPr/>
          </p:nvSpPr>
          <p:spPr bwMode="auto">
            <a:xfrm>
              <a:off x="3314" y="1095"/>
              <a:ext cx="199" cy="232"/>
            </a:xfrm>
            <a:custGeom>
              <a:avLst/>
              <a:gdLst>
                <a:gd name="T0" fmla="*/ 82 w 84"/>
                <a:gd name="T1" fmla="*/ 75 h 98"/>
                <a:gd name="T2" fmla="*/ 75 w 84"/>
                <a:gd name="T3" fmla="*/ 65 h 98"/>
                <a:gd name="T4" fmla="*/ 75 w 84"/>
                <a:gd name="T5" fmla="*/ 52 h 98"/>
                <a:gd name="T6" fmla="*/ 70 w 84"/>
                <a:gd name="T7" fmla="*/ 39 h 98"/>
                <a:gd name="T8" fmla="*/ 69 w 84"/>
                <a:gd name="T9" fmla="*/ 33 h 98"/>
                <a:gd name="T10" fmla="*/ 66 w 84"/>
                <a:gd name="T11" fmla="*/ 28 h 98"/>
                <a:gd name="T12" fmla="*/ 75 w 84"/>
                <a:gd name="T13" fmla="*/ 16 h 98"/>
                <a:gd name="T14" fmla="*/ 63 w 84"/>
                <a:gd name="T15" fmla="*/ 11 h 98"/>
                <a:gd name="T16" fmla="*/ 69 w 84"/>
                <a:gd name="T17" fmla="*/ 2 h 98"/>
                <a:gd name="T18" fmla="*/ 55 w 84"/>
                <a:gd name="T19" fmla="*/ 4 h 98"/>
                <a:gd name="T20" fmla="*/ 49 w 84"/>
                <a:gd name="T21" fmla="*/ 13 h 98"/>
                <a:gd name="T22" fmla="*/ 44 w 84"/>
                <a:gd name="T23" fmla="*/ 12 h 98"/>
                <a:gd name="T24" fmla="*/ 47 w 84"/>
                <a:gd name="T25" fmla="*/ 10 h 98"/>
                <a:gd name="T26" fmla="*/ 50 w 84"/>
                <a:gd name="T27" fmla="*/ 2 h 98"/>
                <a:gd name="T28" fmla="*/ 44 w 84"/>
                <a:gd name="T29" fmla="*/ 5 h 98"/>
                <a:gd name="T30" fmla="*/ 40 w 84"/>
                <a:gd name="T31" fmla="*/ 10 h 98"/>
                <a:gd name="T32" fmla="*/ 39 w 84"/>
                <a:gd name="T33" fmla="*/ 15 h 98"/>
                <a:gd name="T34" fmla="*/ 41 w 84"/>
                <a:gd name="T35" fmla="*/ 15 h 98"/>
                <a:gd name="T36" fmla="*/ 43 w 84"/>
                <a:gd name="T37" fmla="*/ 18 h 98"/>
                <a:gd name="T38" fmla="*/ 45 w 84"/>
                <a:gd name="T39" fmla="*/ 21 h 98"/>
                <a:gd name="T40" fmla="*/ 37 w 84"/>
                <a:gd name="T41" fmla="*/ 26 h 98"/>
                <a:gd name="T42" fmla="*/ 44 w 84"/>
                <a:gd name="T43" fmla="*/ 32 h 98"/>
                <a:gd name="T44" fmla="*/ 39 w 84"/>
                <a:gd name="T45" fmla="*/ 36 h 98"/>
                <a:gd name="T46" fmla="*/ 37 w 84"/>
                <a:gd name="T47" fmla="*/ 37 h 98"/>
                <a:gd name="T48" fmla="*/ 30 w 84"/>
                <a:gd name="T49" fmla="*/ 36 h 98"/>
                <a:gd name="T50" fmla="*/ 22 w 84"/>
                <a:gd name="T51" fmla="*/ 41 h 98"/>
                <a:gd name="T52" fmla="*/ 17 w 84"/>
                <a:gd name="T53" fmla="*/ 47 h 98"/>
                <a:gd name="T54" fmla="*/ 11 w 84"/>
                <a:gd name="T55" fmla="*/ 50 h 98"/>
                <a:gd name="T56" fmla="*/ 8 w 84"/>
                <a:gd name="T57" fmla="*/ 56 h 98"/>
                <a:gd name="T58" fmla="*/ 9 w 84"/>
                <a:gd name="T59" fmla="*/ 60 h 98"/>
                <a:gd name="T60" fmla="*/ 4 w 84"/>
                <a:gd name="T61" fmla="*/ 69 h 98"/>
                <a:gd name="T62" fmla="*/ 1 w 84"/>
                <a:gd name="T63" fmla="*/ 78 h 98"/>
                <a:gd name="T64" fmla="*/ 12 w 84"/>
                <a:gd name="T65" fmla="*/ 79 h 98"/>
                <a:gd name="T66" fmla="*/ 23 w 84"/>
                <a:gd name="T67" fmla="*/ 74 h 98"/>
                <a:gd name="T68" fmla="*/ 30 w 84"/>
                <a:gd name="T69" fmla="*/ 71 h 98"/>
                <a:gd name="T70" fmla="*/ 35 w 84"/>
                <a:gd name="T71" fmla="*/ 60 h 98"/>
                <a:gd name="T72" fmla="*/ 38 w 84"/>
                <a:gd name="T73" fmla="*/ 53 h 98"/>
                <a:gd name="T74" fmla="*/ 41 w 84"/>
                <a:gd name="T75" fmla="*/ 42 h 98"/>
                <a:gd name="T76" fmla="*/ 47 w 84"/>
                <a:gd name="T77" fmla="*/ 33 h 98"/>
                <a:gd name="T78" fmla="*/ 45 w 84"/>
                <a:gd name="T79" fmla="*/ 41 h 98"/>
                <a:gd name="T80" fmla="*/ 45 w 84"/>
                <a:gd name="T81" fmla="*/ 47 h 98"/>
                <a:gd name="T82" fmla="*/ 51 w 84"/>
                <a:gd name="T83" fmla="*/ 46 h 98"/>
                <a:gd name="T84" fmla="*/ 52 w 84"/>
                <a:gd name="T85" fmla="*/ 49 h 98"/>
                <a:gd name="T86" fmla="*/ 53 w 84"/>
                <a:gd name="T87" fmla="*/ 54 h 98"/>
                <a:gd name="T88" fmla="*/ 50 w 84"/>
                <a:gd name="T89" fmla="*/ 60 h 98"/>
                <a:gd name="T90" fmla="*/ 43 w 84"/>
                <a:gd name="T91" fmla="*/ 59 h 98"/>
                <a:gd name="T92" fmla="*/ 40 w 84"/>
                <a:gd name="T93" fmla="*/ 65 h 98"/>
                <a:gd name="T94" fmla="*/ 42 w 84"/>
                <a:gd name="T95" fmla="*/ 72 h 98"/>
                <a:gd name="T96" fmla="*/ 38 w 84"/>
                <a:gd name="T97" fmla="*/ 81 h 98"/>
                <a:gd name="T98" fmla="*/ 38 w 84"/>
                <a:gd name="T99" fmla="*/ 84 h 98"/>
                <a:gd name="T100" fmla="*/ 33 w 84"/>
                <a:gd name="T101" fmla="*/ 96 h 98"/>
                <a:gd name="T102" fmla="*/ 47 w 84"/>
                <a:gd name="T103" fmla="*/ 92 h 98"/>
                <a:gd name="T104" fmla="*/ 54 w 84"/>
                <a:gd name="T105" fmla="*/ 91 h 98"/>
                <a:gd name="T106" fmla="*/ 63 w 84"/>
                <a:gd name="T107" fmla="*/ 91 h 98"/>
                <a:gd name="T108" fmla="*/ 72 w 84"/>
                <a:gd name="T109" fmla="*/ 90 h 98"/>
                <a:gd name="T110" fmla="*/ 76 w 84"/>
                <a:gd name="T111" fmla="*/ 83 h 98"/>
                <a:gd name="T112" fmla="*/ 75 w 84"/>
                <a:gd name="T113" fmla="*/ 65 h 98"/>
                <a:gd name="T114" fmla="*/ 46 w 84"/>
                <a:gd name="T115" fmla="*/ 13 h 98"/>
                <a:gd name="T116" fmla="*/ 49 w 84"/>
                <a:gd name="T117" fmla="*/ 6 h 98"/>
                <a:gd name="T118" fmla="*/ 68 w 84"/>
                <a:gd name="T119" fmla="*/ 9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4" h="98">
                  <a:moveTo>
                    <a:pt x="78" y="79"/>
                  </a:moveTo>
                  <a:cubicBezTo>
                    <a:pt x="78" y="79"/>
                    <a:pt x="78" y="79"/>
                    <a:pt x="78" y="78"/>
                  </a:cubicBezTo>
                  <a:cubicBezTo>
                    <a:pt x="78" y="78"/>
                    <a:pt x="78" y="78"/>
                    <a:pt x="78" y="78"/>
                  </a:cubicBezTo>
                  <a:cubicBezTo>
                    <a:pt x="78" y="78"/>
                    <a:pt x="79" y="78"/>
                    <a:pt x="79" y="78"/>
                  </a:cubicBezTo>
                  <a:cubicBezTo>
                    <a:pt x="81" y="78"/>
                    <a:pt x="82" y="77"/>
                    <a:pt x="82" y="76"/>
                  </a:cubicBezTo>
                  <a:cubicBezTo>
                    <a:pt x="82" y="76"/>
                    <a:pt x="82" y="75"/>
                    <a:pt x="82" y="75"/>
                  </a:cubicBezTo>
                  <a:cubicBezTo>
                    <a:pt x="83" y="74"/>
                    <a:pt x="84" y="73"/>
                    <a:pt x="84" y="72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4" y="70"/>
                    <a:pt x="84" y="68"/>
                    <a:pt x="82" y="67"/>
                  </a:cubicBezTo>
                  <a:cubicBezTo>
                    <a:pt x="82" y="67"/>
                    <a:pt x="81" y="67"/>
                    <a:pt x="81" y="67"/>
                  </a:cubicBezTo>
                  <a:cubicBezTo>
                    <a:pt x="80" y="66"/>
                    <a:pt x="79" y="66"/>
                    <a:pt x="78" y="66"/>
                  </a:cubicBezTo>
                  <a:cubicBezTo>
                    <a:pt x="78" y="65"/>
                    <a:pt x="76" y="65"/>
                    <a:pt x="75" y="65"/>
                  </a:cubicBezTo>
                  <a:cubicBezTo>
                    <a:pt x="76" y="65"/>
                    <a:pt x="76" y="64"/>
                    <a:pt x="76" y="63"/>
                  </a:cubicBezTo>
                  <a:cubicBezTo>
                    <a:pt x="76" y="63"/>
                    <a:pt x="76" y="62"/>
                    <a:pt x="75" y="61"/>
                  </a:cubicBezTo>
                  <a:cubicBezTo>
                    <a:pt x="76" y="61"/>
                    <a:pt x="76" y="61"/>
                    <a:pt x="76" y="60"/>
                  </a:cubicBezTo>
                  <a:cubicBezTo>
                    <a:pt x="76" y="59"/>
                    <a:pt x="76" y="58"/>
                    <a:pt x="76" y="57"/>
                  </a:cubicBezTo>
                  <a:cubicBezTo>
                    <a:pt x="76" y="57"/>
                    <a:pt x="75" y="55"/>
                    <a:pt x="76" y="55"/>
                  </a:cubicBezTo>
                  <a:cubicBezTo>
                    <a:pt x="76" y="54"/>
                    <a:pt x="76" y="53"/>
                    <a:pt x="75" y="52"/>
                  </a:cubicBezTo>
                  <a:cubicBezTo>
                    <a:pt x="75" y="52"/>
                    <a:pt x="74" y="52"/>
                    <a:pt x="74" y="51"/>
                  </a:cubicBezTo>
                  <a:cubicBezTo>
                    <a:pt x="74" y="51"/>
                    <a:pt x="74" y="49"/>
                    <a:pt x="73" y="48"/>
                  </a:cubicBezTo>
                  <a:cubicBezTo>
                    <a:pt x="73" y="48"/>
                    <a:pt x="73" y="48"/>
                    <a:pt x="72" y="47"/>
                  </a:cubicBezTo>
                  <a:cubicBezTo>
                    <a:pt x="72" y="47"/>
                    <a:pt x="72" y="46"/>
                    <a:pt x="71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1"/>
                    <a:pt x="70" y="39"/>
                  </a:cubicBezTo>
                  <a:cubicBezTo>
                    <a:pt x="70" y="38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69" y="36"/>
                    <a:pt x="69" y="36"/>
                  </a:cubicBezTo>
                  <a:cubicBezTo>
                    <a:pt x="69" y="34"/>
                    <a:pt x="69" y="34"/>
                    <a:pt x="69" y="34"/>
                  </a:cubicBezTo>
                  <a:cubicBezTo>
                    <a:pt x="69" y="33"/>
                    <a:pt x="69" y="33"/>
                    <a:pt x="69" y="33"/>
                  </a:cubicBezTo>
                  <a:cubicBezTo>
                    <a:pt x="69" y="32"/>
                    <a:pt x="68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1"/>
                    <a:pt x="65" y="31"/>
                    <a:pt x="65" y="30"/>
                  </a:cubicBezTo>
                  <a:cubicBezTo>
                    <a:pt x="66" y="30"/>
                    <a:pt x="66" y="29"/>
                    <a:pt x="66" y="29"/>
                  </a:cubicBezTo>
                  <a:cubicBezTo>
                    <a:pt x="66" y="28"/>
                    <a:pt x="66" y="28"/>
                    <a:pt x="66" y="28"/>
                  </a:cubicBezTo>
                  <a:cubicBezTo>
                    <a:pt x="66" y="28"/>
                    <a:pt x="67" y="28"/>
                    <a:pt x="68" y="27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5"/>
                    <a:pt x="69" y="25"/>
                    <a:pt x="70" y="24"/>
                  </a:cubicBezTo>
                  <a:cubicBezTo>
                    <a:pt x="71" y="23"/>
                    <a:pt x="71" y="23"/>
                    <a:pt x="72" y="22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4" y="20"/>
                    <a:pt x="76" y="18"/>
                    <a:pt x="75" y="16"/>
                  </a:cubicBezTo>
                  <a:cubicBezTo>
                    <a:pt x="75" y="16"/>
                    <a:pt x="75" y="16"/>
                    <a:pt x="75" y="15"/>
                  </a:cubicBezTo>
                  <a:cubicBezTo>
                    <a:pt x="74" y="14"/>
                    <a:pt x="74" y="13"/>
                    <a:pt x="70" y="13"/>
                  </a:cubicBezTo>
                  <a:cubicBezTo>
                    <a:pt x="70" y="13"/>
                    <a:pt x="69" y="13"/>
                    <a:pt x="68" y="13"/>
                  </a:cubicBezTo>
                  <a:cubicBezTo>
                    <a:pt x="66" y="13"/>
                    <a:pt x="65" y="12"/>
                    <a:pt x="64" y="13"/>
                  </a:cubicBezTo>
                  <a:cubicBezTo>
                    <a:pt x="64" y="12"/>
                    <a:pt x="64" y="12"/>
                    <a:pt x="64" y="12"/>
                  </a:cubicBezTo>
                  <a:cubicBezTo>
                    <a:pt x="64" y="12"/>
                    <a:pt x="64" y="11"/>
                    <a:pt x="63" y="11"/>
                  </a:cubicBezTo>
                  <a:cubicBezTo>
                    <a:pt x="65" y="10"/>
                    <a:pt x="69" y="8"/>
                    <a:pt x="70" y="8"/>
                  </a:cubicBezTo>
                  <a:cubicBezTo>
                    <a:pt x="70" y="7"/>
                    <a:pt x="71" y="7"/>
                    <a:pt x="71" y="6"/>
                  </a:cubicBezTo>
                  <a:cubicBezTo>
                    <a:pt x="72" y="5"/>
                    <a:pt x="71" y="5"/>
                    <a:pt x="71" y="4"/>
                  </a:cubicBezTo>
                  <a:cubicBezTo>
                    <a:pt x="71" y="4"/>
                    <a:pt x="71" y="4"/>
                    <a:pt x="71" y="4"/>
                  </a:cubicBezTo>
                  <a:cubicBezTo>
                    <a:pt x="71" y="4"/>
                    <a:pt x="72" y="3"/>
                    <a:pt x="71" y="2"/>
                  </a:cubicBezTo>
                  <a:cubicBezTo>
                    <a:pt x="71" y="2"/>
                    <a:pt x="70" y="1"/>
                    <a:pt x="69" y="2"/>
                  </a:cubicBezTo>
                  <a:cubicBezTo>
                    <a:pt x="68" y="2"/>
                    <a:pt x="66" y="2"/>
                    <a:pt x="65" y="2"/>
                  </a:cubicBezTo>
                  <a:cubicBezTo>
                    <a:pt x="64" y="2"/>
                    <a:pt x="64" y="2"/>
                    <a:pt x="64" y="2"/>
                  </a:cubicBezTo>
                  <a:cubicBezTo>
                    <a:pt x="64" y="2"/>
                    <a:pt x="62" y="2"/>
                    <a:pt x="61" y="3"/>
                  </a:cubicBezTo>
                  <a:cubicBezTo>
                    <a:pt x="61" y="3"/>
                    <a:pt x="61" y="3"/>
                    <a:pt x="61" y="2"/>
                  </a:cubicBezTo>
                  <a:cubicBezTo>
                    <a:pt x="59" y="1"/>
                    <a:pt x="57" y="0"/>
                    <a:pt x="56" y="2"/>
                  </a:cubicBezTo>
                  <a:cubicBezTo>
                    <a:pt x="55" y="3"/>
                    <a:pt x="55" y="3"/>
                    <a:pt x="55" y="4"/>
                  </a:cubicBezTo>
                  <a:cubicBezTo>
                    <a:pt x="55" y="4"/>
                    <a:pt x="55" y="5"/>
                    <a:pt x="55" y="5"/>
                  </a:cubicBezTo>
                  <a:cubicBezTo>
                    <a:pt x="54" y="5"/>
                    <a:pt x="54" y="6"/>
                    <a:pt x="53" y="6"/>
                  </a:cubicBezTo>
                  <a:cubicBezTo>
                    <a:pt x="53" y="7"/>
                    <a:pt x="52" y="8"/>
                    <a:pt x="52" y="9"/>
                  </a:cubicBezTo>
                  <a:cubicBezTo>
                    <a:pt x="52" y="9"/>
                    <a:pt x="51" y="9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1"/>
                    <a:pt x="49" y="12"/>
                    <a:pt x="49" y="13"/>
                  </a:cubicBezTo>
                  <a:cubicBezTo>
                    <a:pt x="49" y="13"/>
                    <a:pt x="48" y="13"/>
                    <a:pt x="48" y="13"/>
                  </a:cubicBezTo>
                  <a:cubicBezTo>
                    <a:pt x="48" y="13"/>
                    <a:pt x="48" y="13"/>
                    <a:pt x="48" y="12"/>
                  </a:cubicBezTo>
                  <a:cubicBezTo>
                    <a:pt x="48" y="11"/>
                    <a:pt x="47" y="10"/>
                    <a:pt x="46" y="10"/>
                  </a:cubicBezTo>
                  <a:cubicBezTo>
                    <a:pt x="46" y="10"/>
                    <a:pt x="46" y="10"/>
                    <a:pt x="45" y="11"/>
                  </a:cubicBezTo>
                  <a:cubicBezTo>
                    <a:pt x="45" y="11"/>
                    <a:pt x="45" y="12"/>
                    <a:pt x="44" y="12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44" y="12"/>
                    <a:pt x="44" y="12"/>
                    <a:pt x="44" y="11"/>
                  </a:cubicBezTo>
                  <a:cubicBezTo>
                    <a:pt x="44" y="11"/>
                    <a:pt x="45" y="11"/>
                    <a:pt x="45" y="11"/>
                  </a:cubicBezTo>
                  <a:cubicBezTo>
                    <a:pt x="45" y="11"/>
                    <a:pt x="45" y="11"/>
                    <a:pt x="45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6" y="10"/>
                    <a:pt x="46" y="10"/>
                    <a:pt x="46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7" y="10"/>
                    <a:pt x="47" y="10"/>
                    <a:pt x="47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9" y="9"/>
                    <a:pt x="49" y="8"/>
                    <a:pt x="49" y="7"/>
                  </a:cubicBezTo>
                  <a:cubicBezTo>
                    <a:pt x="50" y="7"/>
                    <a:pt x="50" y="6"/>
                    <a:pt x="50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1" y="5"/>
                    <a:pt x="51" y="3"/>
                    <a:pt x="50" y="2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1"/>
                    <a:pt x="49" y="1"/>
                    <a:pt x="49" y="1"/>
                  </a:cubicBezTo>
                  <a:cubicBezTo>
                    <a:pt x="47" y="2"/>
                    <a:pt x="47" y="3"/>
                    <a:pt x="47" y="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4"/>
                    <a:pt x="45" y="4"/>
                    <a:pt x="45" y="4"/>
                  </a:cubicBezTo>
                  <a:cubicBezTo>
                    <a:pt x="45" y="5"/>
                    <a:pt x="44" y="5"/>
                    <a:pt x="44" y="5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3" y="5"/>
                    <a:pt x="42" y="5"/>
                    <a:pt x="42" y="8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1" y="8"/>
                    <a:pt x="41" y="8"/>
                    <a:pt x="41" y="9"/>
                  </a:cubicBezTo>
                  <a:cubicBezTo>
                    <a:pt x="41" y="9"/>
                    <a:pt x="41" y="10"/>
                    <a:pt x="41" y="10"/>
                  </a:cubicBezTo>
                  <a:cubicBezTo>
                    <a:pt x="40" y="10"/>
                    <a:pt x="40" y="10"/>
                    <a:pt x="40" y="10"/>
                  </a:cubicBezTo>
                  <a:cubicBezTo>
                    <a:pt x="39" y="10"/>
                    <a:pt x="39" y="11"/>
                    <a:pt x="39" y="11"/>
                  </a:cubicBezTo>
                  <a:cubicBezTo>
                    <a:pt x="38" y="11"/>
                    <a:pt x="38" y="11"/>
                    <a:pt x="37" y="11"/>
                  </a:cubicBezTo>
                  <a:cubicBezTo>
                    <a:pt x="37" y="12"/>
                    <a:pt x="36" y="12"/>
                    <a:pt x="37" y="13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8" y="15"/>
                    <a:pt x="38" y="15"/>
                    <a:pt x="38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40" y="15"/>
                    <a:pt x="40" y="15"/>
                    <a:pt x="40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2" y="16"/>
                    <a:pt x="42" y="16"/>
                    <a:pt x="43" y="17"/>
                  </a:cubicBezTo>
                  <a:cubicBezTo>
                    <a:pt x="43" y="17"/>
                    <a:pt x="43" y="17"/>
                    <a:pt x="43" y="17"/>
                  </a:cubicBezTo>
                  <a:cubicBezTo>
                    <a:pt x="43" y="17"/>
                    <a:pt x="43" y="18"/>
                    <a:pt x="43" y="18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19"/>
                    <a:pt x="44" y="19"/>
                  </a:cubicBezTo>
                  <a:cubicBezTo>
                    <a:pt x="44" y="19"/>
                    <a:pt x="44" y="20"/>
                    <a:pt x="45" y="20"/>
                  </a:cubicBezTo>
                  <a:cubicBezTo>
                    <a:pt x="45" y="20"/>
                    <a:pt x="45" y="20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5" y="21"/>
                  </a:cubicBezTo>
                  <a:cubicBezTo>
                    <a:pt x="45" y="21"/>
                    <a:pt x="43" y="21"/>
                    <a:pt x="43" y="23"/>
                  </a:cubicBezTo>
                  <a:cubicBezTo>
                    <a:pt x="43" y="23"/>
                    <a:pt x="43" y="23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1" y="26"/>
                    <a:pt x="41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41" y="29"/>
                    <a:pt x="41" y="29"/>
                    <a:pt x="41" y="29"/>
                  </a:cubicBezTo>
                  <a:cubicBezTo>
                    <a:pt x="42" y="29"/>
                    <a:pt x="42" y="29"/>
                    <a:pt x="43" y="29"/>
                  </a:cubicBezTo>
                  <a:cubicBezTo>
                    <a:pt x="44" y="29"/>
                    <a:pt x="44" y="29"/>
                    <a:pt x="45" y="29"/>
                  </a:cubicBezTo>
                  <a:cubicBezTo>
                    <a:pt x="45" y="29"/>
                    <a:pt x="45" y="29"/>
                    <a:pt x="45" y="30"/>
                  </a:cubicBezTo>
                  <a:cubicBezTo>
                    <a:pt x="44" y="30"/>
                    <a:pt x="44" y="31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1"/>
                    <a:pt x="42" y="31"/>
                  </a:cubicBezTo>
                  <a:cubicBezTo>
                    <a:pt x="41" y="29"/>
                    <a:pt x="38" y="31"/>
                    <a:pt x="38" y="32"/>
                  </a:cubicBezTo>
                  <a:cubicBezTo>
                    <a:pt x="38" y="33"/>
                    <a:pt x="38" y="33"/>
                    <a:pt x="38" y="34"/>
                  </a:cubicBezTo>
                  <a:cubicBezTo>
                    <a:pt x="38" y="34"/>
                    <a:pt x="37" y="35"/>
                    <a:pt x="38" y="35"/>
                  </a:cubicBezTo>
                  <a:cubicBezTo>
                    <a:pt x="38" y="36"/>
                    <a:pt x="39" y="36"/>
                    <a:pt x="39" y="36"/>
                  </a:cubicBezTo>
                  <a:cubicBezTo>
                    <a:pt x="39" y="36"/>
                    <a:pt x="39" y="36"/>
                    <a:pt x="39" y="36"/>
                  </a:cubicBezTo>
                  <a:cubicBezTo>
                    <a:pt x="40" y="36"/>
                    <a:pt x="40" y="36"/>
                    <a:pt x="41" y="36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9"/>
                    <a:pt x="41" y="39"/>
                    <a:pt x="41" y="39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38"/>
                    <a:pt x="39" y="37"/>
                    <a:pt x="37" y="37"/>
                  </a:cubicBezTo>
                  <a:cubicBezTo>
                    <a:pt x="37" y="37"/>
                    <a:pt x="36" y="37"/>
                    <a:pt x="35" y="37"/>
                  </a:cubicBezTo>
                  <a:cubicBezTo>
                    <a:pt x="35" y="37"/>
                    <a:pt x="35" y="38"/>
                    <a:pt x="34" y="38"/>
                  </a:cubicBezTo>
                  <a:cubicBezTo>
                    <a:pt x="34" y="38"/>
                    <a:pt x="34" y="38"/>
                    <a:pt x="34" y="37"/>
                  </a:cubicBezTo>
                  <a:cubicBezTo>
                    <a:pt x="34" y="37"/>
                    <a:pt x="34" y="36"/>
                    <a:pt x="33" y="36"/>
                  </a:cubicBezTo>
                  <a:cubicBezTo>
                    <a:pt x="32" y="35"/>
                    <a:pt x="31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29" y="36"/>
                    <a:pt x="29" y="36"/>
                  </a:cubicBezTo>
                  <a:cubicBezTo>
                    <a:pt x="29" y="37"/>
                    <a:pt x="28" y="37"/>
                    <a:pt x="28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6" y="37"/>
                    <a:pt x="23" y="38"/>
                    <a:pt x="22" y="40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2"/>
                    <a:pt x="22" y="42"/>
                  </a:cubicBezTo>
                  <a:cubicBezTo>
                    <a:pt x="20" y="42"/>
                    <a:pt x="19" y="43"/>
                    <a:pt x="19" y="45"/>
                  </a:cubicBezTo>
                  <a:cubicBezTo>
                    <a:pt x="19" y="45"/>
                    <a:pt x="19" y="46"/>
                    <a:pt x="20" y="46"/>
                  </a:cubicBezTo>
                  <a:cubicBezTo>
                    <a:pt x="20" y="46"/>
                    <a:pt x="20" y="46"/>
                    <a:pt x="20" y="47"/>
                  </a:cubicBezTo>
                  <a:cubicBezTo>
                    <a:pt x="19" y="47"/>
                    <a:pt x="19" y="47"/>
                    <a:pt x="19" y="47"/>
                  </a:cubicBezTo>
                  <a:cubicBezTo>
                    <a:pt x="18" y="47"/>
                    <a:pt x="17" y="47"/>
                    <a:pt x="17" y="47"/>
                  </a:cubicBezTo>
                  <a:cubicBezTo>
                    <a:pt x="16" y="46"/>
                    <a:pt x="16" y="47"/>
                    <a:pt x="15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3" y="47"/>
                  </a:cubicBezTo>
                  <a:cubicBezTo>
                    <a:pt x="12" y="46"/>
                    <a:pt x="11" y="46"/>
                    <a:pt x="10" y="47"/>
                  </a:cubicBezTo>
                  <a:cubicBezTo>
                    <a:pt x="10" y="47"/>
                    <a:pt x="10" y="48"/>
                    <a:pt x="10" y="49"/>
                  </a:cubicBezTo>
                  <a:cubicBezTo>
                    <a:pt x="10" y="49"/>
                    <a:pt x="10" y="50"/>
                    <a:pt x="11" y="50"/>
                  </a:cubicBezTo>
                  <a:cubicBezTo>
                    <a:pt x="11" y="50"/>
                    <a:pt x="11" y="50"/>
                    <a:pt x="11" y="50"/>
                  </a:cubicBezTo>
                  <a:cubicBezTo>
                    <a:pt x="10" y="51"/>
                    <a:pt x="10" y="52"/>
                    <a:pt x="10" y="53"/>
                  </a:cubicBezTo>
                  <a:cubicBezTo>
                    <a:pt x="10" y="53"/>
                    <a:pt x="9" y="54"/>
                    <a:pt x="8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5"/>
                    <a:pt x="8" y="55"/>
                    <a:pt x="8" y="55"/>
                  </a:cubicBezTo>
                  <a:cubicBezTo>
                    <a:pt x="8" y="55"/>
                    <a:pt x="7" y="55"/>
                    <a:pt x="6" y="56"/>
                  </a:cubicBezTo>
                  <a:cubicBezTo>
                    <a:pt x="6" y="57"/>
                    <a:pt x="6" y="57"/>
                    <a:pt x="6" y="58"/>
                  </a:cubicBezTo>
                  <a:cubicBezTo>
                    <a:pt x="6" y="58"/>
                    <a:pt x="7" y="59"/>
                    <a:pt x="8" y="60"/>
                  </a:cubicBezTo>
                  <a:cubicBezTo>
                    <a:pt x="9" y="60"/>
                    <a:pt x="9" y="60"/>
                    <a:pt x="9" y="60"/>
                  </a:cubicBezTo>
                  <a:cubicBezTo>
                    <a:pt x="9" y="60"/>
                    <a:pt x="10" y="60"/>
                    <a:pt x="10" y="61"/>
                  </a:cubicBezTo>
                  <a:cubicBezTo>
                    <a:pt x="10" y="61"/>
                    <a:pt x="10" y="62"/>
                    <a:pt x="10" y="62"/>
                  </a:cubicBezTo>
                  <a:cubicBezTo>
                    <a:pt x="9" y="63"/>
                    <a:pt x="7" y="64"/>
                    <a:pt x="6" y="65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5" y="67"/>
                    <a:pt x="4" y="68"/>
                    <a:pt x="4" y="68"/>
                  </a:cubicBezTo>
                  <a:cubicBezTo>
                    <a:pt x="4" y="68"/>
                    <a:pt x="4" y="69"/>
                    <a:pt x="4" y="69"/>
                  </a:cubicBezTo>
                  <a:cubicBezTo>
                    <a:pt x="3" y="69"/>
                    <a:pt x="1" y="70"/>
                    <a:pt x="0" y="71"/>
                  </a:cubicBezTo>
                  <a:cubicBezTo>
                    <a:pt x="0" y="72"/>
                    <a:pt x="0" y="72"/>
                    <a:pt x="1" y="73"/>
                  </a:cubicBezTo>
                  <a:cubicBezTo>
                    <a:pt x="1" y="73"/>
                    <a:pt x="0" y="73"/>
                    <a:pt x="0" y="74"/>
                  </a:cubicBezTo>
                  <a:cubicBezTo>
                    <a:pt x="0" y="75"/>
                    <a:pt x="0" y="75"/>
                    <a:pt x="1" y="76"/>
                  </a:cubicBezTo>
                  <a:cubicBezTo>
                    <a:pt x="1" y="76"/>
                    <a:pt x="1" y="76"/>
                    <a:pt x="2" y="76"/>
                  </a:cubicBezTo>
                  <a:cubicBezTo>
                    <a:pt x="1" y="77"/>
                    <a:pt x="1" y="78"/>
                    <a:pt x="1" y="78"/>
                  </a:cubicBezTo>
                  <a:cubicBezTo>
                    <a:pt x="2" y="79"/>
                    <a:pt x="2" y="80"/>
                    <a:pt x="3" y="79"/>
                  </a:cubicBezTo>
                  <a:cubicBezTo>
                    <a:pt x="3" y="80"/>
                    <a:pt x="4" y="80"/>
                    <a:pt x="5" y="80"/>
                  </a:cubicBezTo>
                  <a:cubicBezTo>
                    <a:pt x="5" y="80"/>
                    <a:pt x="5" y="80"/>
                    <a:pt x="5" y="80"/>
                  </a:cubicBezTo>
                  <a:cubicBezTo>
                    <a:pt x="6" y="80"/>
                    <a:pt x="6" y="80"/>
                    <a:pt x="6" y="80"/>
                  </a:cubicBezTo>
                  <a:cubicBezTo>
                    <a:pt x="6" y="80"/>
                    <a:pt x="6" y="80"/>
                    <a:pt x="7" y="80"/>
                  </a:cubicBezTo>
                  <a:cubicBezTo>
                    <a:pt x="7" y="80"/>
                    <a:pt x="11" y="79"/>
                    <a:pt x="12" y="79"/>
                  </a:cubicBezTo>
                  <a:cubicBezTo>
                    <a:pt x="12" y="79"/>
                    <a:pt x="12" y="78"/>
                    <a:pt x="13" y="78"/>
                  </a:cubicBezTo>
                  <a:cubicBezTo>
                    <a:pt x="14" y="78"/>
                    <a:pt x="15" y="78"/>
                    <a:pt x="15" y="77"/>
                  </a:cubicBezTo>
                  <a:cubicBezTo>
                    <a:pt x="15" y="77"/>
                    <a:pt x="15" y="77"/>
                    <a:pt x="16" y="77"/>
                  </a:cubicBezTo>
                  <a:cubicBezTo>
                    <a:pt x="17" y="77"/>
                    <a:pt x="18" y="76"/>
                    <a:pt x="19" y="76"/>
                  </a:cubicBezTo>
                  <a:cubicBezTo>
                    <a:pt x="19" y="76"/>
                    <a:pt x="19" y="75"/>
                    <a:pt x="19" y="75"/>
                  </a:cubicBezTo>
                  <a:cubicBezTo>
                    <a:pt x="20" y="75"/>
                    <a:pt x="22" y="75"/>
                    <a:pt x="23" y="74"/>
                  </a:cubicBezTo>
                  <a:cubicBezTo>
                    <a:pt x="23" y="74"/>
                    <a:pt x="24" y="74"/>
                    <a:pt x="24" y="74"/>
                  </a:cubicBezTo>
                  <a:cubicBezTo>
                    <a:pt x="25" y="74"/>
                    <a:pt x="26" y="75"/>
                    <a:pt x="26" y="75"/>
                  </a:cubicBezTo>
                  <a:cubicBezTo>
                    <a:pt x="29" y="75"/>
                    <a:pt x="30" y="74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1" y="70"/>
                    <a:pt x="32" y="70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3" y="67"/>
                    <a:pt x="34" y="65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0"/>
                    <a:pt x="34" y="60"/>
                    <a:pt x="35" y="60"/>
                  </a:cubicBezTo>
                  <a:cubicBezTo>
                    <a:pt x="36" y="59"/>
                    <a:pt x="37" y="56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9" y="52"/>
                    <a:pt x="40" y="51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2" y="50"/>
                    <a:pt x="43" y="50"/>
                    <a:pt x="43" y="48"/>
                  </a:cubicBezTo>
                  <a:cubicBezTo>
                    <a:pt x="43" y="47"/>
                    <a:pt x="43" y="44"/>
                    <a:pt x="42" y="43"/>
                  </a:cubicBezTo>
                  <a:cubicBezTo>
                    <a:pt x="42" y="43"/>
                    <a:pt x="42" y="42"/>
                    <a:pt x="41" y="42"/>
                  </a:cubicBezTo>
                  <a:cubicBezTo>
                    <a:pt x="41" y="39"/>
                    <a:pt x="41" y="39"/>
                    <a:pt x="41" y="39"/>
                  </a:cubicBezTo>
                  <a:cubicBezTo>
                    <a:pt x="41" y="39"/>
                    <a:pt x="42" y="39"/>
                    <a:pt x="42" y="39"/>
                  </a:cubicBezTo>
                  <a:cubicBezTo>
                    <a:pt x="43" y="39"/>
                    <a:pt x="45" y="38"/>
                    <a:pt x="45" y="37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7" y="35"/>
                    <a:pt x="47" y="34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4"/>
                  </a:cubicBezTo>
                  <a:cubicBezTo>
                    <a:pt x="48" y="34"/>
                    <a:pt x="48" y="35"/>
                    <a:pt x="48" y="35"/>
                  </a:cubicBezTo>
                  <a:cubicBezTo>
                    <a:pt x="47" y="35"/>
                    <a:pt x="46" y="36"/>
                    <a:pt x="47" y="38"/>
                  </a:cubicBezTo>
                  <a:cubicBezTo>
                    <a:pt x="47" y="38"/>
                    <a:pt x="47" y="39"/>
                    <a:pt x="46" y="39"/>
                  </a:cubicBezTo>
                  <a:cubicBezTo>
                    <a:pt x="46" y="40"/>
                    <a:pt x="46" y="40"/>
                    <a:pt x="45" y="41"/>
                  </a:cubicBezTo>
                  <a:cubicBezTo>
                    <a:pt x="45" y="40"/>
                    <a:pt x="44" y="40"/>
                    <a:pt x="43" y="41"/>
                  </a:cubicBezTo>
                  <a:cubicBezTo>
                    <a:pt x="43" y="41"/>
                    <a:pt x="42" y="42"/>
                    <a:pt x="42" y="42"/>
                  </a:cubicBezTo>
                  <a:cubicBezTo>
                    <a:pt x="42" y="43"/>
                    <a:pt x="43" y="44"/>
                    <a:pt x="43" y="44"/>
                  </a:cubicBezTo>
                  <a:cubicBezTo>
                    <a:pt x="43" y="44"/>
                    <a:pt x="43" y="45"/>
                    <a:pt x="43" y="45"/>
                  </a:cubicBezTo>
                  <a:cubicBezTo>
                    <a:pt x="43" y="46"/>
                    <a:pt x="43" y="46"/>
                    <a:pt x="44" y="47"/>
                  </a:cubicBezTo>
                  <a:cubicBezTo>
                    <a:pt x="44" y="47"/>
                    <a:pt x="44" y="47"/>
                    <a:pt x="4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6" y="47"/>
                    <a:pt x="46" y="47"/>
                    <a:pt x="47" y="46"/>
                  </a:cubicBezTo>
                  <a:cubicBezTo>
                    <a:pt x="47" y="46"/>
                    <a:pt x="47" y="46"/>
                    <a:pt x="47" y="45"/>
                  </a:cubicBezTo>
                  <a:cubicBezTo>
                    <a:pt x="47" y="46"/>
                    <a:pt x="48" y="46"/>
                    <a:pt x="48" y="46"/>
                  </a:cubicBezTo>
                  <a:cubicBezTo>
                    <a:pt x="48" y="46"/>
                    <a:pt x="49" y="47"/>
                    <a:pt x="49" y="47"/>
                  </a:cubicBezTo>
                  <a:cubicBezTo>
                    <a:pt x="50" y="47"/>
                    <a:pt x="50" y="47"/>
                    <a:pt x="51" y="46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6"/>
                    <a:pt x="51" y="46"/>
                    <a:pt x="52" y="46"/>
                  </a:cubicBezTo>
                  <a:cubicBezTo>
                    <a:pt x="52" y="46"/>
                    <a:pt x="52" y="46"/>
                    <a:pt x="52" y="46"/>
                  </a:cubicBezTo>
                  <a:cubicBezTo>
                    <a:pt x="52" y="46"/>
                    <a:pt x="52" y="46"/>
                    <a:pt x="53" y="46"/>
                  </a:cubicBezTo>
                  <a:cubicBezTo>
                    <a:pt x="52" y="47"/>
                    <a:pt x="52" y="47"/>
                    <a:pt x="52" y="48"/>
                  </a:cubicBezTo>
                  <a:cubicBezTo>
                    <a:pt x="52" y="49"/>
                    <a:pt x="52" y="49"/>
                    <a:pt x="52" y="49"/>
                  </a:cubicBezTo>
                  <a:cubicBezTo>
                    <a:pt x="52" y="49"/>
                    <a:pt x="53" y="49"/>
                    <a:pt x="53" y="50"/>
                  </a:cubicBezTo>
                  <a:cubicBezTo>
                    <a:pt x="53" y="50"/>
                    <a:pt x="53" y="51"/>
                    <a:pt x="53" y="52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3" y="53"/>
                    <a:pt x="53" y="53"/>
                    <a:pt x="53" y="54"/>
                  </a:cubicBezTo>
                  <a:cubicBezTo>
                    <a:pt x="54" y="54"/>
                    <a:pt x="54" y="54"/>
                    <a:pt x="54" y="54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3" y="55"/>
                    <a:pt x="52" y="55"/>
                    <a:pt x="53" y="56"/>
                  </a:cubicBezTo>
                  <a:cubicBezTo>
                    <a:pt x="53" y="56"/>
                    <a:pt x="53" y="56"/>
                    <a:pt x="53" y="56"/>
                  </a:cubicBezTo>
                  <a:cubicBezTo>
                    <a:pt x="53" y="58"/>
                    <a:pt x="53" y="59"/>
                    <a:pt x="53" y="59"/>
                  </a:cubicBezTo>
                  <a:cubicBezTo>
                    <a:pt x="52" y="59"/>
                    <a:pt x="52" y="60"/>
                    <a:pt x="51" y="60"/>
                  </a:cubicBezTo>
                  <a:cubicBezTo>
                    <a:pt x="51" y="60"/>
                    <a:pt x="51" y="60"/>
                    <a:pt x="50" y="60"/>
                  </a:cubicBezTo>
                  <a:cubicBezTo>
                    <a:pt x="50" y="60"/>
                    <a:pt x="50" y="60"/>
                    <a:pt x="50" y="60"/>
                  </a:cubicBezTo>
                  <a:cubicBezTo>
                    <a:pt x="49" y="60"/>
                    <a:pt x="48" y="60"/>
                    <a:pt x="47" y="60"/>
                  </a:cubicBezTo>
                  <a:cubicBezTo>
                    <a:pt x="47" y="60"/>
                    <a:pt x="46" y="60"/>
                    <a:pt x="46" y="60"/>
                  </a:cubicBezTo>
                  <a:cubicBezTo>
                    <a:pt x="46" y="59"/>
                    <a:pt x="46" y="59"/>
                    <a:pt x="46" y="59"/>
                  </a:cubicBezTo>
                  <a:cubicBezTo>
                    <a:pt x="45" y="59"/>
                    <a:pt x="45" y="59"/>
                    <a:pt x="45" y="59"/>
                  </a:cubicBezTo>
                  <a:cubicBezTo>
                    <a:pt x="45" y="59"/>
                    <a:pt x="45" y="58"/>
                    <a:pt x="44" y="58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60"/>
                    <a:pt x="42" y="60"/>
                  </a:cubicBezTo>
                  <a:cubicBezTo>
                    <a:pt x="42" y="60"/>
                    <a:pt x="42" y="61"/>
                    <a:pt x="42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2"/>
                    <a:pt x="40" y="62"/>
                  </a:cubicBezTo>
                  <a:cubicBezTo>
                    <a:pt x="40" y="62"/>
                    <a:pt x="40" y="63"/>
                    <a:pt x="40" y="63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40" y="66"/>
                    <a:pt x="39" y="66"/>
                    <a:pt x="40" y="67"/>
                  </a:cubicBezTo>
                  <a:cubicBezTo>
                    <a:pt x="40" y="68"/>
                    <a:pt x="40" y="68"/>
                    <a:pt x="41" y="68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68"/>
                    <a:pt x="42" y="69"/>
                    <a:pt x="42" y="69"/>
                  </a:cubicBezTo>
                  <a:cubicBezTo>
                    <a:pt x="42" y="70"/>
                    <a:pt x="42" y="71"/>
                    <a:pt x="42" y="71"/>
                  </a:cubicBezTo>
                  <a:cubicBezTo>
                    <a:pt x="42" y="72"/>
                    <a:pt x="42" y="72"/>
                    <a:pt x="42" y="72"/>
                  </a:cubicBezTo>
                  <a:cubicBezTo>
                    <a:pt x="40" y="72"/>
                    <a:pt x="40" y="73"/>
                    <a:pt x="40" y="73"/>
                  </a:cubicBezTo>
                  <a:cubicBezTo>
                    <a:pt x="39" y="73"/>
                    <a:pt x="39" y="73"/>
                    <a:pt x="38" y="73"/>
                  </a:cubicBezTo>
                  <a:cubicBezTo>
                    <a:pt x="34" y="73"/>
                    <a:pt x="33" y="75"/>
                    <a:pt x="33" y="76"/>
                  </a:cubicBezTo>
                  <a:cubicBezTo>
                    <a:pt x="33" y="78"/>
                    <a:pt x="34" y="78"/>
                    <a:pt x="35" y="79"/>
                  </a:cubicBezTo>
                  <a:cubicBezTo>
                    <a:pt x="35" y="81"/>
                    <a:pt x="37" y="82"/>
                    <a:pt x="38" y="81"/>
                  </a:cubicBezTo>
                  <a:cubicBezTo>
                    <a:pt x="38" y="81"/>
                    <a:pt x="38" y="81"/>
                    <a:pt x="38" y="81"/>
                  </a:cubicBezTo>
                  <a:cubicBezTo>
                    <a:pt x="38" y="82"/>
                    <a:pt x="39" y="82"/>
                    <a:pt x="40" y="82"/>
                  </a:cubicBezTo>
                  <a:cubicBezTo>
                    <a:pt x="40" y="82"/>
                    <a:pt x="40" y="82"/>
                    <a:pt x="41" y="82"/>
                  </a:cubicBezTo>
                  <a:cubicBezTo>
                    <a:pt x="41" y="82"/>
                    <a:pt x="41" y="82"/>
                    <a:pt x="41" y="82"/>
                  </a:cubicBezTo>
                  <a:cubicBezTo>
                    <a:pt x="41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0" y="82"/>
                    <a:pt x="39" y="83"/>
                    <a:pt x="38" y="84"/>
                  </a:cubicBezTo>
                  <a:cubicBezTo>
                    <a:pt x="37" y="85"/>
                    <a:pt x="34" y="88"/>
                    <a:pt x="34" y="88"/>
                  </a:cubicBezTo>
                  <a:cubicBezTo>
                    <a:pt x="31" y="91"/>
                    <a:pt x="30" y="92"/>
                    <a:pt x="29" y="93"/>
                  </a:cubicBezTo>
                  <a:cubicBezTo>
                    <a:pt x="28" y="93"/>
                    <a:pt x="26" y="94"/>
                    <a:pt x="25" y="95"/>
                  </a:cubicBezTo>
                  <a:cubicBezTo>
                    <a:pt x="25" y="95"/>
                    <a:pt x="25" y="96"/>
                    <a:pt x="25" y="97"/>
                  </a:cubicBezTo>
                  <a:cubicBezTo>
                    <a:pt x="26" y="97"/>
                    <a:pt x="26" y="98"/>
                    <a:pt x="27" y="98"/>
                  </a:cubicBezTo>
                  <a:cubicBezTo>
                    <a:pt x="29" y="98"/>
                    <a:pt x="31" y="97"/>
                    <a:pt x="33" y="96"/>
                  </a:cubicBezTo>
                  <a:cubicBezTo>
                    <a:pt x="34" y="95"/>
                    <a:pt x="35" y="95"/>
                    <a:pt x="36" y="95"/>
                  </a:cubicBezTo>
                  <a:cubicBezTo>
                    <a:pt x="37" y="95"/>
                    <a:pt x="37" y="95"/>
                    <a:pt x="38" y="95"/>
                  </a:cubicBezTo>
                  <a:cubicBezTo>
                    <a:pt x="39" y="96"/>
                    <a:pt x="41" y="96"/>
                    <a:pt x="42" y="95"/>
                  </a:cubicBezTo>
                  <a:cubicBezTo>
                    <a:pt x="42" y="95"/>
                    <a:pt x="43" y="94"/>
                    <a:pt x="43" y="94"/>
                  </a:cubicBezTo>
                  <a:cubicBezTo>
                    <a:pt x="43" y="93"/>
                    <a:pt x="43" y="93"/>
                    <a:pt x="43" y="93"/>
                  </a:cubicBezTo>
                  <a:cubicBezTo>
                    <a:pt x="45" y="93"/>
                    <a:pt x="47" y="92"/>
                    <a:pt x="47" y="92"/>
                  </a:cubicBezTo>
                  <a:cubicBezTo>
                    <a:pt x="48" y="92"/>
                    <a:pt x="48" y="92"/>
                    <a:pt x="49" y="92"/>
                  </a:cubicBezTo>
                  <a:cubicBezTo>
                    <a:pt x="49" y="93"/>
                    <a:pt x="50" y="92"/>
                    <a:pt x="51" y="92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51" y="92"/>
                    <a:pt x="51" y="92"/>
                    <a:pt x="51" y="92"/>
                  </a:cubicBezTo>
                  <a:cubicBezTo>
                    <a:pt x="52" y="93"/>
                    <a:pt x="52" y="93"/>
                    <a:pt x="53" y="93"/>
                  </a:cubicBezTo>
                  <a:cubicBezTo>
                    <a:pt x="53" y="93"/>
                    <a:pt x="54" y="92"/>
                    <a:pt x="54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7" y="91"/>
                    <a:pt x="58" y="91"/>
                    <a:pt x="58" y="91"/>
                  </a:cubicBezTo>
                  <a:cubicBezTo>
                    <a:pt x="59" y="91"/>
                    <a:pt x="60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2" y="92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4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6" y="92"/>
                    <a:pt x="68" y="92"/>
                    <a:pt x="69" y="91"/>
                  </a:cubicBezTo>
                  <a:cubicBezTo>
                    <a:pt x="70" y="90"/>
                    <a:pt x="70" y="90"/>
                    <a:pt x="70" y="90"/>
                  </a:cubicBezTo>
                  <a:cubicBezTo>
                    <a:pt x="71" y="90"/>
                    <a:pt x="71" y="90"/>
                    <a:pt x="71" y="90"/>
                  </a:cubicBezTo>
                  <a:cubicBezTo>
                    <a:pt x="71" y="90"/>
                    <a:pt x="72" y="90"/>
                    <a:pt x="72" y="90"/>
                  </a:cubicBezTo>
                  <a:cubicBezTo>
                    <a:pt x="73" y="90"/>
                    <a:pt x="74" y="90"/>
                    <a:pt x="74" y="89"/>
                  </a:cubicBezTo>
                  <a:cubicBezTo>
                    <a:pt x="75" y="89"/>
                    <a:pt x="76" y="88"/>
                    <a:pt x="78" y="87"/>
                  </a:cubicBezTo>
                  <a:cubicBezTo>
                    <a:pt x="78" y="86"/>
                    <a:pt x="78" y="86"/>
                    <a:pt x="78" y="86"/>
                  </a:cubicBezTo>
                  <a:cubicBezTo>
                    <a:pt x="79" y="86"/>
                    <a:pt x="79" y="85"/>
                    <a:pt x="79" y="84"/>
                  </a:cubicBezTo>
                  <a:cubicBezTo>
                    <a:pt x="79" y="83"/>
                    <a:pt x="78" y="83"/>
                    <a:pt x="77" y="83"/>
                  </a:cubicBezTo>
                  <a:cubicBezTo>
                    <a:pt x="77" y="82"/>
                    <a:pt x="76" y="82"/>
                    <a:pt x="76" y="83"/>
                  </a:cubicBezTo>
                  <a:cubicBezTo>
                    <a:pt x="76" y="82"/>
                    <a:pt x="76" y="82"/>
                    <a:pt x="76" y="81"/>
                  </a:cubicBezTo>
                  <a:cubicBezTo>
                    <a:pt x="76" y="81"/>
                    <a:pt x="76" y="81"/>
                    <a:pt x="76" y="81"/>
                  </a:cubicBezTo>
                  <a:cubicBezTo>
                    <a:pt x="77" y="80"/>
                    <a:pt x="77" y="80"/>
                    <a:pt x="78" y="79"/>
                  </a:cubicBezTo>
                  <a:close/>
                  <a:moveTo>
                    <a:pt x="74" y="66"/>
                  </a:move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4" y="66"/>
                    <a:pt x="75" y="65"/>
                  </a:cubicBezTo>
                  <a:cubicBezTo>
                    <a:pt x="74" y="66"/>
                    <a:pt x="74" y="66"/>
                    <a:pt x="74" y="66"/>
                  </a:cubicBezTo>
                  <a:close/>
                  <a:moveTo>
                    <a:pt x="45" y="84"/>
                  </a:move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lose/>
                  <a:moveTo>
                    <a:pt x="45" y="13"/>
                  </a:moveTo>
                  <a:cubicBezTo>
                    <a:pt x="46" y="13"/>
                    <a:pt x="46" y="13"/>
                    <a:pt x="46" y="13"/>
                  </a:cubicBezTo>
                  <a:cubicBezTo>
                    <a:pt x="44" y="13"/>
                    <a:pt x="44" y="13"/>
                    <a:pt x="44" y="13"/>
                  </a:cubicBezTo>
                  <a:cubicBezTo>
                    <a:pt x="44" y="13"/>
                    <a:pt x="44" y="13"/>
                    <a:pt x="45" y="13"/>
                  </a:cubicBezTo>
                  <a:close/>
                  <a:moveTo>
                    <a:pt x="49" y="6"/>
                  </a:moveTo>
                  <a:cubicBezTo>
                    <a:pt x="48" y="6"/>
                    <a:pt x="48" y="6"/>
                    <a:pt x="48" y="6"/>
                  </a:cubicBezTo>
                  <a:cubicBezTo>
                    <a:pt x="49" y="6"/>
                    <a:pt x="49" y="6"/>
                    <a:pt x="49" y="6"/>
                  </a:cubicBezTo>
                  <a:cubicBezTo>
                    <a:pt x="49" y="6"/>
                    <a:pt x="49" y="6"/>
                    <a:pt x="49" y="6"/>
                  </a:cubicBezTo>
                  <a:close/>
                  <a:moveTo>
                    <a:pt x="45" y="6"/>
                  </a:moveTo>
                  <a:cubicBezTo>
                    <a:pt x="45" y="6"/>
                    <a:pt x="45" y="6"/>
                    <a:pt x="45" y="6"/>
                  </a:cubicBezTo>
                  <a:cubicBezTo>
                    <a:pt x="45" y="6"/>
                    <a:pt x="45" y="6"/>
                    <a:pt x="45" y="6"/>
                  </a:cubicBezTo>
                  <a:close/>
                  <a:moveTo>
                    <a:pt x="68" y="90"/>
                  </a:moveTo>
                  <a:cubicBezTo>
                    <a:pt x="68" y="90"/>
                    <a:pt x="68" y="90"/>
                    <a:pt x="68" y="90"/>
                  </a:cubicBezTo>
                  <a:cubicBezTo>
                    <a:pt x="68" y="90"/>
                    <a:pt x="68" y="90"/>
                    <a:pt x="68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4" name="Freeform 73"/>
            <p:cNvSpPr>
              <a:spLocks noEditPoints="1"/>
            </p:cNvSpPr>
            <p:nvPr/>
          </p:nvSpPr>
          <p:spPr bwMode="auto">
            <a:xfrm>
              <a:off x="3508" y="1047"/>
              <a:ext cx="14" cy="26"/>
            </a:xfrm>
            <a:custGeom>
              <a:avLst/>
              <a:gdLst>
                <a:gd name="T0" fmla="*/ 2 w 6"/>
                <a:gd name="T1" fmla="*/ 11 h 11"/>
                <a:gd name="T2" fmla="*/ 5 w 6"/>
                <a:gd name="T3" fmla="*/ 8 h 11"/>
                <a:gd name="T4" fmla="*/ 5 w 6"/>
                <a:gd name="T5" fmla="*/ 7 h 11"/>
                <a:gd name="T6" fmla="*/ 6 w 6"/>
                <a:gd name="T7" fmla="*/ 4 h 11"/>
                <a:gd name="T8" fmla="*/ 6 w 6"/>
                <a:gd name="T9" fmla="*/ 1 h 11"/>
                <a:gd name="T10" fmla="*/ 2 w 6"/>
                <a:gd name="T11" fmla="*/ 1 h 11"/>
                <a:gd name="T12" fmla="*/ 2 w 6"/>
                <a:gd name="T13" fmla="*/ 4 h 11"/>
                <a:gd name="T14" fmla="*/ 0 w 6"/>
                <a:gd name="T15" fmla="*/ 5 h 11"/>
                <a:gd name="T16" fmla="*/ 1 w 6"/>
                <a:gd name="T17" fmla="*/ 7 h 11"/>
                <a:gd name="T18" fmla="*/ 1 w 6"/>
                <a:gd name="T19" fmla="*/ 7 h 11"/>
                <a:gd name="T20" fmla="*/ 1 w 6"/>
                <a:gd name="T21" fmla="*/ 7 h 11"/>
                <a:gd name="T22" fmla="*/ 1 w 6"/>
                <a:gd name="T23" fmla="*/ 10 h 11"/>
                <a:gd name="T24" fmla="*/ 2 w 6"/>
                <a:gd name="T25" fmla="*/ 11 h 11"/>
                <a:gd name="T26" fmla="*/ 1 w 6"/>
                <a:gd name="T27" fmla="*/ 7 h 11"/>
                <a:gd name="T28" fmla="*/ 1 w 6"/>
                <a:gd name="T29" fmla="*/ 7 h 11"/>
                <a:gd name="T30" fmla="*/ 2 w 6"/>
                <a:gd name="T31" fmla="*/ 7 h 11"/>
                <a:gd name="T32" fmla="*/ 2 w 6"/>
                <a:gd name="T33" fmla="*/ 7 h 11"/>
                <a:gd name="T34" fmla="*/ 1 w 6"/>
                <a:gd name="T35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11">
                  <a:moveTo>
                    <a:pt x="2" y="11"/>
                  </a:moveTo>
                  <a:cubicBezTo>
                    <a:pt x="3" y="11"/>
                    <a:pt x="5" y="10"/>
                    <a:pt x="5" y="8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6" y="6"/>
                    <a:pt x="6" y="5"/>
                    <a:pt x="6" y="4"/>
                  </a:cubicBezTo>
                  <a:cubicBezTo>
                    <a:pt x="6" y="3"/>
                    <a:pt x="6" y="2"/>
                    <a:pt x="6" y="1"/>
                  </a:cubicBezTo>
                  <a:cubicBezTo>
                    <a:pt x="5" y="0"/>
                    <a:pt x="3" y="0"/>
                    <a:pt x="2" y="1"/>
                  </a:cubicBezTo>
                  <a:cubicBezTo>
                    <a:pt x="1" y="2"/>
                    <a:pt x="1" y="3"/>
                    <a:pt x="2" y="4"/>
                  </a:cubicBezTo>
                  <a:cubicBezTo>
                    <a:pt x="1" y="4"/>
                    <a:pt x="1" y="4"/>
                    <a:pt x="0" y="5"/>
                  </a:cubicBezTo>
                  <a:cubicBezTo>
                    <a:pt x="0" y="6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0" y="9"/>
                    <a:pt x="1" y="10"/>
                  </a:cubicBezTo>
                  <a:cubicBezTo>
                    <a:pt x="1" y="10"/>
                    <a:pt x="2" y="11"/>
                    <a:pt x="2" y="11"/>
                  </a:cubicBezTo>
                  <a:close/>
                  <a:moveTo>
                    <a:pt x="1" y="7"/>
                  </a:moveTo>
                  <a:cubicBezTo>
                    <a:pt x="1" y="7"/>
                    <a:pt x="1" y="7"/>
                    <a:pt x="1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lnTo>
                    <a:pt x="1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auto">
            <a:xfrm>
              <a:off x="3473" y="1083"/>
              <a:ext cx="16" cy="16"/>
            </a:xfrm>
            <a:custGeom>
              <a:avLst/>
              <a:gdLst>
                <a:gd name="T0" fmla="*/ 6 w 7"/>
                <a:gd name="T1" fmla="*/ 1 h 7"/>
                <a:gd name="T2" fmla="*/ 5 w 7"/>
                <a:gd name="T3" fmla="*/ 0 h 7"/>
                <a:gd name="T4" fmla="*/ 4 w 7"/>
                <a:gd name="T5" fmla="*/ 0 h 7"/>
                <a:gd name="T6" fmla="*/ 3 w 7"/>
                <a:gd name="T7" fmla="*/ 1 h 7"/>
                <a:gd name="T8" fmla="*/ 3 w 7"/>
                <a:gd name="T9" fmla="*/ 1 h 7"/>
                <a:gd name="T10" fmla="*/ 1 w 7"/>
                <a:gd name="T11" fmla="*/ 2 h 7"/>
                <a:gd name="T12" fmla="*/ 1 w 7"/>
                <a:gd name="T13" fmla="*/ 5 h 7"/>
                <a:gd name="T14" fmla="*/ 2 w 7"/>
                <a:gd name="T15" fmla="*/ 6 h 7"/>
                <a:gd name="T16" fmla="*/ 3 w 7"/>
                <a:gd name="T17" fmla="*/ 6 h 7"/>
                <a:gd name="T18" fmla="*/ 5 w 7"/>
                <a:gd name="T19" fmla="*/ 7 h 7"/>
                <a:gd name="T20" fmla="*/ 6 w 7"/>
                <a:gd name="T21" fmla="*/ 6 h 7"/>
                <a:gd name="T22" fmla="*/ 7 w 7"/>
                <a:gd name="T23" fmla="*/ 5 h 7"/>
                <a:gd name="T24" fmla="*/ 5 w 7"/>
                <a:gd name="T25" fmla="*/ 3 h 7"/>
                <a:gd name="T26" fmla="*/ 6 w 7"/>
                <a:gd name="T27" fmla="*/ 2 h 7"/>
                <a:gd name="T28" fmla="*/ 6 w 7"/>
                <a:gd name="T2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" h="7">
                  <a:moveTo>
                    <a:pt x="6" y="1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3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2" y="1"/>
                    <a:pt x="2" y="1"/>
                    <a:pt x="1" y="2"/>
                  </a:cubicBezTo>
                  <a:cubicBezTo>
                    <a:pt x="0" y="3"/>
                    <a:pt x="0" y="4"/>
                    <a:pt x="1" y="5"/>
                  </a:cubicBezTo>
                  <a:cubicBezTo>
                    <a:pt x="1" y="5"/>
                    <a:pt x="2" y="6"/>
                    <a:pt x="2" y="6"/>
                  </a:cubicBezTo>
                  <a:cubicBezTo>
                    <a:pt x="2" y="6"/>
                    <a:pt x="3" y="6"/>
                    <a:pt x="3" y="6"/>
                  </a:cubicBezTo>
                  <a:cubicBezTo>
                    <a:pt x="3" y="6"/>
                    <a:pt x="4" y="7"/>
                    <a:pt x="5" y="7"/>
                  </a:cubicBezTo>
                  <a:cubicBezTo>
                    <a:pt x="5" y="7"/>
                    <a:pt x="5" y="7"/>
                    <a:pt x="6" y="6"/>
                  </a:cubicBezTo>
                  <a:cubicBezTo>
                    <a:pt x="6" y="6"/>
                    <a:pt x="7" y="6"/>
                    <a:pt x="7" y="5"/>
                  </a:cubicBezTo>
                  <a:cubicBezTo>
                    <a:pt x="7" y="4"/>
                    <a:pt x="6" y="3"/>
                    <a:pt x="5" y="3"/>
                  </a:cubicBezTo>
                  <a:cubicBezTo>
                    <a:pt x="6" y="3"/>
                    <a:pt x="6" y="2"/>
                    <a:pt x="6" y="2"/>
                  </a:cubicBez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6" name="Freeform 75"/>
            <p:cNvSpPr>
              <a:spLocks/>
            </p:cNvSpPr>
            <p:nvPr/>
          </p:nvSpPr>
          <p:spPr bwMode="auto">
            <a:xfrm>
              <a:off x="3428" y="993"/>
              <a:ext cx="52" cy="35"/>
            </a:xfrm>
            <a:custGeom>
              <a:avLst/>
              <a:gdLst>
                <a:gd name="T0" fmla="*/ 8 w 22"/>
                <a:gd name="T1" fmla="*/ 4 h 15"/>
                <a:gd name="T2" fmla="*/ 0 w 22"/>
                <a:gd name="T3" fmla="*/ 5 h 15"/>
                <a:gd name="T4" fmla="*/ 8 w 22"/>
                <a:gd name="T5" fmla="*/ 6 h 15"/>
                <a:gd name="T6" fmla="*/ 9 w 22"/>
                <a:gd name="T7" fmla="*/ 6 h 15"/>
                <a:gd name="T8" fmla="*/ 10 w 22"/>
                <a:gd name="T9" fmla="*/ 7 h 15"/>
                <a:gd name="T10" fmla="*/ 10 w 22"/>
                <a:gd name="T11" fmla="*/ 7 h 15"/>
                <a:gd name="T12" fmla="*/ 10 w 22"/>
                <a:gd name="T13" fmla="*/ 8 h 15"/>
                <a:gd name="T14" fmla="*/ 10 w 22"/>
                <a:gd name="T15" fmla="*/ 8 h 15"/>
                <a:gd name="T16" fmla="*/ 10 w 22"/>
                <a:gd name="T17" fmla="*/ 9 h 15"/>
                <a:gd name="T18" fmla="*/ 9 w 22"/>
                <a:gd name="T19" fmla="*/ 9 h 15"/>
                <a:gd name="T20" fmla="*/ 8 w 22"/>
                <a:gd name="T21" fmla="*/ 11 h 15"/>
                <a:gd name="T22" fmla="*/ 8 w 22"/>
                <a:gd name="T23" fmla="*/ 12 h 15"/>
                <a:gd name="T24" fmla="*/ 8 w 22"/>
                <a:gd name="T25" fmla="*/ 13 h 15"/>
                <a:gd name="T26" fmla="*/ 9 w 22"/>
                <a:gd name="T27" fmla="*/ 15 h 15"/>
                <a:gd name="T28" fmla="*/ 10 w 22"/>
                <a:gd name="T29" fmla="*/ 15 h 15"/>
                <a:gd name="T30" fmla="*/ 10 w 22"/>
                <a:gd name="T31" fmla="*/ 15 h 15"/>
                <a:gd name="T32" fmla="*/ 12 w 22"/>
                <a:gd name="T33" fmla="*/ 14 h 15"/>
                <a:gd name="T34" fmla="*/ 12 w 22"/>
                <a:gd name="T35" fmla="*/ 13 h 15"/>
                <a:gd name="T36" fmla="*/ 12 w 22"/>
                <a:gd name="T37" fmla="*/ 13 h 15"/>
                <a:gd name="T38" fmla="*/ 12 w 22"/>
                <a:gd name="T39" fmla="*/ 10 h 15"/>
                <a:gd name="T40" fmla="*/ 12 w 22"/>
                <a:gd name="T41" fmla="*/ 10 h 15"/>
                <a:gd name="T42" fmla="*/ 14 w 22"/>
                <a:gd name="T43" fmla="*/ 9 h 15"/>
                <a:gd name="T44" fmla="*/ 14 w 22"/>
                <a:gd name="T45" fmla="*/ 8 h 15"/>
                <a:gd name="T46" fmla="*/ 14 w 22"/>
                <a:gd name="T47" fmla="*/ 7 h 15"/>
                <a:gd name="T48" fmla="*/ 14 w 22"/>
                <a:gd name="T49" fmla="*/ 6 h 15"/>
                <a:gd name="T50" fmla="*/ 14 w 22"/>
                <a:gd name="T51" fmla="*/ 6 h 15"/>
                <a:gd name="T52" fmla="*/ 15 w 22"/>
                <a:gd name="T53" fmla="*/ 5 h 15"/>
                <a:gd name="T54" fmla="*/ 22 w 22"/>
                <a:gd name="T55" fmla="*/ 4 h 15"/>
                <a:gd name="T56" fmla="*/ 16 w 22"/>
                <a:gd name="T57" fmla="*/ 4 h 15"/>
                <a:gd name="T58" fmla="*/ 16 w 22"/>
                <a:gd name="T59" fmla="*/ 3 h 15"/>
                <a:gd name="T60" fmla="*/ 14 w 22"/>
                <a:gd name="T61" fmla="*/ 1 h 15"/>
                <a:gd name="T62" fmla="*/ 14 w 22"/>
                <a:gd name="T63" fmla="*/ 0 h 15"/>
                <a:gd name="T64" fmla="*/ 13 w 22"/>
                <a:gd name="T65" fmla="*/ 1 h 15"/>
                <a:gd name="T66" fmla="*/ 12 w 22"/>
                <a:gd name="T67" fmla="*/ 2 h 15"/>
                <a:gd name="T68" fmla="*/ 11 w 22"/>
                <a:gd name="T69" fmla="*/ 1 h 15"/>
                <a:gd name="T70" fmla="*/ 9 w 22"/>
                <a:gd name="T71" fmla="*/ 2 h 15"/>
                <a:gd name="T72" fmla="*/ 9 w 22"/>
                <a:gd name="T73" fmla="*/ 3 h 15"/>
                <a:gd name="T74" fmla="*/ 8 w 22"/>
                <a:gd name="T75" fmla="*/ 3 h 15"/>
                <a:gd name="T76" fmla="*/ 8 w 22"/>
                <a:gd name="T77" fmla="*/ 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2" h="15">
                  <a:moveTo>
                    <a:pt x="8" y="4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7"/>
                  </a:cubicBezTo>
                  <a:cubicBezTo>
                    <a:pt x="10" y="7"/>
                    <a:pt x="10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10" y="8"/>
                    <a:pt x="10" y="8"/>
                    <a:pt x="10" y="9"/>
                  </a:cubicBezTo>
                  <a:cubicBezTo>
                    <a:pt x="10" y="9"/>
                    <a:pt x="9" y="9"/>
                    <a:pt x="9" y="9"/>
                  </a:cubicBezTo>
                  <a:cubicBezTo>
                    <a:pt x="9" y="10"/>
                    <a:pt x="8" y="10"/>
                    <a:pt x="8" y="11"/>
                  </a:cubicBezTo>
                  <a:cubicBezTo>
                    <a:pt x="8" y="11"/>
                    <a:pt x="8" y="12"/>
                    <a:pt x="8" y="12"/>
                  </a:cubicBezTo>
                  <a:cubicBezTo>
                    <a:pt x="8" y="13"/>
                    <a:pt x="8" y="13"/>
                    <a:pt x="8" y="13"/>
                  </a:cubicBezTo>
                  <a:cubicBezTo>
                    <a:pt x="8" y="14"/>
                    <a:pt x="9" y="15"/>
                    <a:pt x="9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1" y="15"/>
                    <a:pt x="12" y="15"/>
                    <a:pt x="12" y="14"/>
                  </a:cubicBezTo>
                  <a:cubicBezTo>
                    <a:pt x="12" y="14"/>
                    <a:pt x="12" y="13"/>
                    <a:pt x="12" y="13"/>
                  </a:cubicBezTo>
                  <a:cubicBezTo>
                    <a:pt x="12" y="13"/>
                    <a:pt x="12" y="13"/>
                    <a:pt x="12" y="13"/>
                  </a:cubicBezTo>
                  <a:cubicBezTo>
                    <a:pt x="12" y="12"/>
                    <a:pt x="13" y="11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4" y="10"/>
                    <a:pt x="14" y="9"/>
                  </a:cubicBezTo>
                  <a:cubicBezTo>
                    <a:pt x="14" y="9"/>
                    <a:pt x="14" y="8"/>
                    <a:pt x="14" y="8"/>
                  </a:cubicBezTo>
                  <a:cubicBezTo>
                    <a:pt x="14" y="7"/>
                    <a:pt x="14" y="7"/>
                    <a:pt x="14" y="7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6"/>
                    <a:pt x="14" y="6"/>
                    <a:pt x="14" y="6"/>
                  </a:cubicBezTo>
                  <a:cubicBezTo>
                    <a:pt x="14" y="6"/>
                    <a:pt x="15" y="6"/>
                    <a:pt x="15" y="5"/>
                  </a:cubicBezTo>
                  <a:cubicBezTo>
                    <a:pt x="22" y="4"/>
                    <a:pt x="22" y="4"/>
                    <a:pt x="22" y="4"/>
                  </a:cubicBezTo>
                  <a:cubicBezTo>
                    <a:pt x="16" y="4"/>
                    <a:pt x="16" y="4"/>
                    <a:pt x="16" y="4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1"/>
                    <a:pt x="14" y="1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13" y="1"/>
                    <a:pt x="13" y="1"/>
                    <a:pt x="12" y="2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1"/>
                    <a:pt x="9" y="1"/>
                    <a:pt x="9" y="2"/>
                  </a:cubicBezTo>
                  <a:cubicBezTo>
                    <a:pt x="9" y="2"/>
                    <a:pt x="9" y="2"/>
                    <a:pt x="9" y="3"/>
                  </a:cubicBezTo>
                  <a:cubicBezTo>
                    <a:pt x="8" y="3"/>
                    <a:pt x="8" y="3"/>
                    <a:pt x="8" y="3"/>
                  </a:cubicBezTo>
                  <a:cubicBezTo>
                    <a:pt x="8" y="3"/>
                    <a:pt x="8" y="4"/>
                    <a:pt x="8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7" name="Freeform 76"/>
            <p:cNvSpPr>
              <a:spLocks noEditPoints="1"/>
            </p:cNvSpPr>
            <p:nvPr/>
          </p:nvSpPr>
          <p:spPr bwMode="auto">
            <a:xfrm>
              <a:off x="2747" y="316"/>
              <a:ext cx="882" cy="698"/>
            </a:xfrm>
            <a:custGeom>
              <a:avLst/>
              <a:gdLst>
                <a:gd name="T0" fmla="*/ 124 w 373"/>
                <a:gd name="T1" fmla="*/ 242 h 295"/>
                <a:gd name="T2" fmla="*/ 148 w 373"/>
                <a:gd name="T3" fmla="*/ 236 h 295"/>
                <a:gd name="T4" fmla="*/ 174 w 373"/>
                <a:gd name="T5" fmla="*/ 225 h 295"/>
                <a:gd name="T6" fmla="*/ 203 w 373"/>
                <a:gd name="T7" fmla="*/ 212 h 295"/>
                <a:gd name="T8" fmla="*/ 237 w 373"/>
                <a:gd name="T9" fmla="*/ 202 h 295"/>
                <a:gd name="T10" fmla="*/ 243 w 373"/>
                <a:gd name="T11" fmla="*/ 186 h 295"/>
                <a:gd name="T12" fmla="*/ 247 w 373"/>
                <a:gd name="T13" fmla="*/ 175 h 295"/>
                <a:gd name="T14" fmla="*/ 270 w 373"/>
                <a:gd name="T15" fmla="*/ 170 h 295"/>
                <a:gd name="T16" fmla="*/ 286 w 373"/>
                <a:gd name="T17" fmla="*/ 154 h 295"/>
                <a:gd name="T18" fmla="*/ 293 w 373"/>
                <a:gd name="T19" fmla="*/ 140 h 295"/>
                <a:gd name="T20" fmla="*/ 297 w 373"/>
                <a:gd name="T21" fmla="*/ 119 h 295"/>
                <a:gd name="T22" fmla="*/ 314 w 373"/>
                <a:gd name="T23" fmla="*/ 100 h 295"/>
                <a:gd name="T24" fmla="*/ 360 w 373"/>
                <a:gd name="T25" fmla="*/ 66 h 295"/>
                <a:gd name="T26" fmla="*/ 335 w 373"/>
                <a:gd name="T27" fmla="*/ 58 h 295"/>
                <a:gd name="T28" fmla="*/ 339 w 373"/>
                <a:gd name="T29" fmla="*/ 50 h 295"/>
                <a:gd name="T30" fmla="*/ 334 w 373"/>
                <a:gd name="T31" fmla="*/ 33 h 295"/>
                <a:gd name="T32" fmla="*/ 276 w 373"/>
                <a:gd name="T33" fmla="*/ 30 h 295"/>
                <a:gd name="T34" fmla="*/ 244 w 373"/>
                <a:gd name="T35" fmla="*/ 42 h 295"/>
                <a:gd name="T36" fmla="*/ 212 w 373"/>
                <a:gd name="T37" fmla="*/ 29 h 295"/>
                <a:gd name="T38" fmla="*/ 183 w 373"/>
                <a:gd name="T39" fmla="*/ 33 h 295"/>
                <a:gd name="T40" fmla="*/ 183 w 373"/>
                <a:gd name="T41" fmla="*/ 29 h 295"/>
                <a:gd name="T42" fmla="*/ 169 w 373"/>
                <a:gd name="T43" fmla="*/ 7 h 295"/>
                <a:gd name="T44" fmla="*/ 121 w 373"/>
                <a:gd name="T45" fmla="*/ 4 h 295"/>
                <a:gd name="T46" fmla="*/ 94 w 373"/>
                <a:gd name="T47" fmla="*/ 3 h 295"/>
                <a:gd name="T48" fmla="*/ 80 w 373"/>
                <a:gd name="T49" fmla="*/ 29 h 295"/>
                <a:gd name="T50" fmla="*/ 67 w 373"/>
                <a:gd name="T51" fmla="*/ 25 h 295"/>
                <a:gd name="T52" fmla="*/ 42 w 373"/>
                <a:gd name="T53" fmla="*/ 15 h 295"/>
                <a:gd name="T54" fmla="*/ 14 w 373"/>
                <a:gd name="T55" fmla="*/ 44 h 295"/>
                <a:gd name="T56" fmla="*/ 36 w 373"/>
                <a:gd name="T57" fmla="*/ 62 h 295"/>
                <a:gd name="T58" fmla="*/ 5 w 373"/>
                <a:gd name="T59" fmla="*/ 72 h 295"/>
                <a:gd name="T60" fmla="*/ 36 w 373"/>
                <a:gd name="T61" fmla="*/ 81 h 295"/>
                <a:gd name="T62" fmla="*/ 69 w 373"/>
                <a:gd name="T63" fmla="*/ 64 h 295"/>
                <a:gd name="T64" fmla="*/ 112 w 373"/>
                <a:gd name="T65" fmla="*/ 48 h 295"/>
                <a:gd name="T66" fmla="*/ 158 w 373"/>
                <a:gd name="T67" fmla="*/ 36 h 295"/>
                <a:gd name="T68" fmla="*/ 148 w 373"/>
                <a:gd name="T69" fmla="*/ 51 h 295"/>
                <a:gd name="T70" fmla="*/ 113 w 373"/>
                <a:gd name="T71" fmla="*/ 57 h 295"/>
                <a:gd name="T72" fmla="*/ 100 w 373"/>
                <a:gd name="T73" fmla="*/ 77 h 295"/>
                <a:gd name="T74" fmla="*/ 93 w 373"/>
                <a:gd name="T75" fmla="*/ 97 h 295"/>
                <a:gd name="T76" fmla="*/ 122 w 373"/>
                <a:gd name="T77" fmla="*/ 101 h 295"/>
                <a:gd name="T78" fmla="*/ 122 w 373"/>
                <a:gd name="T79" fmla="*/ 126 h 295"/>
                <a:gd name="T80" fmla="*/ 105 w 373"/>
                <a:gd name="T81" fmla="*/ 147 h 295"/>
                <a:gd name="T82" fmla="*/ 109 w 373"/>
                <a:gd name="T83" fmla="*/ 168 h 295"/>
                <a:gd name="T84" fmla="*/ 102 w 373"/>
                <a:gd name="T85" fmla="*/ 181 h 295"/>
                <a:gd name="T86" fmla="*/ 78 w 373"/>
                <a:gd name="T87" fmla="*/ 196 h 295"/>
                <a:gd name="T88" fmla="*/ 62 w 373"/>
                <a:gd name="T89" fmla="*/ 221 h 295"/>
                <a:gd name="T90" fmla="*/ 53 w 373"/>
                <a:gd name="T91" fmla="*/ 248 h 295"/>
                <a:gd name="T92" fmla="*/ 52 w 373"/>
                <a:gd name="T93" fmla="*/ 278 h 295"/>
                <a:gd name="T94" fmla="*/ 64 w 373"/>
                <a:gd name="T95" fmla="*/ 295 h 295"/>
                <a:gd name="T96" fmla="*/ 93 w 373"/>
                <a:gd name="T97" fmla="*/ 276 h 295"/>
                <a:gd name="T98" fmla="*/ 166 w 373"/>
                <a:gd name="T99" fmla="*/ 30 h 295"/>
                <a:gd name="T100" fmla="*/ 100 w 373"/>
                <a:gd name="T101" fmla="*/ 30 h 295"/>
                <a:gd name="T102" fmla="*/ 61 w 373"/>
                <a:gd name="T103" fmla="*/ 47 h 295"/>
                <a:gd name="T104" fmla="*/ 50 w 373"/>
                <a:gd name="T105" fmla="*/ 44 h 295"/>
                <a:gd name="T106" fmla="*/ 40 w 373"/>
                <a:gd name="T107" fmla="*/ 45 h 295"/>
                <a:gd name="T108" fmla="*/ 251 w 373"/>
                <a:gd name="T109" fmla="*/ 38 h 295"/>
                <a:gd name="T110" fmla="*/ 311 w 373"/>
                <a:gd name="T111" fmla="*/ 47 h 295"/>
                <a:gd name="T112" fmla="*/ 314 w 373"/>
                <a:gd name="T113" fmla="*/ 66 h 295"/>
                <a:gd name="T114" fmla="*/ 331 w 373"/>
                <a:gd name="T115" fmla="*/ 74 h 295"/>
                <a:gd name="T116" fmla="*/ 91 w 373"/>
                <a:gd name="T117" fmla="*/ 196 h 295"/>
                <a:gd name="T118" fmla="*/ 112 w 373"/>
                <a:gd name="T119" fmla="*/ 257 h 295"/>
                <a:gd name="T120" fmla="*/ 138 w 373"/>
                <a:gd name="T121" fmla="*/ 4 h 295"/>
                <a:gd name="T122" fmla="*/ 76 w 373"/>
                <a:gd name="T123" fmla="*/ 294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73" h="295">
                  <a:moveTo>
                    <a:pt x="108" y="260"/>
                  </a:moveTo>
                  <a:cubicBezTo>
                    <a:pt x="109" y="260"/>
                    <a:pt x="109" y="260"/>
                    <a:pt x="109" y="260"/>
                  </a:cubicBezTo>
                  <a:cubicBezTo>
                    <a:pt x="109" y="260"/>
                    <a:pt x="110" y="259"/>
                    <a:pt x="110" y="259"/>
                  </a:cubicBezTo>
                  <a:cubicBezTo>
                    <a:pt x="110" y="259"/>
                    <a:pt x="110" y="259"/>
                    <a:pt x="110" y="259"/>
                  </a:cubicBezTo>
                  <a:cubicBezTo>
                    <a:pt x="111" y="259"/>
                    <a:pt x="111" y="259"/>
                    <a:pt x="111" y="259"/>
                  </a:cubicBezTo>
                  <a:cubicBezTo>
                    <a:pt x="111" y="259"/>
                    <a:pt x="112" y="259"/>
                    <a:pt x="113" y="258"/>
                  </a:cubicBezTo>
                  <a:cubicBezTo>
                    <a:pt x="113" y="258"/>
                    <a:pt x="113" y="257"/>
                    <a:pt x="114" y="257"/>
                  </a:cubicBezTo>
                  <a:cubicBezTo>
                    <a:pt x="114" y="257"/>
                    <a:pt x="114" y="256"/>
                    <a:pt x="115" y="256"/>
                  </a:cubicBezTo>
                  <a:cubicBezTo>
                    <a:pt x="115" y="256"/>
                    <a:pt x="115" y="256"/>
                    <a:pt x="115" y="256"/>
                  </a:cubicBezTo>
                  <a:cubicBezTo>
                    <a:pt x="116" y="256"/>
                    <a:pt x="117" y="255"/>
                    <a:pt x="118" y="253"/>
                  </a:cubicBezTo>
                  <a:cubicBezTo>
                    <a:pt x="118" y="253"/>
                    <a:pt x="118" y="253"/>
                    <a:pt x="118" y="252"/>
                  </a:cubicBezTo>
                  <a:cubicBezTo>
                    <a:pt x="118" y="252"/>
                    <a:pt x="119" y="252"/>
                    <a:pt x="119" y="251"/>
                  </a:cubicBezTo>
                  <a:cubicBezTo>
                    <a:pt x="119" y="249"/>
                    <a:pt x="118" y="248"/>
                    <a:pt x="117" y="248"/>
                  </a:cubicBezTo>
                  <a:cubicBezTo>
                    <a:pt x="117" y="248"/>
                    <a:pt x="117" y="248"/>
                    <a:pt x="116" y="248"/>
                  </a:cubicBezTo>
                  <a:cubicBezTo>
                    <a:pt x="116" y="248"/>
                    <a:pt x="116" y="248"/>
                    <a:pt x="116" y="248"/>
                  </a:cubicBezTo>
                  <a:cubicBezTo>
                    <a:pt x="116" y="248"/>
                    <a:pt x="116" y="248"/>
                    <a:pt x="116" y="248"/>
                  </a:cubicBezTo>
                  <a:cubicBezTo>
                    <a:pt x="117" y="248"/>
                    <a:pt x="117" y="248"/>
                    <a:pt x="118" y="248"/>
                  </a:cubicBezTo>
                  <a:cubicBezTo>
                    <a:pt x="118" y="248"/>
                    <a:pt x="119" y="248"/>
                    <a:pt x="119" y="248"/>
                  </a:cubicBezTo>
                  <a:cubicBezTo>
                    <a:pt x="119" y="248"/>
                    <a:pt x="119" y="248"/>
                    <a:pt x="119" y="248"/>
                  </a:cubicBezTo>
                  <a:cubicBezTo>
                    <a:pt x="120" y="248"/>
                    <a:pt x="120" y="248"/>
                    <a:pt x="120" y="248"/>
                  </a:cubicBezTo>
                  <a:cubicBezTo>
                    <a:pt x="120" y="249"/>
                    <a:pt x="120" y="249"/>
                    <a:pt x="121" y="249"/>
                  </a:cubicBezTo>
                  <a:cubicBezTo>
                    <a:pt x="122" y="249"/>
                    <a:pt x="122" y="249"/>
                    <a:pt x="123" y="248"/>
                  </a:cubicBezTo>
                  <a:cubicBezTo>
                    <a:pt x="123" y="247"/>
                    <a:pt x="123" y="247"/>
                    <a:pt x="123" y="246"/>
                  </a:cubicBezTo>
                  <a:cubicBezTo>
                    <a:pt x="123" y="246"/>
                    <a:pt x="123" y="245"/>
                    <a:pt x="123" y="245"/>
                  </a:cubicBezTo>
                  <a:cubicBezTo>
                    <a:pt x="123" y="245"/>
                    <a:pt x="123" y="245"/>
                    <a:pt x="123" y="245"/>
                  </a:cubicBezTo>
                  <a:cubicBezTo>
                    <a:pt x="123" y="245"/>
                    <a:pt x="123" y="244"/>
                    <a:pt x="123" y="244"/>
                  </a:cubicBezTo>
                  <a:cubicBezTo>
                    <a:pt x="123" y="243"/>
                    <a:pt x="123" y="243"/>
                    <a:pt x="123" y="243"/>
                  </a:cubicBezTo>
                  <a:cubicBezTo>
                    <a:pt x="123" y="242"/>
                    <a:pt x="123" y="241"/>
                    <a:pt x="123" y="240"/>
                  </a:cubicBezTo>
                  <a:cubicBezTo>
                    <a:pt x="123" y="240"/>
                    <a:pt x="123" y="240"/>
                    <a:pt x="123" y="240"/>
                  </a:cubicBezTo>
                  <a:cubicBezTo>
                    <a:pt x="124" y="240"/>
                    <a:pt x="124" y="240"/>
                    <a:pt x="124" y="240"/>
                  </a:cubicBezTo>
                  <a:cubicBezTo>
                    <a:pt x="124" y="242"/>
                    <a:pt x="124" y="242"/>
                    <a:pt x="124" y="242"/>
                  </a:cubicBezTo>
                  <a:cubicBezTo>
                    <a:pt x="125" y="241"/>
                    <a:pt x="125" y="241"/>
                    <a:pt x="125" y="241"/>
                  </a:cubicBezTo>
                  <a:cubicBezTo>
                    <a:pt x="125" y="242"/>
                    <a:pt x="125" y="243"/>
                    <a:pt x="126" y="243"/>
                  </a:cubicBezTo>
                  <a:cubicBezTo>
                    <a:pt x="127" y="243"/>
                    <a:pt x="127" y="243"/>
                    <a:pt x="127" y="243"/>
                  </a:cubicBezTo>
                  <a:cubicBezTo>
                    <a:pt x="128" y="243"/>
                    <a:pt x="129" y="242"/>
                    <a:pt x="129" y="241"/>
                  </a:cubicBezTo>
                  <a:cubicBezTo>
                    <a:pt x="129" y="241"/>
                    <a:pt x="129" y="241"/>
                    <a:pt x="129" y="241"/>
                  </a:cubicBezTo>
                  <a:cubicBezTo>
                    <a:pt x="130" y="241"/>
                    <a:pt x="130" y="240"/>
                    <a:pt x="130" y="240"/>
                  </a:cubicBezTo>
                  <a:cubicBezTo>
                    <a:pt x="131" y="240"/>
                    <a:pt x="131" y="239"/>
                    <a:pt x="132" y="239"/>
                  </a:cubicBezTo>
                  <a:cubicBezTo>
                    <a:pt x="132" y="238"/>
                    <a:pt x="132" y="238"/>
                    <a:pt x="132" y="237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32" y="237"/>
                    <a:pt x="132" y="236"/>
                    <a:pt x="132" y="236"/>
                  </a:cubicBezTo>
                  <a:cubicBezTo>
                    <a:pt x="133" y="236"/>
                    <a:pt x="133" y="235"/>
                    <a:pt x="133" y="235"/>
                  </a:cubicBezTo>
                  <a:cubicBezTo>
                    <a:pt x="133" y="235"/>
                    <a:pt x="133" y="235"/>
                    <a:pt x="134" y="235"/>
                  </a:cubicBezTo>
                  <a:cubicBezTo>
                    <a:pt x="134" y="236"/>
                    <a:pt x="135" y="235"/>
                    <a:pt x="136" y="235"/>
                  </a:cubicBezTo>
                  <a:cubicBezTo>
                    <a:pt x="136" y="235"/>
                    <a:pt x="136" y="235"/>
                    <a:pt x="136" y="235"/>
                  </a:cubicBezTo>
                  <a:cubicBezTo>
                    <a:pt x="136" y="235"/>
                    <a:pt x="137" y="235"/>
                    <a:pt x="137" y="235"/>
                  </a:cubicBezTo>
                  <a:cubicBezTo>
                    <a:pt x="137" y="236"/>
                    <a:pt x="138" y="237"/>
                    <a:pt x="139" y="237"/>
                  </a:cubicBezTo>
                  <a:cubicBezTo>
                    <a:pt x="139" y="237"/>
                    <a:pt x="140" y="236"/>
                    <a:pt x="140" y="236"/>
                  </a:cubicBezTo>
                  <a:cubicBezTo>
                    <a:pt x="141" y="236"/>
                    <a:pt x="141" y="236"/>
                    <a:pt x="141" y="236"/>
                  </a:cubicBezTo>
                  <a:cubicBezTo>
                    <a:pt x="142" y="236"/>
                    <a:pt x="142" y="236"/>
                    <a:pt x="143" y="235"/>
                  </a:cubicBezTo>
                  <a:cubicBezTo>
                    <a:pt x="143" y="235"/>
                    <a:pt x="143" y="235"/>
                    <a:pt x="143" y="235"/>
                  </a:cubicBezTo>
                  <a:cubicBezTo>
                    <a:pt x="143" y="235"/>
                    <a:pt x="143" y="235"/>
                    <a:pt x="143" y="235"/>
                  </a:cubicBezTo>
                  <a:cubicBezTo>
                    <a:pt x="143" y="234"/>
                    <a:pt x="144" y="234"/>
                    <a:pt x="144" y="234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233"/>
                    <a:pt x="144" y="233"/>
                    <a:pt x="144" y="233"/>
                  </a:cubicBezTo>
                  <a:cubicBezTo>
                    <a:pt x="144" y="233"/>
                    <a:pt x="144" y="233"/>
                    <a:pt x="144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5" y="232"/>
                    <a:pt x="145" y="232"/>
                    <a:pt x="145" y="232"/>
                  </a:cubicBezTo>
                  <a:cubicBezTo>
                    <a:pt x="145" y="232"/>
                    <a:pt x="145" y="233"/>
                    <a:pt x="146" y="233"/>
                  </a:cubicBezTo>
                  <a:cubicBezTo>
                    <a:pt x="146" y="233"/>
                    <a:pt x="146" y="233"/>
                    <a:pt x="146" y="233"/>
                  </a:cubicBezTo>
                  <a:cubicBezTo>
                    <a:pt x="146" y="233"/>
                    <a:pt x="146" y="234"/>
                    <a:pt x="146" y="234"/>
                  </a:cubicBezTo>
                  <a:cubicBezTo>
                    <a:pt x="146" y="235"/>
                    <a:pt x="147" y="236"/>
                    <a:pt x="148" y="236"/>
                  </a:cubicBezTo>
                  <a:cubicBezTo>
                    <a:pt x="148" y="236"/>
                    <a:pt x="149" y="235"/>
                    <a:pt x="149" y="234"/>
                  </a:cubicBezTo>
                  <a:cubicBezTo>
                    <a:pt x="149" y="234"/>
                    <a:pt x="150" y="234"/>
                    <a:pt x="150" y="233"/>
                  </a:cubicBezTo>
                  <a:cubicBezTo>
                    <a:pt x="150" y="233"/>
                    <a:pt x="150" y="233"/>
                    <a:pt x="150" y="233"/>
                  </a:cubicBezTo>
                  <a:cubicBezTo>
                    <a:pt x="150" y="233"/>
                    <a:pt x="150" y="233"/>
                    <a:pt x="150" y="233"/>
                  </a:cubicBezTo>
                  <a:cubicBezTo>
                    <a:pt x="150" y="233"/>
                    <a:pt x="150" y="233"/>
                    <a:pt x="151" y="233"/>
                  </a:cubicBezTo>
                  <a:cubicBezTo>
                    <a:pt x="151" y="233"/>
                    <a:pt x="151" y="234"/>
                    <a:pt x="151" y="234"/>
                  </a:cubicBezTo>
                  <a:cubicBezTo>
                    <a:pt x="152" y="234"/>
                    <a:pt x="152" y="234"/>
                    <a:pt x="152" y="234"/>
                  </a:cubicBezTo>
                  <a:cubicBezTo>
                    <a:pt x="153" y="234"/>
                    <a:pt x="153" y="233"/>
                    <a:pt x="154" y="233"/>
                  </a:cubicBezTo>
                  <a:cubicBezTo>
                    <a:pt x="154" y="233"/>
                    <a:pt x="154" y="233"/>
                    <a:pt x="154" y="233"/>
                  </a:cubicBezTo>
                  <a:cubicBezTo>
                    <a:pt x="154" y="234"/>
                    <a:pt x="155" y="234"/>
                    <a:pt x="156" y="234"/>
                  </a:cubicBezTo>
                  <a:cubicBezTo>
                    <a:pt x="157" y="234"/>
                    <a:pt x="158" y="233"/>
                    <a:pt x="158" y="233"/>
                  </a:cubicBezTo>
                  <a:cubicBezTo>
                    <a:pt x="158" y="232"/>
                    <a:pt x="158" y="232"/>
                    <a:pt x="158" y="232"/>
                  </a:cubicBezTo>
                  <a:cubicBezTo>
                    <a:pt x="158" y="231"/>
                    <a:pt x="158" y="231"/>
                    <a:pt x="158" y="231"/>
                  </a:cubicBezTo>
                  <a:cubicBezTo>
                    <a:pt x="159" y="231"/>
                    <a:pt x="159" y="231"/>
                    <a:pt x="159" y="231"/>
                  </a:cubicBezTo>
                  <a:cubicBezTo>
                    <a:pt x="159" y="231"/>
                    <a:pt x="159" y="231"/>
                    <a:pt x="159" y="231"/>
                  </a:cubicBezTo>
                  <a:cubicBezTo>
                    <a:pt x="160" y="231"/>
                    <a:pt x="160" y="231"/>
                    <a:pt x="160" y="230"/>
                  </a:cubicBezTo>
                  <a:cubicBezTo>
                    <a:pt x="161" y="230"/>
                    <a:pt x="161" y="229"/>
                    <a:pt x="161" y="228"/>
                  </a:cubicBezTo>
                  <a:cubicBezTo>
                    <a:pt x="161" y="228"/>
                    <a:pt x="161" y="228"/>
                    <a:pt x="161" y="228"/>
                  </a:cubicBezTo>
                  <a:cubicBezTo>
                    <a:pt x="162" y="229"/>
                    <a:pt x="162" y="229"/>
                    <a:pt x="162" y="229"/>
                  </a:cubicBezTo>
                  <a:cubicBezTo>
                    <a:pt x="162" y="229"/>
                    <a:pt x="164" y="229"/>
                    <a:pt x="165" y="229"/>
                  </a:cubicBezTo>
                  <a:cubicBezTo>
                    <a:pt x="165" y="229"/>
                    <a:pt x="165" y="229"/>
                    <a:pt x="165" y="229"/>
                  </a:cubicBezTo>
                  <a:cubicBezTo>
                    <a:pt x="165" y="227"/>
                    <a:pt x="165" y="227"/>
                    <a:pt x="165" y="227"/>
                  </a:cubicBezTo>
                  <a:cubicBezTo>
                    <a:pt x="165" y="229"/>
                    <a:pt x="165" y="229"/>
                    <a:pt x="165" y="229"/>
                  </a:cubicBezTo>
                  <a:cubicBezTo>
                    <a:pt x="165" y="229"/>
                    <a:pt x="165" y="229"/>
                    <a:pt x="165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8" y="229"/>
                    <a:pt x="168" y="228"/>
                    <a:pt x="169" y="227"/>
                  </a:cubicBezTo>
                  <a:cubicBezTo>
                    <a:pt x="168" y="227"/>
                    <a:pt x="168" y="227"/>
                    <a:pt x="168" y="227"/>
                  </a:cubicBezTo>
                  <a:cubicBezTo>
                    <a:pt x="169" y="227"/>
                    <a:pt x="169" y="227"/>
                    <a:pt x="169" y="227"/>
                  </a:cubicBezTo>
                  <a:cubicBezTo>
                    <a:pt x="169" y="227"/>
                    <a:pt x="169" y="227"/>
                    <a:pt x="169" y="227"/>
                  </a:cubicBezTo>
                  <a:cubicBezTo>
                    <a:pt x="170" y="227"/>
                    <a:pt x="171" y="227"/>
                    <a:pt x="172" y="227"/>
                  </a:cubicBezTo>
                  <a:cubicBezTo>
                    <a:pt x="172" y="226"/>
                    <a:pt x="173" y="226"/>
                    <a:pt x="174" y="225"/>
                  </a:cubicBezTo>
                  <a:cubicBezTo>
                    <a:pt x="174" y="225"/>
                    <a:pt x="175" y="224"/>
                    <a:pt x="175" y="224"/>
                  </a:cubicBezTo>
                  <a:cubicBezTo>
                    <a:pt x="175" y="223"/>
                    <a:pt x="175" y="223"/>
                    <a:pt x="175" y="223"/>
                  </a:cubicBezTo>
                  <a:cubicBezTo>
                    <a:pt x="175" y="223"/>
                    <a:pt x="176" y="223"/>
                    <a:pt x="176" y="222"/>
                  </a:cubicBezTo>
                  <a:cubicBezTo>
                    <a:pt x="176" y="222"/>
                    <a:pt x="176" y="222"/>
                    <a:pt x="176" y="222"/>
                  </a:cubicBezTo>
                  <a:cubicBezTo>
                    <a:pt x="177" y="222"/>
                    <a:pt x="177" y="222"/>
                    <a:pt x="177" y="221"/>
                  </a:cubicBezTo>
                  <a:cubicBezTo>
                    <a:pt x="178" y="221"/>
                    <a:pt x="178" y="220"/>
                    <a:pt x="178" y="219"/>
                  </a:cubicBezTo>
                  <a:cubicBezTo>
                    <a:pt x="178" y="219"/>
                    <a:pt x="178" y="219"/>
                    <a:pt x="178" y="219"/>
                  </a:cubicBezTo>
                  <a:cubicBezTo>
                    <a:pt x="179" y="219"/>
                    <a:pt x="179" y="219"/>
                    <a:pt x="179" y="219"/>
                  </a:cubicBezTo>
                  <a:cubicBezTo>
                    <a:pt x="179" y="219"/>
                    <a:pt x="180" y="219"/>
                    <a:pt x="181" y="219"/>
                  </a:cubicBezTo>
                  <a:cubicBezTo>
                    <a:pt x="181" y="218"/>
                    <a:pt x="182" y="218"/>
                    <a:pt x="182" y="217"/>
                  </a:cubicBezTo>
                  <a:cubicBezTo>
                    <a:pt x="182" y="217"/>
                    <a:pt x="183" y="216"/>
                    <a:pt x="183" y="216"/>
                  </a:cubicBezTo>
                  <a:cubicBezTo>
                    <a:pt x="183" y="216"/>
                    <a:pt x="184" y="215"/>
                    <a:pt x="184" y="215"/>
                  </a:cubicBezTo>
                  <a:cubicBezTo>
                    <a:pt x="184" y="214"/>
                    <a:pt x="184" y="214"/>
                    <a:pt x="185" y="214"/>
                  </a:cubicBezTo>
                  <a:cubicBezTo>
                    <a:pt x="185" y="214"/>
                    <a:pt x="185" y="214"/>
                    <a:pt x="186" y="214"/>
                  </a:cubicBezTo>
                  <a:cubicBezTo>
                    <a:pt x="186" y="213"/>
                    <a:pt x="186" y="213"/>
                    <a:pt x="186" y="213"/>
                  </a:cubicBezTo>
                  <a:cubicBezTo>
                    <a:pt x="186" y="214"/>
                    <a:pt x="186" y="214"/>
                    <a:pt x="186" y="214"/>
                  </a:cubicBezTo>
                  <a:cubicBezTo>
                    <a:pt x="187" y="214"/>
                    <a:pt x="187" y="214"/>
                    <a:pt x="187" y="214"/>
                  </a:cubicBezTo>
                  <a:cubicBezTo>
                    <a:pt x="188" y="214"/>
                    <a:pt x="188" y="214"/>
                    <a:pt x="188" y="214"/>
                  </a:cubicBezTo>
                  <a:cubicBezTo>
                    <a:pt x="189" y="214"/>
                    <a:pt x="189" y="214"/>
                    <a:pt x="190" y="214"/>
                  </a:cubicBezTo>
                  <a:cubicBezTo>
                    <a:pt x="191" y="214"/>
                    <a:pt x="192" y="213"/>
                    <a:pt x="192" y="211"/>
                  </a:cubicBezTo>
                  <a:cubicBezTo>
                    <a:pt x="192" y="211"/>
                    <a:pt x="192" y="211"/>
                    <a:pt x="192" y="210"/>
                  </a:cubicBezTo>
                  <a:cubicBezTo>
                    <a:pt x="192" y="210"/>
                    <a:pt x="193" y="210"/>
                    <a:pt x="193" y="210"/>
                  </a:cubicBezTo>
                  <a:cubicBezTo>
                    <a:pt x="193" y="211"/>
                    <a:pt x="193" y="211"/>
                    <a:pt x="194" y="212"/>
                  </a:cubicBezTo>
                  <a:cubicBezTo>
                    <a:pt x="194" y="212"/>
                    <a:pt x="195" y="212"/>
                    <a:pt x="196" y="212"/>
                  </a:cubicBezTo>
                  <a:cubicBezTo>
                    <a:pt x="196" y="211"/>
                    <a:pt x="196" y="211"/>
                    <a:pt x="196" y="211"/>
                  </a:cubicBezTo>
                  <a:cubicBezTo>
                    <a:pt x="197" y="212"/>
                    <a:pt x="197" y="212"/>
                    <a:pt x="197" y="212"/>
                  </a:cubicBezTo>
                  <a:cubicBezTo>
                    <a:pt x="197" y="212"/>
                    <a:pt x="197" y="212"/>
                    <a:pt x="198" y="211"/>
                  </a:cubicBezTo>
                  <a:cubicBezTo>
                    <a:pt x="198" y="212"/>
                    <a:pt x="199" y="212"/>
                    <a:pt x="199" y="212"/>
                  </a:cubicBezTo>
                  <a:cubicBezTo>
                    <a:pt x="200" y="212"/>
                    <a:pt x="200" y="212"/>
                    <a:pt x="200" y="212"/>
                  </a:cubicBezTo>
                  <a:cubicBezTo>
                    <a:pt x="201" y="212"/>
                    <a:pt x="201" y="212"/>
                    <a:pt x="201" y="212"/>
                  </a:cubicBezTo>
                  <a:cubicBezTo>
                    <a:pt x="201" y="212"/>
                    <a:pt x="202" y="212"/>
                    <a:pt x="203" y="212"/>
                  </a:cubicBezTo>
                  <a:cubicBezTo>
                    <a:pt x="204" y="211"/>
                    <a:pt x="204" y="211"/>
                    <a:pt x="204" y="210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5" y="210"/>
                    <a:pt x="205" y="210"/>
                    <a:pt x="205" y="210"/>
                  </a:cubicBezTo>
                  <a:cubicBezTo>
                    <a:pt x="206" y="210"/>
                    <a:pt x="206" y="210"/>
                    <a:pt x="206" y="210"/>
                  </a:cubicBezTo>
                  <a:cubicBezTo>
                    <a:pt x="206" y="211"/>
                    <a:pt x="207" y="211"/>
                    <a:pt x="208" y="211"/>
                  </a:cubicBezTo>
                  <a:cubicBezTo>
                    <a:pt x="208" y="211"/>
                    <a:pt x="208" y="211"/>
                    <a:pt x="208" y="211"/>
                  </a:cubicBezTo>
                  <a:cubicBezTo>
                    <a:pt x="208" y="211"/>
                    <a:pt x="209" y="211"/>
                    <a:pt x="209" y="211"/>
                  </a:cubicBezTo>
                  <a:cubicBezTo>
                    <a:pt x="210" y="211"/>
                    <a:pt x="210" y="211"/>
                    <a:pt x="210" y="211"/>
                  </a:cubicBezTo>
                  <a:cubicBezTo>
                    <a:pt x="210" y="211"/>
                    <a:pt x="210" y="211"/>
                    <a:pt x="211" y="211"/>
                  </a:cubicBezTo>
                  <a:cubicBezTo>
                    <a:pt x="211" y="211"/>
                    <a:pt x="211" y="211"/>
                    <a:pt x="211" y="211"/>
                  </a:cubicBezTo>
                  <a:cubicBezTo>
                    <a:pt x="211" y="211"/>
                    <a:pt x="211" y="211"/>
                    <a:pt x="212" y="211"/>
                  </a:cubicBezTo>
                  <a:cubicBezTo>
                    <a:pt x="212" y="211"/>
                    <a:pt x="212" y="211"/>
                    <a:pt x="212" y="211"/>
                  </a:cubicBezTo>
                  <a:cubicBezTo>
                    <a:pt x="213" y="211"/>
                    <a:pt x="213" y="211"/>
                    <a:pt x="214" y="211"/>
                  </a:cubicBezTo>
                  <a:cubicBezTo>
                    <a:pt x="214" y="211"/>
                    <a:pt x="214" y="210"/>
                    <a:pt x="215" y="210"/>
                  </a:cubicBezTo>
                  <a:cubicBezTo>
                    <a:pt x="215" y="210"/>
                    <a:pt x="215" y="210"/>
                    <a:pt x="215" y="210"/>
                  </a:cubicBezTo>
                  <a:cubicBezTo>
                    <a:pt x="216" y="210"/>
                    <a:pt x="218" y="210"/>
                    <a:pt x="218" y="210"/>
                  </a:cubicBezTo>
                  <a:cubicBezTo>
                    <a:pt x="219" y="210"/>
                    <a:pt x="219" y="210"/>
                    <a:pt x="219" y="210"/>
                  </a:cubicBezTo>
                  <a:cubicBezTo>
                    <a:pt x="220" y="210"/>
                    <a:pt x="220" y="210"/>
                    <a:pt x="221" y="209"/>
                  </a:cubicBezTo>
                  <a:cubicBezTo>
                    <a:pt x="221" y="209"/>
                    <a:pt x="221" y="209"/>
                    <a:pt x="221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2" y="209"/>
                    <a:pt x="222" y="209"/>
                    <a:pt x="222" y="209"/>
                  </a:cubicBezTo>
                  <a:cubicBezTo>
                    <a:pt x="224" y="209"/>
                    <a:pt x="224" y="208"/>
                    <a:pt x="225" y="208"/>
                  </a:cubicBezTo>
                  <a:cubicBezTo>
                    <a:pt x="225" y="208"/>
                    <a:pt x="225" y="208"/>
                    <a:pt x="225" y="208"/>
                  </a:cubicBezTo>
                  <a:cubicBezTo>
                    <a:pt x="226" y="207"/>
                    <a:pt x="227" y="207"/>
                    <a:pt x="227" y="207"/>
                  </a:cubicBezTo>
                  <a:cubicBezTo>
                    <a:pt x="227" y="207"/>
                    <a:pt x="228" y="207"/>
                    <a:pt x="228" y="207"/>
                  </a:cubicBezTo>
                  <a:cubicBezTo>
                    <a:pt x="228" y="207"/>
                    <a:pt x="229" y="207"/>
                    <a:pt x="230" y="207"/>
                  </a:cubicBezTo>
                  <a:cubicBezTo>
                    <a:pt x="231" y="207"/>
                    <a:pt x="232" y="206"/>
                    <a:pt x="232" y="206"/>
                  </a:cubicBezTo>
                  <a:cubicBezTo>
                    <a:pt x="233" y="205"/>
                    <a:pt x="234" y="205"/>
                    <a:pt x="234" y="204"/>
                  </a:cubicBezTo>
                  <a:cubicBezTo>
                    <a:pt x="235" y="203"/>
                    <a:pt x="235" y="203"/>
                    <a:pt x="236" y="202"/>
                  </a:cubicBezTo>
                  <a:cubicBezTo>
                    <a:pt x="236" y="202"/>
                    <a:pt x="236" y="202"/>
                    <a:pt x="237" y="202"/>
                  </a:cubicBezTo>
                  <a:cubicBezTo>
                    <a:pt x="237" y="202"/>
                    <a:pt x="238" y="202"/>
                    <a:pt x="238" y="202"/>
                  </a:cubicBezTo>
                  <a:cubicBezTo>
                    <a:pt x="238" y="202"/>
                    <a:pt x="238" y="202"/>
                    <a:pt x="238" y="202"/>
                  </a:cubicBezTo>
                  <a:cubicBezTo>
                    <a:pt x="238" y="202"/>
                    <a:pt x="238" y="202"/>
                    <a:pt x="239" y="202"/>
                  </a:cubicBezTo>
                  <a:cubicBezTo>
                    <a:pt x="239" y="202"/>
                    <a:pt x="239" y="203"/>
                    <a:pt x="240" y="203"/>
                  </a:cubicBezTo>
                  <a:cubicBezTo>
                    <a:pt x="241" y="203"/>
                    <a:pt x="241" y="202"/>
                    <a:pt x="242" y="202"/>
                  </a:cubicBezTo>
                  <a:cubicBezTo>
                    <a:pt x="242" y="202"/>
                    <a:pt x="242" y="201"/>
                    <a:pt x="242" y="201"/>
                  </a:cubicBezTo>
                  <a:cubicBezTo>
                    <a:pt x="242" y="201"/>
                    <a:pt x="242" y="201"/>
                    <a:pt x="242" y="201"/>
                  </a:cubicBezTo>
                  <a:cubicBezTo>
                    <a:pt x="243" y="201"/>
                    <a:pt x="243" y="201"/>
                    <a:pt x="244" y="200"/>
                  </a:cubicBezTo>
                  <a:cubicBezTo>
                    <a:pt x="244" y="200"/>
                    <a:pt x="245" y="200"/>
                    <a:pt x="245" y="199"/>
                  </a:cubicBezTo>
                  <a:cubicBezTo>
                    <a:pt x="245" y="199"/>
                    <a:pt x="245" y="199"/>
                    <a:pt x="246" y="199"/>
                  </a:cubicBezTo>
                  <a:cubicBezTo>
                    <a:pt x="246" y="198"/>
                    <a:pt x="247" y="198"/>
                    <a:pt x="247" y="198"/>
                  </a:cubicBezTo>
                  <a:cubicBezTo>
                    <a:pt x="247" y="197"/>
                    <a:pt x="247" y="197"/>
                    <a:pt x="247" y="197"/>
                  </a:cubicBezTo>
                  <a:cubicBezTo>
                    <a:pt x="248" y="198"/>
                    <a:pt x="248" y="198"/>
                    <a:pt x="248" y="198"/>
                  </a:cubicBezTo>
                  <a:cubicBezTo>
                    <a:pt x="248" y="198"/>
                    <a:pt x="248" y="197"/>
                    <a:pt x="248" y="197"/>
                  </a:cubicBezTo>
                  <a:cubicBezTo>
                    <a:pt x="248" y="198"/>
                    <a:pt x="249" y="198"/>
                    <a:pt x="249" y="198"/>
                  </a:cubicBezTo>
                  <a:cubicBezTo>
                    <a:pt x="249" y="198"/>
                    <a:pt x="249" y="198"/>
                    <a:pt x="249" y="198"/>
                  </a:cubicBezTo>
                  <a:cubicBezTo>
                    <a:pt x="251" y="198"/>
                    <a:pt x="252" y="197"/>
                    <a:pt x="252" y="196"/>
                  </a:cubicBezTo>
                  <a:cubicBezTo>
                    <a:pt x="252" y="196"/>
                    <a:pt x="252" y="195"/>
                    <a:pt x="253" y="195"/>
                  </a:cubicBezTo>
                  <a:cubicBezTo>
                    <a:pt x="253" y="195"/>
                    <a:pt x="254" y="195"/>
                    <a:pt x="255" y="195"/>
                  </a:cubicBezTo>
                  <a:cubicBezTo>
                    <a:pt x="255" y="194"/>
                    <a:pt x="256" y="194"/>
                    <a:pt x="256" y="193"/>
                  </a:cubicBezTo>
                  <a:cubicBezTo>
                    <a:pt x="257" y="193"/>
                    <a:pt x="257" y="192"/>
                    <a:pt x="256" y="191"/>
                  </a:cubicBezTo>
                  <a:cubicBezTo>
                    <a:pt x="256" y="191"/>
                    <a:pt x="256" y="190"/>
                    <a:pt x="254" y="190"/>
                  </a:cubicBezTo>
                  <a:cubicBezTo>
                    <a:pt x="254" y="190"/>
                    <a:pt x="254" y="190"/>
                    <a:pt x="254" y="190"/>
                  </a:cubicBezTo>
                  <a:cubicBezTo>
                    <a:pt x="253" y="190"/>
                    <a:pt x="253" y="190"/>
                    <a:pt x="253" y="190"/>
                  </a:cubicBezTo>
                  <a:cubicBezTo>
                    <a:pt x="253" y="190"/>
                    <a:pt x="253" y="190"/>
                    <a:pt x="252" y="190"/>
                  </a:cubicBezTo>
                  <a:cubicBezTo>
                    <a:pt x="252" y="190"/>
                    <a:pt x="252" y="190"/>
                    <a:pt x="252" y="190"/>
                  </a:cubicBezTo>
                  <a:cubicBezTo>
                    <a:pt x="251" y="190"/>
                    <a:pt x="250" y="190"/>
                    <a:pt x="249" y="189"/>
                  </a:cubicBezTo>
                  <a:cubicBezTo>
                    <a:pt x="248" y="189"/>
                    <a:pt x="248" y="189"/>
                    <a:pt x="248" y="189"/>
                  </a:cubicBezTo>
                  <a:cubicBezTo>
                    <a:pt x="248" y="189"/>
                    <a:pt x="248" y="189"/>
                    <a:pt x="247" y="188"/>
                  </a:cubicBezTo>
                  <a:cubicBezTo>
                    <a:pt x="247" y="188"/>
                    <a:pt x="247" y="188"/>
                    <a:pt x="247" y="188"/>
                  </a:cubicBezTo>
                  <a:cubicBezTo>
                    <a:pt x="246" y="186"/>
                    <a:pt x="244" y="186"/>
                    <a:pt x="243" y="186"/>
                  </a:cubicBezTo>
                  <a:cubicBezTo>
                    <a:pt x="243" y="186"/>
                    <a:pt x="243" y="186"/>
                    <a:pt x="243" y="186"/>
                  </a:cubicBezTo>
                  <a:cubicBezTo>
                    <a:pt x="243" y="186"/>
                    <a:pt x="243" y="186"/>
                    <a:pt x="242" y="186"/>
                  </a:cubicBezTo>
                  <a:cubicBezTo>
                    <a:pt x="241" y="185"/>
                    <a:pt x="240" y="185"/>
                    <a:pt x="239" y="186"/>
                  </a:cubicBezTo>
                  <a:cubicBezTo>
                    <a:pt x="239" y="186"/>
                    <a:pt x="239" y="186"/>
                    <a:pt x="238" y="186"/>
                  </a:cubicBezTo>
                  <a:cubicBezTo>
                    <a:pt x="238" y="186"/>
                    <a:pt x="238" y="187"/>
                    <a:pt x="238" y="187"/>
                  </a:cubicBezTo>
                  <a:cubicBezTo>
                    <a:pt x="238" y="187"/>
                    <a:pt x="237" y="187"/>
                    <a:pt x="237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7"/>
                    <a:pt x="236" y="187"/>
                  </a:cubicBezTo>
                  <a:cubicBezTo>
                    <a:pt x="236" y="187"/>
                    <a:pt x="236" y="186"/>
                    <a:pt x="235" y="186"/>
                  </a:cubicBezTo>
                  <a:cubicBezTo>
                    <a:pt x="235" y="185"/>
                    <a:pt x="235" y="185"/>
                    <a:pt x="234" y="185"/>
                  </a:cubicBezTo>
                  <a:cubicBezTo>
                    <a:pt x="234" y="184"/>
                    <a:pt x="233" y="184"/>
                    <a:pt x="232" y="184"/>
                  </a:cubicBezTo>
                  <a:cubicBezTo>
                    <a:pt x="232" y="185"/>
                    <a:pt x="232" y="185"/>
                    <a:pt x="232" y="185"/>
                  </a:cubicBezTo>
                  <a:cubicBezTo>
                    <a:pt x="231" y="185"/>
                    <a:pt x="231" y="184"/>
                    <a:pt x="231" y="184"/>
                  </a:cubicBezTo>
                  <a:cubicBezTo>
                    <a:pt x="230" y="184"/>
                    <a:pt x="230" y="184"/>
                    <a:pt x="230" y="184"/>
                  </a:cubicBezTo>
                  <a:cubicBezTo>
                    <a:pt x="231" y="183"/>
                    <a:pt x="231" y="183"/>
                    <a:pt x="232" y="182"/>
                  </a:cubicBezTo>
                  <a:cubicBezTo>
                    <a:pt x="232" y="182"/>
                    <a:pt x="232" y="182"/>
                    <a:pt x="233" y="181"/>
                  </a:cubicBezTo>
                  <a:cubicBezTo>
                    <a:pt x="233" y="181"/>
                    <a:pt x="233" y="181"/>
                    <a:pt x="233" y="181"/>
                  </a:cubicBezTo>
                  <a:cubicBezTo>
                    <a:pt x="233" y="181"/>
                    <a:pt x="233" y="181"/>
                    <a:pt x="234" y="181"/>
                  </a:cubicBezTo>
                  <a:cubicBezTo>
                    <a:pt x="234" y="181"/>
                    <a:pt x="234" y="181"/>
                    <a:pt x="235" y="180"/>
                  </a:cubicBezTo>
                  <a:cubicBezTo>
                    <a:pt x="235" y="180"/>
                    <a:pt x="236" y="180"/>
                    <a:pt x="236" y="180"/>
                  </a:cubicBezTo>
                  <a:cubicBezTo>
                    <a:pt x="236" y="180"/>
                    <a:pt x="237" y="180"/>
                    <a:pt x="237" y="180"/>
                  </a:cubicBezTo>
                  <a:cubicBezTo>
                    <a:pt x="238" y="180"/>
                    <a:pt x="240" y="180"/>
                    <a:pt x="241" y="179"/>
                  </a:cubicBezTo>
                  <a:cubicBezTo>
                    <a:pt x="241" y="179"/>
                    <a:pt x="241" y="179"/>
                    <a:pt x="241" y="179"/>
                  </a:cubicBezTo>
                  <a:cubicBezTo>
                    <a:pt x="242" y="179"/>
                    <a:pt x="242" y="179"/>
                    <a:pt x="243" y="179"/>
                  </a:cubicBezTo>
                  <a:cubicBezTo>
                    <a:pt x="243" y="179"/>
                    <a:pt x="244" y="179"/>
                    <a:pt x="245" y="178"/>
                  </a:cubicBezTo>
                  <a:cubicBezTo>
                    <a:pt x="246" y="178"/>
                    <a:pt x="246" y="178"/>
                    <a:pt x="247" y="177"/>
                  </a:cubicBezTo>
                  <a:cubicBezTo>
                    <a:pt x="247" y="176"/>
                    <a:pt x="247" y="175"/>
                    <a:pt x="246" y="174"/>
                  </a:cubicBezTo>
                  <a:cubicBezTo>
                    <a:pt x="246" y="174"/>
                    <a:pt x="246" y="174"/>
                    <a:pt x="246" y="174"/>
                  </a:cubicBezTo>
                  <a:cubicBezTo>
                    <a:pt x="246" y="174"/>
                    <a:pt x="246" y="174"/>
                    <a:pt x="247" y="175"/>
                  </a:cubicBezTo>
                  <a:cubicBezTo>
                    <a:pt x="247" y="175"/>
                    <a:pt x="247" y="175"/>
                    <a:pt x="247" y="175"/>
                  </a:cubicBezTo>
                  <a:cubicBezTo>
                    <a:pt x="247" y="176"/>
                    <a:pt x="248" y="176"/>
                    <a:pt x="248" y="177"/>
                  </a:cubicBezTo>
                  <a:cubicBezTo>
                    <a:pt x="248" y="177"/>
                    <a:pt x="248" y="177"/>
                    <a:pt x="248" y="177"/>
                  </a:cubicBezTo>
                  <a:cubicBezTo>
                    <a:pt x="249" y="178"/>
                    <a:pt x="249" y="179"/>
                    <a:pt x="249" y="179"/>
                  </a:cubicBezTo>
                  <a:cubicBezTo>
                    <a:pt x="249" y="179"/>
                    <a:pt x="249" y="180"/>
                    <a:pt x="249" y="180"/>
                  </a:cubicBezTo>
                  <a:cubicBezTo>
                    <a:pt x="249" y="181"/>
                    <a:pt x="248" y="182"/>
                    <a:pt x="249" y="183"/>
                  </a:cubicBezTo>
                  <a:cubicBezTo>
                    <a:pt x="249" y="184"/>
                    <a:pt x="249" y="185"/>
                    <a:pt x="250" y="186"/>
                  </a:cubicBezTo>
                  <a:cubicBezTo>
                    <a:pt x="250" y="186"/>
                    <a:pt x="250" y="186"/>
                    <a:pt x="250" y="186"/>
                  </a:cubicBezTo>
                  <a:cubicBezTo>
                    <a:pt x="251" y="188"/>
                    <a:pt x="252" y="189"/>
                    <a:pt x="253" y="189"/>
                  </a:cubicBezTo>
                  <a:cubicBezTo>
                    <a:pt x="254" y="189"/>
                    <a:pt x="254" y="189"/>
                    <a:pt x="254" y="189"/>
                  </a:cubicBezTo>
                  <a:cubicBezTo>
                    <a:pt x="255" y="189"/>
                    <a:pt x="256" y="189"/>
                    <a:pt x="256" y="189"/>
                  </a:cubicBezTo>
                  <a:cubicBezTo>
                    <a:pt x="256" y="189"/>
                    <a:pt x="257" y="189"/>
                    <a:pt x="257" y="190"/>
                  </a:cubicBezTo>
                  <a:cubicBezTo>
                    <a:pt x="257" y="191"/>
                    <a:pt x="259" y="192"/>
                    <a:pt x="260" y="191"/>
                  </a:cubicBezTo>
                  <a:cubicBezTo>
                    <a:pt x="261" y="191"/>
                    <a:pt x="262" y="190"/>
                    <a:pt x="262" y="189"/>
                  </a:cubicBezTo>
                  <a:cubicBezTo>
                    <a:pt x="262" y="189"/>
                    <a:pt x="262" y="188"/>
                    <a:pt x="263" y="188"/>
                  </a:cubicBezTo>
                  <a:cubicBezTo>
                    <a:pt x="263" y="187"/>
                    <a:pt x="263" y="187"/>
                    <a:pt x="263" y="187"/>
                  </a:cubicBezTo>
                  <a:cubicBezTo>
                    <a:pt x="263" y="186"/>
                    <a:pt x="263" y="186"/>
                    <a:pt x="263" y="186"/>
                  </a:cubicBezTo>
                  <a:cubicBezTo>
                    <a:pt x="263" y="185"/>
                    <a:pt x="264" y="185"/>
                    <a:pt x="264" y="184"/>
                  </a:cubicBezTo>
                  <a:cubicBezTo>
                    <a:pt x="264" y="184"/>
                    <a:pt x="264" y="183"/>
                    <a:pt x="264" y="182"/>
                  </a:cubicBezTo>
                  <a:cubicBezTo>
                    <a:pt x="264" y="181"/>
                    <a:pt x="264" y="181"/>
                    <a:pt x="265" y="180"/>
                  </a:cubicBezTo>
                  <a:cubicBezTo>
                    <a:pt x="265" y="180"/>
                    <a:pt x="265" y="180"/>
                    <a:pt x="265" y="180"/>
                  </a:cubicBezTo>
                  <a:cubicBezTo>
                    <a:pt x="265" y="179"/>
                    <a:pt x="266" y="179"/>
                    <a:pt x="266" y="178"/>
                  </a:cubicBezTo>
                  <a:cubicBezTo>
                    <a:pt x="266" y="178"/>
                    <a:pt x="266" y="176"/>
                    <a:pt x="266" y="175"/>
                  </a:cubicBezTo>
                  <a:cubicBezTo>
                    <a:pt x="266" y="175"/>
                    <a:pt x="266" y="175"/>
                    <a:pt x="266" y="174"/>
                  </a:cubicBezTo>
                  <a:cubicBezTo>
                    <a:pt x="266" y="174"/>
                    <a:pt x="267" y="174"/>
                    <a:pt x="267" y="173"/>
                  </a:cubicBezTo>
                  <a:cubicBezTo>
                    <a:pt x="267" y="172"/>
                    <a:pt x="266" y="171"/>
                    <a:pt x="266" y="171"/>
                  </a:cubicBezTo>
                  <a:cubicBezTo>
                    <a:pt x="266" y="171"/>
                    <a:pt x="266" y="171"/>
                    <a:pt x="266" y="171"/>
                  </a:cubicBezTo>
                  <a:cubicBezTo>
                    <a:pt x="266" y="170"/>
                    <a:pt x="266" y="170"/>
                    <a:pt x="266" y="169"/>
                  </a:cubicBezTo>
                  <a:cubicBezTo>
                    <a:pt x="267" y="170"/>
                    <a:pt x="268" y="171"/>
                    <a:pt x="268" y="171"/>
                  </a:cubicBezTo>
                  <a:cubicBezTo>
                    <a:pt x="268" y="171"/>
                    <a:pt x="269" y="171"/>
                    <a:pt x="269" y="170"/>
                  </a:cubicBezTo>
                  <a:cubicBezTo>
                    <a:pt x="269" y="170"/>
                    <a:pt x="269" y="170"/>
                    <a:pt x="269" y="170"/>
                  </a:cubicBezTo>
                  <a:cubicBezTo>
                    <a:pt x="270" y="170"/>
                    <a:pt x="270" y="170"/>
                    <a:pt x="270" y="170"/>
                  </a:cubicBezTo>
                  <a:cubicBezTo>
                    <a:pt x="270" y="169"/>
                    <a:pt x="270" y="169"/>
                    <a:pt x="270" y="168"/>
                  </a:cubicBezTo>
                  <a:cubicBezTo>
                    <a:pt x="270" y="168"/>
                    <a:pt x="270" y="168"/>
                    <a:pt x="270" y="168"/>
                  </a:cubicBezTo>
                  <a:cubicBezTo>
                    <a:pt x="271" y="168"/>
                    <a:pt x="271" y="168"/>
                    <a:pt x="271" y="167"/>
                  </a:cubicBezTo>
                  <a:cubicBezTo>
                    <a:pt x="272" y="167"/>
                    <a:pt x="272" y="166"/>
                    <a:pt x="271" y="165"/>
                  </a:cubicBezTo>
                  <a:cubicBezTo>
                    <a:pt x="271" y="164"/>
                    <a:pt x="271" y="164"/>
                    <a:pt x="270" y="163"/>
                  </a:cubicBezTo>
                  <a:cubicBezTo>
                    <a:pt x="271" y="163"/>
                    <a:pt x="271" y="163"/>
                    <a:pt x="271" y="163"/>
                  </a:cubicBezTo>
                  <a:cubicBezTo>
                    <a:pt x="272" y="163"/>
                    <a:pt x="272" y="163"/>
                    <a:pt x="273" y="162"/>
                  </a:cubicBezTo>
                  <a:cubicBezTo>
                    <a:pt x="273" y="162"/>
                    <a:pt x="273" y="162"/>
                    <a:pt x="273" y="162"/>
                  </a:cubicBezTo>
                  <a:cubicBezTo>
                    <a:pt x="273" y="161"/>
                    <a:pt x="274" y="161"/>
                    <a:pt x="274" y="160"/>
                  </a:cubicBezTo>
                  <a:cubicBezTo>
                    <a:pt x="274" y="159"/>
                    <a:pt x="274" y="159"/>
                    <a:pt x="274" y="158"/>
                  </a:cubicBezTo>
                  <a:cubicBezTo>
                    <a:pt x="273" y="157"/>
                    <a:pt x="272" y="157"/>
                    <a:pt x="270" y="157"/>
                  </a:cubicBezTo>
                  <a:cubicBezTo>
                    <a:pt x="270" y="157"/>
                    <a:pt x="270" y="157"/>
                    <a:pt x="270" y="156"/>
                  </a:cubicBezTo>
                  <a:cubicBezTo>
                    <a:pt x="270" y="155"/>
                    <a:pt x="269" y="155"/>
                    <a:pt x="269" y="154"/>
                  </a:cubicBezTo>
                  <a:cubicBezTo>
                    <a:pt x="268" y="154"/>
                    <a:pt x="268" y="154"/>
                    <a:pt x="268" y="154"/>
                  </a:cubicBezTo>
                  <a:cubicBezTo>
                    <a:pt x="268" y="154"/>
                    <a:pt x="268" y="154"/>
                    <a:pt x="268" y="154"/>
                  </a:cubicBezTo>
                  <a:cubicBezTo>
                    <a:pt x="268" y="153"/>
                    <a:pt x="268" y="153"/>
                    <a:pt x="267" y="152"/>
                  </a:cubicBezTo>
                  <a:cubicBezTo>
                    <a:pt x="268" y="152"/>
                    <a:pt x="268" y="152"/>
                    <a:pt x="268" y="151"/>
                  </a:cubicBezTo>
                  <a:cubicBezTo>
                    <a:pt x="268" y="151"/>
                    <a:pt x="268" y="151"/>
                    <a:pt x="268" y="151"/>
                  </a:cubicBezTo>
                  <a:cubicBezTo>
                    <a:pt x="268" y="152"/>
                    <a:pt x="269" y="153"/>
                    <a:pt x="270" y="153"/>
                  </a:cubicBezTo>
                  <a:cubicBezTo>
                    <a:pt x="270" y="154"/>
                    <a:pt x="270" y="154"/>
                    <a:pt x="271" y="154"/>
                  </a:cubicBezTo>
                  <a:cubicBezTo>
                    <a:pt x="271" y="155"/>
                    <a:pt x="271" y="156"/>
                    <a:pt x="273" y="157"/>
                  </a:cubicBezTo>
                  <a:cubicBezTo>
                    <a:pt x="274" y="157"/>
                    <a:pt x="275" y="157"/>
                    <a:pt x="276" y="157"/>
                  </a:cubicBezTo>
                  <a:cubicBezTo>
                    <a:pt x="276" y="156"/>
                    <a:pt x="276" y="156"/>
                    <a:pt x="276" y="156"/>
                  </a:cubicBezTo>
                  <a:cubicBezTo>
                    <a:pt x="276" y="156"/>
                    <a:pt x="276" y="156"/>
                    <a:pt x="277" y="156"/>
                  </a:cubicBezTo>
                  <a:cubicBezTo>
                    <a:pt x="277" y="156"/>
                    <a:pt x="277" y="156"/>
                    <a:pt x="278" y="156"/>
                  </a:cubicBezTo>
                  <a:cubicBezTo>
                    <a:pt x="279" y="156"/>
                    <a:pt x="279" y="156"/>
                    <a:pt x="280" y="156"/>
                  </a:cubicBezTo>
                  <a:cubicBezTo>
                    <a:pt x="280" y="155"/>
                    <a:pt x="280" y="155"/>
                    <a:pt x="280" y="155"/>
                  </a:cubicBezTo>
                  <a:cubicBezTo>
                    <a:pt x="280" y="155"/>
                    <a:pt x="280" y="155"/>
                    <a:pt x="281" y="156"/>
                  </a:cubicBezTo>
                  <a:cubicBezTo>
                    <a:pt x="282" y="156"/>
                    <a:pt x="283" y="156"/>
                    <a:pt x="284" y="156"/>
                  </a:cubicBezTo>
                  <a:cubicBezTo>
                    <a:pt x="285" y="155"/>
                    <a:pt x="285" y="155"/>
                    <a:pt x="286" y="154"/>
                  </a:cubicBezTo>
                  <a:cubicBezTo>
                    <a:pt x="286" y="154"/>
                    <a:pt x="286" y="154"/>
                    <a:pt x="286" y="154"/>
                  </a:cubicBezTo>
                  <a:cubicBezTo>
                    <a:pt x="286" y="153"/>
                    <a:pt x="286" y="153"/>
                    <a:pt x="286" y="153"/>
                  </a:cubicBezTo>
                  <a:cubicBezTo>
                    <a:pt x="287" y="153"/>
                    <a:pt x="287" y="152"/>
                    <a:pt x="288" y="152"/>
                  </a:cubicBezTo>
                  <a:cubicBezTo>
                    <a:pt x="288" y="151"/>
                    <a:pt x="288" y="151"/>
                    <a:pt x="288" y="150"/>
                  </a:cubicBezTo>
                  <a:cubicBezTo>
                    <a:pt x="287" y="149"/>
                    <a:pt x="286" y="149"/>
                    <a:pt x="286" y="149"/>
                  </a:cubicBezTo>
                  <a:cubicBezTo>
                    <a:pt x="285" y="149"/>
                    <a:pt x="285" y="148"/>
                    <a:pt x="284" y="148"/>
                  </a:cubicBezTo>
                  <a:cubicBezTo>
                    <a:pt x="284" y="147"/>
                    <a:pt x="283" y="147"/>
                    <a:pt x="282" y="147"/>
                  </a:cubicBezTo>
                  <a:cubicBezTo>
                    <a:pt x="282" y="147"/>
                    <a:pt x="281" y="147"/>
                    <a:pt x="281" y="148"/>
                  </a:cubicBezTo>
                  <a:cubicBezTo>
                    <a:pt x="281" y="148"/>
                    <a:pt x="280" y="148"/>
                    <a:pt x="280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80" y="148"/>
                    <a:pt x="280" y="148"/>
                    <a:pt x="280" y="148"/>
                  </a:cubicBezTo>
                  <a:cubicBezTo>
                    <a:pt x="280" y="148"/>
                    <a:pt x="281" y="147"/>
                    <a:pt x="281" y="147"/>
                  </a:cubicBezTo>
                  <a:cubicBezTo>
                    <a:pt x="281" y="147"/>
                    <a:pt x="282" y="147"/>
                    <a:pt x="282" y="146"/>
                  </a:cubicBezTo>
                  <a:cubicBezTo>
                    <a:pt x="283" y="146"/>
                    <a:pt x="283" y="145"/>
                    <a:pt x="283" y="144"/>
                  </a:cubicBezTo>
                  <a:cubicBezTo>
                    <a:pt x="283" y="144"/>
                    <a:pt x="283" y="144"/>
                    <a:pt x="283" y="144"/>
                  </a:cubicBezTo>
                  <a:cubicBezTo>
                    <a:pt x="284" y="144"/>
                    <a:pt x="285" y="143"/>
                    <a:pt x="286" y="142"/>
                  </a:cubicBezTo>
                  <a:cubicBezTo>
                    <a:pt x="286" y="143"/>
                    <a:pt x="287" y="143"/>
                    <a:pt x="287" y="143"/>
                  </a:cubicBezTo>
                  <a:cubicBezTo>
                    <a:pt x="288" y="143"/>
                    <a:pt x="288" y="143"/>
                    <a:pt x="289" y="143"/>
                  </a:cubicBezTo>
                  <a:cubicBezTo>
                    <a:pt x="289" y="143"/>
                    <a:pt x="289" y="143"/>
                    <a:pt x="290" y="143"/>
                  </a:cubicBezTo>
                  <a:cubicBezTo>
                    <a:pt x="290" y="143"/>
                    <a:pt x="291" y="144"/>
                    <a:pt x="291" y="146"/>
                  </a:cubicBezTo>
                  <a:cubicBezTo>
                    <a:pt x="292" y="146"/>
                    <a:pt x="292" y="147"/>
                    <a:pt x="294" y="147"/>
                  </a:cubicBezTo>
                  <a:cubicBezTo>
                    <a:pt x="294" y="147"/>
                    <a:pt x="294" y="147"/>
                    <a:pt x="294" y="147"/>
                  </a:cubicBezTo>
                  <a:cubicBezTo>
                    <a:pt x="295" y="147"/>
                    <a:pt x="296" y="146"/>
                    <a:pt x="297" y="146"/>
                  </a:cubicBezTo>
                  <a:cubicBezTo>
                    <a:pt x="298" y="145"/>
                    <a:pt x="298" y="144"/>
                    <a:pt x="298" y="143"/>
                  </a:cubicBezTo>
                  <a:cubicBezTo>
                    <a:pt x="298" y="143"/>
                    <a:pt x="298" y="143"/>
                    <a:pt x="298" y="142"/>
                  </a:cubicBezTo>
                  <a:cubicBezTo>
                    <a:pt x="298" y="142"/>
                    <a:pt x="298" y="141"/>
                    <a:pt x="298" y="141"/>
                  </a:cubicBezTo>
                  <a:cubicBezTo>
                    <a:pt x="298" y="139"/>
                    <a:pt x="297" y="139"/>
                    <a:pt x="296" y="139"/>
                  </a:cubicBezTo>
                  <a:cubicBezTo>
                    <a:pt x="296" y="139"/>
                    <a:pt x="295" y="139"/>
                    <a:pt x="295" y="139"/>
                  </a:cubicBezTo>
                  <a:cubicBezTo>
                    <a:pt x="294" y="140"/>
                    <a:pt x="294" y="140"/>
                    <a:pt x="294" y="140"/>
                  </a:cubicBezTo>
                  <a:cubicBezTo>
                    <a:pt x="294" y="140"/>
                    <a:pt x="294" y="140"/>
                    <a:pt x="294" y="14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40"/>
                    <a:pt x="293" y="140"/>
                    <a:pt x="293" y="140"/>
                  </a:cubicBezTo>
                  <a:cubicBezTo>
                    <a:pt x="293" y="139"/>
                    <a:pt x="294" y="139"/>
                    <a:pt x="294" y="138"/>
                  </a:cubicBezTo>
                  <a:cubicBezTo>
                    <a:pt x="294" y="138"/>
                    <a:pt x="294" y="137"/>
                    <a:pt x="293" y="137"/>
                  </a:cubicBezTo>
                  <a:cubicBezTo>
                    <a:pt x="293" y="137"/>
                    <a:pt x="293" y="136"/>
                    <a:pt x="293" y="136"/>
                  </a:cubicBezTo>
                  <a:cubicBezTo>
                    <a:pt x="294" y="136"/>
                    <a:pt x="295" y="136"/>
                    <a:pt x="295" y="135"/>
                  </a:cubicBezTo>
                  <a:cubicBezTo>
                    <a:pt x="295" y="134"/>
                    <a:pt x="295" y="134"/>
                    <a:pt x="294" y="133"/>
                  </a:cubicBezTo>
                  <a:cubicBezTo>
                    <a:pt x="294" y="133"/>
                    <a:pt x="294" y="133"/>
                    <a:pt x="294" y="133"/>
                  </a:cubicBezTo>
                  <a:cubicBezTo>
                    <a:pt x="295" y="133"/>
                    <a:pt x="296" y="133"/>
                    <a:pt x="297" y="133"/>
                  </a:cubicBezTo>
                  <a:cubicBezTo>
                    <a:pt x="297" y="134"/>
                    <a:pt x="297" y="134"/>
                    <a:pt x="297" y="135"/>
                  </a:cubicBezTo>
                  <a:cubicBezTo>
                    <a:pt x="298" y="135"/>
                    <a:pt x="299" y="136"/>
                    <a:pt x="300" y="135"/>
                  </a:cubicBezTo>
                  <a:cubicBezTo>
                    <a:pt x="301" y="134"/>
                    <a:pt x="301" y="134"/>
                    <a:pt x="302" y="134"/>
                  </a:cubicBezTo>
                  <a:cubicBezTo>
                    <a:pt x="302" y="133"/>
                    <a:pt x="302" y="133"/>
                    <a:pt x="302" y="133"/>
                  </a:cubicBezTo>
                  <a:cubicBezTo>
                    <a:pt x="302" y="133"/>
                    <a:pt x="303" y="133"/>
                    <a:pt x="303" y="133"/>
                  </a:cubicBezTo>
                  <a:cubicBezTo>
                    <a:pt x="303" y="132"/>
                    <a:pt x="304" y="132"/>
                    <a:pt x="304" y="131"/>
                  </a:cubicBezTo>
                  <a:cubicBezTo>
                    <a:pt x="305" y="131"/>
                    <a:pt x="305" y="130"/>
                    <a:pt x="305" y="130"/>
                  </a:cubicBezTo>
                  <a:cubicBezTo>
                    <a:pt x="305" y="129"/>
                    <a:pt x="305" y="129"/>
                    <a:pt x="306" y="129"/>
                  </a:cubicBezTo>
                  <a:cubicBezTo>
                    <a:pt x="306" y="128"/>
                    <a:pt x="307" y="128"/>
                    <a:pt x="307" y="127"/>
                  </a:cubicBezTo>
                  <a:cubicBezTo>
                    <a:pt x="307" y="126"/>
                    <a:pt x="306" y="126"/>
                    <a:pt x="306" y="125"/>
                  </a:cubicBezTo>
                  <a:cubicBezTo>
                    <a:pt x="305" y="125"/>
                    <a:pt x="305" y="124"/>
                    <a:pt x="304" y="124"/>
                  </a:cubicBezTo>
                  <a:cubicBezTo>
                    <a:pt x="304" y="124"/>
                    <a:pt x="304" y="124"/>
                    <a:pt x="304" y="124"/>
                  </a:cubicBezTo>
                  <a:cubicBezTo>
                    <a:pt x="305" y="124"/>
                    <a:pt x="307" y="123"/>
                    <a:pt x="307" y="122"/>
                  </a:cubicBezTo>
                  <a:cubicBezTo>
                    <a:pt x="307" y="121"/>
                    <a:pt x="306" y="120"/>
                    <a:pt x="306" y="120"/>
                  </a:cubicBezTo>
                  <a:cubicBezTo>
                    <a:pt x="305" y="120"/>
                    <a:pt x="304" y="120"/>
                    <a:pt x="303" y="120"/>
                  </a:cubicBezTo>
                  <a:cubicBezTo>
                    <a:pt x="303" y="120"/>
                    <a:pt x="302" y="120"/>
                    <a:pt x="302" y="120"/>
                  </a:cubicBezTo>
                  <a:cubicBezTo>
                    <a:pt x="302" y="120"/>
                    <a:pt x="302" y="120"/>
                    <a:pt x="302" y="120"/>
                  </a:cubicBezTo>
                  <a:cubicBezTo>
                    <a:pt x="301" y="119"/>
                    <a:pt x="301" y="119"/>
                    <a:pt x="300" y="119"/>
                  </a:cubicBezTo>
                  <a:cubicBezTo>
                    <a:pt x="300" y="119"/>
                    <a:pt x="299" y="119"/>
                    <a:pt x="299" y="119"/>
                  </a:cubicBezTo>
                  <a:cubicBezTo>
                    <a:pt x="298" y="119"/>
                    <a:pt x="298" y="119"/>
                    <a:pt x="298" y="119"/>
                  </a:cubicBezTo>
                  <a:cubicBezTo>
                    <a:pt x="298" y="119"/>
                    <a:pt x="298" y="119"/>
                    <a:pt x="298" y="119"/>
                  </a:cubicBezTo>
                  <a:cubicBezTo>
                    <a:pt x="298" y="119"/>
                    <a:pt x="298" y="119"/>
                    <a:pt x="298" y="119"/>
                  </a:cubicBezTo>
                  <a:cubicBezTo>
                    <a:pt x="298" y="119"/>
                    <a:pt x="298" y="119"/>
                    <a:pt x="297" y="119"/>
                  </a:cubicBezTo>
                  <a:cubicBezTo>
                    <a:pt x="298" y="119"/>
                    <a:pt x="298" y="118"/>
                    <a:pt x="298" y="118"/>
                  </a:cubicBezTo>
                  <a:cubicBezTo>
                    <a:pt x="299" y="117"/>
                    <a:pt x="299" y="117"/>
                    <a:pt x="299" y="116"/>
                  </a:cubicBezTo>
                  <a:cubicBezTo>
                    <a:pt x="299" y="116"/>
                    <a:pt x="299" y="116"/>
                    <a:pt x="299" y="116"/>
                  </a:cubicBezTo>
                  <a:cubicBezTo>
                    <a:pt x="299" y="116"/>
                    <a:pt x="299" y="116"/>
                    <a:pt x="299" y="116"/>
                  </a:cubicBezTo>
                  <a:cubicBezTo>
                    <a:pt x="300" y="116"/>
                    <a:pt x="301" y="116"/>
                    <a:pt x="302" y="116"/>
                  </a:cubicBezTo>
                  <a:cubicBezTo>
                    <a:pt x="303" y="116"/>
                    <a:pt x="304" y="116"/>
                    <a:pt x="304" y="116"/>
                  </a:cubicBezTo>
                  <a:cubicBezTo>
                    <a:pt x="305" y="116"/>
                    <a:pt x="306" y="115"/>
                    <a:pt x="306" y="114"/>
                  </a:cubicBezTo>
                  <a:cubicBezTo>
                    <a:pt x="306" y="114"/>
                    <a:pt x="306" y="114"/>
                    <a:pt x="306" y="114"/>
                  </a:cubicBezTo>
                  <a:cubicBezTo>
                    <a:pt x="306" y="114"/>
                    <a:pt x="307" y="114"/>
                    <a:pt x="307" y="114"/>
                  </a:cubicBezTo>
                  <a:cubicBezTo>
                    <a:pt x="307" y="115"/>
                    <a:pt x="307" y="115"/>
                    <a:pt x="307" y="115"/>
                  </a:cubicBezTo>
                  <a:cubicBezTo>
                    <a:pt x="308" y="115"/>
                    <a:pt x="308" y="115"/>
                    <a:pt x="309" y="115"/>
                  </a:cubicBezTo>
                  <a:cubicBezTo>
                    <a:pt x="309" y="116"/>
                    <a:pt x="310" y="116"/>
                    <a:pt x="311" y="117"/>
                  </a:cubicBezTo>
                  <a:cubicBezTo>
                    <a:pt x="312" y="117"/>
                    <a:pt x="312" y="117"/>
                    <a:pt x="312" y="118"/>
                  </a:cubicBezTo>
                  <a:cubicBezTo>
                    <a:pt x="313" y="118"/>
                    <a:pt x="313" y="118"/>
                    <a:pt x="313" y="118"/>
                  </a:cubicBezTo>
                  <a:cubicBezTo>
                    <a:pt x="313" y="118"/>
                    <a:pt x="313" y="118"/>
                    <a:pt x="314" y="119"/>
                  </a:cubicBezTo>
                  <a:cubicBezTo>
                    <a:pt x="314" y="119"/>
                    <a:pt x="314" y="119"/>
                    <a:pt x="315" y="119"/>
                  </a:cubicBezTo>
                  <a:cubicBezTo>
                    <a:pt x="316" y="119"/>
                    <a:pt x="317" y="117"/>
                    <a:pt x="317" y="116"/>
                  </a:cubicBezTo>
                  <a:cubicBezTo>
                    <a:pt x="317" y="116"/>
                    <a:pt x="317" y="116"/>
                    <a:pt x="317" y="115"/>
                  </a:cubicBezTo>
                  <a:cubicBezTo>
                    <a:pt x="318" y="115"/>
                    <a:pt x="318" y="114"/>
                    <a:pt x="318" y="114"/>
                  </a:cubicBezTo>
                  <a:cubicBezTo>
                    <a:pt x="318" y="113"/>
                    <a:pt x="319" y="113"/>
                    <a:pt x="319" y="112"/>
                  </a:cubicBezTo>
                  <a:cubicBezTo>
                    <a:pt x="319" y="112"/>
                    <a:pt x="320" y="112"/>
                    <a:pt x="320" y="112"/>
                  </a:cubicBezTo>
                  <a:cubicBezTo>
                    <a:pt x="321" y="111"/>
                    <a:pt x="320" y="110"/>
                    <a:pt x="320" y="109"/>
                  </a:cubicBezTo>
                  <a:cubicBezTo>
                    <a:pt x="320" y="109"/>
                    <a:pt x="319" y="108"/>
                    <a:pt x="319" y="108"/>
                  </a:cubicBezTo>
                  <a:cubicBezTo>
                    <a:pt x="319" y="108"/>
                    <a:pt x="320" y="107"/>
                    <a:pt x="320" y="107"/>
                  </a:cubicBezTo>
                  <a:cubicBezTo>
                    <a:pt x="320" y="105"/>
                    <a:pt x="319" y="104"/>
                    <a:pt x="318" y="103"/>
                  </a:cubicBezTo>
                  <a:cubicBezTo>
                    <a:pt x="318" y="103"/>
                    <a:pt x="317" y="103"/>
                    <a:pt x="317" y="102"/>
                  </a:cubicBezTo>
                  <a:cubicBezTo>
                    <a:pt x="316" y="102"/>
                    <a:pt x="316" y="102"/>
                    <a:pt x="316" y="102"/>
                  </a:cubicBezTo>
                  <a:cubicBezTo>
                    <a:pt x="315" y="101"/>
                    <a:pt x="314" y="101"/>
                    <a:pt x="313" y="101"/>
                  </a:cubicBezTo>
                  <a:cubicBezTo>
                    <a:pt x="313" y="101"/>
                    <a:pt x="313" y="101"/>
                    <a:pt x="313" y="101"/>
                  </a:cubicBezTo>
                  <a:cubicBezTo>
                    <a:pt x="313" y="100"/>
                    <a:pt x="314" y="100"/>
                    <a:pt x="314" y="100"/>
                  </a:cubicBezTo>
                  <a:cubicBezTo>
                    <a:pt x="314" y="100"/>
                    <a:pt x="314" y="100"/>
                    <a:pt x="314" y="100"/>
                  </a:cubicBezTo>
                  <a:cubicBezTo>
                    <a:pt x="316" y="101"/>
                    <a:pt x="317" y="101"/>
                    <a:pt x="319" y="100"/>
                  </a:cubicBezTo>
                  <a:cubicBezTo>
                    <a:pt x="320" y="99"/>
                    <a:pt x="320" y="99"/>
                    <a:pt x="320" y="99"/>
                  </a:cubicBezTo>
                  <a:cubicBezTo>
                    <a:pt x="320" y="99"/>
                    <a:pt x="320" y="98"/>
                    <a:pt x="320" y="98"/>
                  </a:cubicBezTo>
                  <a:cubicBezTo>
                    <a:pt x="321" y="98"/>
                    <a:pt x="321" y="97"/>
                    <a:pt x="322" y="97"/>
                  </a:cubicBezTo>
                  <a:cubicBezTo>
                    <a:pt x="322" y="97"/>
                    <a:pt x="322" y="96"/>
                    <a:pt x="322" y="96"/>
                  </a:cubicBezTo>
                  <a:cubicBezTo>
                    <a:pt x="323" y="96"/>
                    <a:pt x="323" y="96"/>
                    <a:pt x="323" y="95"/>
                  </a:cubicBezTo>
                  <a:cubicBezTo>
                    <a:pt x="324" y="95"/>
                    <a:pt x="324" y="95"/>
                    <a:pt x="325" y="95"/>
                  </a:cubicBezTo>
                  <a:cubicBezTo>
                    <a:pt x="326" y="94"/>
                    <a:pt x="327" y="92"/>
                    <a:pt x="327" y="91"/>
                  </a:cubicBezTo>
                  <a:cubicBezTo>
                    <a:pt x="328" y="90"/>
                    <a:pt x="328" y="89"/>
                    <a:pt x="329" y="89"/>
                  </a:cubicBezTo>
                  <a:cubicBezTo>
                    <a:pt x="330" y="87"/>
                    <a:pt x="332" y="86"/>
                    <a:pt x="334" y="85"/>
                  </a:cubicBezTo>
                  <a:cubicBezTo>
                    <a:pt x="335" y="85"/>
                    <a:pt x="337" y="84"/>
                    <a:pt x="338" y="83"/>
                  </a:cubicBezTo>
                  <a:cubicBezTo>
                    <a:pt x="338" y="82"/>
                    <a:pt x="338" y="82"/>
                    <a:pt x="339" y="81"/>
                  </a:cubicBezTo>
                  <a:cubicBezTo>
                    <a:pt x="339" y="81"/>
                    <a:pt x="339" y="80"/>
                    <a:pt x="340" y="80"/>
                  </a:cubicBezTo>
                  <a:cubicBezTo>
                    <a:pt x="340" y="80"/>
                    <a:pt x="341" y="80"/>
                    <a:pt x="341" y="80"/>
                  </a:cubicBezTo>
                  <a:cubicBezTo>
                    <a:pt x="342" y="80"/>
                    <a:pt x="342" y="80"/>
                    <a:pt x="343" y="80"/>
                  </a:cubicBezTo>
                  <a:cubicBezTo>
                    <a:pt x="344" y="80"/>
                    <a:pt x="345" y="79"/>
                    <a:pt x="346" y="78"/>
                  </a:cubicBezTo>
                  <a:cubicBezTo>
                    <a:pt x="346" y="78"/>
                    <a:pt x="346" y="77"/>
                    <a:pt x="345" y="76"/>
                  </a:cubicBezTo>
                  <a:cubicBezTo>
                    <a:pt x="345" y="76"/>
                    <a:pt x="345" y="76"/>
                    <a:pt x="344" y="76"/>
                  </a:cubicBezTo>
                  <a:cubicBezTo>
                    <a:pt x="345" y="76"/>
                    <a:pt x="345" y="76"/>
                    <a:pt x="346" y="76"/>
                  </a:cubicBezTo>
                  <a:cubicBezTo>
                    <a:pt x="347" y="76"/>
                    <a:pt x="348" y="76"/>
                    <a:pt x="348" y="76"/>
                  </a:cubicBezTo>
                  <a:cubicBezTo>
                    <a:pt x="350" y="76"/>
                    <a:pt x="351" y="75"/>
                    <a:pt x="352" y="74"/>
                  </a:cubicBezTo>
                  <a:cubicBezTo>
                    <a:pt x="354" y="72"/>
                    <a:pt x="354" y="72"/>
                    <a:pt x="354" y="72"/>
                  </a:cubicBezTo>
                  <a:cubicBezTo>
                    <a:pt x="351" y="71"/>
                    <a:pt x="351" y="71"/>
                    <a:pt x="351" y="71"/>
                  </a:cubicBezTo>
                  <a:cubicBezTo>
                    <a:pt x="351" y="71"/>
                    <a:pt x="350" y="71"/>
                    <a:pt x="349" y="71"/>
                  </a:cubicBezTo>
                  <a:cubicBezTo>
                    <a:pt x="349" y="71"/>
                    <a:pt x="349" y="71"/>
                    <a:pt x="349" y="71"/>
                  </a:cubicBezTo>
                  <a:cubicBezTo>
                    <a:pt x="350" y="71"/>
                    <a:pt x="351" y="71"/>
                    <a:pt x="352" y="71"/>
                  </a:cubicBezTo>
                  <a:cubicBezTo>
                    <a:pt x="352" y="71"/>
                    <a:pt x="353" y="71"/>
                    <a:pt x="353" y="71"/>
                  </a:cubicBezTo>
                  <a:cubicBezTo>
                    <a:pt x="354" y="71"/>
                    <a:pt x="355" y="71"/>
                    <a:pt x="356" y="71"/>
                  </a:cubicBezTo>
                  <a:cubicBezTo>
                    <a:pt x="358" y="71"/>
                    <a:pt x="359" y="69"/>
                    <a:pt x="359" y="67"/>
                  </a:cubicBezTo>
                  <a:cubicBezTo>
                    <a:pt x="360" y="67"/>
                    <a:pt x="360" y="67"/>
                    <a:pt x="360" y="66"/>
                  </a:cubicBezTo>
                  <a:cubicBezTo>
                    <a:pt x="360" y="66"/>
                    <a:pt x="360" y="66"/>
                    <a:pt x="360" y="66"/>
                  </a:cubicBezTo>
                  <a:cubicBezTo>
                    <a:pt x="360" y="66"/>
                    <a:pt x="361" y="66"/>
                    <a:pt x="361" y="67"/>
                  </a:cubicBezTo>
                  <a:cubicBezTo>
                    <a:pt x="362" y="67"/>
                    <a:pt x="363" y="67"/>
                    <a:pt x="364" y="67"/>
                  </a:cubicBezTo>
                  <a:cubicBezTo>
                    <a:pt x="364" y="66"/>
                    <a:pt x="365" y="66"/>
                    <a:pt x="365" y="66"/>
                  </a:cubicBezTo>
                  <a:cubicBezTo>
                    <a:pt x="366" y="66"/>
                    <a:pt x="366" y="66"/>
                    <a:pt x="367" y="66"/>
                  </a:cubicBezTo>
                  <a:cubicBezTo>
                    <a:pt x="367" y="66"/>
                    <a:pt x="368" y="66"/>
                    <a:pt x="368" y="66"/>
                  </a:cubicBezTo>
                  <a:cubicBezTo>
                    <a:pt x="368" y="66"/>
                    <a:pt x="369" y="66"/>
                    <a:pt x="369" y="66"/>
                  </a:cubicBezTo>
                  <a:cubicBezTo>
                    <a:pt x="370" y="66"/>
                    <a:pt x="371" y="66"/>
                    <a:pt x="372" y="65"/>
                  </a:cubicBezTo>
                  <a:cubicBezTo>
                    <a:pt x="372" y="64"/>
                    <a:pt x="373" y="64"/>
                    <a:pt x="373" y="63"/>
                  </a:cubicBezTo>
                  <a:cubicBezTo>
                    <a:pt x="373" y="62"/>
                    <a:pt x="372" y="60"/>
                    <a:pt x="372" y="59"/>
                  </a:cubicBezTo>
                  <a:cubicBezTo>
                    <a:pt x="371" y="59"/>
                    <a:pt x="370" y="58"/>
                    <a:pt x="369" y="58"/>
                  </a:cubicBezTo>
                  <a:cubicBezTo>
                    <a:pt x="369" y="58"/>
                    <a:pt x="369" y="58"/>
                    <a:pt x="368" y="57"/>
                  </a:cubicBezTo>
                  <a:cubicBezTo>
                    <a:pt x="368" y="57"/>
                    <a:pt x="367" y="56"/>
                    <a:pt x="366" y="56"/>
                  </a:cubicBezTo>
                  <a:cubicBezTo>
                    <a:pt x="366" y="55"/>
                    <a:pt x="366" y="55"/>
                    <a:pt x="365" y="55"/>
                  </a:cubicBezTo>
                  <a:cubicBezTo>
                    <a:pt x="364" y="53"/>
                    <a:pt x="362" y="53"/>
                    <a:pt x="361" y="53"/>
                  </a:cubicBezTo>
                  <a:cubicBezTo>
                    <a:pt x="359" y="53"/>
                    <a:pt x="358" y="53"/>
                    <a:pt x="357" y="53"/>
                  </a:cubicBezTo>
                  <a:cubicBezTo>
                    <a:pt x="356" y="53"/>
                    <a:pt x="356" y="53"/>
                    <a:pt x="356" y="53"/>
                  </a:cubicBezTo>
                  <a:cubicBezTo>
                    <a:pt x="355" y="53"/>
                    <a:pt x="353" y="53"/>
                    <a:pt x="352" y="53"/>
                  </a:cubicBezTo>
                  <a:cubicBezTo>
                    <a:pt x="352" y="53"/>
                    <a:pt x="351" y="54"/>
                    <a:pt x="350" y="55"/>
                  </a:cubicBezTo>
                  <a:cubicBezTo>
                    <a:pt x="350" y="55"/>
                    <a:pt x="349" y="55"/>
                    <a:pt x="349" y="55"/>
                  </a:cubicBezTo>
                  <a:cubicBezTo>
                    <a:pt x="349" y="55"/>
                    <a:pt x="349" y="56"/>
                    <a:pt x="349" y="56"/>
                  </a:cubicBezTo>
                  <a:cubicBezTo>
                    <a:pt x="348" y="56"/>
                    <a:pt x="348" y="56"/>
                    <a:pt x="348" y="56"/>
                  </a:cubicBezTo>
                  <a:cubicBezTo>
                    <a:pt x="347" y="57"/>
                    <a:pt x="347" y="57"/>
                    <a:pt x="347" y="57"/>
                  </a:cubicBezTo>
                  <a:cubicBezTo>
                    <a:pt x="347" y="56"/>
                    <a:pt x="347" y="56"/>
                    <a:pt x="346" y="55"/>
                  </a:cubicBezTo>
                  <a:cubicBezTo>
                    <a:pt x="346" y="55"/>
                    <a:pt x="345" y="55"/>
                    <a:pt x="345" y="55"/>
                  </a:cubicBezTo>
                  <a:cubicBezTo>
                    <a:pt x="345" y="55"/>
                    <a:pt x="344" y="55"/>
                    <a:pt x="344" y="55"/>
                  </a:cubicBezTo>
                  <a:cubicBezTo>
                    <a:pt x="343" y="55"/>
                    <a:pt x="343" y="55"/>
                    <a:pt x="343" y="55"/>
                  </a:cubicBezTo>
                  <a:cubicBezTo>
                    <a:pt x="343" y="55"/>
                    <a:pt x="342" y="55"/>
                    <a:pt x="341" y="55"/>
                  </a:cubicBezTo>
                  <a:cubicBezTo>
                    <a:pt x="340" y="56"/>
                    <a:pt x="339" y="57"/>
                    <a:pt x="339" y="57"/>
                  </a:cubicBezTo>
                  <a:cubicBezTo>
                    <a:pt x="339" y="57"/>
                    <a:pt x="339" y="57"/>
                    <a:pt x="339" y="57"/>
                  </a:cubicBezTo>
                  <a:cubicBezTo>
                    <a:pt x="338" y="58"/>
                    <a:pt x="338" y="58"/>
                    <a:pt x="337" y="58"/>
                  </a:cubicBezTo>
                  <a:cubicBezTo>
                    <a:pt x="336" y="58"/>
                    <a:pt x="336" y="58"/>
                    <a:pt x="335" y="58"/>
                  </a:cubicBezTo>
                  <a:cubicBezTo>
                    <a:pt x="334" y="58"/>
                    <a:pt x="334" y="58"/>
                    <a:pt x="334" y="58"/>
                  </a:cubicBezTo>
                  <a:cubicBezTo>
                    <a:pt x="334" y="60"/>
                    <a:pt x="334" y="60"/>
                    <a:pt x="334" y="60"/>
                  </a:cubicBezTo>
                  <a:cubicBezTo>
                    <a:pt x="334" y="58"/>
                    <a:pt x="334" y="58"/>
                    <a:pt x="334" y="58"/>
                  </a:cubicBezTo>
                  <a:cubicBezTo>
                    <a:pt x="333" y="58"/>
                    <a:pt x="333" y="58"/>
                    <a:pt x="333" y="58"/>
                  </a:cubicBezTo>
                  <a:cubicBezTo>
                    <a:pt x="332" y="58"/>
                    <a:pt x="332" y="58"/>
                    <a:pt x="331" y="59"/>
                  </a:cubicBezTo>
                  <a:cubicBezTo>
                    <a:pt x="330" y="59"/>
                    <a:pt x="330" y="59"/>
                    <a:pt x="329" y="60"/>
                  </a:cubicBezTo>
                  <a:cubicBezTo>
                    <a:pt x="329" y="60"/>
                    <a:pt x="329" y="60"/>
                    <a:pt x="329" y="60"/>
                  </a:cubicBezTo>
                  <a:cubicBezTo>
                    <a:pt x="328" y="60"/>
                    <a:pt x="328" y="61"/>
                    <a:pt x="327" y="61"/>
                  </a:cubicBezTo>
                  <a:cubicBezTo>
                    <a:pt x="326" y="61"/>
                    <a:pt x="325" y="61"/>
                    <a:pt x="324" y="61"/>
                  </a:cubicBezTo>
                  <a:cubicBezTo>
                    <a:pt x="324" y="61"/>
                    <a:pt x="324" y="61"/>
                    <a:pt x="323" y="61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3" y="61"/>
                    <a:pt x="322" y="61"/>
                    <a:pt x="322" y="61"/>
                  </a:cubicBezTo>
                  <a:cubicBezTo>
                    <a:pt x="322" y="61"/>
                    <a:pt x="323" y="61"/>
                    <a:pt x="323" y="61"/>
                  </a:cubicBezTo>
                  <a:cubicBezTo>
                    <a:pt x="323" y="61"/>
                    <a:pt x="324" y="60"/>
                    <a:pt x="324" y="60"/>
                  </a:cubicBezTo>
                  <a:cubicBezTo>
                    <a:pt x="325" y="60"/>
                    <a:pt x="325" y="60"/>
                    <a:pt x="325" y="60"/>
                  </a:cubicBezTo>
                  <a:cubicBezTo>
                    <a:pt x="325" y="60"/>
                    <a:pt x="325" y="60"/>
                    <a:pt x="326" y="60"/>
                  </a:cubicBezTo>
                  <a:cubicBezTo>
                    <a:pt x="326" y="60"/>
                    <a:pt x="326" y="60"/>
                    <a:pt x="326" y="60"/>
                  </a:cubicBezTo>
                  <a:cubicBezTo>
                    <a:pt x="327" y="60"/>
                    <a:pt x="327" y="60"/>
                    <a:pt x="327" y="59"/>
                  </a:cubicBezTo>
                  <a:cubicBezTo>
                    <a:pt x="328" y="59"/>
                    <a:pt x="328" y="59"/>
                    <a:pt x="329" y="59"/>
                  </a:cubicBezTo>
                  <a:cubicBezTo>
                    <a:pt x="330" y="59"/>
                    <a:pt x="330" y="59"/>
                    <a:pt x="330" y="59"/>
                  </a:cubicBezTo>
                  <a:cubicBezTo>
                    <a:pt x="331" y="59"/>
                    <a:pt x="331" y="58"/>
                    <a:pt x="332" y="58"/>
                  </a:cubicBezTo>
                  <a:cubicBezTo>
                    <a:pt x="332" y="58"/>
                    <a:pt x="332" y="58"/>
                    <a:pt x="333" y="57"/>
                  </a:cubicBezTo>
                  <a:cubicBezTo>
                    <a:pt x="333" y="57"/>
                    <a:pt x="333" y="57"/>
                    <a:pt x="333" y="57"/>
                  </a:cubicBezTo>
                  <a:cubicBezTo>
                    <a:pt x="333" y="57"/>
                    <a:pt x="334" y="57"/>
                    <a:pt x="334" y="57"/>
                  </a:cubicBezTo>
                  <a:cubicBezTo>
                    <a:pt x="334" y="56"/>
                    <a:pt x="334" y="56"/>
                    <a:pt x="334" y="56"/>
                  </a:cubicBezTo>
                  <a:cubicBezTo>
                    <a:pt x="335" y="56"/>
                    <a:pt x="335" y="56"/>
                    <a:pt x="335" y="56"/>
                  </a:cubicBezTo>
                  <a:cubicBezTo>
                    <a:pt x="335" y="56"/>
                    <a:pt x="336" y="56"/>
                    <a:pt x="336" y="55"/>
                  </a:cubicBezTo>
                  <a:cubicBezTo>
                    <a:pt x="337" y="55"/>
                    <a:pt x="337" y="55"/>
                    <a:pt x="338" y="54"/>
                  </a:cubicBezTo>
                  <a:cubicBezTo>
                    <a:pt x="339" y="54"/>
                    <a:pt x="339" y="53"/>
                    <a:pt x="340" y="53"/>
                  </a:cubicBezTo>
                  <a:cubicBezTo>
                    <a:pt x="340" y="52"/>
                    <a:pt x="340" y="51"/>
                    <a:pt x="339" y="50"/>
                  </a:cubicBezTo>
                  <a:cubicBezTo>
                    <a:pt x="339" y="50"/>
                    <a:pt x="339" y="50"/>
                    <a:pt x="339" y="50"/>
                  </a:cubicBezTo>
                  <a:cubicBezTo>
                    <a:pt x="338" y="49"/>
                    <a:pt x="338" y="49"/>
                    <a:pt x="338" y="49"/>
                  </a:cubicBezTo>
                  <a:cubicBezTo>
                    <a:pt x="338" y="49"/>
                    <a:pt x="337" y="49"/>
                    <a:pt x="337" y="49"/>
                  </a:cubicBezTo>
                  <a:cubicBezTo>
                    <a:pt x="336" y="49"/>
                    <a:pt x="335" y="49"/>
                    <a:pt x="334" y="49"/>
                  </a:cubicBezTo>
                  <a:cubicBezTo>
                    <a:pt x="333" y="49"/>
                    <a:pt x="333" y="49"/>
                    <a:pt x="333" y="49"/>
                  </a:cubicBezTo>
                  <a:cubicBezTo>
                    <a:pt x="333" y="49"/>
                    <a:pt x="333" y="49"/>
                    <a:pt x="333" y="49"/>
                  </a:cubicBezTo>
                  <a:cubicBezTo>
                    <a:pt x="334" y="49"/>
                    <a:pt x="334" y="49"/>
                    <a:pt x="334" y="49"/>
                  </a:cubicBezTo>
                  <a:cubicBezTo>
                    <a:pt x="334" y="48"/>
                    <a:pt x="334" y="48"/>
                    <a:pt x="334" y="48"/>
                  </a:cubicBezTo>
                  <a:cubicBezTo>
                    <a:pt x="335" y="48"/>
                    <a:pt x="335" y="48"/>
                    <a:pt x="335" y="48"/>
                  </a:cubicBezTo>
                  <a:cubicBezTo>
                    <a:pt x="335" y="48"/>
                    <a:pt x="335" y="48"/>
                    <a:pt x="335" y="48"/>
                  </a:cubicBezTo>
                  <a:cubicBezTo>
                    <a:pt x="336" y="48"/>
                    <a:pt x="336" y="48"/>
                    <a:pt x="336" y="48"/>
                  </a:cubicBezTo>
                  <a:cubicBezTo>
                    <a:pt x="337" y="48"/>
                    <a:pt x="338" y="48"/>
                    <a:pt x="339" y="48"/>
                  </a:cubicBezTo>
                  <a:cubicBezTo>
                    <a:pt x="339" y="48"/>
                    <a:pt x="339" y="48"/>
                    <a:pt x="340" y="48"/>
                  </a:cubicBezTo>
                  <a:cubicBezTo>
                    <a:pt x="340" y="48"/>
                    <a:pt x="340" y="48"/>
                    <a:pt x="341" y="48"/>
                  </a:cubicBezTo>
                  <a:cubicBezTo>
                    <a:pt x="341" y="48"/>
                    <a:pt x="341" y="48"/>
                    <a:pt x="341" y="48"/>
                  </a:cubicBezTo>
                  <a:cubicBezTo>
                    <a:pt x="342" y="48"/>
                    <a:pt x="343" y="48"/>
                    <a:pt x="343" y="48"/>
                  </a:cubicBezTo>
                  <a:cubicBezTo>
                    <a:pt x="344" y="48"/>
                    <a:pt x="346" y="47"/>
                    <a:pt x="347" y="47"/>
                  </a:cubicBezTo>
                  <a:cubicBezTo>
                    <a:pt x="349" y="47"/>
                    <a:pt x="349" y="45"/>
                    <a:pt x="350" y="44"/>
                  </a:cubicBezTo>
                  <a:cubicBezTo>
                    <a:pt x="350" y="44"/>
                    <a:pt x="350" y="44"/>
                    <a:pt x="350" y="44"/>
                  </a:cubicBezTo>
                  <a:cubicBezTo>
                    <a:pt x="350" y="43"/>
                    <a:pt x="350" y="43"/>
                    <a:pt x="350" y="43"/>
                  </a:cubicBezTo>
                  <a:cubicBezTo>
                    <a:pt x="349" y="43"/>
                    <a:pt x="349" y="42"/>
                    <a:pt x="348" y="41"/>
                  </a:cubicBezTo>
                  <a:cubicBezTo>
                    <a:pt x="347" y="41"/>
                    <a:pt x="346" y="41"/>
                    <a:pt x="346" y="41"/>
                  </a:cubicBezTo>
                  <a:cubicBezTo>
                    <a:pt x="345" y="41"/>
                    <a:pt x="345" y="41"/>
                    <a:pt x="345" y="41"/>
                  </a:cubicBezTo>
                  <a:cubicBezTo>
                    <a:pt x="345" y="41"/>
                    <a:pt x="345" y="40"/>
                    <a:pt x="344" y="40"/>
                  </a:cubicBezTo>
                  <a:cubicBezTo>
                    <a:pt x="344" y="38"/>
                    <a:pt x="342" y="38"/>
                    <a:pt x="340" y="37"/>
                  </a:cubicBezTo>
                  <a:cubicBezTo>
                    <a:pt x="340" y="37"/>
                    <a:pt x="339" y="37"/>
                    <a:pt x="338" y="37"/>
                  </a:cubicBezTo>
                  <a:cubicBezTo>
                    <a:pt x="338" y="37"/>
                    <a:pt x="337" y="37"/>
                    <a:pt x="337" y="38"/>
                  </a:cubicBezTo>
                  <a:cubicBezTo>
                    <a:pt x="337" y="38"/>
                    <a:pt x="337" y="38"/>
                    <a:pt x="337" y="38"/>
                  </a:cubicBezTo>
                  <a:cubicBezTo>
                    <a:pt x="336" y="38"/>
                    <a:pt x="336" y="38"/>
                    <a:pt x="335" y="38"/>
                  </a:cubicBezTo>
                  <a:cubicBezTo>
                    <a:pt x="335" y="38"/>
                    <a:pt x="335" y="38"/>
                    <a:pt x="336" y="37"/>
                  </a:cubicBezTo>
                  <a:cubicBezTo>
                    <a:pt x="336" y="37"/>
                    <a:pt x="336" y="36"/>
                    <a:pt x="336" y="35"/>
                  </a:cubicBezTo>
                  <a:cubicBezTo>
                    <a:pt x="336" y="34"/>
                    <a:pt x="335" y="34"/>
                    <a:pt x="334" y="33"/>
                  </a:cubicBezTo>
                  <a:cubicBezTo>
                    <a:pt x="334" y="33"/>
                    <a:pt x="333" y="33"/>
                    <a:pt x="332" y="33"/>
                  </a:cubicBezTo>
                  <a:cubicBezTo>
                    <a:pt x="332" y="33"/>
                    <a:pt x="332" y="33"/>
                    <a:pt x="332" y="33"/>
                  </a:cubicBezTo>
                  <a:cubicBezTo>
                    <a:pt x="333" y="32"/>
                    <a:pt x="332" y="31"/>
                    <a:pt x="332" y="31"/>
                  </a:cubicBezTo>
                  <a:cubicBezTo>
                    <a:pt x="332" y="30"/>
                    <a:pt x="331" y="30"/>
                    <a:pt x="331" y="29"/>
                  </a:cubicBezTo>
                  <a:cubicBezTo>
                    <a:pt x="330" y="29"/>
                    <a:pt x="329" y="29"/>
                    <a:pt x="329" y="28"/>
                  </a:cubicBezTo>
                  <a:cubicBezTo>
                    <a:pt x="327" y="28"/>
                    <a:pt x="326" y="27"/>
                    <a:pt x="325" y="27"/>
                  </a:cubicBezTo>
                  <a:cubicBezTo>
                    <a:pt x="323" y="26"/>
                    <a:pt x="322" y="26"/>
                    <a:pt x="321" y="26"/>
                  </a:cubicBezTo>
                  <a:cubicBezTo>
                    <a:pt x="319" y="26"/>
                    <a:pt x="318" y="26"/>
                    <a:pt x="317" y="26"/>
                  </a:cubicBezTo>
                  <a:cubicBezTo>
                    <a:pt x="316" y="26"/>
                    <a:pt x="316" y="26"/>
                    <a:pt x="315" y="26"/>
                  </a:cubicBezTo>
                  <a:cubicBezTo>
                    <a:pt x="314" y="25"/>
                    <a:pt x="314" y="25"/>
                    <a:pt x="313" y="25"/>
                  </a:cubicBezTo>
                  <a:cubicBezTo>
                    <a:pt x="311" y="25"/>
                    <a:pt x="310" y="25"/>
                    <a:pt x="308" y="25"/>
                  </a:cubicBezTo>
                  <a:cubicBezTo>
                    <a:pt x="308" y="25"/>
                    <a:pt x="308" y="25"/>
                    <a:pt x="307" y="25"/>
                  </a:cubicBezTo>
                  <a:cubicBezTo>
                    <a:pt x="307" y="25"/>
                    <a:pt x="306" y="25"/>
                    <a:pt x="306" y="25"/>
                  </a:cubicBezTo>
                  <a:cubicBezTo>
                    <a:pt x="306" y="25"/>
                    <a:pt x="306" y="25"/>
                    <a:pt x="306" y="25"/>
                  </a:cubicBezTo>
                  <a:cubicBezTo>
                    <a:pt x="305" y="25"/>
                    <a:pt x="305" y="25"/>
                    <a:pt x="304" y="25"/>
                  </a:cubicBezTo>
                  <a:cubicBezTo>
                    <a:pt x="303" y="24"/>
                    <a:pt x="302" y="23"/>
                    <a:pt x="300" y="23"/>
                  </a:cubicBezTo>
                  <a:cubicBezTo>
                    <a:pt x="299" y="23"/>
                    <a:pt x="297" y="23"/>
                    <a:pt x="295" y="23"/>
                  </a:cubicBezTo>
                  <a:cubicBezTo>
                    <a:pt x="294" y="23"/>
                    <a:pt x="294" y="23"/>
                    <a:pt x="294" y="23"/>
                  </a:cubicBezTo>
                  <a:cubicBezTo>
                    <a:pt x="292" y="24"/>
                    <a:pt x="291" y="24"/>
                    <a:pt x="289" y="23"/>
                  </a:cubicBezTo>
                  <a:cubicBezTo>
                    <a:pt x="289" y="23"/>
                    <a:pt x="288" y="23"/>
                    <a:pt x="288" y="23"/>
                  </a:cubicBezTo>
                  <a:cubicBezTo>
                    <a:pt x="287" y="23"/>
                    <a:pt x="287" y="23"/>
                    <a:pt x="287" y="23"/>
                  </a:cubicBezTo>
                  <a:cubicBezTo>
                    <a:pt x="286" y="23"/>
                    <a:pt x="286" y="23"/>
                    <a:pt x="285" y="23"/>
                  </a:cubicBezTo>
                  <a:cubicBezTo>
                    <a:pt x="285" y="23"/>
                    <a:pt x="285" y="23"/>
                    <a:pt x="284" y="23"/>
                  </a:cubicBezTo>
                  <a:cubicBezTo>
                    <a:pt x="284" y="23"/>
                    <a:pt x="284" y="22"/>
                    <a:pt x="283" y="22"/>
                  </a:cubicBezTo>
                  <a:cubicBezTo>
                    <a:pt x="282" y="22"/>
                    <a:pt x="281" y="23"/>
                    <a:pt x="281" y="24"/>
                  </a:cubicBezTo>
                  <a:cubicBezTo>
                    <a:pt x="280" y="25"/>
                    <a:pt x="280" y="26"/>
                    <a:pt x="280" y="28"/>
                  </a:cubicBezTo>
                  <a:cubicBezTo>
                    <a:pt x="281" y="28"/>
                    <a:pt x="281" y="29"/>
                    <a:pt x="281" y="29"/>
                  </a:cubicBezTo>
                  <a:cubicBezTo>
                    <a:pt x="280" y="29"/>
                    <a:pt x="280" y="29"/>
                    <a:pt x="280" y="29"/>
                  </a:cubicBezTo>
                  <a:cubicBezTo>
                    <a:pt x="279" y="29"/>
                    <a:pt x="279" y="29"/>
                    <a:pt x="279" y="29"/>
                  </a:cubicBezTo>
                  <a:cubicBezTo>
                    <a:pt x="279" y="29"/>
                    <a:pt x="278" y="29"/>
                    <a:pt x="278" y="29"/>
                  </a:cubicBezTo>
                  <a:cubicBezTo>
                    <a:pt x="277" y="29"/>
                    <a:pt x="277" y="30"/>
                    <a:pt x="276" y="30"/>
                  </a:cubicBezTo>
                  <a:cubicBezTo>
                    <a:pt x="276" y="30"/>
                    <a:pt x="276" y="30"/>
                    <a:pt x="276" y="30"/>
                  </a:cubicBezTo>
                  <a:cubicBezTo>
                    <a:pt x="276" y="30"/>
                    <a:pt x="276" y="29"/>
                    <a:pt x="275" y="29"/>
                  </a:cubicBezTo>
                  <a:cubicBezTo>
                    <a:pt x="275" y="28"/>
                    <a:pt x="274" y="28"/>
                    <a:pt x="273" y="27"/>
                  </a:cubicBezTo>
                  <a:cubicBezTo>
                    <a:pt x="273" y="27"/>
                    <a:pt x="273" y="27"/>
                    <a:pt x="273" y="27"/>
                  </a:cubicBezTo>
                  <a:cubicBezTo>
                    <a:pt x="272" y="26"/>
                    <a:pt x="271" y="26"/>
                    <a:pt x="270" y="26"/>
                  </a:cubicBezTo>
                  <a:cubicBezTo>
                    <a:pt x="270" y="26"/>
                    <a:pt x="270" y="26"/>
                    <a:pt x="270" y="26"/>
                  </a:cubicBezTo>
                  <a:cubicBezTo>
                    <a:pt x="269" y="26"/>
                    <a:pt x="268" y="26"/>
                    <a:pt x="267" y="25"/>
                  </a:cubicBezTo>
                  <a:cubicBezTo>
                    <a:pt x="267" y="25"/>
                    <a:pt x="267" y="25"/>
                    <a:pt x="267" y="25"/>
                  </a:cubicBezTo>
                  <a:cubicBezTo>
                    <a:pt x="266" y="25"/>
                    <a:pt x="265" y="24"/>
                    <a:pt x="264" y="24"/>
                  </a:cubicBezTo>
                  <a:cubicBezTo>
                    <a:pt x="264" y="23"/>
                    <a:pt x="264" y="23"/>
                    <a:pt x="263" y="23"/>
                  </a:cubicBezTo>
                  <a:cubicBezTo>
                    <a:pt x="262" y="23"/>
                    <a:pt x="262" y="23"/>
                    <a:pt x="262" y="23"/>
                  </a:cubicBezTo>
                  <a:cubicBezTo>
                    <a:pt x="262" y="23"/>
                    <a:pt x="262" y="23"/>
                    <a:pt x="262" y="23"/>
                  </a:cubicBezTo>
                  <a:cubicBezTo>
                    <a:pt x="261" y="24"/>
                    <a:pt x="261" y="24"/>
                    <a:pt x="261" y="25"/>
                  </a:cubicBezTo>
                  <a:cubicBezTo>
                    <a:pt x="261" y="25"/>
                    <a:pt x="261" y="25"/>
                    <a:pt x="261" y="25"/>
                  </a:cubicBezTo>
                  <a:cubicBezTo>
                    <a:pt x="259" y="25"/>
                    <a:pt x="258" y="26"/>
                    <a:pt x="258" y="27"/>
                  </a:cubicBezTo>
                  <a:cubicBezTo>
                    <a:pt x="257" y="28"/>
                    <a:pt x="257" y="28"/>
                    <a:pt x="258" y="29"/>
                  </a:cubicBezTo>
                  <a:cubicBezTo>
                    <a:pt x="256" y="29"/>
                    <a:pt x="255" y="29"/>
                    <a:pt x="254" y="29"/>
                  </a:cubicBezTo>
                  <a:cubicBezTo>
                    <a:pt x="254" y="29"/>
                    <a:pt x="253" y="29"/>
                    <a:pt x="252" y="30"/>
                  </a:cubicBezTo>
                  <a:cubicBezTo>
                    <a:pt x="252" y="31"/>
                    <a:pt x="252" y="31"/>
                    <a:pt x="252" y="31"/>
                  </a:cubicBezTo>
                  <a:cubicBezTo>
                    <a:pt x="252" y="31"/>
                    <a:pt x="252" y="30"/>
                    <a:pt x="252" y="30"/>
                  </a:cubicBezTo>
                  <a:cubicBezTo>
                    <a:pt x="250" y="29"/>
                    <a:pt x="249" y="29"/>
                    <a:pt x="248" y="30"/>
                  </a:cubicBezTo>
                  <a:cubicBezTo>
                    <a:pt x="247" y="30"/>
                    <a:pt x="247" y="32"/>
                    <a:pt x="247" y="33"/>
                  </a:cubicBezTo>
                  <a:cubicBezTo>
                    <a:pt x="246" y="33"/>
                    <a:pt x="246" y="34"/>
                    <a:pt x="246" y="34"/>
                  </a:cubicBezTo>
                  <a:cubicBezTo>
                    <a:pt x="246" y="34"/>
                    <a:pt x="246" y="35"/>
                    <a:pt x="246" y="35"/>
                  </a:cubicBezTo>
                  <a:cubicBezTo>
                    <a:pt x="246" y="36"/>
                    <a:pt x="246" y="36"/>
                    <a:pt x="246" y="36"/>
                  </a:cubicBezTo>
                  <a:cubicBezTo>
                    <a:pt x="246" y="37"/>
                    <a:pt x="246" y="37"/>
                    <a:pt x="246" y="38"/>
                  </a:cubicBezTo>
                  <a:cubicBezTo>
                    <a:pt x="246" y="38"/>
                    <a:pt x="246" y="39"/>
                    <a:pt x="246" y="39"/>
                  </a:cubicBezTo>
                  <a:cubicBezTo>
                    <a:pt x="245" y="40"/>
                    <a:pt x="245" y="40"/>
                    <a:pt x="245" y="40"/>
                  </a:cubicBezTo>
                  <a:cubicBezTo>
                    <a:pt x="245" y="40"/>
                    <a:pt x="245" y="40"/>
                    <a:pt x="245" y="40"/>
                  </a:cubicBezTo>
                  <a:cubicBezTo>
                    <a:pt x="244" y="41"/>
                    <a:pt x="244" y="41"/>
                    <a:pt x="244" y="41"/>
                  </a:cubicBezTo>
                  <a:cubicBezTo>
                    <a:pt x="244" y="41"/>
                    <a:pt x="244" y="42"/>
                    <a:pt x="244" y="42"/>
                  </a:cubicBezTo>
                  <a:cubicBezTo>
                    <a:pt x="244" y="42"/>
                    <a:pt x="243" y="42"/>
                    <a:pt x="243" y="42"/>
                  </a:cubicBezTo>
                  <a:cubicBezTo>
                    <a:pt x="243" y="41"/>
                    <a:pt x="243" y="41"/>
                    <a:pt x="243" y="40"/>
                  </a:cubicBezTo>
                  <a:cubicBezTo>
                    <a:pt x="243" y="40"/>
                    <a:pt x="243" y="40"/>
                    <a:pt x="243" y="40"/>
                  </a:cubicBezTo>
                  <a:cubicBezTo>
                    <a:pt x="243" y="40"/>
                    <a:pt x="243" y="39"/>
                    <a:pt x="243" y="39"/>
                  </a:cubicBezTo>
                  <a:cubicBezTo>
                    <a:pt x="243" y="38"/>
                    <a:pt x="244" y="37"/>
                    <a:pt x="243" y="36"/>
                  </a:cubicBezTo>
                  <a:cubicBezTo>
                    <a:pt x="242" y="35"/>
                    <a:pt x="241" y="35"/>
                    <a:pt x="240" y="35"/>
                  </a:cubicBezTo>
                  <a:cubicBezTo>
                    <a:pt x="240" y="34"/>
                    <a:pt x="239" y="34"/>
                    <a:pt x="239" y="34"/>
                  </a:cubicBezTo>
                  <a:cubicBezTo>
                    <a:pt x="239" y="34"/>
                    <a:pt x="238" y="34"/>
                    <a:pt x="238" y="33"/>
                  </a:cubicBezTo>
                  <a:cubicBezTo>
                    <a:pt x="238" y="33"/>
                    <a:pt x="238" y="33"/>
                    <a:pt x="238" y="32"/>
                  </a:cubicBezTo>
                  <a:cubicBezTo>
                    <a:pt x="238" y="32"/>
                    <a:pt x="238" y="31"/>
                    <a:pt x="237" y="30"/>
                  </a:cubicBezTo>
                  <a:cubicBezTo>
                    <a:pt x="236" y="29"/>
                    <a:pt x="235" y="29"/>
                    <a:pt x="234" y="30"/>
                  </a:cubicBezTo>
                  <a:cubicBezTo>
                    <a:pt x="233" y="30"/>
                    <a:pt x="232" y="30"/>
                    <a:pt x="232" y="31"/>
                  </a:cubicBezTo>
                  <a:cubicBezTo>
                    <a:pt x="231" y="31"/>
                    <a:pt x="230" y="32"/>
                    <a:pt x="230" y="33"/>
                  </a:cubicBezTo>
                  <a:cubicBezTo>
                    <a:pt x="229" y="34"/>
                    <a:pt x="229" y="36"/>
                    <a:pt x="229" y="37"/>
                  </a:cubicBezTo>
                  <a:cubicBezTo>
                    <a:pt x="230" y="38"/>
                    <a:pt x="230" y="38"/>
                    <a:pt x="230" y="38"/>
                  </a:cubicBezTo>
                  <a:cubicBezTo>
                    <a:pt x="229" y="38"/>
                    <a:pt x="229" y="38"/>
                    <a:pt x="229" y="38"/>
                  </a:cubicBezTo>
                  <a:cubicBezTo>
                    <a:pt x="229" y="38"/>
                    <a:pt x="228" y="38"/>
                    <a:pt x="228" y="38"/>
                  </a:cubicBezTo>
                  <a:cubicBezTo>
                    <a:pt x="228" y="38"/>
                    <a:pt x="227" y="38"/>
                    <a:pt x="226" y="38"/>
                  </a:cubicBezTo>
                  <a:cubicBezTo>
                    <a:pt x="226" y="37"/>
                    <a:pt x="225" y="36"/>
                    <a:pt x="224" y="36"/>
                  </a:cubicBezTo>
                  <a:cubicBezTo>
                    <a:pt x="224" y="36"/>
                    <a:pt x="224" y="36"/>
                    <a:pt x="223" y="37"/>
                  </a:cubicBezTo>
                  <a:cubicBezTo>
                    <a:pt x="223" y="37"/>
                    <a:pt x="222" y="37"/>
                    <a:pt x="222" y="37"/>
                  </a:cubicBezTo>
                  <a:cubicBezTo>
                    <a:pt x="222" y="37"/>
                    <a:pt x="221" y="37"/>
                    <a:pt x="221" y="36"/>
                  </a:cubicBezTo>
                  <a:cubicBezTo>
                    <a:pt x="220" y="36"/>
                    <a:pt x="220" y="36"/>
                    <a:pt x="220" y="35"/>
                  </a:cubicBezTo>
                  <a:cubicBezTo>
                    <a:pt x="220" y="35"/>
                    <a:pt x="219" y="35"/>
                    <a:pt x="219" y="34"/>
                  </a:cubicBezTo>
                  <a:cubicBezTo>
                    <a:pt x="219" y="34"/>
                    <a:pt x="218" y="34"/>
                    <a:pt x="218" y="34"/>
                  </a:cubicBezTo>
                  <a:cubicBezTo>
                    <a:pt x="218" y="34"/>
                    <a:pt x="218" y="34"/>
                    <a:pt x="218" y="34"/>
                  </a:cubicBezTo>
                  <a:cubicBezTo>
                    <a:pt x="219" y="33"/>
                    <a:pt x="219" y="32"/>
                    <a:pt x="219" y="31"/>
                  </a:cubicBezTo>
                  <a:cubicBezTo>
                    <a:pt x="218" y="30"/>
                    <a:pt x="217" y="29"/>
                    <a:pt x="216" y="29"/>
                  </a:cubicBezTo>
                  <a:cubicBezTo>
                    <a:pt x="216" y="29"/>
                    <a:pt x="215" y="29"/>
                    <a:pt x="215" y="29"/>
                  </a:cubicBezTo>
                  <a:cubicBezTo>
                    <a:pt x="214" y="29"/>
                    <a:pt x="213" y="29"/>
                    <a:pt x="213" y="29"/>
                  </a:cubicBezTo>
                  <a:cubicBezTo>
                    <a:pt x="212" y="29"/>
                    <a:pt x="212" y="29"/>
                    <a:pt x="212" y="29"/>
                  </a:cubicBezTo>
                  <a:cubicBezTo>
                    <a:pt x="212" y="28"/>
                    <a:pt x="212" y="28"/>
                    <a:pt x="211" y="28"/>
                  </a:cubicBezTo>
                  <a:cubicBezTo>
                    <a:pt x="210" y="28"/>
                    <a:pt x="210" y="28"/>
                    <a:pt x="209" y="28"/>
                  </a:cubicBezTo>
                  <a:cubicBezTo>
                    <a:pt x="209" y="28"/>
                    <a:pt x="208" y="28"/>
                    <a:pt x="208" y="28"/>
                  </a:cubicBezTo>
                  <a:cubicBezTo>
                    <a:pt x="207" y="28"/>
                    <a:pt x="207" y="29"/>
                    <a:pt x="207" y="29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7" y="29"/>
                    <a:pt x="206" y="28"/>
                    <a:pt x="206" y="28"/>
                  </a:cubicBezTo>
                  <a:cubicBezTo>
                    <a:pt x="205" y="28"/>
                    <a:pt x="204" y="28"/>
                    <a:pt x="203" y="28"/>
                  </a:cubicBezTo>
                  <a:cubicBezTo>
                    <a:pt x="203" y="28"/>
                    <a:pt x="203" y="28"/>
                    <a:pt x="203" y="28"/>
                  </a:cubicBezTo>
                  <a:cubicBezTo>
                    <a:pt x="202" y="28"/>
                    <a:pt x="202" y="28"/>
                    <a:pt x="201" y="28"/>
                  </a:cubicBezTo>
                  <a:cubicBezTo>
                    <a:pt x="201" y="29"/>
                    <a:pt x="201" y="29"/>
                    <a:pt x="201" y="29"/>
                  </a:cubicBezTo>
                  <a:cubicBezTo>
                    <a:pt x="201" y="28"/>
                    <a:pt x="201" y="28"/>
                    <a:pt x="201" y="28"/>
                  </a:cubicBezTo>
                  <a:cubicBezTo>
                    <a:pt x="200" y="28"/>
                    <a:pt x="200" y="28"/>
                    <a:pt x="199" y="28"/>
                  </a:cubicBezTo>
                  <a:cubicBezTo>
                    <a:pt x="198" y="28"/>
                    <a:pt x="198" y="28"/>
                    <a:pt x="198" y="28"/>
                  </a:cubicBezTo>
                  <a:cubicBezTo>
                    <a:pt x="198" y="28"/>
                    <a:pt x="197" y="28"/>
                    <a:pt x="197" y="28"/>
                  </a:cubicBezTo>
                  <a:cubicBezTo>
                    <a:pt x="197" y="28"/>
                    <a:pt x="196" y="28"/>
                    <a:pt x="196" y="28"/>
                  </a:cubicBezTo>
                  <a:cubicBezTo>
                    <a:pt x="196" y="28"/>
                    <a:pt x="196" y="28"/>
                    <a:pt x="195" y="28"/>
                  </a:cubicBezTo>
                  <a:cubicBezTo>
                    <a:pt x="195" y="28"/>
                    <a:pt x="195" y="28"/>
                    <a:pt x="194" y="27"/>
                  </a:cubicBezTo>
                  <a:cubicBezTo>
                    <a:pt x="194" y="27"/>
                    <a:pt x="194" y="27"/>
                    <a:pt x="194" y="27"/>
                  </a:cubicBezTo>
                  <a:cubicBezTo>
                    <a:pt x="193" y="27"/>
                    <a:pt x="192" y="28"/>
                    <a:pt x="192" y="29"/>
                  </a:cubicBezTo>
                  <a:cubicBezTo>
                    <a:pt x="191" y="29"/>
                    <a:pt x="191" y="29"/>
                    <a:pt x="190" y="29"/>
                  </a:cubicBezTo>
                  <a:cubicBezTo>
                    <a:pt x="190" y="29"/>
                    <a:pt x="190" y="29"/>
                    <a:pt x="190" y="29"/>
                  </a:cubicBezTo>
                  <a:cubicBezTo>
                    <a:pt x="189" y="29"/>
                    <a:pt x="189" y="29"/>
                    <a:pt x="189" y="29"/>
                  </a:cubicBezTo>
                  <a:cubicBezTo>
                    <a:pt x="189" y="29"/>
                    <a:pt x="188" y="29"/>
                    <a:pt x="188" y="29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30"/>
                    <a:pt x="188" y="30"/>
                    <a:pt x="188" y="30"/>
                  </a:cubicBezTo>
                  <a:cubicBezTo>
                    <a:pt x="188" y="29"/>
                    <a:pt x="188" y="29"/>
                    <a:pt x="188" y="29"/>
                  </a:cubicBezTo>
                  <a:cubicBezTo>
                    <a:pt x="187" y="29"/>
                    <a:pt x="187" y="29"/>
                    <a:pt x="187" y="29"/>
                  </a:cubicBezTo>
                  <a:cubicBezTo>
                    <a:pt x="187" y="29"/>
                    <a:pt x="186" y="29"/>
                    <a:pt x="185" y="29"/>
                  </a:cubicBezTo>
                  <a:cubicBezTo>
                    <a:pt x="184" y="30"/>
                    <a:pt x="183" y="31"/>
                    <a:pt x="183" y="32"/>
                  </a:cubicBezTo>
                  <a:cubicBezTo>
                    <a:pt x="183" y="33"/>
                    <a:pt x="183" y="33"/>
                    <a:pt x="183" y="33"/>
                  </a:cubicBezTo>
                  <a:cubicBezTo>
                    <a:pt x="183" y="33"/>
                    <a:pt x="182" y="33"/>
                    <a:pt x="182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1" y="34"/>
                    <a:pt x="181" y="34"/>
                    <a:pt x="181" y="34"/>
                  </a:cubicBezTo>
                  <a:cubicBezTo>
                    <a:pt x="181" y="34"/>
                    <a:pt x="180" y="34"/>
                    <a:pt x="180" y="34"/>
                  </a:cubicBezTo>
                  <a:cubicBezTo>
                    <a:pt x="179" y="34"/>
                    <a:pt x="179" y="34"/>
                    <a:pt x="179" y="35"/>
                  </a:cubicBezTo>
                  <a:cubicBezTo>
                    <a:pt x="179" y="35"/>
                    <a:pt x="179" y="35"/>
                    <a:pt x="179" y="35"/>
                  </a:cubicBezTo>
                  <a:cubicBezTo>
                    <a:pt x="178" y="35"/>
                    <a:pt x="178" y="35"/>
                    <a:pt x="178" y="35"/>
                  </a:cubicBezTo>
                  <a:cubicBezTo>
                    <a:pt x="177" y="35"/>
                    <a:pt x="176" y="36"/>
                    <a:pt x="176" y="36"/>
                  </a:cubicBezTo>
                  <a:cubicBezTo>
                    <a:pt x="175" y="37"/>
                    <a:pt x="175" y="37"/>
                    <a:pt x="175" y="38"/>
                  </a:cubicBezTo>
                  <a:cubicBezTo>
                    <a:pt x="175" y="38"/>
                    <a:pt x="175" y="38"/>
                    <a:pt x="175" y="39"/>
                  </a:cubicBezTo>
                  <a:cubicBezTo>
                    <a:pt x="175" y="39"/>
                    <a:pt x="174" y="39"/>
                    <a:pt x="174" y="39"/>
                  </a:cubicBezTo>
                  <a:cubicBezTo>
                    <a:pt x="174" y="39"/>
                    <a:pt x="174" y="39"/>
                    <a:pt x="174" y="39"/>
                  </a:cubicBezTo>
                  <a:cubicBezTo>
                    <a:pt x="173" y="39"/>
                    <a:pt x="173" y="39"/>
                    <a:pt x="173" y="39"/>
                  </a:cubicBezTo>
                  <a:cubicBezTo>
                    <a:pt x="173" y="38"/>
                    <a:pt x="173" y="38"/>
                    <a:pt x="174" y="38"/>
                  </a:cubicBezTo>
                  <a:cubicBezTo>
                    <a:pt x="174" y="38"/>
                    <a:pt x="174" y="38"/>
                    <a:pt x="174" y="38"/>
                  </a:cubicBezTo>
                  <a:cubicBezTo>
                    <a:pt x="174" y="37"/>
                    <a:pt x="175" y="36"/>
                    <a:pt x="174" y="35"/>
                  </a:cubicBezTo>
                  <a:cubicBezTo>
                    <a:pt x="174" y="34"/>
                    <a:pt x="172" y="33"/>
                    <a:pt x="171" y="33"/>
                  </a:cubicBezTo>
                  <a:cubicBezTo>
                    <a:pt x="170" y="34"/>
                    <a:pt x="170" y="34"/>
                    <a:pt x="170" y="34"/>
                  </a:cubicBezTo>
                  <a:cubicBezTo>
                    <a:pt x="171" y="33"/>
                    <a:pt x="171" y="32"/>
                    <a:pt x="170" y="32"/>
                  </a:cubicBezTo>
                  <a:cubicBezTo>
                    <a:pt x="170" y="31"/>
                    <a:pt x="170" y="31"/>
                    <a:pt x="169" y="31"/>
                  </a:cubicBezTo>
                  <a:cubicBezTo>
                    <a:pt x="170" y="30"/>
                    <a:pt x="170" y="30"/>
                    <a:pt x="170" y="30"/>
                  </a:cubicBezTo>
                  <a:cubicBezTo>
                    <a:pt x="170" y="30"/>
                    <a:pt x="171" y="29"/>
                    <a:pt x="171" y="29"/>
                  </a:cubicBezTo>
                  <a:cubicBezTo>
                    <a:pt x="171" y="29"/>
                    <a:pt x="172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8"/>
                    <a:pt x="173" y="28"/>
                  </a:cubicBezTo>
                  <a:cubicBezTo>
                    <a:pt x="173" y="28"/>
                    <a:pt x="173" y="29"/>
                    <a:pt x="174" y="29"/>
                  </a:cubicBezTo>
                  <a:cubicBezTo>
                    <a:pt x="175" y="30"/>
                    <a:pt x="176" y="30"/>
                    <a:pt x="177" y="29"/>
                  </a:cubicBezTo>
                  <a:cubicBezTo>
                    <a:pt x="178" y="29"/>
                    <a:pt x="179" y="29"/>
                    <a:pt x="180" y="29"/>
                  </a:cubicBezTo>
                  <a:cubicBezTo>
                    <a:pt x="181" y="29"/>
                    <a:pt x="181" y="29"/>
                    <a:pt x="181" y="29"/>
                  </a:cubicBezTo>
                  <a:cubicBezTo>
                    <a:pt x="182" y="29"/>
                    <a:pt x="182" y="29"/>
                    <a:pt x="183" y="29"/>
                  </a:cubicBezTo>
                  <a:cubicBezTo>
                    <a:pt x="183" y="29"/>
                    <a:pt x="184" y="29"/>
                    <a:pt x="184" y="29"/>
                  </a:cubicBezTo>
                  <a:cubicBezTo>
                    <a:pt x="186" y="29"/>
                    <a:pt x="187" y="29"/>
                    <a:pt x="188" y="28"/>
                  </a:cubicBezTo>
                  <a:cubicBezTo>
                    <a:pt x="188" y="28"/>
                    <a:pt x="188" y="28"/>
                    <a:pt x="188" y="27"/>
                  </a:cubicBezTo>
                  <a:cubicBezTo>
                    <a:pt x="189" y="27"/>
                    <a:pt x="189" y="27"/>
                    <a:pt x="189" y="27"/>
                  </a:cubicBezTo>
                  <a:cubicBezTo>
                    <a:pt x="189" y="27"/>
                    <a:pt x="189" y="27"/>
                    <a:pt x="190" y="26"/>
                  </a:cubicBezTo>
                  <a:cubicBezTo>
                    <a:pt x="191" y="26"/>
                    <a:pt x="193" y="26"/>
                    <a:pt x="194" y="25"/>
                  </a:cubicBezTo>
                  <a:cubicBezTo>
                    <a:pt x="194" y="24"/>
                    <a:pt x="194" y="23"/>
                    <a:pt x="194" y="22"/>
                  </a:cubicBezTo>
                  <a:cubicBezTo>
                    <a:pt x="194" y="22"/>
                    <a:pt x="193" y="21"/>
                    <a:pt x="193" y="21"/>
                  </a:cubicBezTo>
                  <a:cubicBezTo>
                    <a:pt x="193" y="20"/>
                    <a:pt x="194" y="19"/>
                    <a:pt x="194" y="18"/>
                  </a:cubicBezTo>
                  <a:cubicBezTo>
                    <a:pt x="194" y="18"/>
                    <a:pt x="193" y="17"/>
                    <a:pt x="193" y="17"/>
                  </a:cubicBezTo>
                  <a:cubicBezTo>
                    <a:pt x="193" y="17"/>
                    <a:pt x="193" y="16"/>
                    <a:pt x="193" y="16"/>
                  </a:cubicBezTo>
                  <a:cubicBezTo>
                    <a:pt x="193" y="15"/>
                    <a:pt x="193" y="14"/>
                    <a:pt x="193" y="14"/>
                  </a:cubicBezTo>
                  <a:cubicBezTo>
                    <a:pt x="192" y="13"/>
                    <a:pt x="191" y="13"/>
                    <a:pt x="190" y="13"/>
                  </a:cubicBezTo>
                  <a:cubicBezTo>
                    <a:pt x="189" y="13"/>
                    <a:pt x="189" y="13"/>
                    <a:pt x="189" y="13"/>
                  </a:cubicBezTo>
                  <a:cubicBezTo>
                    <a:pt x="189" y="13"/>
                    <a:pt x="189" y="13"/>
                    <a:pt x="188" y="13"/>
                  </a:cubicBezTo>
                  <a:cubicBezTo>
                    <a:pt x="188" y="13"/>
                    <a:pt x="188" y="13"/>
                    <a:pt x="188" y="13"/>
                  </a:cubicBezTo>
                  <a:cubicBezTo>
                    <a:pt x="186" y="13"/>
                    <a:pt x="186" y="14"/>
                    <a:pt x="185" y="14"/>
                  </a:cubicBezTo>
                  <a:cubicBezTo>
                    <a:pt x="185" y="14"/>
                    <a:pt x="185" y="14"/>
                    <a:pt x="184" y="14"/>
                  </a:cubicBezTo>
                  <a:cubicBezTo>
                    <a:pt x="184" y="14"/>
                    <a:pt x="183" y="14"/>
                    <a:pt x="183" y="14"/>
                  </a:cubicBezTo>
                  <a:cubicBezTo>
                    <a:pt x="183" y="14"/>
                    <a:pt x="183" y="13"/>
                    <a:pt x="183" y="13"/>
                  </a:cubicBezTo>
                  <a:cubicBezTo>
                    <a:pt x="183" y="11"/>
                    <a:pt x="179" y="10"/>
                    <a:pt x="179" y="10"/>
                  </a:cubicBezTo>
                  <a:cubicBezTo>
                    <a:pt x="179" y="10"/>
                    <a:pt x="178" y="10"/>
                    <a:pt x="177" y="10"/>
                  </a:cubicBezTo>
                  <a:cubicBezTo>
                    <a:pt x="177" y="10"/>
                    <a:pt x="177" y="10"/>
                    <a:pt x="177" y="10"/>
                  </a:cubicBezTo>
                  <a:cubicBezTo>
                    <a:pt x="176" y="10"/>
                    <a:pt x="176" y="10"/>
                    <a:pt x="176" y="10"/>
                  </a:cubicBezTo>
                  <a:cubicBezTo>
                    <a:pt x="175" y="10"/>
                    <a:pt x="174" y="10"/>
                    <a:pt x="174" y="10"/>
                  </a:cubicBezTo>
                  <a:cubicBezTo>
                    <a:pt x="174" y="10"/>
                    <a:pt x="173" y="10"/>
                    <a:pt x="173" y="10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72" y="7"/>
                    <a:pt x="171" y="7"/>
                    <a:pt x="170" y="7"/>
                  </a:cubicBezTo>
                  <a:cubicBezTo>
                    <a:pt x="170" y="7"/>
                    <a:pt x="170" y="7"/>
                    <a:pt x="170" y="7"/>
                  </a:cubicBezTo>
                  <a:cubicBezTo>
                    <a:pt x="169" y="7"/>
                    <a:pt x="169" y="7"/>
                    <a:pt x="169" y="7"/>
                  </a:cubicBezTo>
                  <a:cubicBezTo>
                    <a:pt x="169" y="7"/>
                    <a:pt x="169" y="7"/>
                    <a:pt x="169" y="7"/>
                  </a:cubicBezTo>
                  <a:cubicBezTo>
                    <a:pt x="169" y="7"/>
                    <a:pt x="169" y="7"/>
                    <a:pt x="168" y="7"/>
                  </a:cubicBezTo>
                  <a:cubicBezTo>
                    <a:pt x="167" y="7"/>
                    <a:pt x="166" y="7"/>
                    <a:pt x="165" y="7"/>
                  </a:cubicBezTo>
                  <a:cubicBezTo>
                    <a:pt x="165" y="7"/>
                    <a:pt x="165" y="8"/>
                    <a:pt x="165" y="8"/>
                  </a:cubicBezTo>
                  <a:cubicBezTo>
                    <a:pt x="164" y="7"/>
                    <a:pt x="162" y="7"/>
                    <a:pt x="162" y="7"/>
                  </a:cubicBezTo>
                  <a:cubicBezTo>
                    <a:pt x="161" y="7"/>
                    <a:pt x="160" y="7"/>
                    <a:pt x="160" y="7"/>
                  </a:cubicBezTo>
                  <a:cubicBezTo>
                    <a:pt x="159" y="7"/>
                    <a:pt x="158" y="8"/>
                    <a:pt x="156" y="9"/>
                  </a:cubicBezTo>
                  <a:cubicBezTo>
                    <a:pt x="156" y="9"/>
                    <a:pt x="156" y="9"/>
                    <a:pt x="156" y="9"/>
                  </a:cubicBezTo>
                  <a:cubicBezTo>
                    <a:pt x="156" y="9"/>
                    <a:pt x="156" y="9"/>
                    <a:pt x="156" y="8"/>
                  </a:cubicBezTo>
                  <a:cubicBezTo>
                    <a:pt x="156" y="8"/>
                    <a:pt x="156" y="6"/>
                    <a:pt x="155" y="6"/>
                  </a:cubicBezTo>
                  <a:cubicBezTo>
                    <a:pt x="154" y="5"/>
                    <a:pt x="154" y="5"/>
                    <a:pt x="153" y="5"/>
                  </a:cubicBezTo>
                  <a:cubicBezTo>
                    <a:pt x="153" y="5"/>
                    <a:pt x="153" y="5"/>
                    <a:pt x="152" y="5"/>
                  </a:cubicBezTo>
                  <a:cubicBezTo>
                    <a:pt x="152" y="5"/>
                    <a:pt x="152" y="5"/>
                    <a:pt x="151" y="4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8" y="3"/>
                    <a:pt x="146" y="3"/>
                    <a:pt x="145" y="4"/>
                  </a:cubicBezTo>
                  <a:cubicBezTo>
                    <a:pt x="145" y="5"/>
                    <a:pt x="144" y="5"/>
                    <a:pt x="144" y="5"/>
                  </a:cubicBezTo>
                  <a:cubicBezTo>
                    <a:pt x="144" y="5"/>
                    <a:pt x="144" y="5"/>
                    <a:pt x="144" y="5"/>
                  </a:cubicBezTo>
                  <a:cubicBezTo>
                    <a:pt x="144" y="5"/>
                    <a:pt x="144" y="5"/>
                    <a:pt x="143" y="5"/>
                  </a:cubicBezTo>
                  <a:cubicBezTo>
                    <a:pt x="143" y="4"/>
                    <a:pt x="141" y="4"/>
                    <a:pt x="140" y="5"/>
                  </a:cubicBezTo>
                  <a:cubicBezTo>
                    <a:pt x="140" y="5"/>
                    <a:pt x="140" y="5"/>
                    <a:pt x="139" y="5"/>
                  </a:cubicBezTo>
                  <a:cubicBezTo>
                    <a:pt x="139" y="4"/>
                    <a:pt x="139" y="4"/>
                    <a:pt x="138" y="4"/>
                  </a:cubicBezTo>
                  <a:cubicBezTo>
                    <a:pt x="138" y="3"/>
                    <a:pt x="138" y="2"/>
                    <a:pt x="137" y="1"/>
                  </a:cubicBezTo>
                  <a:cubicBezTo>
                    <a:pt x="136" y="0"/>
                    <a:pt x="133" y="0"/>
                    <a:pt x="132" y="3"/>
                  </a:cubicBezTo>
                  <a:cubicBezTo>
                    <a:pt x="132" y="3"/>
                    <a:pt x="132" y="3"/>
                    <a:pt x="132" y="4"/>
                  </a:cubicBezTo>
                  <a:cubicBezTo>
                    <a:pt x="132" y="4"/>
                    <a:pt x="131" y="5"/>
                    <a:pt x="131" y="5"/>
                  </a:cubicBezTo>
                  <a:cubicBezTo>
                    <a:pt x="131" y="5"/>
                    <a:pt x="130" y="4"/>
                    <a:pt x="130" y="4"/>
                  </a:cubicBezTo>
                  <a:cubicBezTo>
                    <a:pt x="130" y="3"/>
                    <a:pt x="130" y="3"/>
                    <a:pt x="130" y="3"/>
                  </a:cubicBezTo>
                  <a:cubicBezTo>
                    <a:pt x="129" y="3"/>
                    <a:pt x="129" y="2"/>
                    <a:pt x="128" y="2"/>
                  </a:cubicBezTo>
                  <a:cubicBezTo>
                    <a:pt x="127" y="2"/>
                    <a:pt x="126" y="3"/>
                    <a:pt x="125" y="4"/>
                  </a:cubicBezTo>
                  <a:cubicBezTo>
                    <a:pt x="125" y="3"/>
                    <a:pt x="124" y="3"/>
                    <a:pt x="123" y="3"/>
                  </a:cubicBezTo>
                  <a:cubicBezTo>
                    <a:pt x="122" y="3"/>
                    <a:pt x="121" y="3"/>
                    <a:pt x="121" y="4"/>
                  </a:cubicBezTo>
                  <a:cubicBezTo>
                    <a:pt x="121" y="4"/>
                    <a:pt x="121" y="4"/>
                    <a:pt x="121" y="4"/>
                  </a:cubicBezTo>
                  <a:cubicBezTo>
                    <a:pt x="120" y="4"/>
                    <a:pt x="120" y="4"/>
                    <a:pt x="119" y="5"/>
                  </a:cubicBezTo>
                  <a:cubicBezTo>
                    <a:pt x="119" y="5"/>
                    <a:pt x="118" y="6"/>
                    <a:pt x="118" y="6"/>
                  </a:cubicBezTo>
                  <a:cubicBezTo>
                    <a:pt x="118" y="6"/>
                    <a:pt x="118" y="6"/>
                    <a:pt x="118" y="6"/>
                  </a:cubicBezTo>
                  <a:cubicBezTo>
                    <a:pt x="117" y="8"/>
                    <a:pt x="117" y="9"/>
                    <a:pt x="117" y="10"/>
                  </a:cubicBezTo>
                  <a:cubicBezTo>
                    <a:pt x="117" y="10"/>
                    <a:pt x="118" y="10"/>
                    <a:pt x="117" y="10"/>
                  </a:cubicBezTo>
                  <a:cubicBezTo>
                    <a:pt x="117" y="10"/>
                    <a:pt x="117" y="10"/>
                    <a:pt x="117" y="10"/>
                  </a:cubicBezTo>
                  <a:cubicBezTo>
                    <a:pt x="117" y="9"/>
                    <a:pt x="117" y="8"/>
                    <a:pt x="116" y="7"/>
                  </a:cubicBezTo>
                  <a:cubicBezTo>
                    <a:pt x="116" y="7"/>
                    <a:pt x="116" y="6"/>
                    <a:pt x="115" y="6"/>
                  </a:cubicBezTo>
                  <a:cubicBezTo>
                    <a:pt x="114" y="6"/>
                    <a:pt x="114" y="7"/>
                    <a:pt x="113" y="8"/>
                  </a:cubicBezTo>
                  <a:cubicBezTo>
                    <a:pt x="113" y="7"/>
                    <a:pt x="113" y="6"/>
                    <a:pt x="112" y="6"/>
                  </a:cubicBezTo>
                  <a:cubicBezTo>
                    <a:pt x="112" y="6"/>
                    <a:pt x="112" y="6"/>
                    <a:pt x="112" y="5"/>
                  </a:cubicBezTo>
                  <a:cubicBezTo>
                    <a:pt x="113" y="5"/>
                    <a:pt x="113" y="5"/>
                    <a:pt x="113" y="5"/>
                  </a:cubicBezTo>
                  <a:cubicBezTo>
                    <a:pt x="113" y="4"/>
                    <a:pt x="113" y="4"/>
                    <a:pt x="113" y="4"/>
                  </a:cubicBezTo>
                  <a:cubicBezTo>
                    <a:pt x="113" y="3"/>
                    <a:pt x="113" y="2"/>
                    <a:pt x="112" y="1"/>
                  </a:cubicBezTo>
                  <a:cubicBezTo>
                    <a:pt x="112" y="1"/>
                    <a:pt x="112" y="1"/>
                    <a:pt x="111" y="1"/>
                  </a:cubicBezTo>
                  <a:cubicBezTo>
                    <a:pt x="111" y="0"/>
                    <a:pt x="110" y="0"/>
                    <a:pt x="109" y="0"/>
                  </a:cubicBezTo>
                  <a:cubicBezTo>
                    <a:pt x="109" y="0"/>
                    <a:pt x="109" y="0"/>
                    <a:pt x="109" y="0"/>
                  </a:cubicBezTo>
                  <a:cubicBezTo>
                    <a:pt x="108" y="0"/>
                    <a:pt x="107" y="0"/>
                    <a:pt x="106" y="2"/>
                  </a:cubicBezTo>
                  <a:cubicBezTo>
                    <a:pt x="106" y="3"/>
                    <a:pt x="106" y="3"/>
                    <a:pt x="106" y="3"/>
                  </a:cubicBezTo>
                  <a:cubicBezTo>
                    <a:pt x="105" y="3"/>
                    <a:pt x="105" y="4"/>
                    <a:pt x="104" y="4"/>
                  </a:cubicBezTo>
                  <a:cubicBezTo>
                    <a:pt x="104" y="4"/>
                    <a:pt x="104" y="4"/>
                    <a:pt x="104" y="4"/>
                  </a:cubicBezTo>
                  <a:cubicBezTo>
                    <a:pt x="103" y="4"/>
                    <a:pt x="103" y="4"/>
                    <a:pt x="102" y="4"/>
                  </a:cubicBezTo>
                  <a:cubicBezTo>
                    <a:pt x="101" y="4"/>
                    <a:pt x="101" y="5"/>
                    <a:pt x="100" y="6"/>
                  </a:cubicBezTo>
                  <a:cubicBezTo>
                    <a:pt x="100" y="7"/>
                    <a:pt x="101" y="9"/>
                    <a:pt x="101" y="9"/>
                  </a:cubicBezTo>
                  <a:cubicBezTo>
                    <a:pt x="101" y="9"/>
                    <a:pt x="101" y="9"/>
                    <a:pt x="101" y="10"/>
                  </a:cubicBezTo>
                  <a:cubicBezTo>
                    <a:pt x="101" y="9"/>
                    <a:pt x="101" y="9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8"/>
                    <a:pt x="100" y="8"/>
                    <a:pt x="100" y="8"/>
                  </a:cubicBezTo>
                  <a:cubicBezTo>
                    <a:pt x="100" y="7"/>
                    <a:pt x="99" y="6"/>
                    <a:pt x="98" y="6"/>
                  </a:cubicBezTo>
                  <a:cubicBezTo>
                    <a:pt x="97" y="5"/>
                    <a:pt x="96" y="6"/>
                    <a:pt x="96" y="6"/>
                  </a:cubicBezTo>
                  <a:cubicBezTo>
                    <a:pt x="96" y="5"/>
                    <a:pt x="95" y="4"/>
                    <a:pt x="94" y="3"/>
                  </a:cubicBezTo>
                  <a:cubicBezTo>
                    <a:pt x="93" y="3"/>
                    <a:pt x="92" y="3"/>
                    <a:pt x="91" y="3"/>
                  </a:cubicBezTo>
                  <a:cubicBezTo>
                    <a:pt x="90" y="3"/>
                    <a:pt x="90" y="3"/>
                    <a:pt x="90" y="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88" y="3"/>
                    <a:pt x="88" y="3"/>
                    <a:pt x="87" y="3"/>
                  </a:cubicBezTo>
                  <a:cubicBezTo>
                    <a:pt x="86" y="3"/>
                    <a:pt x="85" y="3"/>
                    <a:pt x="85" y="4"/>
                  </a:cubicBezTo>
                  <a:cubicBezTo>
                    <a:pt x="84" y="4"/>
                    <a:pt x="84" y="4"/>
                    <a:pt x="84" y="4"/>
                  </a:cubicBezTo>
                  <a:cubicBezTo>
                    <a:pt x="84" y="4"/>
                    <a:pt x="83" y="4"/>
                    <a:pt x="83" y="3"/>
                  </a:cubicBezTo>
                  <a:cubicBezTo>
                    <a:pt x="82" y="2"/>
                    <a:pt x="79" y="2"/>
                    <a:pt x="77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6" y="3"/>
                    <a:pt x="76" y="3"/>
                  </a:cubicBezTo>
                  <a:cubicBezTo>
                    <a:pt x="76" y="3"/>
                    <a:pt x="76" y="3"/>
                    <a:pt x="76" y="3"/>
                  </a:cubicBezTo>
                  <a:cubicBezTo>
                    <a:pt x="75" y="3"/>
                    <a:pt x="74" y="3"/>
                    <a:pt x="73" y="4"/>
                  </a:cubicBezTo>
                  <a:cubicBezTo>
                    <a:pt x="73" y="4"/>
                    <a:pt x="72" y="4"/>
                    <a:pt x="72" y="4"/>
                  </a:cubicBezTo>
                  <a:cubicBezTo>
                    <a:pt x="72" y="4"/>
                    <a:pt x="72" y="4"/>
                    <a:pt x="72" y="4"/>
                  </a:cubicBezTo>
                  <a:cubicBezTo>
                    <a:pt x="71" y="4"/>
                    <a:pt x="69" y="4"/>
                    <a:pt x="69" y="7"/>
                  </a:cubicBezTo>
                  <a:cubicBezTo>
                    <a:pt x="68" y="8"/>
                    <a:pt x="68" y="9"/>
                    <a:pt x="69" y="10"/>
                  </a:cubicBezTo>
                  <a:cubicBezTo>
                    <a:pt x="69" y="10"/>
                    <a:pt x="70" y="10"/>
                    <a:pt x="70" y="11"/>
                  </a:cubicBezTo>
                  <a:cubicBezTo>
                    <a:pt x="71" y="11"/>
                    <a:pt x="71" y="11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1" y="12"/>
                    <a:pt x="71" y="12"/>
                    <a:pt x="71" y="12"/>
                  </a:cubicBezTo>
                  <a:cubicBezTo>
                    <a:pt x="70" y="12"/>
                    <a:pt x="70" y="12"/>
                    <a:pt x="69" y="12"/>
                  </a:cubicBezTo>
                  <a:cubicBezTo>
                    <a:pt x="68" y="12"/>
                    <a:pt x="66" y="13"/>
                    <a:pt x="66" y="14"/>
                  </a:cubicBezTo>
                  <a:cubicBezTo>
                    <a:pt x="65" y="15"/>
                    <a:pt x="66" y="17"/>
                    <a:pt x="67" y="17"/>
                  </a:cubicBezTo>
                  <a:cubicBezTo>
                    <a:pt x="67" y="17"/>
                    <a:pt x="68" y="17"/>
                    <a:pt x="68" y="18"/>
                  </a:cubicBezTo>
                  <a:cubicBezTo>
                    <a:pt x="68" y="18"/>
                    <a:pt x="67" y="18"/>
                    <a:pt x="67" y="18"/>
                  </a:cubicBezTo>
                  <a:cubicBezTo>
                    <a:pt x="66" y="20"/>
                    <a:pt x="67" y="23"/>
                    <a:pt x="69" y="25"/>
                  </a:cubicBezTo>
                  <a:cubicBezTo>
                    <a:pt x="70" y="26"/>
                    <a:pt x="73" y="25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5"/>
                    <a:pt x="75" y="25"/>
                    <a:pt x="76" y="26"/>
                  </a:cubicBezTo>
                  <a:cubicBezTo>
                    <a:pt x="76" y="27"/>
                    <a:pt x="78" y="29"/>
                    <a:pt x="80" y="29"/>
                  </a:cubicBezTo>
                  <a:cubicBezTo>
                    <a:pt x="82" y="30"/>
                    <a:pt x="84" y="29"/>
                    <a:pt x="85" y="28"/>
                  </a:cubicBezTo>
                  <a:cubicBezTo>
                    <a:pt x="85" y="28"/>
                    <a:pt x="85" y="28"/>
                    <a:pt x="85" y="29"/>
                  </a:cubicBezTo>
                  <a:cubicBezTo>
                    <a:pt x="85" y="29"/>
                    <a:pt x="85" y="29"/>
                    <a:pt x="86" y="30"/>
                  </a:cubicBezTo>
                  <a:cubicBezTo>
                    <a:pt x="85" y="30"/>
                    <a:pt x="85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3" y="30"/>
                    <a:pt x="81" y="30"/>
                    <a:pt x="81" y="30"/>
                  </a:cubicBezTo>
                  <a:cubicBezTo>
                    <a:pt x="81" y="31"/>
                    <a:pt x="81" y="31"/>
                    <a:pt x="80" y="31"/>
                  </a:cubicBezTo>
                  <a:cubicBezTo>
                    <a:pt x="80" y="30"/>
                    <a:pt x="79" y="30"/>
                    <a:pt x="78" y="30"/>
                  </a:cubicBezTo>
                  <a:cubicBezTo>
                    <a:pt x="78" y="30"/>
                    <a:pt x="77" y="30"/>
                    <a:pt x="77" y="30"/>
                  </a:cubicBezTo>
                  <a:cubicBezTo>
                    <a:pt x="77" y="29"/>
                    <a:pt x="76" y="29"/>
                    <a:pt x="76" y="28"/>
                  </a:cubicBezTo>
                  <a:cubicBezTo>
                    <a:pt x="75" y="27"/>
                    <a:pt x="75" y="27"/>
                    <a:pt x="74" y="26"/>
                  </a:cubicBezTo>
                  <a:cubicBezTo>
                    <a:pt x="73" y="26"/>
                    <a:pt x="73" y="26"/>
                    <a:pt x="72" y="26"/>
                  </a:cubicBezTo>
                  <a:cubicBezTo>
                    <a:pt x="71" y="26"/>
                    <a:pt x="70" y="26"/>
                    <a:pt x="69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8"/>
                  </a:cubicBezTo>
                  <a:cubicBezTo>
                    <a:pt x="68" y="28"/>
                    <a:pt x="67" y="28"/>
                    <a:pt x="67" y="29"/>
                  </a:cubicBezTo>
                  <a:cubicBezTo>
                    <a:pt x="66" y="30"/>
                    <a:pt x="66" y="31"/>
                    <a:pt x="66" y="31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5" y="31"/>
                    <a:pt x="65" y="32"/>
                    <a:pt x="64" y="32"/>
                  </a:cubicBezTo>
                  <a:cubicBezTo>
                    <a:pt x="64" y="33"/>
                    <a:pt x="64" y="34"/>
                    <a:pt x="64" y="34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4" y="34"/>
                    <a:pt x="63" y="34"/>
                  </a:cubicBezTo>
                  <a:cubicBezTo>
                    <a:pt x="63" y="34"/>
                    <a:pt x="63" y="33"/>
                    <a:pt x="63" y="33"/>
                  </a:cubicBezTo>
                  <a:cubicBezTo>
                    <a:pt x="62" y="33"/>
                    <a:pt x="62" y="32"/>
                    <a:pt x="62" y="32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63" y="32"/>
                    <a:pt x="64" y="32"/>
                    <a:pt x="65" y="31"/>
                  </a:cubicBezTo>
                  <a:cubicBezTo>
                    <a:pt x="65" y="31"/>
                    <a:pt x="66" y="30"/>
                    <a:pt x="65" y="29"/>
                  </a:cubicBezTo>
                  <a:cubicBezTo>
                    <a:pt x="65" y="29"/>
                    <a:pt x="65" y="28"/>
                    <a:pt x="65" y="28"/>
                  </a:cubicBezTo>
                  <a:cubicBezTo>
                    <a:pt x="66" y="28"/>
                    <a:pt x="67" y="27"/>
                    <a:pt x="67" y="25"/>
                  </a:cubicBezTo>
                  <a:cubicBezTo>
                    <a:pt x="66" y="23"/>
                    <a:pt x="65" y="23"/>
                    <a:pt x="64" y="23"/>
                  </a:cubicBezTo>
                  <a:cubicBezTo>
                    <a:pt x="64" y="23"/>
                    <a:pt x="64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4" y="22"/>
                    <a:pt x="64" y="21"/>
                    <a:pt x="63" y="20"/>
                  </a:cubicBezTo>
                  <a:cubicBezTo>
                    <a:pt x="63" y="20"/>
                    <a:pt x="62" y="19"/>
                    <a:pt x="62" y="19"/>
                  </a:cubicBezTo>
                  <a:cubicBezTo>
                    <a:pt x="61" y="19"/>
                    <a:pt x="60" y="20"/>
                    <a:pt x="60" y="21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9" y="20"/>
                    <a:pt x="60" y="19"/>
                    <a:pt x="60" y="18"/>
                  </a:cubicBezTo>
                  <a:cubicBezTo>
                    <a:pt x="60" y="18"/>
                    <a:pt x="60" y="17"/>
                    <a:pt x="61" y="17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6"/>
                    <a:pt x="61" y="15"/>
                    <a:pt x="61" y="15"/>
                  </a:cubicBezTo>
                  <a:cubicBezTo>
                    <a:pt x="62" y="15"/>
                    <a:pt x="62" y="15"/>
                    <a:pt x="62" y="15"/>
                  </a:cubicBezTo>
                  <a:cubicBezTo>
                    <a:pt x="64" y="12"/>
                    <a:pt x="63" y="10"/>
                    <a:pt x="62" y="9"/>
                  </a:cubicBezTo>
                  <a:cubicBezTo>
                    <a:pt x="61" y="8"/>
                    <a:pt x="61" y="7"/>
                    <a:pt x="59" y="7"/>
                  </a:cubicBezTo>
                  <a:cubicBezTo>
                    <a:pt x="59" y="7"/>
                    <a:pt x="58" y="7"/>
                    <a:pt x="58" y="7"/>
                  </a:cubicBezTo>
                  <a:cubicBezTo>
                    <a:pt x="58" y="7"/>
                    <a:pt x="58" y="7"/>
                    <a:pt x="58" y="7"/>
                  </a:cubicBezTo>
                  <a:cubicBezTo>
                    <a:pt x="58" y="7"/>
                    <a:pt x="57" y="6"/>
                    <a:pt x="56" y="6"/>
                  </a:cubicBezTo>
                  <a:cubicBezTo>
                    <a:pt x="55" y="5"/>
                    <a:pt x="53" y="7"/>
                    <a:pt x="53" y="8"/>
                  </a:cubicBezTo>
                  <a:cubicBezTo>
                    <a:pt x="53" y="9"/>
                    <a:pt x="54" y="10"/>
                    <a:pt x="54" y="10"/>
                  </a:cubicBezTo>
                  <a:cubicBezTo>
                    <a:pt x="54" y="10"/>
                    <a:pt x="54" y="10"/>
                    <a:pt x="54" y="10"/>
                  </a:cubicBezTo>
                  <a:cubicBezTo>
                    <a:pt x="53" y="10"/>
                    <a:pt x="52" y="11"/>
                    <a:pt x="51" y="11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2" y="12"/>
                    <a:pt x="52" y="12"/>
                    <a:pt x="52" y="12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11"/>
                    <a:pt x="51" y="11"/>
                  </a:cubicBezTo>
                  <a:cubicBezTo>
                    <a:pt x="51" y="11"/>
                    <a:pt x="51" y="9"/>
                    <a:pt x="49" y="9"/>
                  </a:cubicBezTo>
                  <a:cubicBezTo>
                    <a:pt x="49" y="8"/>
                    <a:pt x="47" y="9"/>
                    <a:pt x="46" y="9"/>
                  </a:cubicBezTo>
                  <a:cubicBezTo>
                    <a:pt x="46" y="9"/>
                    <a:pt x="46" y="9"/>
                    <a:pt x="46" y="9"/>
                  </a:cubicBezTo>
                  <a:cubicBezTo>
                    <a:pt x="45" y="10"/>
                    <a:pt x="42" y="11"/>
                    <a:pt x="42" y="12"/>
                  </a:cubicBezTo>
                  <a:cubicBezTo>
                    <a:pt x="42" y="13"/>
                    <a:pt x="42" y="14"/>
                    <a:pt x="42" y="14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1" y="15"/>
                    <a:pt x="41" y="15"/>
                  </a:cubicBezTo>
                  <a:cubicBezTo>
                    <a:pt x="41" y="15"/>
                    <a:pt x="40" y="15"/>
                    <a:pt x="40" y="15"/>
                  </a:cubicBezTo>
                  <a:cubicBezTo>
                    <a:pt x="39" y="15"/>
                    <a:pt x="39" y="15"/>
                    <a:pt x="39" y="15"/>
                  </a:cubicBezTo>
                  <a:cubicBezTo>
                    <a:pt x="39" y="15"/>
                    <a:pt x="39" y="14"/>
                    <a:pt x="39" y="14"/>
                  </a:cubicBezTo>
                  <a:cubicBezTo>
                    <a:pt x="38" y="14"/>
                    <a:pt x="37" y="13"/>
                    <a:pt x="36" y="13"/>
                  </a:cubicBezTo>
                  <a:cubicBezTo>
                    <a:pt x="35" y="13"/>
                    <a:pt x="34" y="14"/>
                    <a:pt x="34" y="15"/>
                  </a:cubicBezTo>
                  <a:cubicBezTo>
                    <a:pt x="33" y="14"/>
                    <a:pt x="32" y="13"/>
                    <a:pt x="31" y="14"/>
                  </a:cubicBezTo>
                  <a:cubicBezTo>
                    <a:pt x="29" y="15"/>
                    <a:pt x="29" y="17"/>
                    <a:pt x="30" y="18"/>
                  </a:cubicBezTo>
                  <a:cubicBezTo>
                    <a:pt x="30" y="18"/>
                    <a:pt x="30" y="19"/>
                    <a:pt x="30" y="19"/>
                  </a:cubicBezTo>
                  <a:cubicBezTo>
                    <a:pt x="29" y="19"/>
                    <a:pt x="29" y="20"/>
                    <a:pt x="30" y="21"/>
                  </a:cubicBezTo>
                  <a:cubicBezTo>
                    <a:pt x="29" y="21"/>
                    <a:pt x="29" y="20"/>
                    <a:pt x="29" y="20"/>
                  </a:cubicBezTo>
                  <a:cubicBezTo>
                    <a:pt x="29" y="20"/>
                    <a:pt x="29" y="20"/>
                    <a:pt x="28" y="20"/>
                  </a:cubicBezTo>
                  <a:cubicBezTo>
                    <a:pt x="28" y="19"/>
                    <a:pt x="28" y="19"/>
                    <a:pt x="27" y="18"/>
                  </a:cubicBezTo>
                  <a:cubicBezTo>
                    <a:pt x="26" y="17"/>
                    <a:pt x="24" y="18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1"/>
                    <a:pt x="23" y="21"/>
                    <a:pt x="22" y="22"/>
                  </a:cubicBezTo>
                  <a:cubicBezTo>
                    <a:pt x="22" y="22"/>
                    <a:pt x="20" y="24"/>
                    <a:pt x="21" y="25"/>
                  </a:cubicBezTo>
                  <a:cubicBezTo>
                    <a:pt x="19" y="25"/>
                    <a:pt x="18" y="26"/>
                    <a:pt x="17" y="27"/>
                  </a:cubicBezTo>
                  <a:cubicBezTo>
                    <a:pt x="17" y="28"/>
                    <a:pt x="17" y="29"/>
                    <a:pt x="17" y="30"/>
                  </a:cubicBezTo>
                  <a:cubicBezTo>
                    <a:pt x="17" y="31"/>
                    <a:pt x="18" y="32"/>
                    <a:pt x="18" y="32"/>
                  </a:cubicBezTo>
                  <a:cubicBezTo>
                    <a:pt x="19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2" y="32"/>
                    <a:pt x="22" y="33"/>
                    <a:pt x="22" y="33"/>
                  </a:cubicBezTo>
                  <a:cubicBezTo>
                    <a:pt x="21" y="33"/>
                    <a:pt x="19" y="32"/>
                    <a:pt x="18" y="33"/>
                  </a:cubicBezTo>
                  <a:cubicBezTo>
                    <a:pt x="17" y="33"/>
                    <a:pt x="16" y="34"/>
                    <a:pt x="16" y="34"/>
                  </a:cubicBezTo>
                  <a:cubicBezTo>
                    <a:pt x="16" y="35"/>
                    <a:pt x="16" y="36"/>
                    <a:pt x="16" y="36"/>
                  </a:cubicBezTo>
                  <a:cubicBezTo>
                    <a:pt x="16" y="37"/>
                    <a:pt x="15" y="37"/>
                    <a:pt x="15" y="37"/>
                  </a:cubicBezTo>
                  <a:cubicBezTo>
                    <a:pt x="15" y="38"/>
                    <a:pt x="15" y="39"/>
                    <a:pt x="15" y="40"/>
                  </a:cubicBezTo>
                  <a:cubicBezTo>
                    <a:pt x="15" y="40"/>
                    <a:pt x="16" y="40"/>
                    <a:pt x="16" y="41"/>
                  </a:cubicBezTo>
                  <a:cubicBezTo>
                    <a:pt x="14" y="41"/>
                    <a:pt x="14" y="42"/>
                    <a:pt x="14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5"/>
                    <a:pt x="15" y="47"/>
                    <a:pt x="15" y="47"/>
                  </a:cubicBezTo>
                  <a:cubicBezTo>
                    <a:pt x="16" y="48"/>
                    <a:pt x="17" y="48"/>
                    <a:pt x="17" y="48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20" y="50"/>
                    <a:pt x="22" y="49"/>
                    <a:pt x="22" y="48"/>
                  </a:cubicBezTo>
                  <a:cubicBezTo>
                    <a:pt x="23" y="48"/>
                    <a:pt x="23" y="48"/>
                    <a:pt x="23" y="48"/>
                  </a:cubicBezTo>
                  <a:cubicBezTo>
                    <a:pt x="23" y="49"/>
                    <a:pt x="24" y="49"/>
                    <a:pt x="24" y="50"/>
                  </a:cubicBezTo>
                  <a:cubicBezTo>
                    <a:pt x="25" y="51"/>
                    <a:pt x="25" y="51"/>
                    <a:pt x="25" y="51"/>
                  </a:cubicBezTo>
                  <a:cubicBezTo>
                    <a:pt x="26" y="50"/>
                    <a:pt x="26" y="50"/>
                    <a:pt x="26" y="50"/>
                  </a:cubicBezTo>
                  <a:cubicBezTo>
                    <a:pt x="26" y="50"/>
                    <a:pt x="27" y="50"/>
                    <a:pt x="27" y="50"/>
                  </a:cubicBezTo>
                  <a:cubicBezTo>
                    <a:pt x="27" y="50"/>
                    <a:pt x="27" y="51"/>
                    <a:pt x="27" y="51"/>
                  </a:cubicBezTo>
                  <a:cubicBezTo>
                    <a:pt x="27" y="51"/>
                    <a:pt x="28" y="52"/>
                    <a:pt x="28" y="52"/>
                  </a:cubicBezTo>
                  <a:cubicBezTo>
                    <a:pt x="29" y="52"/>
                    <a:pt x="30" y="51"/>
                    <a:pt x="30" y="51"/>
                  </a:cubicBezTo>
                  <a:cubicBezTo>
                    <a:pt x="31" y="50"/>
                    <a:pt x="31" y="50"/>
                    <a:pt x="31" y="49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3" y="48"/>
                  </a:cubicBezTo>
                  <a:cubicBezTo>
                    <a:pt x="33" y="47"/>
                    <a:pt x="34" y="47"/>
                    <a:pt x="34" y="46"/>
                  </a:cubicBezTo>
                  <a:cubicBezTo>
                    <a:pt x="34" y="46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3" y="49"/>
                    <a:pt x="33" y="50"/>
                    <a:pt x="33" y="51"/>
                  </a:cubicBezTo>
                  <a:cubicBezTo>
                    <a:pt x="34" y="52"/>
                    <a:pt x="35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6"/>
                    <a:pt x="35" y="57"/>
                    <a:pt x="35" y="59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7" y="61"/>
                    <a:pt x="37" y="61"/>
                  </a:cubicBezTo>
                  <a:cubicBezTo>
                    <a:pt x="36" y="61"/>
                    <a:pt x="36" y="62"/>
                    <a:pt x="36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4" y="60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5" y="57"/>
                    <a:pt x="34" y="55"/>
                    <a:pt x="33" y="53"/>
                  </a:cubicBezTo>
                  <a:cubicBezTo>
                    <a:pt x="32" y="52"/>
                    <a:pt x="31" y="52"/>
                    <a:pt x="29" y="52"/>
                  </a:cubicBezTo>
                  <a:cubicBezTo>
                    <a:pt x="28" y="52"/>
                    <a:pt x="28" y="52"/>
                    <a:pt x="28" y="52"/>
                  </a:cubicBezTo>
                  <a:cubicBezTo>
                    <a:pt x="28" y="52"/>
                    <a:pt x="28" y="52"/>
                    <a:pt x="27" y="52"/>
                  </a:cubicBezTo>
                  <a:cubicBezTo>
                    <a:pt x="26" y="52"/>
                    <a:pt x="25" y="52"/>
                    <a:pt x="24" y="53"/>
                  </a:cubicBezTo>
                  <a:cubicBezTo>
                    <a:pt x="23" y="54"/>
                    <a:pt x="23" y="55"/>
                    <a:pt x="23" y="56"/>
                  </a:cubicBezTo>
                  <a:cubicBezTo>
                    <a:pt x="23" y="56"/>
                    <a:pt x="23" y="56"/>
                    <a:pt x="23" y="57"/>
                  </a:cubicBezTo>
                  <a:cubicBezTo>
                    <a:pt x="22" y="58"/>
                    <a:pt x="21" y="59"/>
                    <a:pt x="22" y="61"/>
                  </a:cubicBezTo>
                  <a:cubicBezTo>
                    <a:pt x="22" y="61"/>
                    <a:pt x="22" y="61"/>
                    <a:pt x="22" y="62"/>
                  </a:cubicBezTo>
                  <a:cubicBezTo>
                    <a:pt x="22" y="62"/>
                    <a:pt x="22" y="61"/>
                    <a:pt x="22" y="61"/>
                  </a:cubicBezTo>
                  <a:cubicBezTo>
                    <a:pt x="21" y="61"/>
                    <a:pt x="20" y="61"/>
                    <a:pt x="18" y="61"/>
                  </a:cubicBezTo>
                  <a:cubicBezTo>
                    <a:pt x="18" y="61"/>
                    <a:pt x="18" y="61"/>
                    <a:pt x="18" y="61"/>
                  </a:cubicBezTo>
                  <a:cubicBezTo>
                    <a:pt x="17" y="61"/>
                    <a:pt x="17" y="61"/>
                    <a:pt x="16" y="61"/>
                  </a:cubicBezTo>
                  <a:cubicBezTo>
                    <a:pt x="15" y="61"/>
                    <a:pt x="14" y="61"/>
                    <a:pt x="13" y="61"/>
                  </a:cubicBezTo>
                  <a:cubicBezTo>
                    <a:pt x="12" y="61"/>
                    <a:pt x="10" y="61"/>
                    <a:pt x="8" y="61"/>
                  </a:cubicBezTo>
                  <a:cubicBezTo>
                    <a:pt x="7" y="61"/>
                    <a:pt x="5" y="62"/>
                    <a:pt x="4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3" y="64"/>
                    <a:pt x="3" y="64"/>
                    <a:pt x="2" y="65"/>
                  </a:cubicBezTo>
                  <a:cubicBezTo>
                    <a:pt x="2" y="65"/>
                    <a:pt x="2" y="65"/>
                    <a:pt x="2" y="65"/>
                  </a:cubicBezTo>
                  <a:cubicBezTo>
                    <a:pt x="1" y="65"/>
                    <a:pt x="1" y="66"/>
                    <a:pt x="0" y="66"/>
                  </a:cubicBezTo>
                  <a:cubicBezTo>
                    <a:pt x="0" y="67"/>
                    <a:pt x="0" y="68"/>
                    <a:pt x="0" y="69"/>
                  </a:cubicBezTo>
                  <a:cubicBezTo>
                    <a:pt x="1" y="71"/>
                    <a:pt x="3" y="71"/>
                    <a:pt x="4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4" y="71"/>
                    <a:pt x="5" y="72"/>
                    <a:pt x="5" y="72"/>
                  </a:cubicBezTo>
                  <a:cubicBezTo>
                    <a:pt x="6" y="74"/>
                    <a:pt x="9" y="74"/>
                    <a:pt x="10" y="73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72"/>
                    <a:pt x="10" y="72"/>
                    <a:pt x="11" y="72"/>
                  </a:cubicBezTo>
                  <a:cubicBezTo>
                    <a:pt x="11" y="72"/>
                    <a:pt x="11" y="73"/>
                    <a:pt x="12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3" y="73"/>
                    <a:pt x="14" y="73"/>
                    <a:pt x="14" y="72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3"/>
                    <a:pt x="15" y="73"/>
                    <a:pt x="15" y="73"/>
                  </a:cubicBezTo>
                  <a:cubicBezTo>
                    <a:pt x="15" y="74"/>
                    <a:pt x="15" y="75"/>
                    <a:pt x="16" y="75"/>
                  </a:cubicBezTo>
                  <a:cubicBezTo>
                    <a:pt x="16" y="76"/>
                    <a:pt x="16" y="76"/>
                    <a:pt x="17" y="76"/>
                  </a:cubicBezTo>
                  <a:cubicBezTo>
                    <a:pt x="17" y="76"/>
                    <a:pt x="17" y="76"/>
                    <a:pt x="18" y="76"/>
                  </a:cubicBezTo>
                  <a:cubicBezTo>
                    <a:pt x="18" y="76"/>
                    <a:pt x="18" y="76"/>
                    <a:pt x="18" y="76"/>
                  </a:cubicBezTo>
                  <a:cubicBezTo>
                    <a:pt x="18" y="76"/>
                    <a:pt x="19" y="77"/>
                    <a:pt x="20" y="77"/>
                  </a:cubicBezTo>
                  <a:cubicBezTo>
                    <a:pt x="20" y="77"/>
                    <a:pt x="20" y="77"/>
                    <a:pt x="21" y="77"/>
                  </a:cubicBezTo>
                  <a:cubicBezTo>
                    <a:pt x="21" y="77"/>
                    <a:pt x="22" y="76"/>
                    <a:pt x="22" y="75"/>
                  </a:cubicBezTo>
                  <a:cubicBezTo>
                    <a:pt x="23" y="76"/>
                    <a:pt x="25" y="76"/>
                    <a:pt x="26" y="75"/>
                  </a:cubicBezTo>
                  <a:cubicBezTo>
                    <a:pt x="26" y="75"/>
                    <a:pt x="26" y="74"/>
                    <a:pt x="26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30" y="77"/>
                    <a:pt x="31" y="77"/>
                    <a:pt x="32" y="77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3" y="77"/>
                    <a:pt x="33" y="77"/>
                    <a:pt x="33" y="77"/>
                  </a:cubicBezTo>
                  <a:cubicBezTo>
                    <a:pt x="33" y="77"/>
                    <a:pt x="34" y="77"/>
                    <a:pt x="35" y="77"/>
                  </a:cubicBezTo>
                  <a:cubicBezTo>
                    <a:pt x="35" y="76"/>
                    <a:pt x="35" y="76"/>
                    <a:pt x="36" y="75"/>
                  </a:cubicBezTo>
                  <a:cubicBezTo>
                    <a:pt x="36" y="76"/>
                    <a:pt x="36" y="76"/>
                    <a:pt x="36" y="76"/>
                  </a:cubicBezTo>
                  <a:cubicBezTo>
                    <a:pt x="35" y="76"/>
                    <a:pt x="34" y="77"/>
                    <a:pt x="34" y="78"/>
                  </a:cubicBezTo>
                  <a:cubicBezTo>
                    <a:pt x="34" y="79"/>
                    <a:pt x="34" y="80"/>
                    <a:pt x="35" y="80"/>
                  </a:cubicBezTo>
                  <a:cubicBezTo>
                    <a:pt x="35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1"/>
                    <a:pt x="38" y="81"/>
                    <a:pt x="38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40" y="80"/>
                    <a:pt x="42" y="80"/>
                  </a:cubicBezTo>
                  <a:cubicBezTo>
                    <a:pt x="42" y="80"/>
                    <a:pt x="42" y="80"/>
                    <a:pt x="42" y="80"/>
                  </a:cubicBezTo>
                  <a:cubicBezTo>
                    <a:pt x="43" y="80"/>
                    <a:pt x="45" y="81"/>
                    <a:pt x="46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8" y="79"/>
                    <a:pt x="48" y="80"/>
                    <a:pt x="49" y="80"/>
                  </a:cubicBezTo>
                  <a:cubicBezTo>
                    <a:pt x="50" y="80"/>
                    <a:pt x="50" y="80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2" y="79"/>
                    <a:pt x="52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9"/>
                    <a:pt x="55" y="78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8" y="75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0"/>
                    <a:pt x="59" y="70"/>
                    <a:pt x="59" y="70"/>
                  </a:cubicBezTo>
                  <a:cubicBezTo>
                    <a:pt x="60" y="71"/>
                    <a:pt x="60" y="71"/>
                    <a:pt x="61" y="70"/>
                  </a:cubicBezTo>
                  <a:cubicBezTo>
                    <a:pt x="61" y="70"/>
                    <a:pt x="62" y="70"/>
                    <a:pt x="62" y="70"/>
                  </a:cubicBezTo>
                  <a:cubicBezTo>
                    <a:pt x="62" y="70"/>
                    <a:pt x="62" y="69"/>
                    <a:pt x="62" y="69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4" y="70"/>
                    <a:pt x="65" y="69"/>
                    <a:pt x="66" y="69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8" y="68"/>
                    <a:pt x="68" y="68"/>
                    <a:pt x="69" y="67"/>
                  </a:cubicBezTo>
                  <a:cubicBezTo>
                    <a:pt x="71" y="66"/>
                    <a:pt x="70" y="65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70" y="63"/>
                    <a:pt x="70" y="63"/>
                  </a:cubicBezTo>
                  <a:cubicBezTo>
                    <a:pt x="70" y="63"/>
                    <a:pt x="71" y="63"/>
                    <a:pt x="71" y="63"/>
                  </a:cubicBezTo>
                  <a:cubicBezTo>
                    <a:pt x="72" y="64"/>
                    <a:pt x="73" y="64"/>
                    <a:pt x="74" y="64"/>
                  </a:cubicBezTo>
                  <a:cubicBezTo>
                    <a:pt x="74" y="64"/>
                    <a:pt x="74" y="65"/>
                    <a:pt x="74" y="65"/>
                  </a:cubicBezTo>
                  <a:cubicBezTo>
                    <a:pt x="75" y="66"/>
                    <a:pt x="75" y="66"/>
                    <a:pt x="76" y="66"/>
                  </a:cubicBezTo>
                  <a:cubicBezTo>
                    <a:pt x="77" y="66"/>
                    <a:pt x="78" y="65"/>
                    <a:pt x="79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64"/>
                    <a:pt x="79" y="64"/>
                    <a:pt x="79" y="64"/>
                  </a:cubicBezTo>
                  <a:cubicBezTo>
                    <a:pt x="79" y="64"/>
                    <a:pt x="80" y="65"/>
                    <a:pt x="81" y="65"/>
                  </a:cubicBezTo>
                  <a:cubicBezTo>
                    <a:pt x="82" y="65"/>
                    <a:pt x="83" y="64"/>
                    <a:pt x="83" y="64"/>
                  </a:cubicBezTo>
                  <a:cubicBezTo>
                    <a:pt x="84" y="63"/>
                    <a:pt x="84" y="62"/>
                    <a:pt x="83" y="62"/>
                  </a:cubicBezTo>
                  <a:cubicBezTo>
                    <a:pt x="84" y="62"/>
                    <a:pt x="84" y="62"/>
                    <a:pt x="85" y="61"/>
                  </a:cubicBezTo>
                  <a:cubicBezTo>
                    <a:pt x="85" y="61"/>
                    <a:pt x="85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7" y="61"/>
                  </a:cubicBezTo>
                  <a:cubicBezTo>
                    <a:pt x="88" y="61"/>
                    <a:pt x="89" y="60"/>
                    <a:pt x="90" y="60"/>
                  </a:cubicBezTo>
                  <a:cubicBezTo>
                    <a:pt x="90" y="59"/>
                    <a:pt x="90" y="59"/>
                    <a:pt x="90" y="58"/>
                  </a:cubicBezTo>
                  <a:cubicBezTo>
                    <a:pt x="91" y="59"/>
                    <a:pt x="92" y="58"/>
                    <a:pt x="93" y="57"/>
                  </a:cubicBezTo>
                  <a:cubicBezTo>
                    <a:pt x="93" y="56"/>
                    <a:pt x="94" y="56"/>
                    <a:pt x="95" y="55"/>
                  </a:cubicBezTo>
                  <a:cubicBezTo>
                    <a:pt x="96" y="55"/>
                    <a:pt x="96" y="54"/>
                    <a:pt x="96" y="53"/>
                  </a:cubicBezTo>
                  <a:cubicBezTo>
                    <a:pt x="97" y="54"/>
                    <a:pt x="97" y="54"/>
                    <a:pt x="98" y="54"/>
                  </a:cubicBezTo>
                  <a:cubicBezTo>
                    <a:pt x="98" y="54"/>
                    <a:pt x="99" y="54"/>
                    <a:pt x="99" y="53"/>
                  </a:cubicBezTo>
                  <a:cubicBezTo>
                    <a:pt x="99" y="52"/>
                    <a:pt x="100" y="51"/>
                    <a:pt x="100" y="50"/>
                  </a:cubicBezTo>
                  <a:cubicBezTo>
                    <a:pt x="101" y="50"/>
                    <a:pt x="102" y="50"/>
                    <a:pt x="103" y="49"/>
                  </a:cubicBezTo>
                  <a:cubicBezTo>
                    <a:pt x="103" y="49"/>
                    <a:pt x="103" y="49"/>
                    <a:pt x="103" y="50"/>
                  </a:cubicBezTo>
                  <a:cubicBezTo>
                    <a:pt x="104" y="50"/>
                    <a:pt x="105" y="50"/>
                    <a:pt x="106" y="50"/>
                  </a:cubicBezTo>
                  <a:cubicBezTo>
                    <a:pt x="107" y="50"/>
                    <a:pt x="107" y="50"/>
                    <a:pt x="108" y="49"/>
                  </a:cubicBezTo>
                  <a:cubicBezTo>
                    <a:pt x="108" y="49"/>
                    <a:pt x="108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10" y="49"/>
                    <a:pt x="111" y="50"/>
                    <a:pt x="112" y="49"/>
                  </a:cubicBezTo>
                  <a:cubicBezTo>
                    <a:pt x="112" y="49"/>
                    <a:pt x="112" y="48"/>
                    <a:pt x="112" y="48"/>
                  </a:cubicBezTo>
                  <a:cubicBezTo>
                    <a:pt x="113" y="49"/>
                    <a:pt x="114" y="49"/>
                    <a:pt x="115" y="49"/>
                  </a:cubicBezTo>
                  <a:cubicBezTo>
                    <a:pt x="115" y="49"/>
                    <a:pt x="115" y="49"/>
                    <a:pt x="115" y="49"/>
                  </a:cubicBezTo>
                  <a:cubicBezTo>
                    <a:pt x="116" y="49"/>
                    <a:pt x="116" y="49"/>
                    <a:pt x="116" y="49"/>
                  </a:cubicBezTo>
                  <a:cubicBezTo>
                    <a:pt x="117" y="49"/>
                    <a:pt x="118" y="49"/>
                    <a:pt x="118" y="49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120" y="49"/>
                    <a:pt x="121" y="48"/>
                    <a:pt x="121" y="48"/>
                  </a:cubicBezTo>
                  <a:cubicBezTo>
                    <a:pt x="121" y="48"/>
                    <a:pt x="121" y="48"/>
                    <a:pt x="121" y="47"/>
                  </a:cubicBezTo>
                  <a:cubicBezTo>
                    <a:pt x="121" y="47"/>
                    <a:pt x="122" y="47"/>
                    <a:pt x="122" y="48"/>
                  </a:cubicBezTo>
                  <a:cubicBezTo>
                    <a:pt x="122" y="48"/>
                    <a:pt x="123" y="48"/>
                    <a:pt x="124" y="48"/>
                  </a:cubicBezTo>
                  <a:cubicBezTo>
                    <a:pt x="125" y="48"/>
                    <a:pt x="125" y="47"/>
                    <a:pt x="126" y="46"/>
                  </a:cubicBezTo>
                  <a:cubicBezTo>
                    <a:pt x="126" y="46"/>
                    <a:pt x="126" y="46"/>
                    <a:pt x="126" y="46"/>
                  </a:cubicBezTo>
                  <a:cubicBezTo>
                    <a:pt x="126" y="46"/>
                    <a:pt x="128" y="46"/>
                    <a:pt x="129" y="46"/>
                  </a:cubicBezTo>
                  <a:cubicBezTo>
                    <a:pt x="130" y="45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1" y="44"/>
                    <a:pt x="132" y="44"/>
                    <a:pt x="133" y="44"/>
                  </a:cubicBezTo>
                  <a:cubicBezTo>
                    <a:pt x="133" y="43"/>
                    <a:pt x="133" y="43"/>
                    <a:pt x="133" y="43"/>
                  </a:cubicBezTo>
                  <a:cubicBezTo>
                    <a:pt x="134" y="44"/>
                    <a:pt x="135" y="44"/>
                    <a:pt x="136" y="43"/>
                  </a:cubicBezTo>
                  <a:cubicBezTo>
                    <a:pt x="136" y="43"/>
                    <a:pt x="137" y="43"/>
                    <a:pt x="137" y="43"/>
                  </a:cubicBezTo>
                  <a:cubicBezTo>
                    <a:pt x="137" y="43"/>
                    <a:pt x="138" y="43"/>
                    <a:pt x="139" y="42"/>
                  </a:cubicBezTo>
                  <a:cubicBezTo>
                    <a:pt x="140" y="42"/>
                    <a:pt x="140" y="41"/>
                    <a:pt x="140" y="41"/>
                  </a:cubicBezTo>
                  <a:cubicBezTo>
                    <a:pt x="141" y="41"/>
                    <a:pt x="141" y="41"/>
                    <a:pt x="141" y="41"/>
                  </a:cubicBezTo>
                  <a:cubicBezTo>
                    <a:pt x="142" y="41"/>
                    <a:pt x="142" y="41"/>
                    <a:pt x="142" y="41"/>
                  </a:cubicBezTo>
                  <a:cubicBezTo>
                    <a:pt x="143" y="40"/>
                    <a:pt x="143" y="40"/>
                    <a:pt x="144" y="40"/>
                  </a:cubicBezTo>
                  <a:cubicBezTo>
                    <a:pt x="144" y="39"/>
                    <a:pt x="145" y="39"/>
                    <a:pt x="145" y="39"/>
                  </a:cubicBezTo>
                  <a:cubicBezTo>
                    <a:pt x="146" y="39"/>
                    <a:pt x="147" y="39"/>
                    <a:pt x="148" y="39"/>
                  </a:cubicBezTo>
                  <a:cubicBezTo>
                    <a:pt x="149" y="39"/>
                    <a:pt x="150" y="39"/>
                    <a:pt x="151" y="39"/>
                  </a:cubicBezTo>
                  <a:cubicBezTo>
                    <a:pt x="152" y="39"/>
                    <a:pt x="152" y="38"/>
                    <a:pt x="153" y="38"/>
                  </a:cubicBezTo>
                  <a:cubicBezTo>
                    <a:pt x="153" y="38"/>
                    <a:pt x="153" y="38"/>
                    <a:pt x="153" y="38"/>
                  </a:cubicBezTo>
                  <a:cubicBezTo>
                    <a:pt x="154" y="38"/>
                    <a:pt x="154" y="38"/>
                    <a:pt x="155" y="37"/>
                  </a:cubicBezTo>
                  <a:cubicBezTo>
                    <a:pt x="155" y="37"/>
                    <a:pt x="156" y="37"/>
                    <a:pt x="156" y="37"/>
                  </a:cubicBezTo>
                  <a:cubicBezTo>
                    <a:pt x="157" y="37"/>
                    <a:pt x="157" y="36"/>
                    <a:pt x="158" y="36"/>
                  </a:cubicBezTo>
                  <a:cubicBezTo>
                    <a:pt x="160" y="36"/>
                    <a:pt x="161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3" y="36"/>
                    <a:pt x="163" y="36"/>
                  </a:cubicBezTo>
                  <a:cubicBezTo>
                    <a:pt x="163" y="36"/>
                    <a:pt x="162" y="36"/>
                    <a:pt x="162" y="37"/>
                  </a:cubicBezTo>
                  <a:cubicBezTo>
                    <a:pt x="162" y="37"/>
                    <a:pt x="162" y="37"/>
                    <a:pt x="161" y="37"/>
                  </a:cubicBezTo>
                  <a:cubicBezTo>
                    <a:pt x="161" y="37"/>
                    <a:pt x="161" y="37"/>
                    <a:pt x="161" y="38"/>
                  </a:cubicBezTo>
                  <a:cubicBezTo>
                    <a:pt x="161" y="38"/>
                    <a:pt x="160" y="38"/>
                    <a:pt x="159" y="38"/>
                  </a:cubicBezTo>
                  <a:cubicBezTo>
                    <a:pt x="159" y="39"/>
                    <a:pt x="159" y="39"/>
                    <a:pt x="159" y="39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9" y="40"/>
                    <a:pt x="159" y="40"/>
                    <a:pt x="159" y="40"/>
                  </a:cubicBezTo>
                  <a:cubicBezTo>
                    <a:pt x="158" y="39"/>
                    <a:pt x="158" y="39"/>
                    <a:pt x="158" y="39"/>
                  </a:cubicBezTo>
                  <a:cubicBezTo>
                    <a:pt x="158" y="39"/>
                    <a:pt x="157" y="40"/>
                    <a:pt x="157" y="40"/>
                  </a:cubicBezTo>
                  <a:cubicBezTo>
                    <a:pt x="156" y="40"/>
                    <a:pt x="156" y="40"/>
                    <a:pt x="156" y="40"/>
                  </a:cubicBezTo>
                  <a:cubicBezTo>
                    <a:pt x="156" y="41"/>
                    <a:pt x="155" y="41"/>
                    <a:pt x="154" y="41"/>
                  </a:cubicBezTo>
                  <a:cubicBezTo>
                    <a:pt x="153" y="42"/>
                    <a:pt x="153" y="42"/>
                    <a:pt x="152" y="42"/>
                  </a:cubicBezTo>
                  <a:cubicBezTo>
                    <a:pt x="151" y="42"/>
                    <a:pt x="150" y="42"/>
                    <a:pt x="149" y="42"/>
                  </a:cubicBezTo>
                  <a:cubicBezTo>
                    <a:pt x="149" y="42"/>
                    <a:pt x="148" y="42"/>
                    <a:pt x="148" y="42"/>
                  </a:cubicBezTo>
                  <a:cubicBezTo>
                    <a:pt x="147" y="42"/>
                    <a:pt x="147" y="42"/>
                    <a:pt x="147" y="42"/>
                  </a:cubicBezTo>
                  <a:cubicBezTo>
                    <a:pt x="147" y="42"/>
                    <a:pt x="146" y="42"/>
                    <a:pt x="146" y="42"/>
                  </a:cubicBezTo>
                  <a:cubicBezTo>
                    <a:pt x="145" y="42"/>
                    <a:pt x="143" y="43"/>
                    <a:pt x="142" y="44"/>
                  </a:cubicBezTo>
                  <a:cubicBezTo>
                    <a:pt x="141" y="45"/>
                    <a:pt x="142" y="46"/>
                    <a:pt x="142" y="47"/>
                  </a:cubicBezTo>
                  <a:cubicBezTo>
                    <a:pt x="142" y="47"/>
                    <a:pt x="143" y="48"/>
                    <a:pt x="144" y="48"/>
                  </a:cubicBezTo>
                  <a:cubicBezTo>
                    <a:pt x="144" y="48"/>
                    <a:pt x="144" y="48"/>
                    <a:pt x="144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5" y="49"/>
                    <a:pt x="145" y="49"/>
                    <a:pt x="145" y="49"/>
                  </a:cubicBezTo>
                  <a:cubicBezTo>
                    <a:pt x="146" y="51"/>
                    <a:pt x="147" y="51"/>
                    <a:pt x="149" y="50"/>
                  </a:cubicBezTo>
                  <a:cubicBezTo>
                    <a:pt x="149" y="50"/>
                    <a:pt x="149" y="50"/>
                    <a:pt x="149" y="50"/>
                  </a:cubicBezTo>
                  <a:cubicBezTo>
                    <a:pt x="149" y="51"/>
                    <a:pt x="149" y="51"/>
                    <a:pt x="149" y="51"/>
                  </a:cubicBezTo>
                  <a:cubicBezTo>
                    <a:pt x="149" y="51"/>
                    <a:pt x="149" y="51"/>
                    <a:pt x="149" y="52"/>
                  </a:cubicBezTo>
                  <a:cubicBezTo>
                    <a:pt x="149" y="51"/>
                    <a:pt x="149" y="51"/>
                    <a:pt x="149" y="51"/>
                  </a:cubicBezTo>
                  <a:cubicBezTo>
                    <a:pt x="149" y="51"/>
                    <a:pt x="148" y="51"/>
                    <a:pt x="148" y="51"/>
                  </a:cubicBezTo>
                  <a:cubicBezTo>
                    <a:pt x="148" y="51"/>
                    <a:pt x="148" y="51"/>
                    <a:pt x="148" y="51"/>
                  </a:cubicBezTo>
                  <a:cubicBezTo>
                    <a:pt x="147" y="51"/>
                    <a:pt x="146" y="52"/>
                    <a:pt x="146" y="53"/>
                  </a:cubicBezTo>
                  <a:cubicBezTo>
                    <a:pt x="145" y="53"/>
                    <a:pt x="145" y="53"/>
                    <a:pt x="145" y="54"/>
                  </a:cubicBezTo>
                  <a:cubicBezTo>
                    <a:pt x="145" y="54"/>
                    <a:pt x="145" y="54"/>
                    <a:pt x="145" y="55"/>
                  </a:cubicBezTo>
                  <a:cubicBezTo>
                    <a:pt x="144" y="55"/>
                    <a:pt x="144" y="55"/>
                    <a:pt x="144" y="55"/>
                  </a:cubicBezTo>
                  <a:cubicBezTo>
                    <a:pt x="144" y="55"/>
                    <a:pt x="144" y="55"/>
                    <a:pt x="143" y="55"/>
                  </a:cubicBezTo>
                  <a:cubicBezTo>
                    <a:pt x="143" y="55"/>
                    <a:pt x="142" y="56"/>
                    <a:pt x="142" y="56"/>
                  </a:cubicBezTo>
                  <a:cubicBezTo>
                    <a:pt x="141" y="56"/>
                    <a:pt x="140" y="57"/>
                    <a:pt x="139" y="57"/>
                  </a:cubicBezTo>
                  <a:cubicBezTo>
                    <a:pt x="139" y="57"/>
                    <a:pt x="139" y="57"/>
                    <a:pt x="138" y="57"/>
                  </a:cubicBezTo>
                  <a:cubicBezTo>
                    <a:pt x="138" y="58"/>
                    <a:pt x="137" y="58"/>
                    <a:pt x="137" y="58"/>
                  </a:cubicBezTo>
                  <a:cubicBezTo>
                    <a:pt x="136" y="58"/>
                    <a:pt x="135" y="59"/>
                    <a:pt x="135" y="60"/>
                  </a:cubicBezTo>
                  <a:cubicBezTo>
                    <a:pt x="134" y="59"/>
                    <a:pt x="134" y="59"/>
                    <a:pt x="134" y="59"/>
                  </a:cubicBezTo>
                  <a:cubicBezTo>
                    <a:pt x="134" y="59"/>
                    <a:pt x="133" y="58"/>
                    <a:pt x="133" y="58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2" y="58"/>
                    <a:pt x="131" y="57"/>
                    <a:pt x="130" y="57"/>
                  </a:cubicBezTo>
                  <a:cubicBezTo>
                    <a:pt x="130" y="58"/>
                    <a:pt x="129" y="58"/>
                    <a:pt x="129" y="58"/>
                  </a:cubicBezTo>
                  <a:cubicBezTo>
                    <a:pt x="129" y="58"/>
                    <a:pt x="129" y="58"/>
                    <a:pt x="129" y="58"/>
                  </a:cubicBezTo>
                  <a:cubicBezTo>
                    <a:pt x="129" y="58"/>
                    <a:pt x="128" y="58"/>
                    <a:pt x="128" y="57"/>
                  </a:cubicBezTo>
                  <a:cubicBezTo>
                    <a:pt x="127" y="57"/>
                    <a:pt x="127" y="57"/>
                    <a:pt x="126" y="57"/>
                  </a:cubicBezTo>
                  <a:cubicBezTo>
                    <a:pt x="126" y="57"/>
                    <a:pt x="125" y="57"/>
                    <a:pt x="125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4" y="57"/>
                    <a:pt x="124" y="57"/>
                    <a:pt x="124" y="57"/>
                  </a:cubicBezTo>
                  <a:cubicBezTo>
                    <a:pt x="123" y="57"/>
                    <a:pt x="122" y="57"/>
                    <a:pt x="122" y="57"/>
                  </a:cubicBezTo>
                  <a:cubicBezTo>
                    <a:pt x="121" y="57"/>
                    <a:pt x="121" y="58"/>
                    <a:pt x="120" y="58"/>
                  </a:cubicBezTo>
                  <a:cubicBezTo>
                    <a:pt x="121" y="58"/>
                    <a:pt x="121" y="58"/>
                    <a:pt x="121" y="58"/>
                  </a:cubicBezTo>
                  <a:cubicBezTo>
                    <a:pt x="120" y="58"/>
                    <a:pt x="120" y="58"/>
                    <a:pt x="120" y="58"/>
                  </a:cubicBezTo>
                  <a:cubicBezTo>
                    <a:pt x="119" y="58"/>
                    <a:pt x="119" y="58"/>
                    <a:pt x="119" y="58"/>
                  </a:cubicBezTo>
                  <a:cubicBezTo>
                    <a:pt x="119" y="57"/>
                    <a:pt x="118" y="57"/>
                    <a:pt x="117" y="57"/>
                  </a:cubicBezTo>
                  <a:cubicBezTo>
                    <a:pt x="117" y="57"/>
                    <a:pt x="117" y="57"/>
                    <a:pt x="116" y="57"/>
                  </a:cubicBezTo>
                  <a:cubicBezTo>
                    <a:pt x="116" y="57"/>
                    <a:pt x="116" y="57"/>
                    <a:pt x="115" y="57"/>
                  </a:cubicBezTo>
                  <a:cubicBezTo>
                    <a:pt x="114" y="57"/>
                    <a:pt x="114" y="57"/>
                    <a:pt x="113" y="57"/>
                  </a:cubicBezTo>
                  <a:cubicBezTo>
                    <a:pt x="112" y="57"/>
                    <a:pt x="112" y="57"/>
                    <a:pt x="111" y="57"/>
                  </a:cubicBezTo>
                  <a:cubicBezTo>
                    <a:pt x="111" y="57"/>
                    <a:pt x="110" y="57"/>
                    <a:pt x="110" y="57"/>
                  </a:cubicBezTo>
                  <a:cubicBezTo>
                    <a:pt x="109" y="57"/>
                    <a:pt x="109" y="57"/>
                    <a:pt x="108" y="58"/>
                  </a:cubicBezTo>
                  <a:cubicBezTo>
                    <a:pt x="108" y="58"/>
                    <a:pt x="107" y="57"/>
                    <a:pt x="106" y="58"/>
                  </a:cubicBezTo>
                  <a:cubicBezTo>
                    <a:pt x="106" y="58"/>
                    <a:pt x="106" y="58"/>
                    <a:pt x="105" y="58"/>
                  </a:cubicBezTo>
                  <a:cubicBezTo>
                    <a:pt x="105" y="58"/>
                    <a:pt x="105" y="58"/>
                    <a:pt x="104" y="58"/>
                  </a:cubicBezTo>
                  <a:cubicBezTo>
                    <a:pt x="104" y="58"/>
                    <a:pt x="102" y="58"/>
                    <a:pt x="102" y="58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99" y="59"/>
                    <a:pt x="98" y="60"/>
                    <a:pt x="98" y="60"/>
                  </a:cubicBezTo>
                  <a:cubicBezTo>
                    <a:pt x="98" y="60"/>
                    <a:pt x="98" y="60"/>
                    <a:pt x="97" y="61"/>
                  </a:cubicBezTo>
                  <a:cubicBezTo>
                    <a:pt x="97" y="61"/>
                    <a:pt x="97" y="61"/>
                    <a:pt x="97" y="61"/>
                  </a:cubicBezTo>
                  <a:cubicBezTo>
                    <a:pt x="96" y="61"/>
                    <a:pt x="96" y="61"/>
                    <a:pt x="96" y="61"/>
                  </a:cubicBezTo>
                  <a:cubicBezTo>
                    <a:pt x="96" y="61"/>
                    <a:pt x="96" y="61"/>
                    <a:pt x="95" y="61"/>
                  </a:cubicBezTo>
                  <a:cubicBezTo>
                    <a:pt x="95" y="61"/>
                    <a:pt x="94" y="61"/>
                    <a:pt x="94" y="62"/>
                  </a:cubicBezTo>
                  <a:cubicBezTo>
                    <a:pt x="94" y="63"/>
                    <a:pt x="94" y="64"/>
                    <a:pt x="94" y="64"/>
                  </a:cubicBezTo>
                  <a:cubicBezTo>
                    <a:pt x="94" y="64"/>
                    <a:pt x="94" y="65"/>
                    <a:pt x="94" y="65"/>
                  </a:cubicBezTo>
                  <a:cubicBezTo>
                    <a:pt x="94" y="65"/>
                    <a:pt x="94" y="65"/>
                    <a:pt x="94" y="65"/>
                  </a:cubicBezTo>
                  <a:cubicBezTo>
                    <a:pt x="93" y="66"/>
                    <a:pt x="93" y="67"/>
                    <a:pt x="93" y="67"/>
                  </a:cubicBezTo>
                  <a:cubicBezTo>
                    <a:pt x="94" y="68"/>
                    <a:pt x="95" y="69"/>
                    <a:pt x="95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6" y="70"/>
                    <a:pt x="96" y="70"/>
                    <a:pt x="96" y="70"/>
                  </a:cubicBezTo>
                  <a:cubicBezTo>
                    <a:pt x="96" y="70"/>
                    <a:pt x="96" y="71"/>
                    <a:pt x="96" y="71"/>
                  </a:cubicBezTo>
                  <a:cubicBezTo>
                    <a:pt x="95" y="71"/>
                    <a:pt x="95" y="72"/>
                    <a:pt x="95" y="72"/>
                  </a:cubicBezTo>
                  <a:cubicBezTo>
                    <a:pt x="96" y="73"/>
                    <a:pt x="97" y="74"/>
                    <a:pt x="97" y="74"/>
                  </a:cubicBezTo>
                  <a:cubicBezTo>
                    <a:pt x="97" y="75"/>
                    <a:pt x="98" y="76"/>
                    <a:pt x="98" y="76"/>
                  </a:cubicBezTo>
                  <a:cubicBezTo>
                    <a:pt x="99" y="77"/>
                    <a:pt x="99" y="77"/>
                    <a:pt x="100" y="77"/>
                  </a:cubicBezTo>
                  <a:cubicBezTo>
                    <a:pt x="100" y="77"/>
                    <a:pt x="100" y="77"/>
                    <a:pt x="100" y="77"/>
                  </a:cubicBezTo>
                  <a:cubicBezTo>
                    <a:pt x="99" y="78"/>
                    <a:pt x="99" y="78"/>
                    <a:pt x="99" y="79"/>
                  </a:cubicBezTo>
                  <a:cubicBezTo>
                    <a:pt x="99" y="79"/>
                    <a:pt x="100" y="79"/>
                    <a:pt x="100" y="80"/>
                  </a:cubicBezTo>
                  <a:cubicBezTo>
                    <a:pt x="99" y="79"/>
                    <a:pt x="99" y="79"/>
                    <a:pt x="99" y="79"/>
                  </a:cubicBezTo>
                  <a:cubicBezTo>
                    <a:pt x="99" y="79"/>
                    <a:pt x="99" y="79"/>
                    <a:pt x="99" y="78"/>
                  </a:cubicBezTo>
                  <a:cubicBezTo>
                    <a:pt x="98" y="78"/>
                    <a:pt x="97" y="77"/>
                    <a:pt x="96" y="77"/>
                  </a:cubicBezTo>
                  <a:cubicBezTo>
                    <a:pt x="95" y="77"/>
                    <a:pt x="95" y="77"/>
                    <a:pt x="94" y="77"/>
                  </a:cubicBezTo>
                  <a:cubicBezTo>
                    <a:pt x="92" y="77"/>
                    <a:pt x="92" y="77"/>
                    <a:pt x="91" y="78"/>
                  </a:cubicBezTo>
                  <a:cubicBezTo>
                    <a:pt x="91" y="78"/>
                    <a:pt x="91" y="78"/>
                    <a:pt x="91" y="78"/>
                  </a:cubicBezTo>
                  <a:cubicBezTo>
                    <a:pt x="90" y="77"/>
                    <a:pt x="89" y="77"/>
                    <a:pt x="88" y="78"/>
                  </a:cubicBezTo>
                  <a:cubicBezTo>
                    <a:pt x="87" y="78"/>
                    <a:pt x="87" y="80"/>
                    <a:pt x="87" y="81"/>
                  </a:cubicBezTo>
                  <a:cubicBezTo>
                    <a:pt x="87" y="81"/>
                    <a:pt x="87" y="83"/>
                    <a:pt x="88" y="83"/>
                  </a:cubicBezTo>
                  <a:cubicBezTo>
                    <a:pt x="89" y="84"/>
                    <a:pt x="90" y="84"/>
                    <a:pt x="91" y="84"/>
                  </a:cubicBezTo>
                  <a:cubicBezTo>
                    <a:pt x="92" y="83"/>
                    <a:pt x="92" y="83"/>
                    <a:pt x="93" y="83"/>
                  </a:cubicBezTo>
                  <a:cubicBezTo>
                    <a:pt x="92" y="83"/>
                    <a:pt x="92" y="84"/>
                    <a:pt x="92" y="85"/>
                  </a:cubicBezTo>
                  <a:cubicBezTo>
                    <a:pt x="92" y="85"/>
                    <a:pt x="92" y="85"/>
                    <a:pt x="93" y="85"/>
                  </a:cubicBezTo>
                  <a:cubicBezTo>
                    <a:pt x="92" y="85"/>
                    <a:pt x="92" y="85"/>
                    <a:pt x="91" y="85"/>
                  </a:cubicBezTo>
                  <a:cubicBezTo>
                    <a:pt x="91" y="86"/>
                    <a:pt x="91" y="86"/>
                    <a:pt x="91" y="86"/>
                  </a:cubicBezTo>
                  <a:cubicBezTo>
                    <a:pt x="90" y="86"/>
                    <a:pt x="90" y="86"/>
                    <a:pt x="90" y="86"/>
                  </a:cubicBezTo>
                  <a:cubicBezTo>
                    <a:pt x="90" y="86"/>
                    <a:pt x="90" y="86"/>
                    <a:pt x="89" y="86"/>
                  </a:cubicBezTo>
                  <a:cubicBezTo>
                    <a:pt x="89" y="86"/>
                    <a:pt x="89" y="86"/>
                    <a:pt x="88" y="86"/>
                  </a:cubicBezTo>
                  <a:cubicBezTo>
                    <a:pt x="87" y="86"/>
                    <a:pt x="86" y="87"/>
                    <a:pt x="86" y="89"/>
                  </a:cubicBezTo>
                  <a:cubicBezTo>
                    <a:pt x="86" y="90"/>
                    <a:pt x="86" y="90"/>
                    <a:pt x="86" y="91"/>
                  </a:cubicBezTo>
                  <a:cubicBezTo>
                    <a:pt x="87" y="92"/>
                    <a:pt x="87" y="92"/>
                    <a:pt x="88" y="92"/>
                  </a:cubicBezTo>
                  <a:cubicBezTo>
                    <a:pt x="88" y="93"/>
                    <a:pt x="88" y="93"/>
                    <a:pt x="88" y="93"/>
                  </a:cubicBezTo>
                  <a:cubicBezTo>
                    <a:pt x="88" y="94"/>
                    <a:pt x="89" y="94"/>
                    <a:pt x="89" y="95"/>
                  </a:cubicBezTo>
                  <a:cubicBezTo>
                    <a:pt x="89" y="95"/>
                    <a:pt x="90" y="95"/>
                    <a:pt x="90" y="95"/>
                  </a:cubicBezTo>
                  <a:cubicBezTo>
                    <a:pt x="90" y="95"/>
                    <a:pt x="91" y="96"/>
                    <a:pt x="92" y="96"/>
                  </a:cubicBezTo>
                  <a:cubicBezTo>
                    <a:pt x="92" y="96"/>
                    <a:pt x="92" y="96"/>
                    <a:pt x="92" y="96"/>
                  </a:cubicBezTo>
                  <a:cubicBezTo>
                    <a:pt x="92" y="96"/>
                    <a:pt x="92" y="96"/>
                    <a:pt x="93" y="97"/>
                  </a:cubicBezTo>
                  <a:cubicBezTo>
                    <a:pt x="93" y="97"/>
                    <a:pt x="93" y="97"/>
                    <a:pt x="93" y="97"/>
                  </a:cubicBezTo>
                  <a:cubicBezTo>
                    <a:pt x="94" y="99"/>
                    <a:pt x="95" y="99"/>
                    <a:pt x="95" y="99"/>
                  </a:cubicBezTo>
                  <a:cubicBezTo>
                    <a:pt x="95" y="99"/>
                    <a:pt x="96" y="99"/>
                    <a:pt x="97" y="98"/>
                  </a:cubicBezTo>
                  <a:cubicBezTo>
                    <a:pt x="97" y="97"/>
                    <a:pt x="97" y="97"/>
                    <a:pt x="98" y="96"/>
                  </a:cubicBezTo>
                  <a:cubicBezTo>
                    <a:pt x="98" y="96"/>
                    <a:pt x="98" y="96"/>
                    <a:pt x="98" y="96"/>
                  </a:cubicBezTo>
                  <a:cubicBezTo>
                    <a:pt x="98" y="95"/>
                    <a:pt x="98" y="95"/>
                    <a:pt x="99" y="95"/>
                  </a:cubicBezTo>
                  <a:cubicBezTo>
                    <a:pt x="99" y="95"/>
                    <a:pt x="99" y="95"/>
                    <a:pt x="99" y="95"/>
                  </a:cubicBezTo>
                  <a:cubicBezTo>
                    <a:pt x="99" y="95"/>
                    <a:pt x="100" y="95"/>
                    <a:pt x="100" y="95"/>
                  </a:cubicBezTo>
                  <a:cubicBezTo>
                    <a:pt x="100" y="95"/>
                    <a:pt x="100" y="95"/>
                    <a:pt x="100" y="95"/>
                  </a:cubicBezTo>
                  <a:cubicBezTo>
                    <a:pt x="100" y="96"/>
                    <a:pt x="100" y="96"/>
                    <a:pt x="100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2" y="97"/>
                    <a:pt x="102" y="97"/>
                    <a:pt x="102" y="97"/>
                  </a:cubicBezTo>
                  <a:cubicBezTo>
                    <a:pt x="102" y="97"/>
                    <a:pt x="103" y="97"/>
                    <a:pt x="104" y="97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104" y="96"/>
                    <a:pt x="105" y="96"/>
                    <a:pt x="105" y="96"/>
                  </a:cubicBezTo>
                  <a:cubicBezTo>
                    <a:pt x="105" y="96"/>
                    <a:pt x="105" y="96"/>
                    <a:pt x="106" y="96"/>
                  </a:cubicBezTo>
                  <a:cubicBezTo>
                    <a:pt x="106" y="96"/>
                    <a:pt x="106" y="96"/>
                    <a:pt x="107" y="96"/>
                  </a:cubicBezTo>
                  <a:cubicBezTo>
                    <a:pt x="107" y="96"/>
                    <a:pt x="107" y="96"/>
                    <a:pt x="108" y="96"/>
                  </a:cubicBezTo>
                  <a:cubicBezTo>
                    <a:pt x="108" y="98"/>
                    <a:pt x="108" y="98"/>
                    <a:pt x="108" y="98"/>
                  </a:cubicBezTo>
                  <a:cubicBezTo>
                    <a:pt x="109" y="98"/>
                    <a:pt x="109" y="98"/>
                    <a:pt x="109" y="98"/>
                  </a:cubicBezTo>
                  <a:cubicBezTo>
                    <a:pt x="110" y="98"/>
                    <a:pt x="111" y="97"/>
                    <a:pt x="112" y="97"/>
                  </a:cubicBezTo>
                  <a:cubicBezTo>
                    <a:pt x="112" y="97"/>
                    <a:pt x="113" y="96"/>
                    <a:pt x="113" y="96"/>
                  </a:cubicBezTo>
                  <a:cubicBezTo>
                    <a:pt x="113" y="96"/>
                    <a:pt x="114" y="96"/>
                    <a:pt x="114" y="96"/>
                  </a:cubicBezTo>
                  <a:cubicBezTo>
                    <a:pt x="114" y="96"/>
                    <a:pt x="114" y="96"/>
                    <a:pt x="114" y="96"/>
                  </a:cubicBezTo>
                  <a:cubicBezTo>
                    <a:pt x="115" y="104"/>
                    <a:pt x="115" y="104"/>
                    <a:pt x="115" y="104"/>
                  </a:cubicBezTo>
                  <a:cubicBezTo>
                    <a:pt x="116" y="98"/>
                    <a:pt x="116" y="98"/>
                    <a:pt x="116" y="98"/>
                  </a:cubicBezTo>
                  <a:cubicBezTo>
                    <a:pt x="117" y="99"/>
                    <a:pt x="118" y="98"/>
                    <a:pt x="119" y="98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9" y="98"/>
                    <a:pt x="120" y="98"/>
                  </a:cubicBezTo>
                  <a:cubicBezTo>
                    <a:pt x="120" y="98"/>
                    <a:pt x="120" y="98"/>
                    <a:pt x="120" y="98"/>
                  </a:cubicBezTo>
                  <a:cubicBezTo>
                    <a:pt x="120" y="98"/>
                    <a:pt x="121" y="99"/>
                    <a:pt x="121" y="99"/>
                  </a:cubicBezTo>
                  <a:cubicBezTo>
                    <a:pt x="121" y="100"/>
                    <a:pt x="122" y="100"/>
                    <a:pt x="122" y="101"/>
                  </a:cubicBezTo>
                  <a:cubicBezTo>
                    <a:pt x="122" y="101"/>
                    <a:pt x="122" y="101"/>
                    <a:pt x="122" y="101"/>
                  </a:cubicBezTo>
                  <a:cubicBezTo>
                    <a:pt x="122" y="101"/>
                    <a:pt x="122" y="101"/>
                    <a:pt x="122" y="102"/>
                  </a:cubicBezTo>
                  <a:cubicBezTo>
                    <a:pt x="122" y="103"/>
                    <a:pt x="122" y="103"/>
                    <a:pt x="122" y="104"/>
                  </a:cubicBezTo>
                  <a:cubicBezTo>
                    <a:pt x="123" y="104"/>
                    <a:pt x="124" y="104"/>
                    <a:pt x="125" y="104"/>
                  </a:cubicBezTo>
                  <a:cubicBezTo>
                    <a:pt x="125" y="104"/>
                    <a:pt x="126" y="103"/>
                    <a:pt x="126" y="103"/>
                  </a:cubicBezTo>
                  <a:cubicBezTo>
                    <a:pt x="126" y="103"/>
                    <a:pt x="127" y="103"/>
                    <a:pt x="127" y="104"/>
                  </a:cubicBezTo>
                  <a:cubicBezTo>
                    <a:pt x="127" y="105"/>
                    <a:pt x="128" y="105"/>
                    <a:pt x="128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8" y="106"/>
                    <a:pt x="128" y="106"/>
                    <a:pt x="128" y="106"/>
                  </a:cubicBezTo>
                  <a:cubicBezTo>
                    <a:pt x="127" y="106"/>
                    <a:pt x="127" y="106"/>
                    <a:pt x="127" y="106"/>
                  </a:cubicBezTo>
                  <a:cubicBezTo>
                    <a:pt x="127" y="106"/>
                    <a:pt x="126" y="107"/>
                    <a:pt x="125" y="107"/>
                  </a:cubicBezTo>
                  <a:cubicBezTo>
                    <a:pt x="125" y="108"/>
                    <a:pt x="125" y="108"/>
                    <a:pt x="125" y="109"/>
                  </a:cubicBezTo>
                  <a:cubicBezTo>
                    <a:pt x="125" y="109"/>
                    <a:pt x="124" y="109"/>
                    <a:pt x="124" y="110"/>
                  </a:cubicBezTo>
                  <a:cubicBezTo>
                    <a:pt x="123" y="111"/>
                    <a:pt x="124" y="113"/>
                    <a:pt x="124" y="114"/>
                  </a:cubicBezTo>
                  <a:cubicBezTo>
                    <a:pt x="125" y="116"/>
                    <a:pt x="125" y="116"/>
                    <a:pt x="125" y="116"/>
                  </a:cubicBezTo>
                  <a:cubicBezTo>
                    <a:pt x="126" y="115"/>
                    <a:pt x="126" y="115"/>
                    <a:pt x="126" y="115"/>
                  </a:cubicBezTo>
                  <a:cubicBezTo>
                    <a:pt x="126" y="116"/>
                    <a:pt x="126" y="116"/>
                    <a:pt x="126" y="116"/>
                  </a:cubicBezTo>
                  <a:cubicBezTo>
                    <a:pt x="126" y="117"/>
                    <a:pt x="126" y="117"/>
                    <a:pt x="126" y="118"/>
                  </a:cubicBezTo>
                  <a:cubicBezTo>
                    <a:pt x="127" y="119"/>
                    <a:pt x="127" y="119"/>
                    <a:pt x="127" y="120"/>
                  </a:cubicBezTo>
                  <a:cubicBezTo>
                    <a:pt x="127" y="120"/>
                    <a:pt x="126" y="120"/>
                    <a:pt x="125" y="121"/>
                  </a:cubicBezTo>
                  <a:cubicBezTo>
                    <a:pt x="125" y="121"/>
                    <a:pt x="125" y="121"/>
                    <a:pt x="124" y="122"/>
                  </a:cubicBezTo>
                  <a:cubicBezTo>
                    <a:pt x="124" y="122"/>
                    <a:pt x="124" y="122"/>
                    <a:pt x="124" y="122"/>
                  </a:cubicBezTo>
                  <a:cubicBezTo>
                    <a:pt x="123" y="122"/>
                    <a:pt x="123" y="122"/>
                    <a:pt x="123" y="122"/>
                  </a:cubicBezTo>
                  <a:cubicBezTo>
                    <a:pt x="123" y="122"/>
                    <a:pt x="122" y="122"/>
                    <a:pt x="121" y="122"/>
                  </a:cubicBezTo>
                  <a:cubicBezTo>
                    <a:pt x="121" y="124"/>
                    <a:pt x="121" y="124"/>
                    <a:pt x="121" y="124"/>
                  </a:cubicBezTo>
                  <a:cubicBezTo>
                    <a:pt x="121" y="122"/>
                    <a:pt x="121" y="122"/>
                    <a:pt x="121" y="122"/>
                  </a:cubicBezTo>
                  <a:cubicBezTo>
                    <a:pt x="121" y="122"/>
                    <a:pt x="121" y="122"/>
                    <a:pt x="121" y="122"/>
                  </a:cubicBezTo>
                  <a:cubicBezTo>
                    <a:pt x="119" y="122"/>
                    <a:pt x="118" y="123"/>
                    <a:pt x="118" y="124"/>
                  </a:cubicBezTo>
                  <a:cubicBezTo>
                    <a:pt x="118" y="125"/>
                    <a:pt x="118" y="125"/>
                    <a:pt x="119" y="126"/>
                  </a:cubicBezTo>
                  <a:cubicBezTo>
                    <a:pt x="119" y="126"/>
                    <a:pt x="120" y="127"/>
                    <a:pt x="121" y="126"/>
                  </a:cubicBezTo>
                  <a:cubicBezTo>
                    <a:pt x="121" y="126"/>
                    <a:pt x="122" y="126"/>
                    <a:pt x="122" y="126"/>
                  </a:cubicBezTo>
                  <a:cubicBezTo>
                    <a:pt x="122" y="126"/>
                    <a:pt x="122" y="126"/>
                    <a:pt x="122" y="126"/>
                  </a:cubicBezTo>
                  <a:cubicBezTo>
                    <a:pt x="122" y="126"/>
                    <a:pt x="122" y="126"/>
                    <a:pt x="122" y="126"/>
                  </a:cubicBezTo>
                  <a:cubicBezTo>
                    <a:pt x="122" y="127"/>
                    <a:pt x="121" y="127"/>
                    <a:pt x="121" y="128"/>
                  </a:cubicBezTo>
                  <a:cubicBezTo>
                    <a:pt x="121" y="128"/>
                    <a:pt x="121" y="128"/>
                    <a:pt x="121" y="128"/>
                  </a:cubicBezTo>
                  <a:cubicBezTo>
                    <a:pt x="120" y="128"/>
                    <a:pt x="120" y="129"/>
                    <a:pt x="119" y="130"/>
                  </a:cubicBezTo>
                  <a:cubicBezTo>
                    <a:pt x="119" y="130"/>
                    <a:pt x="119" y="131"/>
                    <a:pt x="119" y="132"/>
                  </a:cubicBezTo>
                  <a:cubicBezTo>
                    <a:pt x="119" y="132"/>
                    <a:pt x="119" y="132"/>
                    <a:pt x="119" y="132"/>
                  </a:cubicBezTo>
                  <a:cubicBezTo>
                    <a:pt x="118" y="132"/>
                    <a:pt x="117" y="133"/>
                    <a:pt x="117" y="133"/>
                  </a:cubicBezTo>
                  <a:cubicBezTo>
                    <a:pt x="117" y="134"/>
                    <a:pt x="118" y="134"/>
                    <a:pt x="118" y="134"/>
                  </a:cubicBezTo>
                  <a:cubicBezTo>
                    <a:pt x="118" y="134"/>
                    <a:pt x="118" y="134"/>
                    <a:pt x="118" y="134"/>
                  </a:cubicBezTo>
                  <a:cubicBezTo>
                    <a:pt x="117" y="135"/>
                    <a:pt x="117" y="135"/>
                    <a:pt x="117" y="135"/>
                  </a:cubicBezTo>
                  <a:cubicBezTo>
                    <a:pt x="116" y="135"/>
                    <a:pt x="116" y="135"/>
                    <a:pt x="116" y="135"/>
                  </a:cubicBezTo>
                  <a:cubicBezTo>
                    <a:pt x="116" y="136"/>
                    <a:pt x="114" y="136"/>
                    <a:pt x="115" y="138"/>
                  </a:cubicBezTo>
                  <a:cubicBezTo>
                    <a:pt x="115" y="139"/>
                    <a:pt x="116" y="139"/>
                    <a:pt x="116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6" y="140"/>
                    <a:pt x="116" y="140"/>
                    <a:pt x="116" y="140"/>
                  </a:cubicBezTo>
                  <a:cubicBezTo>
                    <a:pt x="115" y="141"/>
                    <a:pt x="114" y="141"/>
                    <a:pt x="114" y="142"/>
                  </a:cubicBezTo>
                  <a:cubicBezTo>
                    <a:pt x="114" y="143"/>
                    <a:pt x="114" y="143"/>
                    <a:pt x="114" y="143"/>
                  </a:cubicBezTo>
                  <a:cubicBezTo>
                    <a:pt x="114" y="143"/>
                    <a:pt x="114" y="143"/>
                    <a:pt x="114" y="143"/>
                  </a:cubicBezTo>
                  <a:cubicBezTo>
                    <a:pt x="114" y="143"/>
                    <a:pt x="114" y="143"/>
                    <a:pt x="113" y="143"/>
                  </a:cubicBezTo>
                  <a:cubicBezTo>
                    <a:pt x="113" y="143"/>
                    <a:pt x="113" y="143"/>
                    <a:pt x="112" y="143"/>
                  </a:cubicBezTo>
                  <a:cubicBezTo>
                    <a:pt x="112" y="143"/>
                    <a:pt x="112" y="143"/>
                    <a:pt x="111" y="143"/>
                  </a:cubicBezTo>
                  <a:cubicBezTo>
                    <a:pt x="110" y="141"/>
                    <a:pt x="110" y="141"/>
                    <a:pt x="110" y="141"/>
                  </a:cubicBezTo>
                  <a:cubicBezTo>
                    <a:pt x="109" y="145"/>
                    <a:pt x="109" y="145"/>
                    <a:pt x="109" y="145"/>
                  </a:cubicBezTo>
                  <a:cubicBezTo>
                    <a:pt x="109" y="145"/>
                    <a:pt x="109" y="145"/>
                    <a:pt x="109" y="146"/>
                  </a:cubicBezTo>
                  <a:cubicBezTo>
                    <a:pt x="109" y="146"/>
                    <a:pt x="109" y="146"/>
                    <a:pt x="110" y="146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9" y="146"/>
                    <a:pt x="109" y="146"/>
                    <a:pt x="109" y="146"/>
                  </a:cubicBezTo>
                  <a:cubicBezTo>
                    <a:pt x="108" y="146"/>
                    <a:pt x="107" y="146"/>
                    <a:pt x="106" y="147"/>
                  </a:cubicBezTo>
                  <a:cubicBezTo>
                    <a:pt x="106" y="147"/>
                    <a:pt x="106" y="147"/>
                    <a:pt x="106" y="147"/>
                  </a:cubicBezTo>
                  <a:cubicBezTo>
                    <a:pt x="106" y="147"/>
                    <a:pt x="105" y="147"/>
                    <a:pt x="105" y="147"/>
                  </a:cubicBezTo>
                  <a:cubicBezTo>
                    <a:pt x="104" y="147"/>
                    <a:pt x="103" y="147"/>
                    <a:pt x="103" y="148"/>
                  </a:cubicBezTo>
                  <a:cubicBezTo>
                    <a:pt x="103" y="149"/>
                    <a:pt x="103" y="149"/>
                    <a:pt x="103" y="150"/>
                  </a:cubicBezTo>
                  <a:cubicBezTo>
                    <a:pt x="102" y="150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149"/>
                    <a:pt x="100" y="150"/>
                    <a:pt x="99" y="150"/>
                  </a:cubicBezTo>
                  <a:cubicBezTo>
                    <a:pt x="98" y="151"/>
                    <a:pt x="98" y="152"/>
                    <a:pt x="98" y="154"/>
                  </a:cubicBezTo>
                  <a:cubicBezTo>
                    <a:pt x="97" y="154"/>
                    <a:pt x="97" y="155"/>
                    <a:pt x="98" y="156"/>
                  </a:cubicBezTo>
                  <a:cubicBezTo>
                    <a:pt x="98" y="157"/>
                    <a:pt x="100" y="157"/>
                    <a:pt x="101" y="157"/>
                  </a:cubicBezTo>
                  <a:cubicBezTo>
                    <a:pt x="101" y="157"/>
                    <a:pt x="101" y="158"/>
                    <a:pt x="101" y="158"/>
                  </a:cubicBezTo>
                  <a:cubicBezTo>
                    <a:pt x="102" y="158"/>
                    <a:pt x="103" y="159"/>
                    <a:pt x="104" y="159"/>
                  </a:cubicBezTo>
                  <a:cubicBezTo>
                    <a:pt x="104" y="159"/>
                    <a:pt x="104" y="159"/>
                    <a:pt x="104" y="159"/>
                  </a:cubicBezTo>
                  <a:cubicBezTo>
                    <a:pt x="105" y="159"/>
                    <a:pt x="106" y="158"/>
                    <a:pt x="107" y="157"/>
                  </a:cubicBezTo>
                  <a:cubicBezTo>
                    <a:pt x="108" y="157"/>
                    <a:pt x="108" y="156"/>
                    <a:pt x="108" y="156"/>
                  </a:cubicBezTo>
                  <a:cubicBezTo>
                    <a:pt x="109" y="156"/>
                    <a:pt x="109" y="156"/>
                    <a:pt x="110" y="156"/>
                  </a:cubicBezTo>
                  <a:cubicBezTo>
                    <a:pt x="110" y="156"/>
                    <a:pt x="110" y="156"/>
                    <a:pt x="110" y="156"/>
                  </a:cubicBezTo>
                  <a:cubicBezTo>
                    <a:pt x="110" y="156"/>
                    <a:pt x="110" y="156"/>
                    <a:pt x="111" y="156"/>
                  </a:cubicBezTo>
                  <a:cubicBezTo>
                    <a:pt x="111" y="156"/>
                    <a:pt x="111" y="156"/>
                    <a:pt x="111" y="157"/>
                  </a:cubicBezTo>
                  <a:cubicBezTo>
                    <a:pt x="111" y="157"/>
                    <a:pt x="112" y="157"/>
                    <a:pt x="112" y="158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12" y="158"/>
                    <a:pt x="112" y="158"/>
                    <a:pt x="112" y="158"/>
                  </a:cubicBezTo>
                  <a:cubicBezTo>
                    <a:pt x="112" y="159"/>
                    <a:pt x="112" y="159"/>
                    <a:pt x="112" y="160"/>
                  </a:cubicBezTo>
                  <a:cubicBezTo>
                    <a:pt x="112" y="160"/>
                    <a:pt x="112" y="160"/>
                    <a:pt x="112" y="160"/>
                  </a:cubicBezTo>
                  <a:cubicBezTo>
                    <a:pt x="111" y="161"/>
                    <a:pt x="111" y="162"/>
                    <a:pt x="111" y="163"/>
                  </a:cubicBezTo>
                  <a:cubicBezTo>
                    <a:pt x="112" y="163"/>
                    <a:pt x="112" y="164"/>
                    <a:pt x="113" y="164"/>
                  </a:cubicBezTo>
                  <a:cubicBezTo>
                    <a:pt x="113" y="164"/>
                    <a:pt x="113" y="164"/>
                    <a:pt x="113" y="164"/>
                  </a:cubicBezTo>
                  <a:cubicBezTo>
                    <a:pt x="113" y="164"/>
                    <a:pt x="113" y="165"/>
                    <a:pt x="113" y="165"/>
                  </a:cubicBezTo>
                  <a:cubicBezTo>
                    <a:pt x="112" y="165"/>
                    <a:pt x="112" y="166"/>
                    <a:pt x="112" y="167"/>
                  </a:cubicBezTo>
                  <a:cubicBezTo>
                    <a:pt x="112" y="167"/>
                    <a:pt x="112" y="167"/>
                    <a:pt x="112" y="167"/>
                  </a:cubicBezTo>
                  <a:cubicBezTo>
                    <a:pt x="111" y="167"/>
                    <a:pt x="111" y="167"/>
                    <a:pt x="111" y="168"/>
                  </a:cubicBezTo>
                  <a:cubicBezTo>
                    <a:pt x="111" y="168"/>
                    <a:pt x="110" y="168"/>
                    <a:pt x="110" y="169"/>
                  </a:cubicBezTo>
                  <a:cubicBezTo>
                    <a:pt x="110" y="168"/>
                    <a:pt x="110" y="168"/>
                    <a:pt x="109" y="168"/>
                  </a:cubicBezTo>
                  <a:cubicBezTo>
                    <a:pt x="109" y="168"/>
                    <a:pt x="109" y="167"/>
                    <a:pt x="109" y="167"/>
                  </a:cubicBezTo>
                  <a:cubicBezTo>
                    <a:pt x="109" y="166"/>
                    <a:pt x="109" y="165"/>
                    <a:pt x="108" y="164"/>
                  </a:cubicBezTo>
                  <a:cubicBezTo>
                    <a:pt x="107" y="163"/>
                    <a:pt x="106" y="163"/>
                    <a:pt x="105" y="163"/>
                  </a:cubicBezTo>
                  <a:cubicBezTo>
                    <a:pt x="105" y="163"/>
                    <a:pt x="104" y="163"/>
                    <a:pt x="104" y="163"/>
                  </a:cubicBezTo>
                  <a:cubicBezTo>
                    <a:pt x="104" y="162"/>
                    <a:pt x="103" y="162"/>
                    <a:pt x="103" y="162"/>
                  </a:cubicBezTo>
                  <a:cubicBezTo>
                    <a:pt x="103" y="161"/>
                    <a:pt x="102" y="161"/>
                    <a:pt x="101" y="161"/>
                  </a:cubicBezTo>
                  <a:cubicBezTo>
                    <a:pt x="99" y="160"/>
                    <a:pt x="98" y="161"/>
                    <a:pt x="97" y="163"/>
                  </a:cubicBezTo>
                  <a:cubicBezTo>
                    <a:pt x="96" y="164"/>
                    <a:pt x="96" y="165"/>
                    <a:pt x="96" y="166"/>
                  </a:cubicBezTo>
                  <a:cubicBezTo>
                    <a:pt x="96" y="168"/>
                    <a:pt x="97" y="169"/>
                    <a:pt x="98" y="170"/>
                  </a:cubicBezTo>
                  <a:cubicBezTo>
                    <a:pt x="99" y="170"/>
                    <a:pt x="100" y="171"/>
                    <a:pt x="100" y="171"/>
                  </a:cubicBezTo>
                  <a:cubicBezTo>
                    <a:pt x="100" y="172"/>
                    <a:pt x="101" y="172"/>
                    <a:pt x="101" y="172"/>
                  </a:cubicBezTo>
                  <a:cubicBezTo>
                    <a:pt x="101" y="172"/>
                    <a:pt x="101" y="172"/>
                    <a:pt x="101" y="173"/>
                  </a:cubicBezTo>
                  <a:cubicBezTo>
                    <a:pt x="101" y="173"/>
                    <a:pt x="101" y="173"/>
                    <a:pt x="101" y="173"/>
                  </a:cubicBezTo>
                  <a:cubicBezTo>
                    <a:pt x="101" y="173"/>
                    <a:pt x="102" y="174"/>
                    <a:pt x="102" y="174"/>
                  </a:cubicBezTo>
                  <a:cubicBezTo>
                    <a:pt x="102" y="174"/>
                    <a:pt x="102" y="174"/>
                    <a:pt x="102" y="174"/>
                  </a:cubicBezTo>
                  <a:cubicBezTo>
                    <a:pt x="102" y="175"/>
                    <a:pt x="103" y="176"/>
                    <a:pt x="103" y="177"/>
                  </a:cubicBezTo>
                  <a:cubicBezTo>
                    <a:pt x="104" y="177"/>
                    <a:pt x="105" y="177"/>
                    <a:pt x="105" y="177"/>
                  </a:cubicBezTo>
                  <a:cubicBezTo>
                    <a:pt x="106" y="177"/>
                    <a:pt x="106" y="177"/>
                    <a:pt x="106" y="177"/>
                  </a:cubicBezTo>
                  <a:cubicBezTo>
                    <a:pt x="106" y="176"/>
                    <a:pt x="106" y="176"/>
                    <a:pt x="106" y="176"/>
                  </a:cubicBezTo>
                  <a:cubicBezTo>
                    <a:pt x="106" y="176"/>
                    <a:pt x="106" y="176"/>
                    <a:pt x="106" y="176"/>
                  </a:cubicBezTo>
                  <a:cubicBezTo>
                    <a:pt x="106" y="177"/>
                    <a:pt x="106" y="177"/>
                    <a:pt x="106" y="177"/>
                  </a:cubicBezTo>
                  <a:cubicBezTo>
                    <a:pt x="107" y="177"/>
                    <a:pt x="107" y="177"/>
                    <a:pt x="107" y="177"/>
                  </a:cubicBezTo>
                  <a:cubicBezTo>
                    <a:pt x="107" y="177"/>
                    <a:pt x="108" y="177"/>
                    <a:pt x="108" y="177"/>
                  </a:cubicBezTo>
                  <a:cubicBezTo>
                    <a:pt x="108" y="177"/>
                    <a:pt x="108" y="177"/>
                    <a:pt x="107" y="177"/>
                  </a:cubicBezTo>
                  <a:cubicBezTo>
                    <a:pt x="107" y="178"/>
                    <a:pt x="107" y="178"/>
                    <a:pt x="106" y="178"/>
                  </a:cubicBezTo>
                  <a:cubicBezTo>
                    <a:pt x="106" y="178"/>
                    <a:pt x="106" y="178"/>
                    <a:pt x="106" y="178"/>
                  </a:cubicBezTo>
                  <a:cubicBezTo>
                    <a:pt x="106" y="179"/>
                    <a:pt x="105" y="179"/>
                    <a:pt x="105" y="179"/>
                  </a:cubicBezTo>
                  <a:cubicBezTo>
                    <a:pt x="105" y="180"/>
                    <a:pt x="105" y="180"/>
                    <a:pt x="105" y="180"/>
                  </a:cubicBezTo>
                  <a:cubicBezTo>
                    <a:pt x="105" y="180"/>
                    <a:pt x="105" y="181"/>
                    <a:pt x="105" y="181"/>
                  </a:cubicBezTo>
                  <a:cubicBezTo>
                    <a:pt x="104" y="180"/>
                    <a:pt x="104" y="181"/>
                    <a:pt x="103" y="181"/>
                  </a:cubicBezTo>
                  <a:cubicBezTo>
                    <a:pt x="103" y="181"/>
                    <a:pt x="103" y="181"/>
                    <a:pt x="102" y="181"/>
                  </a:cubicBezTo>
                  <a:cubicBezTo>
                    <a:pt x="102" y="181"/>
                    <a:pt x="102" y="181"/>
                    <a:pt x="102" y="181"/>
                  </a:cubicBezTo>
                  <a:cubicBezTo>
                    <a:pt x="101" y="182"/>
                    <a:pt x="101" y="182"/>
                    <a:pt x="101" y="183"/>
                  </a:cubicBezTo>
                  <a:cubicBezTo>
                    <a:pt x="101" y="183"/>
                    <a:pt x="101" y="184"/>
                    <a:pt x="101" y="184"/>
                  </a:cubicBezTo>
                  <a:cubicBezTo>
                    <a:pt x="100" y="184"/>
                    <a:pt x="100" y="184"/>
                    <a:pt x="99" y="185"/>
                  </a:cubicBezTo>
                  <a:cubicBezTo>
                    <a:pt x="99" y="185"/>
                    <a:pt x="99" y="185"/>
                    <a:pt x="99" y="185"/>
                  </a:cubicBezTo>
                  <a:cubicBezTo>
                    <a:pt x="99" y="185"/>
                    <a:pt x="98" y="185"/>
                    <a:pt x="97" y="186"/>
                  </a:cubicBezTo>
                  <a:cubicBezTo>
                    <a:pt x="97" y="187"/>
                    <a:pt x="97" y="187"/>
                    <a:pt x="97" y="187"/>
                  </a:cubicBezTo>
                  <a:cubicBezTo>
                    <a:pt x="97" y="187"/>
                    <a:pt x="96" y="188"/>
                    <a:pt x="96" y="188"/>
                  </a:cubicBezTo>
                  <a:cubicBezTo>
                    <a:pt x="96" y="188"/>
                    <a:pt x="96" y="188"/>
                    <a:pt x="96" y="188"/>
                  </a:cubicBezTo>
                  <a:cubicBezTo>
                    <a:pt x="95" y="188"/>
                    <a:pt x="94" y="189"/>
                    <a:pt x="94" y="190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94" y="190"/>
                    <a:pt x="94" y="190"/>
                    <a:pt x="94" y="190"/>
                  </a:cubicBezTo>
                  <a:cubicBezTo>
                    <a:pt x="93" y="190"/>
                    <a:pt x="93" y="190"/>
                    <a:pt x="93" y="190"/>
                  </a:cubicBezTo>
                  <a:cubicBezTo>
                    <a:pt x="93" y="190"/>
                    <a:pt x="92" y="190"/>
                    <a:pt x="92" y="190"/>
                  </a:cubicBezTo>
                  <a:cubicBezTo>
                    <a:pt x="92" y="190"/>
                    <a:pt x="91" y="190"/>
                    <a:pt x="91" y="190"/>
                  </a:cubicBezTo>
                  <a:cubicBezTo>
                    <a:pt x="91" y="190"/>
                    <a:pt x="90" y="189"/>
                    <a:pt x="89" y="190"/>
                  </a:cubicBezTo>
                  <a:cubicBezTo>
                    <a:pt x="88" y="190"/>
                    <a:pt x="88" y="190"/>
                    <a:pt x="88" y="191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7" y="191"/>
                    <a:pt x="87" y="191"/>
                    <a:pt x="87" y="191"/>
                  </a:cubicBezTo>
                  <a:cubicBezTo>
                    <a:pt x="86" y="191"/>
                    <a:pt x="85" y="191"/>
                    <a:pt x="84" y="191"/>
                  </a:cubicBezTo>
                  <a:cubicBezTo>
                    <a:pt x="84" y="191"/>
                    <a:pt x="83" y="192"/>
                    <a:pt x="83" y="192"/>
                  </a:cubicBezTo>
                  <a:cubicBezTo>
                    <a:pt x="83" y="193"/>
                    <a:pt x="83" y="193"/>
                    <a:pt x="83" y="193"/>
                  </a:cubicBezTo>
                  <a:cubicBezTo>
                    <a:pt x="83" y="193"/>
                    <a:pt x="82" y="193"/>
                    <a:pt x="81" y="193"/>
                  </a:cubicBezTo>
                  <a:cubicBezTo>
                    <a:pt x="81" y="194"/>
                    <a:pt x="81" y="194"/>
                    <a:pt x="81" y="194"/>
                  </a:cubicBezTo>
                  <a:cubicBezTo>
                    <a:pt x="81" y="193"/>
                    <a:pt x="81" y="193"/>
                    <a:pt x="81" y="193"/>
                  </a:cubicBezTo>
                  <a:cubicBezTo>
                    <a:pt x="80" y="194"/>
                    <a:pt x="80" y="194"/>
                    <a:pt x="80" y="194"/>
                  </a:cubicBezTo>
                  <a:cubicBezTo>
                    <a:pt x="80" y="195"/>
                    <a:pt x="80" y="195"/>
                    <a:pt x="80" y="195"/>
                  </a:cubicBezTo>
                  <a:cubicBezTo>
                    <a:pt x="80" y="195"/>
                    <a:pt x="80" y="195"/>
                    <a:pt x="80" y="196"/>
                  </a:cubicBezTo>
                  <a:cubicBezTo>
                    <a:pt x="80" y="196"/>
                    <a:pt x="80" y="196"/>
                    <a:pt x="79" y="196"/>
                  </a:cubicBezTo>
                  <a:cubicBezTo>
                    <a:pt x="79" y="196"/>
                    <a:pt x="79" y="196"/>
                    <a:pt x="79" y="196"/>
                  </a:cubicBezTo>
                  <a:cubicBezTo>
                    <a:pt x="78" y="196"/>
                    <a:pt x="78" y="196"/>
                    <a:pt x="78" y="196"/>
                  </a:cubicBezTo>
                  <a:cubicBezTo>
                    <a:pt x="78" y="196"/>
                    <a:pt x="78" y="196"/>
                    <a:pt x="78" y="196"/>
                  </a:cubicBezTo>
                  <a:cubicBezTo>
                    <a:pt x="77" y="196"/>
                    <a:pt x="77" y="196"/>
                    <a:pt x="77" y="196"/>
                  </a:cubicBezTo>
                  <a:cubicBezTo>
                    <a:pt x="76" y="197"/>
                    <a:pt x="76" y="197"/>
                    <a:pt x="76" y="197"/>
                  </a:cubicBezTo>
                  <a:cubicBezTo>
                    <a:pt x="76" y="197"/>
                    <a:pt x="74" y="197"/>
                    <a:pt x="74" y="198"/>
                  </a:cubicBezTo>
                  <a:cubicBezTo>
                    <a:pt x="74" y="199"/>
                    <a:pt x="74" y="199"/>
                    <a:pt x="74" y="199"/>
                  </a:cubicBezTo>
                  <a:cubicBezTo>
                    <a:pt x="74" y="199"/>
                    <a:pt x="74" y="199"/>
                    <a:pt x="74" y="200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73" y="200"/>
                    <a:pt x="73" y="200"/>
                    <a:pt x="73" y="200"/>
                  </a:cubicBezTo>
                  <a:cubicBezTo>
                    <a:pt x="72" y="200"/>
                    <a:pt x="72" y="201"/>
                    <a:pt x="71" y="202"/>
                  </a:cubicBezTo>
                  <a:cubicBezTo>
                    <a:pt x="71" y="202"/>
                    <a:pt x="71" y="202"/>
                    <a:pt x="71" y="202"/>
                  </a:cubicBezTo>
                  <a:cubicBezTo>
                    <a:pt x="71" y="202"/>
                    <a:pt x="70" y="203"/>
                    <a:pt x="70" y="203"/>
                  </a:cubicBezTo>
                  <a:cubicBezTo>
                    <a:pt x="69" y="203"/>
                    <a:pt x="69" y="204"/>
                    <a:pt x="69" y="205"/>
                  </a:cubicBezTo>
                  <a:cubicBezTo>
                    <a:pt x="70" y="205"/>
                    <a:pt x="70" y="205"/>
                    <a:pt x="70" y="205"/>
                  </a:cubicBezTo>
                  <a:cubicBezTo>
                    <a:pt x="69" y="205"/>
                    <a:pt x="69" y="205"/>
                    <a:pt x="69" y="205"/>
                  </a:cubicBezTo>
                  <a:cubicBezTo>
                    <a:pt x="69" y="206"/>
                    <a:pt x="69" y="206"/>
                    <a:pt x="68" y="206"/>
                  </a:cubicBezTo>
                  <a:cubicBezTo>
                    <a:pt x="68" y="206"/>
                    <a:pt x="68" y="206"/>
                    <a:pt x="68" y="206"/>
                  </a:cubicBezTo>
                  <a:cubicBezTo>
                    <a:pt x="68" y="206"/>
                    <a:pt x="67" y="206"/>
                    <a:pt x="66" y="207"/>
                  </a:cubicBezTo>
                  <a:cubicBezTo>
                    <a:pt x="66" y="208"/>
                    <a:pt x="66" y="209"/>
                    <a:pt x="66" y="209"/>
                  </a:cubicBezTo>
                  <a:cubicBezTo>
                    <a:pt x="66" y="210"/>
                    <a:pt x="67" y="210"/>
                    <a:pt x="67" y="210"/>
                  </a:cubicBezTo>
                  <a:cubicBezTo>
                    <a:pt x="67" y="210"/>
                    <a:pt x="67" y="210"/>
                    <a:pt x="67" y="210"/>
                  </a:cubicBezTo>
                  <a:cubicBezTo>
                    <a:pt x="67" y="210"/>
                    <a:pt x="66" y="211"/>
                    <a:pt x="66" y="211"/>
                  </a:cubicBezTo>
                  <a:cubicBezTo>
                    <a:pt x="66" y="211"/>
                    <a:pt x="66" y="211"/>
                    <a:pt x="65" y="211"/>
                  </a:cubicBezTo>
                  <a:cubicBezTo>
                    <a:pt x="65" y="211"/>
                    <a:pt x="65" y="211"/>
                    <a:pt x="65" y="211"/>
                  </a:cubicBezTo>
                  <a:cubicBezTo>
                    <a:pt x="64" y="212"/>
                    <a:pt x="64" y="212"/>
                    <a:pt x="63" y="212"/>
                  </a:cubicBezTo>
                  <a:cubicBezTo>
                    <a:pt x="63" y="213"/>
                    <a:pt x="63" y="213"/>
                    <a:pt x="63" y="213"/>
                  </a:cubicBezTo>
                  <a:cubicBezTo>
                    <a:pt x="62" y="213"/>
                    <a:pt x="61" y="214"/>
                    <a:pt x="62" y="216"/>
                  </a:cubicBezTo>
                  <a:cubicBezTo>
                    <a:pt x="61" y="216"/>
                    <a:pt x="61" y="216"/>
                    <a:pt x="60" y="217"/>
                  </a:cubicBezTo>
                  <a:cubicBezTo>
                    <a:pt x="60" y="217"/>
                    <a:pt x="60" y="218"/>
                    <a:pt x="61" y="218"/>
                  </a:cubicBezTo>
                  <a:cubicBezTo>
                    <a:pt x="61" y="218"/>
                    <a:pt x="61" y="219"/>
                    <a:pt x="61" y="219"/>
                  </a:cubicBezTo>
                  <a:cubicBezTo>
                    <a:pt x="60" y="219"/>
                    <a:pt x="61" y="220"/>
                    <a:pt x="61" y="220"/>
                  </a:cubicBezTo>
                  <a:cubicBezTo>
                    <a:pt x="61" y="221"/>
                    <a:pt x="62" y="221"/>
                    <a:pt x="62" y="221"/>
                  </a:cubicBezTo>
                  <a:cubicBezTo>
                    <a:pt x="61" y="221"/>
                    <a:pt x="60" y="222"/>
                    <a:pt x="60" y="222"/>
                  </a:cubicBezTo>
                  <a:cubicBezTo>
                    <a:pt x="59" y="224"/>
                    <a:pt x="60" y="226"/>
                    <a:pt x="60" y="226"/>
                  </a:cubicBezTo>
                  <a:cubicBezTo>
                    <a:pt x="60" y="226"/>
                    <a:pt x="60" y="226"/>
                    <a:pt x="60" y="227"/>
                  </a:cubicBezTo>
                  <a:cubicBezTo>
                    <a:pt x="60" y="227"/>
                    <a:pt x="60" y="227"/>
                    <a:pt x="59" y="227"/>
                  </a:cubicBezTo>
                  <a:cubicBezTo>
                    <a:pt x="58" y="227"/>
                    <a:pt x="58" y="229"/>
                    <a:pt x="58" y="230"/>
                  </a:cubicBezTo>
                  <a:cubicBezTo>
                    <a:pt x="58" y="230"/>
                    <a:pt x="59" y="230"/>
                    <a:pt x="59" y="230"/>
                  </a:cubicBezTo>
                  <a:cubicBezTo>
                    <a:pt x="59" y="230"/>
                    <a:pt x="59" y="230"/>
                    <a:pt x="59" y="230"/>
                  </a:cubicBezTo>
                  <a:cubicBezTo>
                    <a:pt x="58" y="231"/>
                    <a:pt x="58" y="231"/>
                    <a:pt x="59" y="232"/>
                  </a:cubicBezTo>
                  <a:cubicBezTo>
                    <a:pt x="59" y="232"/>
                    <a:pt x="59" y="232"/>
                    <a:pt x="59" y="233"/>
                  </a:cubicBezTo>
                  <a:cubicBezTo>
                    <a:pt x="58" y="233"/>
                    <a:pt x="58" y="233"/>
                    <a:pt x="58" y="233"/>
                  </a:cubicBezTo>
                  <a:cubicBezTo>
                    <a:pt x="56" y="233"/>
                    <a:pt x="56" y="235"/>
                    <a:pt x="55" y="236"/>
                  </a:cubicBezTo>
                  <a:cubicBezTo>
                    <a:pt x="55" y="237"/>
                    <a:pt x="55" y="237"/>
                    <a:pt x="54" y="238"/>
                  </a:cubicBezTo>
                  <a:cubicBezTo>
                    <a:pt x="54" y="238"/>
                    <a:pt x="54" y="238"/>
                    <a:pt x="54" y="238"/>
                  </a:cubicBezTo>
                  <a:cubicBezTo>
                    <a:pt x="53" y="239"/>
                    <a:pt x="53" y="240"/>
                    <a:pt x="53" y="241"/>
                  </a:cubicBezTo>
                  <a:cubicBezTo>
                    <a:pt x="54" y="242"/>
                    <a:pt x="55" y="241"/>
                    <a:pt x="56" y="241"/>
                  </a:cubicBezTo>
                  <a:cubicBezTo>
                    <a:pt x="56" y="241"/>
                    <a:pt x="57" y="241"/>
                    <a:pt x="57" y="240"/>
                  </a:cubicBezTo>
                  <a:cubicBezTo>
                    <a:pt x="58" y="240"/>
                    <a:pt x="58" y="240"/>
                    <a:pt x="58" y="240"/>
                  </a:cubicBezTo>
                  <a:cubicBezTo>
                    <a:pt x="59" y="240"/>
                    <a:pt x="59" y="239"/>
                    <a:pt x="59" y="239"/>
                  </a:cubicBezTo>
                  <a:cubicBezTo>
                    <a:pt x="59" y="240"/>
                    <a:pt x="59" y="240"/>
                    <a:pt x="59" y="240"/>
                  </a:cubicBezTo>
                  <a:cubicBezTo>
                    <a:pt x="59" y="240"/>
                    <a:pt x="59" y="240"/>
                    <a:pt x="58" y="240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58" y="241"/>
                    <a:pt x="58" y="241"/>
                    <a:pt x="58" y="241"/>
                  </a:cubicBezTo>
                  <a:cubicBezTo>
                    <a:pt x="58" y="241"/>
                    <a:pt x="57" y="241"/>
                    <a:pt x="57" y="242"/>
                  </a:cubicBezTo>
                  <a:cubicBezTo>
                    <a:pt x="57" y="242"/>
                    <a:pt x="57" y="242"/>
                    <a:pt x="57" y="242"/>
                  </a:cubicBezTo>
                  <a:cubicBezTo>
                    <a:pt x="56" y="242"/>
                    <a:pt x="55" y="242"/>
                    <a:pt x="54" y="243"/>
                  </a:cubicBezTo>
                  <a:cubicBezTo>
                    <a:pt x="54" y="243"/>
                    <a:pt x="54" y="244"/>
                    <a:pt x="54" y="244"/>
                  </a:cubicBezTo>
                  <a:cubicBezTo>
                    <a:pt x="54" y="245"/>
                    <a:pt x="54" y="245"/>
                    <a:pt x="54" y="245"/>
                  </a:cubicBezTo>
                  <a:cubicBezTo>
                    <a:pt x="54" y="246"/>
                    <a:pt x="54" y="247"/>
                    <a:pt x="55" y="248"/>
                  </a:cubicBezTo>
                  <a:cubicBezTo>
                    <a:pt x="55" y="248"/>
                    <a:pt x="54" y="248"/>
                    <a:pt x="54" y="248"/>
                  </a:cubicBezTo>
                  <a:cubicBezTo>
                    <a:pt x="54" y="248"/>
                    <a:pt x="54" y="248"/>
                    <a:pt x="53" y="248"/>
                  </a:cubicBezTo>
                  <a:cubicBezTo>
                    <a:pt x="53" y="249"/>
                    <a:pt x="52" y="249"/>
                    <a:pt x="52" y="250"/>
                  </a:cubicBezTo>
                  <a:cubicBezTo>
                    <a:pt x="47" y="251"/>
                    <a:pt x="47" y="251"/>
                    <a:pt x="47" y="251"/>
                  </a:cubicBezTo>
                  <a:cubicBezTo>
                    <a:pt x="51" y="252"/>
                    <a:pt x="51" y="252"/>
                    <a:pt x="51" y="252"/>
                  </a:cubicBezTo>
                  <a:cubicBezTo>
                    <a:pt x="51" y="253"/>
                    <a:pt x="51" y="253"/>
                    <a:pt x="51" y="253"/>
                  </a:cubicBezTo>
                  <a:cubicBezTo>
                    <a:pt x="52" y="253"/>
                    <a:pt x="52" y="253"/>
                    <a:pt x="52" y="253"/>
                  </a:cubicBezTo>
                  <a:cubicBezTo>
                    <a:pt x="53" y="254"/>
                    <a:pt x="53" y="254"/>
                    <a:pt x="53" y="254"/>
                  </a:cubicBezTo>
                  <a:cubicBezTo>
                    <a:pt x="53" y="254"/>
                    <a:pt x="53" y="254"/>
                    <a:pt x="53" y="254"/>
                  </a:cubicBezTo>
                  <a:cubicBezTo>
                    <a:pt x="53" y="254"/>
                    <a:pt x="53" y="254"/>
                    <a:pt x="53" y="254"/>
                  </a:cubicBezTo>
                  <a:cubicBezTo>
                    <a:pt x="53" y="254"/>
                    <a:pt x="52" y="255"/>
                    <a:pt x="52" y="255"/>
                  </a:cubicBezTo>
                  <a:cubicBezTo>
                    <a:pt x="52" y="256"/>
                    <a:pt x="53" y="257"/>
                    <a:pt x="53" y="257"/>
                  </a:cubicBezTo>
                  <a:cubicBezTo>
                    <a:pt x="53" y="257"/>
                    <a:pt x="53" y="257"/>
                    <a:pt x="53" y="257"/>
                  </a:cubicBezTo>
                  <a:cubicBezTo>
                    <a:pt x="53" y="258"/>
                    <a:pt x="53" y="258"/>
                    <a:pt x="53" y="258"/>
                  </a:cubicBezTo>
                  <a:cubicBezTo>
                    <a:pt x="53" y="258"/>
                    <a:pt x="52" y="259"/>
                    <a:pt x="51" y="260"/>
                  </a:cubicBezTo>
                  <a:cubicBezTo>
                    <a:pt x="51" y="261"/>
                    <a:pt x="52" y="262"/>
                    <a:pt x="52" y="262"/>
                  </a:cubicBezTo>
                  <a:cubicBezTo>
                    <a:pt x="52" y="263"/>
                    <a:pt x="52" y="263"/>
                    <a:pt x="52" y="263"/>
                  </a:cubicBezTo>
                  <a:cubicBezTo>
                    <a:pt x="52" y="264"/>
                    <a:pt x="52" y="265"/>
                    <a:pt x="52" y="266"/>
                  </a:cubicBezTo>
                  <a:cubicBezTo>
                    <a:pt x="51" y="267"/>
                    <a:pt x="51" y="267"/>
                    <a:pt x="52" y="268"/>
                  </a:cubicBezTo>
                  <a:cubicBezTo>
                    <a:pt x="52" y="268"/>
                    <a:pt x="52" y="268"/>
                    <a:pt x="53" y="268"/>
                  </a:cubicBezTo>
                  <a:cubicBezTo>
                    <a:pt x="52" y="268"/>
                    <a:pt x="52" y="268"/>
                    <a:pt x="52" y="268"/>
                  </a:cubicBezTo>
                  <a:cubicBezTo>
                    <a:pt x="52" y="269"/>
                    <a:pt x="52" y="269"/>
                    <a:pt x="52" y="269"/>
                  </a:cubicBezTo>
                  <a:cubicBezTo>
                    <a:pt x="52" y="269"/>
                    <a:pt x="52" y="269"/>
                    <a:pt x="52" y="269"/>
                  </a:cubicBezTo>
                  <a:cubicBezTo>
                    <a:pt x="51" y="269"/>
                    <a:pt x="51" y="270"/>
                    <a:pt x="50" y="271"/>
                  </a:cubicBezTo>
                  <a:cubicBezTo>
                    <a:pt x="50" y="272"/>
                    <a:pt x="50" y="273"/>
                    <a:pt x="51" y="273"/>
                  </a:cubicBezTo>
                  <a:cubicBezTo>
                    <a:pt x="51" y="274"/>
                    <a:pt x="50" y="274"/>
                    <a:pt x="51" y="275"/>
                  </a:cubicBezTo>
                  <a:cubicBezTo>
                    <a:pt x="51" y="275"/>
                    <a:pt x="51" y="275"/>
                    <a:pt x="51" y="276"/>
                  </a:cubicBezTo>
                  <a:cubicBezTo>
                    <a:pt x="51" y="277"/>
                    <a:pt x="52" y="277"/>
                    <a:pt x="53" y="277"/>
                  </a:cubicBezTo>
                  <a:cubicBezTo>
                    <a:pt x="53" y="277"/>
                    <a:pt x="54" y="277"/>
                    <a:pt x="54" y="277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54" y="277"/>
                    <a:pt x="54" y="277"/>
                    <a:pt x="54" y="277"/>
                  </a:cubicBezTo>
                  <a:cubicBezTo>
                    <a:pt x="53" y="278"/>
                    <a:pt x="53" y="278"/>
                    <a:pt x="52" y="278"/>
                  </a:cubicBezTo>
                  <a:cubicBezTo>
                    <a:pt x="49" y="281"/>
                    <a:pt x="49" y="281"/>
                    <a:pt x="49" y="281"/>
                  </a:cubicBezTo>
                  <a:cubicBezTo>
                    <a:pt x="53" y="281"/>
                    <a:pt x="53" y="281"/>
                    <a:pt x="53" y="281"/>
                  </a:cubicBezTo>
                  <a:cubicBezTo>
                    <a:pt x="53" y="281"/>
                    <a:pt x="53" y="281"/>
                    <a:pt x="54" y="281"/>
                  </a:cubicBezTo>
                  <a:cubicBezTo>
                    <a:pt x="54" y="281"/>
                    <a:pt x="54" y="281"/>
                    <a:pt x="54" y="281"/>
                  </a:cubicBezTo>
                  <a:cubicBezTo>
                    <a:pt x="55" y="281"/>
                    <a:pt x="55" y="281"/>
                    <a:pt x="56" y="282"/>
                  </a:cubicBezTo>
                  <a:cubicBezTo>
                    <a:pt x="57" y="282"/>
                    <a:pt x="58" y="281"/>
                    <a:pt x="58" y="281"/>
                  </a:cubicBezTo>
                  <a:cubicBezTo>
                    <a:pt x="58" y="281"/>
                    <a:pt x="58" y="280"/>
                    <a:pt x="58" y="280"/>
                  </a:cubicBezTo>
                  <a:cubicBezTo>
                    <a:pt x="59" y="280"/>
                    <a:pt x="59" y="280"/>
                    <a:pt x="59" y="280"/>
                  </a:cubicBezTo>
                  <a:cubicBezTo>
                    <a:pt x="59" y="280"/>
                    <a:pt x="59" y="280"/>
                    <a:pt x="59" y="280"/>
                  </a:cubicBezTo>
                  <a:cubicBezTo>
                    <a:pt x="60" y="280"/>
                    <a:pt x="60" y="280"/>
                    <a:pt x="60" y="280"/>
                  </a:cubicBezTo>
                  <a:cubicBezTo>
                    <a:pt x="62" y="280"/>
                    <a:pt x="62" y="280"/>
                    <a:pt x="62" y="280"/>
                  </a:cubicBezTo>
                  <a:cubicBezTo>
                    <a:pt x="62" y="280"/>
                    <a:pt x="62" y="280"/>
                    <a:pt x="63" y="280"/>
                  </a:cubicBezTo>
                  <a:cubicBezTo>
                    <a:pt x="63" y="280"/>
                    <a:pt x="63" y="280"/>
                    <a:pt x="64" y="280"/>
                  </a:cubicBezTo>
                  <a:cubicBezTo>
                    <a:pt x="64" y="280"/>
                    <a:pt x="64" y="280"/>
                    <a:pt x="64" y="280"/>
                  </a:cubicBezTo>
                  <a:cubicBezTo>
                    <a:pt x="65" y="280"/>
                    <a:pt x="65" y="280"/>
                    <a:pt x="65" y="280"/>
                  </a:cubicBezTo>
                  <a:cubicBezTo>
                    <a:pt x="65" y="280"/>
                    <a:pt x="65" y="280"/>
                    <a:pt x="65" y="280"/>
                  </a:cubicBezTo>
                  <a:cubicBezTo>
                    <a:pt x="64" y="280"/>
                    <a:pt x="64" y="281"/>
                    <a:pt x="64" y="281"/>
                  </a:cubicBezTo>
                  <a:cubicBezTo>
                    <a:pt x="63" y="282"/>
                    <a:pt x="63" y="282"/>
                    <a:pt x="63" y="283"/>
                  </a:cubicBezTo>
                  <a:cubicBezTo>
                    <a:pt x="63" y="283"/>
                    <a:pt x="63" y="283"/>
                    <a:pt x="63" y="283"/>
                  </a:cubicBezTo>
                  <a:cubicBezTo>
                    <a:pt x="63" y="283"/>
                    <a:pt x="63" y="283"/>
                    <a:pt x="63" y="283"/>
                  </a:cubicBezTo>
                  <a:cubicBezTo>
                    <a:pt x="62" y="284"/>
                    <a:pt x="62" y="285"/>
                    <a:pt x="62" y="286"/>
                  </a:cubicBezTo>
                  <a:cubicBezTo>
                    <a:pt x="62" y="286"/>
                    <a:pt x="63" y="287"/>
                    <a:pt x="64" y="287"/>
                  </a:cubicBezTo>
                  <a:cubicBezTo>
                    <a:pt x="65" y="287"/>
                    <a:pt x="65" y="287"/>
                    <a:pt x="65" y="287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7"/>
                    <a:pt x="66" y="287"/>
                    <a:pt x="66" y="287"/>
                  </a:cubicBezTo>
                  <a:cubicBezTo>
                    <a:pt x="66" y="287"/>
                    <a:pt x="66" y="288"/>
                    <a:pt x="65" y="288"/>
                  </a:cubicBezTo>
                  <a:cubicBezTo>
                    <a:pt x="65" y="288"/>
                    <a:pt x="65" y="288"/>
                    <a:pt x="65" y="288"/>
                  </a:cubicBezTo>
                  <a:cubicBezTo>
                    <a:pt x="64" y="290"/>
                    <a:pt x="64" y="291"/>
                    <a:pt x="64" y="291"/>
                  </a:cubicBezTo>
                  <a:cubicBezTo>
                    <a:pt x="64" y="291"/>
                    <a:pt x="64" y="291"/>
                    <a:pt x="64" y="292"/>
                  </a:cubicBezTo>
                  <a:cubicBezTo>
                    <a:pt x="63" y="292"/>
                    <a:pt x="63" y="293"/>
                    <a:pt x="63" y="293"/>
                  </a:cubicBezTo>
                  <a:cubicBezTo>
                    <a:pt x="63" y="294"/>
                    <a:pt x="63" y="295"/>
                    <a:pt x="64" y="295"/>
                  </a:cubicBezTo>
                  <a:cubicBezTo>
                    <a:pt x="65" y="295"/>
                    <a:pt x="66" y="295"/>
                    <a:pt x="67" y="295"/>
                  </a:cubicBezTo>
                  <a:cubicBezTo>
                    <a:pt x="67" y="295"/>
                    <a:pt x="68" y="294"/>
                    <a:pt x="69" y="293"/>
                  </a:cubicBezTo>
                  <a:cubicBezTo>
                    <a:pt x="69" y="293"/>
                    <a:pt x="70" y="293"/>
                    <a:pt x="70" y="292"/>
                  </a:cubicBezTo>
                  <a:cubicBezTo>
                    <a:pt x="70" y="292"/>
                    <a:pt x="70" y="292"/>
                    <a:pt x="70" y="292"/>
                  </a:cubicBezTo>
                  <a:cubicBezTo>
                    <a:pt x="70" y="293"/>
                    <a:pt x="71" y="293"/>
                    <a:pt x="72" y="293"/>
                  </a:cubicBezTo>
                  <a:cubicBezTo>
                    <a:pt x="72" y="293"/>
                    <a:pt x="72" y="293"/>
                    <a:pt x="72" y="293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73" y="294"/>
                    <a:pt x="73" y="294"/>
                    <a:pt x="73" y="294"/>
                  </a:cubicBezTo>
                  <a:cubicBezTo>
                    <a:pt x="74" y="294"/>
                    <a:pt x="74" y="295"/>
                    <a:pt x="74" y="295"/>
                  </a:cubicBezTo>
                  <a:cubicBezTo>
                    <a:pt x="75" y="295"/>
                    <a:pt x="75" y="295"/>
                    <a:pt x="76" y="295"/>
                  </a:cubicBezTo>
                  <a:cubicBezTo>
                    <a:pt x="77" y="295"/>
                    <a:pt x="78" y="295"/>
                    <a:pt x="78" y="293"/>
                  </a:cubicBezTo>
                  <a:cubicBezTo>
                    <a:pt x="78" y="293"/>
                    <a:pt x="78" y="293"/>
                    <a:pt x="78" y="293"/>
                  </a:cubicBezTo>
                  <a:cubicBezTo>
                    <a:pt x="78" y="293"/>
                    <a:pt x="78" y="293"/>
                    <a:pt x="78" y="293"/>
                  </a:cubicBezTo>
                  <a:cubicBezTo>
                    <a:pt x="78" y="293"/>
                    <a:pt x="78" y="293"/>
                    <a:pt x="78" y="293"/>
                  </a:cubicBezTo>
                  <a:cubicBezTo>
                    <a:pt x="79" y="292"/>
                    <a:pt x="79" y="292"/>
                    <a:pt x="79" y="291"/>
                  </a:cubicBezTo>
                  <a:cubicBezTo>
                    <a:pt x="80" y="290"/>
                    <a:pt x="80" y="290"/>
                    <a:pt x="80" y="289"/>
                  </a:cubicBezTo>
                  <a:cubicBezTo>
                    <a:pt x="80" y="289"/>
                    <a:pt x="80" y="289"/>
                    <a:pt x="80" y="289"/>
                  </a:cubicBezTo>
                  <a:cubicBezTo>
                    <a:pt x="80" y="289"/>
                    <a:pt x="80" y="288"/>
                    <a:pt x="80" y="288"/>
                  </a:cubicBezTo>
                  <a:cubicBezTo>
                    <a:pt x="80" y="288"/>
                    <a:pt x="80" y="288"/>
                    <a:pt x="80" y="288"/>
                  </a:cubicBezTo>
                  <a:cubicBezTo>
                    <a:pt x="81" y="288"/>
                    <a:pt x="81" y="288"/>
                    <a:pt x="82" y="288"/>
                  </a:cubicBezTo>
                  <a:cubicBezTo>
                    <a:pt x="83" y="287"/>
                    <a:pt x="83" y="285"/>
                    <a:pt x="83" y="284"/>
                  </a:cubicBezTo>
                  <a:cubicBezTo>
                    <a:pt x="83" y="284"/>
                    <a:pt x="83" y="284"/>
                    <a:pt x="83" y="284"/>
                  </a:cubicBezTo>
                  <a:cubicBezTo>
                    <a:pt x="84" y="284"/>
                    <a:pt x="84" y="285"/>
                    <a:pt x="85" y="285"/>
                  </a:cubicBezTo>
                  <a:cubicBezTo>
                    <a:pt x="86" y="285"/>
                    <a:pt x="86" y="284"/>
                    <a:pt x="87" y="284"/>
                  </a:cubicBezTo>
                  <a:cubicBezTo>
                    <a:pt x="87" y="283"/>
                    <a:pt x="87" y="283"/>
                    <a:pt x="87" y="282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8" y="282"/>
                    <a:pt x="88" y="281"/>
                    <a:pt x="89" y="280"/>
                  </a:cubicBezTo>
                  <a:cubicBezTo>
                    <a:pt x="89" y="280"/>
                    <a:pt x="89" y="280"/>
                    <a:pt x="89" y="280"/>
                  </a:cubicBezTo>
                  <a:cubicBezTo>
                    <a:pt x="89" y="280"/>
                    <a:pt x="90" y="280"/>
                    <a:pt x="91" y="280"/>
                  </a:cubicBezTo>
                  <a:cubicBezTo>
                    <a:pt x="91" y="279"/>
                    <a:pt x="92" y="279"/>
                    <a:pt x="92" y="278"/>
                  </a:cubicBezTo>
                  <a:cubicBezTo>
                    <a:pt x="92" y="277"/>
                    <a:pt x="93" y="277"/>
                    <a:pt x="93" y="276"/>
                  </a:cubicBezTo>
                  <a:cubicBezTo>
                    <a:pt x="93" y="276"/>
                    <a:pt x="93" y="276"/>
                    <a:pt x="93" y="275"/>
                  </a:cubicBezTo>
                  <a:cubicBezTo>
                    <a:pt x="93" y="275"/>
                    <a:pt x="93" y="275"/>
                    <a:pt x="93" y="275"/>
                  </a:cubicBezTo>
                  <a:cubicBezTo>
                    <a:pt x="93" y="275"/>
                    <a:pt x="94" y="275"/>
                    <a:pt x="94" y="275"/>
                  </a:cubicBezTo>
                  <a:cubicBezTo>
                    <a:pt x="96" y="274"/>
                    <a:pt x="96" y="273"/>
                    <a:pt x="96" y="272"/>
                  </a:cubicBezTo>
                  <a:cubicBezTo>
                    <a:pt x="96" y="272"/>
                    <a:pt x="96" y="272"/>
                    <a:pt x="96" y="272"/>
                  </a:cubicBezTo>
                  <a:cubicBezTo>
                    <a:pt x="97" y="271"/>
                    <a:pt x="97" y="271"/>
                    <a:pt x="97" y="270"/>
                  </a:cubicBezTo>
                  <a:cubicBezTo>
                    <a:pt x="97" y="269"/>
                    <a:pt x="97" y="268"/>
                    <a:pt x="97" y="268"/>
                  </a:cubicBezTo>
                  <a:cubicBezTo>
                    <a:pt x="96" y="268"/>
                    <a:pt x="96" y="268"/>
                    <a:pt x="96" y="268"/>
                  </a:cubicBezTo>
                  <a:cubicBezTo>
                    <a:pt x="97" y="268"/>
                    <a:pt x="97" y="268"/>
                    <a:pt x="97" y="268"/>
                  </a:cubicBezTo>
                  <a:cubicBezTo>
                    <a:pt x="97" y="268"/>
                    <a:pt x="99" y="267"/>
                    <a:pt x="99" y="266"/>
                  </a:cubicBezTo>
                  <a:cubicBezTo>
                    <a:pt x="100" y="266"/>
                    <a:pt x="100" y="266"/>
                    <a:pt x="100" y="265"/>
                  </a:cubicBezTo>
                  <a:cubicBezTo>
                    <a:pt x="100" y="265"/>
                    <a:pt x="100" y="265"/>
                    <a:pt x="100" y="265"/>
                  </a:cubicBezTo>
                  <a:cubicBezTo>
                    <a:pt x="101" y="265"/>
                    <a:pt x="101" y="265"/>
                    <a:pt x="102" y="264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102" y="264"/>
                    <a:pt x="102" y="264"/>
                    <a:pt x="102" y="264"/>
                  </a:cubicBezTo>
                  <a:cubicBezTo>
                    <a:pt x="103" y="264"/>
                    <a:pt x="103" y="264"/>
                    <a:pt x="104" y="264"/>
                  </a:cubicBezTo>
                  <a:cubicBezTo>
                    <a:pt x="105" y="264"/>
                    <a:pt x="105" y="263"/>
                    <a:pt x="105" y="262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5" y="262"/>
                    <a:pt x="105" y="262"/>
                    <a:pt x="105" y="262"/>
                  </a:cubicBezTo>
                  <a:cubicBezTo>
                    <a:pt x="106" y="262"/>
                    <a:pt x="107" y="262"/>
                    <a:pt x="108" y="261"/>
                  </a:cubicBezTo>
                  <a:cubicBezTo>
                    <a:pt x="108" y="261"/>
                    <a:pt x="108" y="260"/>
                    <a:pt x="108" y="260"/>
                  </a:cubicBezTo>
                  <a:cubicBezTo>
                    <a:pt x="108" y="260"/>
                    <a:pt x="108" y="260"/>
                    <a:pt x="108" y="260"/>
                  </a:cubicBezTo>
                  <a:close/>
                  <a:moveTo>
                    <a:pt x="137" y="5"/>
                  </a:moveTo>
                  <a:cubicBezTo>
                    <a:pt x="137" y="5"/>
                    <a:pt x="137" y="5"/>
                    <a:pt x="137" y="5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5"/>
                    <a:pt x="137" y="5"/>
                    <a:pt x="137" y="5"/>
                  </a:cubicBezTo>
                  <a:close/>
                  <a:moveTo>
                    <a:pt x="162" y="31"/>
                  </a:moveTo>
                  <a:cubicBezTo>
                    <a:pt x="162" y="31"/>
                    <a:pt x="162" y="31"/>
                    <a:pt x="162" y="31"/>
                  </a:cubicBezTo>
                  <a:cubicBezTo>
                    <a:pt x="163" y="31"/>
                    <a:pt x="164" y="31"/>
                    <a:pt x="164" y="31"/>
                  </a:cubicBezTo>
                  <a:cubicBezTo>
                    <a:pt x="164" y="30"/>
                    <a:pt x="164" y="30"/>
                    <a:pt x="164" y="30"/>
                  </a:cubicBezTo>
                  <a:cubicBezTo>
                    <a:pt x="165" y="30"/>
                    <a:pt x="166" y="30"/>
                    <a:pt x="166" y="30"/>
                  </a:cubicBezTo>
                  <a:cubicBezTo>
                    <a:pt x="166" y="30"/>
                    <a:pt x="166" y="30"/>
                    <a:pt x="166" y="30"/>
                  </a:cubicBezTo>
                  <a:cubicBezTo>
                    <a:pt x="165" y="31"/>
                    <a:pt x="164" y="31"/>
                    <a:pt x="163" y="31"/>
                  </a:cubicBezTo>
                  <a:cubicBezTo>
                    <a:pt x="163" y="31"/>
                    <a:pt x="162" y="31"/>
                    <a:pt x="162" y="31"/>
                  </a:cubicBezTo>
                  <a:close/>
                  <a:moveTo>
                    <a:pt x="97" y="49"/>
                  </a:move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7"/>
                  </a:cubicBezTo>
                  <a:cubicBezTo>
                    <a:pt x="96" y="47"/>
                    <a:pt x="97" y="48"/>
                    <a:pt x="97" y="48"/>
                  </a:cubicBezTo>
                  <a:cubicBezTo>
                    <a:pt x="97" y="48"/>
                    <a:pt x="97" y="48"/>
                    <a:pt x="96" y="48"/>
                  </a:cubicBezTo>
                  <a:cubicBezTo>
                    <a:pt x="97" y="49"/>
                    <a:pt x="97" y="49"/>
                    <a:pt x="97" y="49"/>
                  </a:cubicBezTo>
                  <a:close/>
                  <a:moveTo>
                    <a:pt x="82" y="40"/>
                  </a:moveTo>
                  <a:cubicBezTo>
                    <a:pt x="82" y="40"/>
                    <a:pt x="82" y="40"/>
                    <a:pt x="82" y="39"/>
                  </a:cubicBezTo>
                  <a:cubicBezTo>
                    <a:pt x="82" y="39"/>
                    <a:pt x="82" y="39"/>
                    <a:pt x="82" y="39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40"/>
                    <a:pt x="82" y="40"/>
                    <a:pt x="82" y="40"/>
                  </a:cubicBezTo>
                  <a:close/>
                  <a:moveTo>
                    <a:pt x="110" y="24"/>
                  </a:moveTo>
                  <a:cubicBezTo>
                    <a:pt x="110" y="24"/>
                    <a:pt x="110" y="24"/>
                    <a:pt x="110" y="24"/>
                  </a:cubicBezTo>
                  <a:cubicBezTo>
                    <a:pt x="111" y="24"/>
                    <a:pt x="111" y="24"/>
                    <a:pt x="111" y="24"/>
                  </a:cubicBezTo>
                  <a:cubicBezTo>
                    <a:pt x="111" y="24"/>
                    <a:pt x="110" y="24"/>
                    <a:pt x="110" y="24"/>
                  </a:cubicBezTo>
                  <a:cubicBezTo>
                    <a:pt x="110" y="24"/>
                    <a:pt x="110" y="24"/>
                    <a:pt x="110" y="24"/>
                  </a:cubicBezTo>
                  <a:close/>
                  <a:moveTo>
                    <a:pt x="108" y="29"/>
                  </a:moveTo>
                  <a:cubicBezTo>
                    <a:pt x="108" y="29"/>
                    <a:pt x="108" y="29"/>
                    <a:pt x="108" y="29"/>
                  </a:cubicBezTo>
                  <a:cubicBezTo>
                    <a:pt x="108" y="29"/>
                    <a:pt x="108" y="29"/>
                    <a:pt x="107" y="29"/>
                  </a:cubicBezTo>
                  <a:cubicBezTo>
                    <a:pt x="107" y="29"/>
                    <a:pt x="106" y="29"/>
                    <a:pt x="106" y="29"/>
                  </a:cubicBezTo>
                  <a:cubicBezTo>
                    <a:pt x="105" y="29"/>
                    <a:pt x="105" y="29"/>
                    <a:pt x="105" y="29"/>
                  </a:cubicBezTo>
                  <a:cubicBezTo>
                    <a:pt x="105" y="28"/>
                    <a:pt x="106" y="28"/>
                    <a:pt x="107" y="28"/>
                  </a:cubicBezTo>
                  <a:cubicBezTo>
                    <a:pt x="107" y="28"/>
                    <a:pt x="107" y="27"/>
                    <a:pt x="107" y="27"/>
                  </a:cubicBezTo>
                  <a:cubicBezTo>
                    <a:pt x="107" y="27"/>
                    <a:pt x="107" y="27"/>
                    <a:pt x="107" y="28"/>
                  </a:cubicBezTo>
                  <a:cubicBezTo>
                    <a:pt x="108" y="28"/>
                    <a:pt x="108" y="28"/>
                    <a:pt x="108" y="29"/>
                  </a:cubicBezTo>
                  <a:close/>
                  <a:moveTo>
                    <a:pt x="101" y="30"/>
                  </a:move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29"/>
                    <a:pt x="100" y="29"/>
                  </a:cubicBezTo>
                  <a:lnTo>
                    <a:pt x="101" y="30"/>
                  </a:ln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93" y="30"/>
                  </a:moveTo>
                  <a:cubicBezTo>
                    <a:pt x="92" y="30"/>
                    <a:pt x="92" y="30"/>
                    <a:pt x="91" y="30"/>
                  </a:cubicBezTo>
                  <a:cubicBezTo>
                    <a:pt x="91" y="30"/>
                    <a:pt x="91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2" y="30"/>
                    <a:pt x="93" y="30"/>
                    <a:pt x="94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30"/>
                    <a:pt x="93" y="30"/>
                    <a:pt x="93" y="30"/>
                  </a:cubicBezTo>
                  <a:close/>
                  <a:moveTo>
                    <a:pt x="93" y="50"/>
                  </a:move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2" y="50"/>
                    <a:pt x="92" y="50"/>
                  </a:cubicBezTo>
                  <a:lnTo>
                    <a:pt x="93" y="50"/>
                  </a:lnTo>
                  <a:close/>
                  <a:moveTo>
                    <a:pt x="82" y="35"/>
                  </a:moveTo>
                  <a:cubicBezTo>
                    <a:pt x="82" y="36"/>
                    <a:pt x="82" y="36"/>
                    <a:pt x="82" y="37"/>
                  </a:cubicBezTo>
                  <a:cubicBezTo>
                    <a:pt x="82" y="36"/>
                    <a:pt x="82" y="36"/>
                    <a:pt x="82" y="36"/>
                  </a:cubicBezTo>
                  <a:cubicBezTo>
                    <a:pt x="82" y="36"/>
                    <a:pt x="82" y="35"/>
                    <a:pt x="82" y="35"/>
                  </a:cubicBezTo>
                  <a:cubicBezTo>
                    <a:pt x="82" y="35"/>
                    <a:pt x="82" y="35"/>
                    <a:pt x="82" y="35"/>
                  </a:cubicBezTo>
                  <a:close/>
                  <a:moveTo>
                    <a:pt x="46" y="67"/>
                  </a:moveTo>
                  <a:cubicBezTo>
                    <a:pt x="46" y="66"/>
                    <a:pt x="46" y="66"/>
                    <a:pt x="46" y="66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lose/>
                  <a:moveTo>
                    <a:pt x="61" y="47"/>
                  </a:move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ubicBezTo>
                    <a:pt x="61" y="47"/>
                    <a:pt x="61" y="47"/>
                    <a:pt x="61" y="47"/>
                  </a:cubicBezTo>
                  <a:close/>
                  <a:moveTo>
                    <a:pt x="48" y="67"/>
                  </a:move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lose/>
                  <a:moveTo>
                    <a:pt x="46" y="66"/>
                  </a:move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lose/>
                  <a:moveTo>
                    <a:pt x="45" y="43"/>
                  </a:move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lose/>
                  <a:moveTo>
                    <a:pt x="51" y="66"/>
                  </a:moveTo>
                  <a:cubicBezTo>
                    <a:pt x="51" y="66"/>
                    <a:pt x="52" y="67"/>
                    <a:pt x="52" y="67"/>
                  </a:cubicBezTo>
                  <a:cubicBezTo>
                    <a:pt x="52" y="67"/>
                    <a:pt x="53" y="68"/>
                    <a:pt x="53" y="68"/>
                  </a:cubicBezTo>
                  <a:cubicBezTo>
                    <a:pt x="53" y="68"/>
                    <a:pt x="53" y="68"/>
                    <a:pt x="53" y="68"/>
                  </a:cubicBezTo>
                  <a:cubicBezTo>
                    <a:pt x="53" y="68"/>
                    <a:pt x="52" y="68"/>
                    <a:pt x="52" y="68"/>
                  </a:cubicBezTo>
                  <a:cubicBezTo>
                    <a:pt x="52" y="67"/>
                    <a:pt x="51" y="67"/>
                    <a:pt x="51" y="67"/>
                  </a:cubicBezTo>
                  <a:cubicBezTo>
                    <a:pt x="51" y="67"/>
                    <a:pt x="51" y="67"/>
                    <a:pt x="51" y="66"/>
                  </a:cubicBezTo>
                  <a:close/>
                  <a:moveTo>
                    <a:pt x="60" y="41"/>
                  </a:move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59" y="41"/>
                    <a:pt x="58" y="42"/>
                    <a:pt x="58" y="43"/>
                  </a:cubicBezTo>
                  <a:cubicBezTo>
                    <a:pt x="58" y="43"/>
                    <a:pt x="58" y="44"/>
                    <a:pt x="58" y="44"/>
                  </a:cubicBezTo>
                  <a:cubicBezTo>
                    <a:pt x="57" y="44"/>
                    <a:pt x="57" y="44"/>
                    <a:pt x="56" y="45"/>
                  </a:cubicBezTo>
                  <a:cubicBezTo>
                    <a:pt x="56" y="45"/>
                    <a:pt x="56" y="45"/>
                    <a:pt x="56" y="45"/>
                  </a:cubicBezTo>
                  <a:cubicBezTo>
                    <a:pt x="55" y="45"/>
                    <a:pt x="55" y="45"/>
                    <a:pt x="54" y="44"/>
                  </a:cubicBezTo>
                  <a:cubicBezTo>
                    <a:pt x="54" y="44"/>
                    <a:pt x="53" y="44"/>
                    <a:pt x="52" y="44"/>
                  </a:cubicBezTo>
                  <a:cubicBezTo>
                    <a:pt x="52" y="44"/>
                    <a:pt x="52" y="44"/>
                    <a:pt x="51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0" y="43"/>
                    <a:pt x="49" y="43"/>
                    <a:pt x="49" y="43"/>
                  </a:cubicBezTo>
                  <a:cubicBezTo>
                    <a:pt x="49" y="43"/>
                    <a:pt x="49" y="43"/>
                    <a:pt x="49" y="43"/>
                  </a:cubicBezTo>
                  <a:cubicBezTo>
                    <a:pt x="50" y="43"/>
                    <a:pt x="50" y="43"/>
                    <a:pt x="50" y="43"/>
                  </a:cubicBezTo>
                  <a:cubicBezTo>
                    <a:pt x="50" y="42"/>
                    <a:pt x="50" y="42"/>
                    <a:pt x="50" y="42"/>
                  </a:cubicBezTo>
                  <a:cubicBezTo>
                    <a:pt x="53" y="41"/>
                    <a:pt x="55" y="40"/>
                    <a:pt x="57" y="41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8" y="41"/>
                    <a:pt x="59" y="41"/>
                    <a:pt x="60" y="41"/>
                  </a:cubicBezTo>
                  <a:cubicBezTo>
                    <a:pt x="60" y="41"/>
                    <a:pt x="60" y="41"/>
                    <a:pt x="61" y="40"/>
                  </a:cubicBezTo>
                  <a:cubicBezTo>
                    <a:pt x="61" y="40"/>
                    <a:pt x="61" y="41"/>
                    <a:pt x="60" y="41"/>
                  </a:cubicBezTo>
                  <a:close/>
                  <a:moveTo>
                    <a:pt x="30" y="32"/>
                  </a:moveTo>
                  <a:cubicBezTo>
                    <a:pt x="29" y="32"/>
                    <a:pt x="28" y="32"/>
                    <a:pt x="28" y="33"/>
                  </a:cubicBezTo>
                  <a:cubicBezTo>
                    <a:pt x="28" y="32"/>
                    <a:pt x="28" y="32"/>
                    <a:pt x="29" y="31"/>
                  </a:cubicBezTo>
                  <a:cubicBezTo>
                    <a:pt x="29" y="31"/>
                    <a:pt x="29" y="31"/>
                    <a:pt x="29" y="31"/>
                  </a:cubicBezTo>
                  <a:cubicBezTo>
                    <a:pt x="29" y="31"/>
                    <a:pt x="30" y="31"/>
                    <a:pt x="30" y="31"/>
                  </a:cubicBezTo>
                  <a:cubicBezTo>
                    <a:pt x="30" y="32"/>
                    <a:pt x="30" y="32"/>
                    <a:pt x="31" y="32"/>
                  </a:cubicBezTo>
                  <a:cubicBezTo>
                    <a:pt x="31" y="32"/>
                    <a:pt x="31" y="32"/>
                    <a:pt x="31" y="32"/>
                  </a:cubicBezTo>
                  <a:cubicBezTo>
                    <a:pt x="30" y="32"/>
                    <a:pt x="30" y="32"/>
                    <a:pt x="30" y="32"/>
                  </a:cubicBezTo>
                  <a:close/>
                  <a:moveTo>
                    <a:pt x="24" y="34"/>
                  </a:moveTo>
                  <a:cubicBezTo>
                    <a:pt x="25" y="34"/>
                    <a:pt x="26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4"/>
                  </a:cubicBezTo>
                  <a:cubicBezTo>
                    <a:pt x="27" y="34"/>
                    <a:pt x="27" y="34"/>
                    <a:pt x="27" y="35"/>
                  </a:cubicBezTo>
                  <a:cubicBezTo>
                    <a:pt x="26" y="35"/>
                    <a:pt x="25" y="34"/>
                    <a:pt x="25" y="34"/>
                  </a:cubicBezTo>
                  <a:cubicBezTo>
                    <a:pt x="24" y="34"/>
                    <a:pt x="24" y="34"/>
                    <a:pt x="23" y="33"/>
                  </a:cubicBezTo>
                  <a:cubicBezTo>
                    <a:pt x="24" y="33"/>
                    <a:pt x="24" y="34"/>
                    <a:pt x="24" y="34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204" y="209"/>
                  </a:moveTo>
                  <a:cubicBezTo>
                    <a:pt x="204" y="209"/>
                    <a:pt x="204" y="209"/>
                    <a:pt x="204" y="209"/>
                  </a:cubicBezTo>
                  <a:cubicBezTo>
                    <a:pt x="204" y="209"/>
                    <a:pt x="204" y="209"/>
                    <a:pt x="204" y="209"/>
                  </a:cubicBezTo>
                  <a:close/>
                  <a:moveTo>
                    <a:pt x="215" y="35"/>
                  </a:moveTo>
                  <a:cubicBezTo>
                    <a:pt x="215" y="35"/>
                    <a:pt x="215" y="35"/>
                    <a:pt x="215" y="35"/>
                  </a:cubicBezTo>
                  <a:cubicBezTo>
                    <a:pt x="216" y="36"/>
                    <a:pt x="216" y="36"/>
                    <a:pt x="216" y="36"/>
                  </a:cubicBezTo>
                  <a:lnTo>
                    <a:pt x="215" y="35"/>
                  </a:lnTo>
                  <a:close/>
                  <a:moveTo>
                    <a:pt x="213" y="36"/>
                  </a:moveTo>
                  <a:cubicBezTo>
                    <a:pt x="213" y="36"/>
                    <a:pt x="213" y="36"/>
                    <a:pt x="213" y="36"/>
                  </a:cubicBezTo>
                  <a:cubicBezTo>
                    <a:pt x="213" y="36"/>
                    <a:pt x="213" y="36"/>
                    <a:pt x="213" y="36"/>
                  </a:cubicBezTo>
                  <a:close/>
                  <a:moveTo>
                    <a:pt x="251" y="159"/>
                  </a:moveTo>
                  <a:cubicBezTo>
                    <a:pt x="251" y="159"/>
                    <a:pt x="251" y="159"/>
                    <a:pt x="251" y="159"/>
                  </a:cubicBezTo>
                  <a:cubicBezTo>
                    <a:pt x="251" y="159"/>
                    <a:pt x="251" y="159"/>
                    <a:pt x="251" y="159"/>
                  </a:cubicBezTo>
                  <a:cubicBezTo>
                    <a:pt x="251" y="159"/>
                    <a:pt x="251" y="159"/>
                    <a:pt x="251" y="159"/>
                  </a:cubicBezTo>
                  <a:close/>
                  <a:moveTo>
                    <a:pt x="257" y="154"/>
                  </a:moveTo>
                  <a:cubicBezTo>
                    <a:pt x="257" y="154"/>
                    <a:pt x="257" y="154"/>
                    <a:pt x="257" y="154"/>
                  </a:cubicBezTo>
                  <a:cubicBezTo>
                    <a:pt x="256" y="154"/>
                    <a:pt x="256" y="154"/>
                    <a:pt x="256" y="154"/>
                  </a:cubicBezTo>
                  <a:cubicBezTo>
                    <a:pt x="256" y="154"/>
                    <a:pt x="256" y="154"/>
                    <a:pt x="256" y="154"/>
                  </a:cubicBezTo>
                  <a:cubicBezTo>
                    <a:pt x="256" y="154"/>
                    <a:pt x="257" y="154"/>
                    <a:pt x="257" y="154"/>
                  </a:cubicBezTo>
                  <a:cubicBezTo>
                    <a:pt x="257" y="154"/>
                    <a:pt x="258" y="154"/>
                    <a:pt x="258" y="154"/>
                  </a:cubicBezTo>
                  <a:cubicBezTo>
                    <a:pt x="258" y="154"/>
                    <a:pt x="257" y="154"/>
                    <a:pt x="257" y="154"/>
                  </a:cubicBezTo>
                  <a:close/>
                  <a:moveTo>
                    <a:pt x="265" y="34"/>
                  </a:moveTo>
                  <a:cubicBezTo>
                    <a:pt x="265" y="34"/>
                    <a:pt x="264" y="34"/>
                    <a:pt x="264" y="34"/>
                  </a:cubicBezTo>
                  <a:cubicBezTo>
                    <a:pt x="264" y="34"/>
                    <a:pt x="264" y="34"/>
                    <a:pt x="264" y="34"/>
                  </a:cubicBezTo>
                  <a:cubicBezTo>
                    <a:pt x="264" y="34"/>
                    <a:pt x="264" y="33"/>
                    <a:pt x="264" y="33"/>
                  </a:cubicBezTo>
                  <a:cubicBezTo>
                    <a:pt x="264" y="33"/>
                    <a:pt x="264" y="33"/>
                    <a:pt x="264" y="33"/>
                  </a:cubicBezTo>
                  <a:cubicBezTo>
                    <a:pt x="264" y="33"/>
                    <a:pt x="264" y="33"/>
                    <a:pt x="265" y="33"/>
                  </a:cubicBezTo>
                  <a:cubicBezTo>
                    <a:pt x="265" y="33"/>
                    <a:pt x="265" y="33"/>
                    <a:pt x="265" y="33"/>
                  </a:cubicBezTo>
                  <a:cubicBezTo>
                    <a:pt x="265" y="33"/>
                    <a:pt x="265" y="34"/>
                    <a:pt x="265" y="34"/>
                  </a:cubicBezTo>
                  <a:close/>
                  <a:moveTo>
                    <a:pt x="251" y="38"/>
                  </a:moveTo>
                  <a:cubicBezTo>
                    <a:pt x="251" y="38"/>
                    <a:pt x="251" y="38"/>
                    <a:pt x="251" y="38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1" y="38"/>
                    <a:pt x="251" y="38"/>
                    <a:pt x="251" y="38"/>
                  </a:cubicBezTo>
                  <a:cubicBezTo>
                    <a:pt x="251" y="38"/>
                    <a:pt x="251" y="38"/>
                    <a:pt x="251" y="38"/>
                  </a:cubicBezTo>
                  <a:close/>
                  <a:moveTo>
                    <a:pt x="263" y="167"/>
                  </a:moveTo>
                  <a:cubicBezTo>
                    <a:pt x="263" y="166"/>
                    <a:pt x="262" y="166"/>
                    <a:pt x="262" y="166"/>
                  </a:cubicBezTo>
                  <a:cubicBezTo>
                    <a:pt x="262" y="166"/>
                    <a:pt x="262" y="166"/>
                    <a:pt x="262" y="166"/>
                  </a:cubicBezTo>
                  <a:cubicBezTo>
                    <a:pt x="262" y="166"/>
                    <a:pt x="262" y="166"/>
                    <a:pt x="261" y="165"/>
                  </a:cubicBezTo>
                  <a:cubicBezTo>
                    <a:pt x="261" y="164"/>
                    <a:pt x="260" y="164"/>
                    <a:pt x="259" y="164"/>
                  </a:cubicBezTo>
                  <a:cubicBezTo>
                    <a:pt x="260" y="163"/>
                    <a:pt x="260" y="162"/>
                    <a:pt x="260" y="162"/>
                  </a:cubicBezTo>
                  <a:cubicBezTo>
                    <a:pt x="259" y="161"/>
                    <a:pt x="259" y="160"/>
                    <a:pt x="258" y="159"/>
                  </a:cubicBezTo>
                  <a:cubicBezTo>
                    <a:pt x="258" y="159"/>
                    <a:pt x="258" y="159"/>
                    <a:pt x="258" y="159"/>
                  </a:cubicBezTo>
                  <a:cubicBezTo>
                    <a:pt x="258" y="159"/>
                    <a:pt x="258" y="159"/>
                    <a:pt x="259" y="159"/>
                  </a:cubicBezTo>
                  <a:cubicBezTo>
                    <a:pt x="259" y="158"/>
                    <a:pt x="259" y="158"/>
                    <a:pt x="259" y="158"/>
                  </a:cubicBezTo>
                  <a:cubicBezTo>
                    <a:pt x="259" y="158"/>
                    <a:pt x="260" y="158"/>
                    <a:pt x="260" y="158"/>
                  </a:cubicBezTo>
                  <a:cubicBezTo>
                    <a:pt x="260" y="159"/>
                    <a:pt x="261" y="159"/>
                    <a:pt x="262" y="159"/>
                  </a:cubicBezTo>
                  <a:cubicBezTo>
                    <a:pt x="260" y="160"/>
                    <a:pt x="260" y="160"/>
                    <a:pt x="260" y="160"/>
                  </a:cubicBezTo>
                  <a:cubicBezTo>
                    <a:pt x="261" y="161"/>
                    <a:pt x="261" y="161"/>
                    <a:pt x="261" y="161"/>
                  </a:cubicBezTo>
                  <a:cubicBezTo>
                    <a:pt x="260" y="162"/>
                    <a:pt x="262" y="164"/>
                    <a:pt x="263" y="166"/>
                  </a:cubicBezTo>
                  <a:cubicBezTo>
                    <a:pt x="263" y="166"/>
                    <a:pt x="263" y="166"/>
                    <a:pt x="263" y="167"/>
                  </a:cubicBezTo>
                  <a:cubicBezTo>
                    <a:pt x="263" y="167"/>
                    <a:pt x="263" y="167"/>
                    <a:pt x="263" y="167"/>
                  </a:cubicBezTo>
                  <a:close/>
                  <a:moveTo>
                    <a:pt x="304" y="47"/>
                  </a:moveTo>
                  <a:cubicBezTo>
                    <a:pt x="304" y="47"/>
                    <a:pt x="303" y="47"/>
                    <a:pt x="303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7"/>
                    <a:pt x="302" y="47"/>
                    <a:pt x="302" y="47"/>
                  </a:cubicBezTo>
                  <a:cubicBezTo>
                    <a:pt x="302" y="46"/>
                    <a:pt x="302" y="46"/>
                    <a:pt x="302" y="46"/>
                  </a:cubicBezTo>
                  <a:cubicBezTo>
                    <a:pt x="303" y="46"/>
                    <a:pt x="303" y="46"/>
                    <a:pt x="303" y="46"/>
                  </a:cubicBezTo>
                  <a:cubicBezTo>
                    <a:pt x="304" y="46"/>
                    <a:pt x="305" y="46"/>
                    <a:pt x="306" y="46"/>
                  </a:cubicBezTo>
                  <a:cubicBezTo>
                    <a:pt x="306" y="46"/>
                    <a:pt x="307" y="46"/>
                    <a:pt x="307" y="46"/>
                  </a:cubicBezTo>
                  <a:cubicBezTo>
                    <a:pt x="308" y="46"/>
                    <a:pt x="309" y="46"/>
                    <a:pt x="310" y="46"/>
                  </a:cubicBezTo>
                  <a:cubicBezTo>
                    <a:pt x="311" y="47"/>
                    <a:pt x="311" y="47"/>
                    <a:pt x="311" y="47"/>
                  </a:cubicBezTo>
                  <a:cubicBezTo>
                    <a:pt x="312" y="47"/>
                    <a:pt x="313" y="47"/>
                    <a:pt x="314" y="47"/>
                  </a:cubicBezTo>
                  <a:cubicBezTo>
                    <a:pt x="315" y="47"/>
                    <a:pt x="315" y="47"/>
                    <a:pt x="316" y="48"/>
                  </a:cubicBezTo>
                  <a:cubicBezTo>
                    <a:pt x="316" y="48"/>
                    <a:pt x="316" y="48"/>
                    <a:pt x="316" y="48"/>
                  </a:cubicBezTo>
                  <a:cubicBezTo>
                    <a:pt x="316" y="48"/>
                    <a:pt x="316" y="48"/>
                    <a:pt x="316" y="48"/>
                  </a:cubicBezTo>
                  <a:cubicBezTo>
                    <a:pt x="314" y="48"/>
                    <a:pt x="312" y="48"/>
                    <a:pt x="311" y="48"/>
                  </a:cubicBezTo>
                  <a:cubicBezTo>
                    <a:pt x="311" y="48"/>
                    <a:pt x="310" y="48"/>
                    <a:pt x="310" y="48"/>
                  </a:cubicBezTo>
                  <a:cubicBezTo>
                    <a:pt x="309" y="47"/>
                    <a:pt x="309" y="47"/>
                    <a:pt x="308" y="47"/>
                  </a:cubicBezTo>
                  <a:cubicBezTo>
                    <a:pt x="307" y="47"/>
                    <a:pt x="307" y="47"/>
                    <a:pt x="306" y="47"/>
                  </a:cubicBezTo>
                  <a:cubicBezTo>
                    <a:pt x="306" y="47"/>
                    <a:pt x="306" y="47"/>
                    <a:pt x="306" y="47"/>
                  </a:cubicBezTo>
                  <a:cubicBezTo>
                    <a:pt x="305" y="48"/>
                    <a:pt x="305" y="48"/>
                    <a:pt x="305" y="48"/>
                  </a:cubicBezTo>
                  <a:cubicBezTo>
                    <a:pt x="304" y="48"/>
                    <a:pt x="304" y="48"/>
                    <a:pt x="304" y="48"/>
                  </a:cubicBezTo>
                  <a:cubicBezTo>
                    <a:pt x="304" y="48"/>
                    <a:pt x="304" y="48"/>
                    <a:pt x="304" y="47"/>
                  </a:cubicBezTo>
                  <a:close/>
                  <a:moveTo>
                    <a:pt x="295" y="49"/>
                  </a:moveTo>
                  <a:cubicBezTo>
                    <a:pt x="295" y="49"/>
                    <a:pt x="295" y="49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8"/>
                  </a:cubicBezTo>
                  <a:cubicBezTo>
                    <a:pt x="295" y="48"/>
                    <a:pt x="295" y="48"/>
                    <a:pt x="295" y="49"/>
                  </a:cubicBezTo>
                  <a:cubicBezTo>
                    <a:pt x="295" y="49"/>
                    <a:pt x="295" y="49"/>
                    <a:pt x="295" y="49"/>
                  </a:cubicBezTo>
                  <a:close/>
                  <a:moveTo>
                    <a:pt x="294" y="49"/>
                  </a:moveTo>
                  <a:cubicBezTo>
                    <a:pt x="294" y="49"/>
                    <a:pt x="294" y="49"/>
                    <a:pt x="294" y="49"/>
                  </a:cubicBezTo>
                  <a:cubicBezTo>
                    <a:pt x="294" y="49"/>
                    <a:pt x="294" y="49"/>
                    <a:pt x="294" y="49"/>
                  </a:cubicBezTo>
                  <a:close/>
                  <a:moveTo>
                    <a:pt x="315" y="65"/>
                  </a:moveTo>
                  <a:cubicBezTo>
                    <a:pt x="315" y="65"/>
                    <a:pt x="315" y="65"/>
                    <a:pt x="315" y="65"/>
                  </a:cubicBezTo>
                  <a:cubicBezTo>
                    <a:pt x="315" y="65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4"/>
                    <a:pt x="316" y="64"/>
                    <a:pt x="316" y="64"/>
                  </a:cubicBezTo>
                  <a:cubicBezTo>
                    <a:pt x="316" y="65"/>
                    <a:pt x="316" y="65"/>
                    <a:pt x="315" y="65"/>
                  </a:cubicBezTo>
                  <a:cubicBezTo>
                    <a:pt x="315" y="66"/>
                    <a:pt x="315" y="66"/>
                    <a:pt x="314" y="66"/>
                  </a:cubicBezTo>
                  <a:cubicBezTo>
                    <a:pt x="314" y="65"/>
                    <a:pt x="314" y="65"/>
                    <a:pt x="315" y="65"/>
                  </a:cubicBezTo>
                  <a:close/>
                  <a:moveTo>
                    <a:pt x="327" y="51"/>
                  </a:moveTo>
                  <a:cubicBezTo>
                    <a:pt x="327" y="52"/>
                    <a:pt x="327" y="52"/>
                    <a:pt x="326" y="52"/>
                  </a:cubicBezTo>
                  <a:cubicBezTo>
                    <a:pt x="326" y="53"/>
                    <a:pt x="325" y="53"/>
                    <a:pt x="325" y="53"/>
                  </a:cubicBezTo>
                  <a:cubicBezTo>
                    <a:pt x="324" y="53"/>
                    <a:pt x="323" y="53"/>
                    <a:pt x="323" y="53"/>
                  </a:cubicBezTo>
                  <a:cubicBezTo>
                    <a:pt x="322" y="53"/>
                    <a:pt x="322" y="53"/>
                    <a:pt x="322" y="53"/>
                  </a:cubicBezTo>
                  <a:cubicBezTo>
                    <a:pt x="322" y="53"/>
                    <a:pt x="322" y="53"/>
                    <a:pt x="322" y="53"/>
                  </a:cubicBezTo>
                  <a:cubicBezTo>
                    <a:pt x="322" y="53"/>
                    <a:pt x="322" y="53"/>
                    <a:pt x="322" y="52"/>
                  </a:cubicBezTo>
                  <a:cubicBezTo>
                    <a:pt x="323" y="52"/>
                    <a:pt x="324" y="52"/>
                    <a:pt x="324" y="50"/>
                  </a:cubicBezTo>
                  <a:cubicBezTo>
                    <a:pt x="324" y="50"/>
                    <a:pt x="324" y="49"/>
                    <a:pt x="323" y="49"/>
                  </a:cubicBezTo>
                  <a:cubicBezTo>
                    <a:pt x="324" y="49"/>
                    <a:pt x="324" y="49"/>
                    <a:pt x="325" y="49"/>
                  </a:cubicBezTo>
                  <a:cubicBezTo>
                    <a:pt x="329" y="50"/>
                    <a:pt x="329" y="50"/>
                    <a:pt x="329" y="50"/>
                  </a:cubicBezTo>
                  <a:cubicBezTo>
                    <a:pt x="329" y="50"/>
                    <a:pt x="330" y="50"/>
                    <a:pt x="330" y="50"/>
                  </a:cubicBezTo>
                  <a:cubicBezTo>
                    <a:pt x="329" y="50"/>
                    <a:pt x="329" y="50"/>
                    <a:pt x="328" y="50"/>
                  </a:cubicBezTo>
                  <a:cubicBezTo>
                    <a:pt x="328" y="51"/>
                    <a:pt x="328" y="51"/>
                    <a:pt x="327" y="51"/>
                  </a:cubicBezTo>
                  <a:close/>
                  <a:moveTo>
                    <a:pt x="312" y="106"/>
                  </a:moveTo>
                  <a:cubicBezTo>
                    <a:pt x="312" y="106"/>
                    <a:pt x="312" y="106"/>
                    <a:pt x="312" y="106"/>
                  </a:cubicBezTo>
                  <a:cubicBezTo>
                    <a:pt x="312" y="106"/>
                    <a:pt x="312" y="106"/>
                    <a:pt x="312" y="106"/>
                  </a:cubicBezTo>
                  <a:close/>
                  <a:moveTo>
                    <a:pt x="315" y="109"/>
                  </a:moveTo>
                  <a:cubicBezTo>
                    <a:pt x="315" y="109"/>
                    <a:pt x="315" y="109"/>
                    <a:pt x="315" y="109"/>
                  </a:cubicBezTo>
                  <a:cubicBezTo>
                    <a:pt x="314" y="109"/>
                    <a:pt x="314" y="109"/>
                    <a:pt x="314" y="108"/>
                  </a:cubicBezTo>
                  <a:cubicBezTo>
                    <a:pt x="313" y="108"/>
                    <a:pt x="313" y="108"/>
                    <a:pt x="312" y="108"/>
                  </a:cubicBezTo>
                  <a:cubicBezTo>
                    <a:pt x="313" y="107"/>
                    <a:pt x="313" y="107"/>
                    <a:pt x="313" y="106"/>
                  </a:cubicBezTo>
                  <a:cubicBezTo>
                    <a:pt x="313" y="106"/>
                    <a:pt x="313" y="106"/>
                    <a:pt x="313" y="106"/>
                  </a:cubicBezTo>
                  <a:cubicBezTo>
                    <a:pt x="313" y="107"/>
                    <a:pt x="314" y="108"/>
                    <a:pt x="315" y="108"/>
                  </a:cubicBezTo>
                  <a:cubicBezTo>
                    <a:pt x="315" y="108"/>
                    <a:pt x="316" y="109"/>
                    <a:pt x="317" y="109"/>
                  </a:cubicBezTo>
                  <a:cubicBezTo>
                    <a:pt x="316" y="109"/>
                    <a:pt x="316" y="109"/>
                    <a:pt x="316" y="109"/>
                  </a:cubicBezTo>
                  <a:cubicBezTo>
                    <a:pt x="315" y="109"/>
                    <a:pt x="315" y="109"/>
                    <a:pt x="315" y="109"/>
                  </a:cubicBezTo>
                  <a:close/>
                  <a:moveTo>
                    <a:pt x="330" y="77"/>
                  </a:moveTo>
                  <a:cubicBezTo>
                    <a:pt x="330" y="77"/>
                    <a:pt x="330" y="77"/>
                    <a:pt x="330" y="77"/>
                  </a:cubicBezTo>
                  <a:cubicBezTo>
                    <a:pt x="331" y="76"/>
                    <a:pt x="331" y="75"/>
                    <a:pt x="331" y="74"/>
                  </a:cubicBezTo>
                  <a:cubicBezTo>
                    <a:pt x="332" y="74"/>
                    <a:pt x="333" y="74"/>
                    <a:pt x="334" y="74"/>
                  </a:cubicBezTo>
                  <a:cubicBezTo>
                    <a:pt x="334" y="74"/>
                    <a:pt x="334" y="74"/>
                    <a:pt x="334" y="74"/>
                  </a:cubicBezTo>
                  <a:cubicBezTo>
                    <a:pt x="335" y="74"/>
                    <a:pt x="336" y="74"/>
                    <a:pt x="336" y="75"/>
                  </a:cubicBezTo>
                  <a:cubicBezTo>
                    <a:pt x="337" y="75"/>
                    <a:pt x="337" y="75"/>
                    <a:pt x="337" y="75"/>
                  </a:cubicBezTo>
                  <a:cubicBezTo>
                    <a:pt x="337" y="75"/>
                    <a:pt x="337" y="75"/>
                    <a:pt x="337" y="75"/>
                  </a:cubicBezTo>
                  <a:cubicBezTo>
                    <a:pt x="335" y="75"/>
                    <a:pt x="334" y="75"/>
                    <a:pt x="333" y="76"/>
                  </a:cubicBezTo>
                  <a:cubicBezTo>
                    <a:pt x="332" y="76"/>
                    <a:pt x="331" y="77"/>
                    <a:pt x="331" y="77"/>
                  </a:cubicBezTo>
                  <a:cubicBezTo>
                    <a:pt x="330" y="77"/>
                    <a:pt x="330" y="77"/>
                    <a:pt x="330" y="77"/>
                  </a:cubicBezTo>
                  <a:close/>
                  <a:moveTo>
                    <a:pt x="341" y="76"/>
                  </a:moveTo>
                  <a:cubicBezTo>
                    <a:pt x="341" y="76"/>
                    <a:pt x="341" y="76"/>
                    <a:pt x="341" y="76"/>
                  </a:cubicBezTo>
                  <a:cubicBezTo>
                    <a:pt x="341" y="76"/>
                    <a:pt x="341" y="76"/>
                    <a:pt x="341" y="76"/>
                  </a:cubicBezTo>
                  <a:cubicBezTo>
                    <a:pt x="341" y="76"/>
                    <a:pt x="341" y="76"/>
                    <a:pt x="341" y="76"/>
                  </a:cubicBezTo>
                  <a:close/>
                  <a:moveTo>
                    <a:pt x="146" y="229"/>
                  </a:moveTo>
                  <a:cubicBezTo>
                    <a:pt x="146" y="229"/>
                    <a:pt x="146" y="229"/>
                    <a:pt x="146" y="229"/>
                  </a:cubicBezTo>
                  <a:cubicBezTo>
                    <a:pt x="146" y="229"/>
                    <a:pt x="146" y="229"/>
                    <a:pt x="146" y="229"/>
                  </a:cubicBezTo>
                  <a:cubicBezTo>
                    <a:pt x="146" y="229"/>
                    <a:pt x="146" y="229"/>
                    <a:pt x="146" y="229"/>
                  </a:cubicBezTo>
                  <a:close/>
                  <a:moveTo>
                    <a:pt x="114" y="79"/>
                  </a:moveTo>
                  <a:cubicBezTo>
                    <a:pt x="114" y="80"/>
                    <a:pt x="113" y="80"/>
                    <a:pt x="113" y="80"/>
                  </a:cubicBezTo>
                  <a:cubicBezTo>
                    <a:pt x="113" y="80"/>
                    <a:pt x="113" y="80"/>
                    <a:pt x="113" y="80"/>
                  </a:cubicBezTo>
                  <a:cubicBezTo>
                    <a:pt x="113" y="80"/>
                    <a:pt x="113" y="79"/>
                    <a:pt x="113" y="79"/>
                  </a:cubicBezTo>
                  <a:cubicBezTo>
                    <a:pt x="113" y="79"/>
                    <a:pt x="113" y="79"/>
                    <a:pt x="114" y="79"/>
                  </a:cubicBezTo>
                  <a:close/>
                  <a:moveTo>
                    <a:pt x="109" y="78"/>
                  </a:moveTo>
                  <a:cubicBezTo>
                    <a:pt x="108" y="78"/>
                    <a:pt x="108" y="78"/>
                    <a:pt x="108" y="78"/>
                  </a:cubicBezTo>
                  <a:cubicBezTo>
                    <a:pt x="108" y="78"/>
                    <a:pt x="109" y="78"/>
                    <a:pt x="109" y="78"/>
                  </a:cubicBezTo>
                  <a:cubicBezTo>
                    <a:pt x="109" y="78"/>
                    <a:pt x="109" y="78"/>
                    <a:pt x="109" y="78"/>
                  </a:cubicBezTo>
                  <a:close/>
                  <a:moveTo>
                    <a:pt x="92" y="195"/>
                  </a:moveTo>
                  <a:cubicBezTo>
                    <a:pt x="92" y="195"/>
                    <a:pt x="92" y="195"/>
                    <a:pt x="92" y="195"/>
                  </a:cubicBezTo>
                  <a:cubicBezTo>
                    <a:pt x="92" y="195"/>
                    <a:pt x="92" y="195"/>
                    <a:pt x="92" y="195"/>
                  </a:cubicBezTo>
                  <a:cubicBezTo>
                    <a:pt x="91" y="196"/>
                    <a:pt x="91" y="196"/>
                    <a:pt x="91" y="197"/>
                  </a:cubicBezTo>
                  <a:cubicBezTo>
                    <a:pt x="91" y="197"/>
                    <a:pt x="91" y="197"/>
                    <a:pt x="91" y="197"/>
                  </a:cubicBezTo>
                  <a:cubicBezTo>
                    <a:pt x="91" y="197"/>
                    <a:pt x="91" y="197"/>
                    <a:pt x="91" y="196"/>
                  </a:cubicBezTo>
                  <a:cubicBezTo>
                    <a:pt x="91" y="196"/>
                    <a:pt x="90" y="196"/>
                    <a:pt x="90" y="196"/>
                  </a:cubicBezTo>
                  <a:cubicBezTo>
                    <a:pt x="91" y="195"/>
                    <a:pt x="91" y="195"/>
                    <a:pt x="91" y="195"/>
                  </a:cubicBezTo>
                  <a:cubicBezTo>
                    <a:pt x="91" y="195"/>
                    <a:pt x="91" y="195"/>
                    <a:pt x="92" y="195"/>
                  </a:cubicBezTo>
                  <a:close/>
                  <a:moveTo>
                    <a:pt x="69" y="221"/>
                  </a:moveTo>
                  <a:cubicBezTo>
                    <a:pt x="69" y="221"/>
                    <a:pt x="69" y="221"/>
                    <a:pt x="69" y="221"/>
                  </a:cubicBezTo>
                  <a:cubicBezTo>
                    <a:pt x="70" y="221"/>
                    <a:pt x="70" y="221"/>
                    <a:pt x="70" y="221"/>
                  </a:cubicBezTo>
                  <a:cubicBezTo>
                    <a:pt x="70" y="221"/>
                    <a:pt x="70" y="221"/>
                    <a:pt x="70" y="221"/>
                  </a:cubicBezTo>
                  <a:cubicBezTo>
                    <a:pt x="69" y="221"/>
                    <a:pt x="69" y="221"/>
                    <a:pt x="69" y="221"/>
                  </a:cubicBezTo>
                  <a:cubicBezTo>
                    <a:pt x="69" y="221"/>
                    <a:pt x="69" y="221"/>
                    <a:pt x="69" y="221"/>
                  </a:cubicBezTo>
                  <a:close/>
                  <a:moveTo>
                    <a:pt x="64" y="238"/>
                  </a:moveTo>
                  <a:cubicBezTo>
                    <a:pt x="64" y="238"/>
                    <a:pt x="64" y="238"/>
                    <a:pt x="64" y="238"/>
                  </a:cubicBezTo>
                  <a:cubicBezTo>
                    <a:pt x="64" y="238"/>
                    <a:pt x="64" y="238"/>
                    <a:pt x="64" y="238"/>
                  </a:cubicBezTo>
                  <a:cubicBezTo>
                    <a:pt x="64" y="238"/>
                    <a:pt x="64" y="238"/>
                    <a:pt x="64" y="238"/>
                  </a:cubicBezTo>
                  <a:close/>
                  <a:moveTo>
                    <a:pt x="63" y="222"/>
                  </a:moveTo>
                  <a:cubicBezTo>
                    <a:pt x="64" y="222"/>
                    <a:pt x="64" y="221"/>
                    <a:pt x="65" y="221"/>
                  </a:cubicBezTo>
                  <a:cubicBezTo>
                    <a:pt x="65" y="221"/>
                    <a:pt x="65" y="221"/>
                    <a:pt x="65" y="221"/>
                  </a:cubicBezTo>
                  <a:cubicBezTo>
                    <a:pt x="65" y="221"/>
                    <a:pt x="66" y="221"/>
                    <a:pt x="66" y="221"/>
                  </a:cubicBezTo>
                  <a:cubicBezTo>
                    <a:pt x="65" y="221"/>
                    <a:pt x="64" y="222"/>
                    <a:pt x="64" y="222"/>
                  </a:cubicBezTo>
                  <a:cubicBezTo>
                    <a:pt x="64" y="222"/>
                    <a:pt x="64" y="222"/>
                    <a:pt x="64" y="222"/>
                  </a:cubicBezTo>
                  <a:cubicBezTo>
                    <a:pt x="64" y="222"/>
                    <a:pt x="63" y="222"/>
                    <a:pt x="63" y="222"/>
                  </a:cubicBezTo>
                  <a:cubicBezTo>
                    <a:pt x="63" y="222"/>
                    <a:pt x="63" y="222"/>
                    <a:pt x="62" y="222"/>
                  </a:cubicBezTo>
                  <a:cubicBezTo>
                    <a:pt x="63" y="222"/>
                    <a:pt x="63" y="222"/>
                    <a:pt x="63" y="222"/>
                  </a:cubicBezTo>
                  <a:close/>
                  <a:moveTo>
                    <a:pt x="54" y="270"/>
                  </a:moveTo>
                  <a:cubicBezTo>
                    <a:pt x="54" y="270"/>
                    <a:pt x="54" y="270"/>
                    <a:pt x="54" y="270"/>
                  </a:cubicBezTo>
                  <a:cubicBezTo>
                    <a:pt x="54" y="270"/>
                    <a:pt x="54" y="270"/>
                    <a:pt x="54" y="270"/>
                  </a:cubicBezTo>
                  <a:cubicBezTo>
                    <a:pt x="54" y="270"/>
                    <a:pt x="54" y="270"/>
                    <a:pt x="54" y="270"/>
                  </a:cubicBezTo>
                  <a:cubicBezTo>
                    <a:pt x="54" y="270"/>
                    <a:pt x="54" y="270"/>
                    <a:pt x="54" y="270"/>
                  </a:cubicBezTo>
                  <a:close/>
                  <a:moveTo>
                    <a:pt x="111" y="257"/>
                  </a:moveTo>
                  <a:cubicBezTo>
                    <a:pt x="111" y="257"/>
                    <a:pt x="111" y="257"/>
                    <a:pt x="111" y="257"/>
                  </a:cubicBezTo>
                  <a:cubicBezTo>
                    <a:pt x="111" y="257"/>
                    <a:pt x="111" y="257"/>
                    <a:pt x="111" y="257"/>
                  </a:cubicBezTo>
                  <a:close/>
                  <a:moveTo>
                    <a:pt x="112" y="257"/>
                  </a:moveTo>
                  <a:cubicBezTo>
                    <a:pt x="111" y="257"/>
                    <a:pt x="111" y="257"/>
                    <a:pt x="111" y="257"/>
                  </a:cubicBezTo>
                  <a:cubicBezTo>
                    <a:pt x="111" y="257"/>
                    <a:pt x="111" y="257"/>
                    <a:pt x="111" y="257"/>
                  </a:cubicBezTo>
                  <a:cubicBezTo>
                    <a:pt x="113" y="257"/>
                    <a:pt x="113" y="257"/>
                    <a:pt x="113" y="257"/>
                  </a:cubicBezTo>
                  <a:cubicBezTo>
                    <a:pt x="113" y="257"/>
                    <a:pt x="113" y="257"/>
                    <a:pt x="112" y="257"/>
                  </a:cubicBezTo>
                  <a:close/>
                  <a:moveTo>
                    <a:pt x="143" y="233"/>
                  </a:moveTo>
                  <a:cubicBezTo>
                    <a:pt x="143" y="233"/>
                    <a:pt x="143" y="233"/>
                    <a:pt x="143" y="233"/>
                  </a:cubicBezTo>
                  <a:cubicBezTo>
                    <a:pt x="143" y="233"/>
                    <a:pt x="143" y="233"/>
                    <a:pt x="143" y="233"/>
                  </a:cubicBezTo>
                  <a:close/>
                  <a:moveTo>
                    <a:pt x="157" y="232"/>
                  </a:moveTo>
                  <a:cubicBezTo>
                    <a:pt x="157" y="232"/>
                    <a:pt x="157" y="232"/>
                    <a:pt x="157" y="232"/>
                  </a:cubicBezTo>
                  <a:cubicBezTo>
                    <a:pt x="157" y="232"/>
                    <a:pt x="157" y="232"/>
                    <a:pt x="157" y="232"/>
                  </a:cubicBezTo>
                  <a:cubicBezTo>
                    <a:pt x="157" y="232"/>
                    <a:pt x="157" y="232"/>
                    <a:pt x="157" y="232"/>
                  </a:cubicBezTo>
                  <a:close/>
                  <a:moveTo>
                    <a:pt x="204" y="210"/>
                  </a:moveTo>
                  <a:cubicBezTo>
                    <a:pt x="204" y="209"/>
                    <a:pt x="204" y="209"/>
                    <a:pt x="204" y="209"/>
                  </a:cubicBezTo>
                  <a:cubicBezTo>
                    <a:pt x="204" y="209"/>
                    <a:pt x="204" y="209"/>
                    <a:pt x="204" y="209"/>
                  </a:cubicBezTo>
                  <a:cubicBezTo>
                    <a:pt x="205" y="209"/>
                    <a:pt x="205" y="209"/>
                    <a:pt x="205" y="209"/>
                  </a:cubicBezTo>
                  <a:cubicBezTo>
                    <a:pt x="205" y="210"/>
                    <a:pt x="204" y="210"/>
                    <a:pt x="204" y="210"/>
                  </a:cubicBezTo>
                  <a:close/>
                  <a:moveTo>
                    <a:pt x="208" y="210"/>
                  </a:moveTo>
                  <a:cubicBezTo>
                    <a:pt x="208" y="210"/>
                    <a:pt x="208" y="210"/>
                    <a:pt x="208" y="210"/>
                  </a:cubicBezTo>
                  <a:cubicBezTo>
                    <a:pt x="208" y="210"/>
                    <a:pt x="208" y="210"/>
                    <a:pt x="208" y="210"/>
                  </a:cubicBezTo>
                  <a:close/>
                  <a:moveTo>
                    <a:pt x="249" y="177"/>
                  </a:moveTo>
                  <a:cubicBezTo>
                    <a:pt x="249" y="177"/>
                    <a:pt x="249" y="177"/>
                    <a:pt x="249" y="177"/>
                  </a:cubicBezTo>
                  <a:cubicBezTo>
                    <a:pt x="249" y="177"/>
                    <a:pt x="249" y="177"/>
                    <a:pt x="249" y="177"/>
                  </a:cubicBezTo>
                  <a:close/>
                  <a:moveTo>
                    <a:pt x="174" y="40"/>
                  </a:moveTo>
                  <a:cubicBezTo>
                    <a:pt x="174" y="40"/>
                    <a:pt x="174" y="40"/>
                    <a:pt x="174" y="40"/>
                  </a:cubicBezTo>
                  <a:cubicBezTo>
                    <a:pt x="174" y="40"/>
                    <a:pt x="174" y="40"/>
                    <a:pt x="174" y="40"/>
                  </a:cubicBezTo>
                  <a:close/>
                  <a:moveTo>
                    <a:pt x="174" y="27"/>
                  </a:moveTo>
                  <a:cubicBezTo>
                    <a:pt x="174" y="27"/>
                    <a:pt x="174" y="27"/>
                    <a:pt x="174" y="27"/>
                  </a:cubicBezTo>
                  <a:cubicBezTo>
                    <a:pt x="174" y="27"/>
                    <a:pt x="174" y="27"/>
                    <a:pt x="174" y="27"/>
                  </a:cubicBezTo>
                  <a:close/>
                  <a:moveTo>
                    <a:pt x="137" y="4"/>
                  </a:moveTo>
                  <a:cubicBezTo>
                    <a:pt x="137" y="3"/>
                    <a:pt x="137" y="3"/>
                    <a:pt x="137" y="3"/>
                  </a:cubicBezTo>
                  <a:cubicBezTo>
                    <a:pt x="137" y="3"/>
                    <a:pt x="138" y="3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8" y="4"/>
                    <a:pt x="138" y="4"/>
                    <a:pt x="138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ubicBezTo>
                    <a:pt x="137" y="4"/>
                    <a:pt x="137" y="4"/>
                    <a:pt x="137" y="4"/>
                  </a:cubicBezTo>
                  <a:close/>
                  <a:moveTo>
                    <a:pt x="57" y="71"/>
                  </a:moveTo>
                  <a:cubicBezTo>
                    <a:pt x="57" y="71"/>
                    <a:pt x="56" y="71"/>
                    <a:pt x="56" y="71"/>
                  </a:cubicBezTo>
                  <a:cubicBezTo>
                    <a:pt x="57" y="71"/>
                    <a:pt x="57" y="70"/>
                    <a:pt x="57" y="70"/>
                  </a:cubicBezTo>
                  <a:cubicBezTo>
                    <a:pt x="57" y="69"/>
                    <a:pt x="57" y="69"/>
                    <a:pt x="56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69"/>
                    <a:pt x="57" y="69"/>
                    <a:pt x="58" y="69"/>
                  </a:cubicBezTo>
                  <a:cubicBezTo>
                    <a:pt x="58" y="69"/>
                    <a:pt x="58" y="70"/>
                    <a:pt x="59" y="70"/>
                  </a:cubicBezTo>
                  <a:lnTo>
                    <a:pt x="57" y="71"/>
                  </a:lnTo>
                  <a:close/>
                  <a:moveTo>
                    <a:pt x="167" y="35"/>
                  </a:moveTo>
                  <a:cubicBezTo>
                    <a:pt x="167" y="35"/>
                    <a:pt x="167" y="35"/>
                    <a:pt x="167" y="36"/>
                  </a:cubicBezTo>
                  <a:cubicBezTo>
                    <a:pt x="166" y="36"/>
                    <a:pt x="166" y="36"/>
                    <a:pt x="166" y="37"/>
                  </a:cubicBezTo>
                  <a:cubicBezTo>
                    <a:pt x="166" y="37"/>
                    <a:pt x="166" y="37"/>
                    <a:pt x="166" y="37"/>
                  </a:cubicBezTo>
                  <a:cubicBezTo>
                    <a:pt x="166" y="37"/>
                    <a:pt x="166" y="36"/>
                    <a:pt x="166" y="36"/>
                  </a:cubicBezTo>
                  <a:cubicBezTo>
                    <a:pt x="165" y="36"/>
                    <a:pt x="165" y="36"/>
                    <a:pt x="164" y="36"/>
                  </a:cubicBezTo>
                  <a:cubicBezTo>
                    <a:pt x="165" y="36"/>
                    <a:pt x="166" y="36"/>
                    <a:pt x="167" y="35"/>
                  </a:cubicBezTo>
                  <a:close/>
                  <a:moveTo>
                    <a:pt x="104" y="157"/>
                  </a:moveTo>
                  <a:cubicBezTo>
                    <a:pt x="104" y="157"/>
                    <a:pt x="104" y="157"/>
                    <a:pt x="104" y="157"/>
                  </a:cubicBezTo>
                  <a:cubicBezTo>
                    <a:pt x="104" y="157"/>
                    <a:pt x="104" y="157"/>
                    <a:pt x="104" y="157"/>
                  </a:cubicBezTo>
                  <a:close/>
                  <a:moveTo>
                    <a:pt x="76" y="294"/>
                  </a:moveTo>
                  <a:cubicBezTo>
                    <a:pt x="76" y="294"/>
                    <a:pt x="76" y="294"/>
                    <a:pt x="76" y="294"/>
                  </a:cubicBezTo>
                  <a:cubicBezTo>
                    <a:pt x="76" y="294"/>
                    <a:pt x="76" y="294"/>
                    <a:pt x="76" y="294"/>
                  </a:cubicBezTo>
                  <a:close/>
                  <a:moveTo>
                    <a:pt x="77" y="292"/>
                  </a:moveTo>
                  <a:cubicBezTo>
                    <a:pt x="77" y="292"/>
                    <a:pt x="77" y="292"/>
                    <a:pt x="77" y="292"/>
                  </a:cubicBezTo>
                  <a:cubicBezTo>
                    <a:pt x="77" y="292"/>
                    <a:pt x="77" y="292"/>
                    <a:pt x="77" y="2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8" name="Freeform 77"/>
            <p:cNvSpPr>
              <a:spLocks noEditPoints="1"/>
            </p:cNvSpPr>
            <p:nvPr/>
          </p:nvSpPr>
          <p:spPr bwMode="auto">
            <a:xfrm>
              <a:off x="4156" y="2806"/>
              <a:ext cx="149" cy="324"/>
            </a:xfrm>
            <a:custGeom>
              <a:avLst/>
              <a:gdLst>
                <a:gd name="T0" fmla="*/ 60 w 63"/>
                <a:gd name="T1" fmla="*/ 22 h 137"/>
                <a:gd name="T2" fmla="*/ 58 w 63"/>
                <a:gd name="T3" fmla="*/ 12 h 137"/>
                <a:gd name="T4" fmla="*/ 55 w 63"/>
                <a:gd name="T5" fmla="*/ 7 h 137"/>
                <a:gd name="T6" fmla="*/ 51 w 63"/>
                <a:gd name="T7" fmla="*/ 0 h 137"/>
                <a:gd name="T8" fmla="*/ 47 w 63"/>
                <a:gd name="T9" fmla="*/ 3 h 137"/>
                <a:gd name="T10" fmla="*/ 47 w 63"/>
                <a:gd name="T11" fmla="*/ 9 h 137"/>
                <a:gd name="T12" fmla="*/ 46 w 63"/>
                <a:gd name="T13" fmla="*/ 13 h 137"/>
                <a:gd name="T14" fmla="*/ 42 w 63"/>
                <a:gd name="T15" fmla="*/ 15 h 137"/>
                <a:gd name="T16" fmla="*/ 40 w 63"/>
                <a:gd name="T17" fmla="*/ 20 h 137"/>
                <a:gd name="T18" fmla="*/ 38 w 63"/>
                <a:gd name="T19" fmla="*/ 25 h 137"/>
                <a:gd name="T20" fmla="*/ 34 w 63"/>
                <a:gd name="T21" fmla="*/ 30 h 137"/>
                <a:gd name="T22" fmla="*/ 29 w 63"/>
                <a:gd name="T23" fmla="*/ 34 h 137"/>
                <a:gd name="T24" fmla="*/ 28 w 63"/>
                <a:gd name="T25" fmla="*/ 37 h 137"/>
                <a:gd name="T26" fmla="*/ 25 w 63"/>
                <a:gd name="T27" fmla="*/ 38 h 137"/>
                <a:gd name="T28" fmla="*/ 21 w 63"/>
                <a:gd name="T29" fmla="*/ 39 h 137"/>
                <a:gd name="T30" fmla="*/ 16 w 63"/>
                <a:gd name="T31" fmla="*/ 41 h 137"/>
                <a:gd name="T32" fmla="*/ 10 w 63"/>
                <a:gd name="T33" fmla="*/ 49 h 137"/>
                <a:gd name="T34" fmla="*/ 7 w 63"/>
                <a:gd name="T35" fmla="*/ 57 h 137"/>
                <a:gd name="T36" fmla="*/ 8 w 63"/>
                <a:gd name="T37" fmla="*/ 61 h 137"/>
                <a:gd name="T38" fmla="*/ 9 w 63"/>
                <a:gd name="T39" fmla="*/ 69 h 137"/>
                <a:gd name="T40" fmla="*/ 11 w 63"/>
                <a:gd name="T41" fmla="*/ 80 h 137"/>
                <a:gd name="T42" fmla="*/ 10 w 63"/>
                <a:gd name="T43" fmla="*/ 83 h 137"/>
                <a:gd name="T44" fmla="*/ 6 w 63"/>
                <a:gd name="T45" fmla="*/ 90 h 137"/>
                <a:gd name="T46" fmla="*/ 2 w 63"/>
                <a:gd name="T47" fmla="*/ 94 h 137"/>
                <a:gd name="T48" fmla="*/ 0 w 63"/>
                <a:gd name="T49" fmla="*/ 99 h 137"/>
                <a:gd name="T50" fmla="*/ 1 w 63"/>
                <a:gd name="T51" fmla="*/ 105 h 137"/>
                <a:gd name="T52" fmla="*/ 4 w 63"/>
                <a:gd name="T53" fmla="*/ 111 h 137"/>
                <a:gd name="T54" fmla="*/ 5 w 63"/>
                <a:gd name="T55" fmla="*/ 116 h 137"/>
                <a:gd name="T56" fmla="*/ 5 w 63"/>
                <a:gd name="T57" fmla="*/ 123 h 137"/>
                <a:gd name="T58" fmla="*/ 8 w 63"/>
                <a:gd name="T59" fmla="*/ 130 h 137"/>
                <a:gd name="T60" fmla="*/ 9 w 63"/>
                <a:gd name="T61" fmla="*/ 133 h 137"/>
                <a:gd name="T62" fmla="*/ 14 w 63"/>
                <a:gd name="T63" fmla="*/ 136 h 137"/>
                <a:gd name="T64" fmla="*/ 22 w 63"/>
                <a:gd name="T65" fmla="*/ 136 h 137"/>
                <a:gd name="T66" fmla="*/ 29 w 63"/>
                <a:gd name="T67" fmla="*/ 134 h 137"/>
                <a:gd name="T68" fmla="*/ 35 w 63"/>
                <a:gd name="T69" fmla="*/ 130 h 137"/>
                <a:gd name="T70" fmla="*/ 38 w 63"/>
                <a:gd name="T71" fmla="*/ 116 h 137"/>
                <a:gd name="T72" fmla="*/ 41 w 63"/>
                <a:gd name="T73" fmla="*/ 107 h 137"/>
                <a:gd name="T74" fmla="*/ 43 w 63"/>
                <a:gd name="T75" fmla="*/ 99 h 137"/>
                <a:gd name="T76" fmla="*/ 45 w 63"/>
                <a:gd name="T77" fmla="*/ 91 h 137"/>
                <a:gd name="T78" fmla="*/ 46 w 63"/>
                <a:gd name="T79" fmla="*/ 86 h 137"/>
                <a:gd name="T80" fmla="*/ 49 w 63"/>
                <a:gd name="T81" fmla="*/ 78 h 137"/>
                <a:gd name="T82" fmla="*/ 52 w 63"/>
                <a:gd name="T83" fmla="*/ 65 h 137"/>
                <a:gd name="T84" fmla="*/ 55 w 63"/>
                <a:gd name="T85" fmla="*/ 56 h 137"/>
                <a:gd name="T86" fmla="*/ 56 w 63"/>
                <a:gd name="T87" fmla="*/ 48 h 137"/>
                <a:gd name="T88" fmla="*/ 57 w 63"/>
                <a:gd name="T89" fmla="*/ 45 h 137"/>
                <a:gd name="T90" fmla="*/ 58 w 63"/>
                <a:gd name="T91" fmla="*/ 41 h 137"/>
                <a:gd name="T92" fmla="*/ 62 w 63"/>
                <a:gd name="T93" fmla="*/ 36 h 137"/>
                <a:gd name="T94" fmla="*/ 62 w 63"/>
                <a:gd name="T95" fmla="*/ 30 h 137"/>
                <a:gd name="T96" fmla="*/ 10 w 63"/>
                <a:gd name="T97" fmla="*/ 69 h 137"/>
                <a:gd name="T98" fmla="*/ 37 w 63"/>
                <a:gd name="T99" fmla="*/ 115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3" h="137">
                  <a:moveTo>
                    <a:pt x="62" y="29"/>
                  </a:moveTo>
                  <a:cubicBezTo>
                    <a:pt x="62" y="29"/>
                    <a:pt x="62" y="29"/>
                    <a:pt x="62" y="29"/>
                  </a:cubicBezTo>
                  <a:cubicBezTo>
                    <a:pt x="62" y="28"/>
                    <a:pt x="61" y="27"/>
                    <a:pt x="61" y="26"/>
                  </a:cubicBezTo>
                  <a:cubicBezTo>
                    <a:pt x="61" y="25"/>
                    <a:pt x="61" y="24"/>
                    <a:pt x="60" y="22"/>
                  </a:cubicBezTo>
                  <a:cubicBezTo>
                    <a:pt x="59" y="22"/>
                    <a:pt x="59" y="21"/>
                    <a:pt x="60" y="20"/>
                  </a:cubicBezTo>
                  <a:cubicBezTo>
                    <a:pt x="60" y="19"/>
                    <a:pt x="60" y="17"/>
                    <a:pt x="60" y="16"/>
                  </a:cubicBezTo>
                  <a:cubicBezTo>
                    <a:pt x="60" y="15"/>
                    <a:pt x="60" y="15"/>
                    <a:pt x="60" y="15"/>
                  </a:cubicBezTo>
                  <a:cubicBezTo>
                    <a:pt x="59" y="14"/>
                    <a:pt x="59" y="13"/>
                    <a:pt x="58" y="12"/>
                  </a:cubicBezTo>
                  <a:cubicBezTo>
                    <a:pt x="58" y="12"/>
                    <a:pt x="58" y="11"/>
                    <a:pt x="58" y="10"/>
                  </a:cubicBezTo>
                  <a:cubicBezTo>
                    <a:pt x="57" y="8"/>
                    <a:pt x="56" y="8"/>
                    <a:pt x="56" y="8"/>
                  </a:cubicBezTo>
                  <a:cubicBezTo>
                    <a:pt x="56" y="8"/>
                    <a:pt x="56" y="8"/>
                    <a:pt x="55" y="7"/>
                  </a:cubicBezTo>
                  <a:cubicBezTo>
                    <a:pt x="55" y="7"/>
                    <a:pt x="55" y="7"/>
                    <a:pt x="55" y="7"/>
                  </a:cubicBezTo>
                  <a:cubicBezTo>
                    <a:pt x="55" y="6"/>
                    <a:pt x="55" y="5"/>
                    <a:pt x="55" y="5"/>
                  </a:cubicBezTo>
                  <a:cubicBezTo>
                    <a:pt x="55" y="4"/>
                    <a:pt x="54" y="4"/>
                    <a:pt x="54" y="3"/>
                  </a:cubicBezTo>
                  <a:cubicBezTo>
                    <a:pt x="54" y="3"/>
                    <a:pt x="53" y="3"/>
                    <a:pt x="53" y="2"/>
                  </a:cubicBezTo>
                  <a:cubicBezTo>
                    <a:pt x="53" y="1"/>
                    <a:pt x="52" y="0"/>
                    <a:pt x="51" y="0"/>
                  </a:cubicBezTo>
                  <a:cubicBezTo>
                    <a:pt x="50" y="0"/>
                    <a:pt x="50" y="0"/>
                    <a:pt x="49" y="0"/>
                  </a:cubicBezTo>
                  <a:cubicBezTo>
                    <a:pt x="49" y="1"/>
                    <a:pt x="48" y="2"/>
                    <a:pt x="48" y="2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7" y="3"/>
                  </a:cubicBezTo>
                  <a:cubicBezTo>
                    <a:pt x="46" y="3"/>
                    <a:pt x="45" y="4"/>
                    <a:pt x="45" y="5"/>
                  </a:cubicBezTo>
                  <a:cubicBezTo>
                    <a:pt x="45" y="6"/>
                    <a:pt x="46" y="6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8"/>
                    <a:pt x="47" y="9"/>
                    <a:pt x="47" y="9"/>
                  </a:cubicBezTo>
                  <a:cubicBezTo>
                    <a:pt x="47" y="9"/>
                    <a:pt x="47" y="10"/>
                    <a:pt x="47" y="10"/>
                  </a:cubicBezTo>
                  <a:cubicBezTo>
                    <a:pt x="47" y="10"/>
                    <a:pt x="46" y="11"/>
                    <a:pt x="46" y="11"/>
                  </a:cubicBezTo>
                  <a:cubicBezTo>
                    <a:pt x="46" y="12"/>
                    <a:pt x="46" y="12"/>
                    <a:pt x="46" y="12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5" y="13"/>
                    <a:pt x="44" y="13"/>
                    <a:pt x="44" y="13"/>
                  </a:cubicBezTo>
                  <a:cubicBezTo>
                    <a:pt x="44" y="14"/>
                    <a:pt x="44" y="15"/>
                    <a:pt x="44" y="15"/>
                  </a:cubicBezTo>
                  <a:cubicBezTo>
                    <a:pt x="44" y="15"/>
                    <a:pt x="44" y="15"/>
                    <a:pt x="44" y="15"/>
                  </a:cubicBezTo>
                  <a:cubicBezTo>
                    <a:pt x="43" y="15"/>
                    <a:pt x="43" y="15"/>
                    <a:pt x="42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1" y="15"/>
                    <a:pt x="41" y="15"/>
                    <a:pt x="40" y="16"/>
                  </a:cubicBezTo>
                  <a:cubicBezTo>
                    <a:pt x="39" y="17"/>
                    <a:pt x="40" y="18"/>
                    <a:pt x="40" y="1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1"/>
                    <a:pt x="39" y="21"/>
                    <a:pt x="39" y="23"/>
                  </a:cubicBezTo>
                  <a:cubicBezTo>
                    <a:pt x="38" y="23"/>
                    <a:pt x="38" y="23"/>
                    <a:pt x="38" y="24"/>
                  </a:cubicBezTo>
                  <a:cubicBezTo>
                    <a:pt x="38" y="24"/>
                    <a:pt x="38" y="25"/>
                    <a:pt x="38" y="25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5" y="26"/>
                    <a:pt x="34" y="27"/>
                    <a:pt x="34" y="28"/>
                  </a:cubicBezTo>
                  <a:cubicBezTo>
                    <a:pt x="34" y="29"/>
                    <a:pt x="34" y="29"/>
                    <a:pt x="34" y="30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34" y="30"/>
                    <a:pt x="33" y="30"/>
                    <a:pt x="33" y="31"/>
                  </a:cubicBezTo>
                  <a:cubicBezTo>
                    <a:pt x="31" y="31"/>
                    <a:pt x="30" y="32"/>
                    <a:pt x="29" y="33"/>
                  </a:cubicBezTo>
                  <a:cubicBezTo>
                    <a:pt x="29" y="33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5"/>
                    <a:pt x="28" y="35"/>
                    <a:pt x="28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6" y="37"/>
                    <a:pt x="25" y="37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4" y="37"/>
                    <a:pt x="24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2" y="37"/>
                    <a:pt x="22" y="38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ubicBezTo>
                    <a:pt x="21" y="39"/>
                    <a:pt x="20" y="39"/>
                    <a:pt x="20" y="40"/>
                  </a:cubicBezTo>
                  <a:cubicBezTo>
                    <a:pt x="20" y="39"/>
                    <a:pt x="19" y="39"/>
                    <a:pt x="19" y="39"/>
                  </a:cubicBezTo>
                  <a:cubicBezTo>
                    <a:pt x="18" y="39"/>
                    <a:pt x="17" y="40"/>
                    <a:pt x="17" y="40"/>
                  </a:cubicBezTo>
                  <a:cubicBezTo>
                    <a:pt x="17" y="41"/>
                    <a:pt x="17" y="41"/>
                    <a:pt x="16" y="41"/>
                  </a:cubicBezTo>
                  <a:cubicBezTo>
                    <a:pt x="16" y="41"/>
                    <a:pt x="15" y="40"/>
                    <a:pt x="14" y="40"/>
                  </a:cubicBezTo>
                  <a:cubicBezTo>
                    <a:pt x="13" y="40"/>
                    <a:pt x="12" y="41"/>
                    <a:pt x="11" y="42"/>
                  </a:cubicBezTo>
                  <a:cubicBezTo>
                    <a:pt x="10" y="44"/>
                    <a:pt x="10" y="45"/>
                    <a:pt x="10" y="47"/>
                  </a:cubicBezTo>
                  <a:cubicBezTo>
                    <a:pt x="10" y="47"/>
                    <a:pt x="10" y="48"/>
                    <a:pt x="10" y="49"/>
                  </a:cubicBezTo>
                  <a:cubicBezTo>
                    <a:pt x="10" y="49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8" y="51"/>
                    <a:pt x="7" y="52"/>
                    <a:pt x="7" y="54"/>
                  </a:cubicBezTo>
                  <a:cubicBezTo>
                    <a:pt x="7" y="55"/>
                    <a:pt x="7" y="56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ubicBezTo>
                    <a:pt x="7" y="58"/>
                    <a:pt x="7" y="58"/>
                    <a:pt x="8" y="58"/>
                  </a:cubicBezTo>
                  <a:cubicBezTo>
                    <a:pt x="8" y="59"/>
                    <a:pt x="8" y="59"/>
                    <a:pt x="8" y="60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7" y="62"/>
                    <a:pt x="7" y="64"/>
                    <a:pt x="8" y="65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9" y="67"/>
                    <a:pt x="9" y="68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70"/>
                    <a:pt x="9" y="71"/>
                    <a:pt x="9" y="71"/>
                  </a:cubicBezTo>
                  <a:cubicBezTo>
                    <a:pt x="9" y="73"/>
                    <a:pt x="10" y="73"/>
                    <a:pt x="11" y="74"/>
                  </a:cubicBezTo>
                  <a:cubicBezTo>
                    <a:pt x="11" y="74"/>
                    <a:pt x="11" y="75"/>
                    <a:pt x="11" y="76"/>
                  </a:cubicBezTo>
                  <a:cubicBezTo>
                    <a:pt x="10" y="77"/>
                    <a:pt x="11" y="78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0" y="80"/>
                    <a:pt x="10" y="81"/>
                    <a:pt x="10" y="81"/>
                  </a:cubicBezTo>
                  <a:cubicBezTo>
                    <a:pt x="10" y="82"/>
                    <a:pt x="10" y="82"/>
                    <a:pt x="10" y="83"/>
                  </a:cubicBezTo>
                  <a:cubicBezTo>
                    <a:pt x="9" y="83"/>
                    <a:pt x="9" y="84"/>
                    <a:pt x="9" y="85"/>
                  </a:cubicBezTo>
                  <a:cubicBezTo>
                    <a:pt x="9" y="85"/>
                    <a:pt x="8" y="85"/>
                    <a:pt x="8" y="86"/>
                  </a:cubicBezTo>
                  <a:cubicBezTo>
                    <a:pt x="8" y="86"/>
                    <a:pt x="7" y="87"/>
                    <a:pt x="7" y="87"/>
                  </a:cubicBezTo>
                  <a:cubicBezTo>
                    <a:pt x="6" y="88"/>
                    <a:pt x="6" y="89"/>
                    <a:pt x="6" y="90"/>
                  </a:cubicBezTo>
                  <a:cubicBezTo>
                    <a:pt x="6" y="90"/>
                    <a:pt x="6" y="91"/>
                    <a:pt x="6" y="91"/>
                  </a:cubicBezTo>
                  <a:cubicBezTo>
                    <a:pt x="6" y="92"/>
                    <a:pt x="5" y="92"/>
                    <a:pt x="5" y="93"/>
                  </a:cubicBezTo>
                  <a:cubicBezTo>
                    <a:pt x="5" y="93"/>
                    <a:pt x="5" y="93"/>
                    <a:pt x="4" y="93"/>
                  </a:cubicBezTo>
                  <a:cubicBezTo>
                    <a:pt x="3" y="93"/>
                    <a:pt x="3" y="93"/>
                    <a:pt x="2" y="94"/>
                  </a:cubicBezTo>
                  <a:cubicBezTo>
                    <a:pt x="2" y="94"/>
                    <a:pt x="2" y="95"/>
                    <a:pt x="2" y="95"/>
                  </a:cubicBezTo>
                  <a:cubicBezTo>
                    <a:pt x="2" y="96"/>
                    <a:pt x="2" y="96"/>
                    <a:pt x="1" y="97"/>
                  </a:cubicBezTo>
                  <a:cubicBezTo>
                    <a:pt x="1" y="97"/>
                    <a:pt x="1" y="97"/>
                    <a:pt x="1" y="97"/>
                  </a:cubicBezTo>
                  <a:cubicBezTo>
                    <a:pt x="1" y="98"/>
                    <a:pt x="1" y="98"/>
                    <a:pt x="0" y="99"/>
                  </a:cubicBezTo>
                  <a:cubicBezTo>
                    <a:pt x="0" y="100"/>
                    <a:pt x="1" y="100"/>
                    <a:pt x="1" y="101"/>
                  </a:cubicBezTo>
                  <a:cubicBezTo>
                    <a:pt x="1" y="101"/>
                    <a:pt x="1" y="101"/>
                    <a:pt x="1" y="102"/>
                  </a:cubicBezTo>
                  <a:cubicBezTo>
                    <a:pt x="0" y="103"/>
                    <a:pt x="1" y="104"/>
                    <a:pt x="1" y="105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1" y="106"/>
                    <a:pt x="1" y="106"/>
                    <a:pt x="1" y="106"/>
                  </a:cubicBezTo>
                  <a:cubicBezTo>
                    <a:pt x="1" y="107"/>
                    <a:pt x="1" y="108"/>
                    <a:pt x="2" y="108"/>
                  </a:cubicBezTo>
                  <a:cubicBezTo>
                    <a:pt x="2" y="109"/>
                    <a:pt x="3" y="110"/>
                    <a:pt x="4" y="110"/>
                  </a:cubicBezTo>
                  <a:cubicBezTo>
                    <a:pt x="4" y="110"/>
                    <a:pt x="4" y="111"/>
                    <a:pt x="4" y="111"/>
                  </a:cubicBezTo>
                  <a:cubicBezTo>
                    <a:pt x="5" y="111"/>
                    <a:pt x="5" y="111"/>
                    <a:pt x="5" y="112"/>
                  </a:cubicBezTo>
                  <a:cubicBezTo>
                    <a:pt x="5" y="113"/>
                    <a:pt x="6" y="113"/>
                    <a:pt x="5" y="114"/>
                  </a:cubicBezTo>
                  <a:cubicBezTo>
                    <a:pt x="5" y="114"/>
                    <a:pt x="5" y="114"/>
                    <a:pt x="5" y="115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4" y="117"/>
                    <a:pt x="4" y="118"/>
                    <a:pt x="4" y="119"/>
                  </a:cubicBezTo>
                  <a:cubicBezTo>
                    <a:pt x="4" y="119"/>
                    <a:pt x="4" y="120"/>
                    <a:pt x="4" y="120"/>
                  </a:cubicBezTo>
                  <a:cubicBezTo>
                    <a:pt x="4" y="121"/>
                    <a:pt x="4" y="121"/>
                    <a:pt x="4" y="122"/>
                  </a:cubicBezTo>
                  <a:cubicBezTo>
                    <a:pt x="4" y="122"/>
                    <a:pt x="5" y="123"/>
                    <a:pt x="5" y="123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4"/>
                    <a:pt x="5" y="124"/>
                    <a:pt x="5" y="124"/>
                  </a:cubicBezTo>
                  <a:cubicBezTo>
                    <a:pt x="5" y="125"/>
                    <a:pt x="5" y="126"/>
                    <a:pt x="6" y="127"/>
                  </a:cubicBezTo>
                  <a:cubicBezTo>
                    <a:pt x="6" y="128"/>
                    <a:pt x="7" y="129"/>
                    <a:pt x="8" y="130"/>
                  </a:cubicBezTo>
                  <a:cubicBezTo>
                    <a:pt x="8" y="130"/>
                    <a:pt x="8" y="130"/>
                    <a:pt x="9" y="130"/>
                  </a:cubicBezTo>
                  <a:cubicBezTo>
                    <a:pt x="9" y="131"/>
                    <a:pt x="9" y="131"/>
                    <a:pt x="10" y="132"/>
                  </a:cubicBezTo>
                  <a:cubicBezTo>
                    <a:pt x="10" y="132"/>
                    <a:pt x="10" y="132"/>
                    <a:pt x="10" y="132"/>
                  </a:cubicBezTo>
                  <a:cubicBezTo>
                    <a:pt x="9" y="133"/>
                    <a:pt x="9" y="133"/>
                    <a:pt x="9" y="133"/>
                  </a:cubicBezTo>
                  <a:cubicBezTo>
                    <a:pt x="10" y="134"/>
                    <a:pt x="10" y="134"/>
                    <a:pt x="10" y="134"/>
                  </a:cubicBezTo>
                  <a:cubicBezTo>
                    <a:pt x="10" y="134"/>
                    <a:pt x="11" y="134"/>
                    <a:pt x="11" y="134"/>
                  </a:cubicBezTo>
                  <a:cubicBezTo>
                    <a:pt x="11" y="135"/>
                    <a:pt x="12" y="135"/>
                    <a:pt x="13" y="135"/>
                  </a:cubicBezTo>
                  <a:cubicBezTo>
                    <a:pt x="13" y="135"/>
                    <a:pt x="14" y="136"/>
                    <a:pt x="14" y="136"/>
                  </a:cubicBezTo>
                  <a:cubicBezTo>
                    <a:pt x="15" y="137"/>
                    <a:pt x="16" y="137"/>
                    <a:pt x="17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9" y="137"/>
                    <a:pt x="19" y="137"/>
                    <a:pt x="19" y="137"/>
                  </a:cubicBezTo>
                  <a:cubicBezTo>
                    <a:pt x="20" y="137"/>
                    <a:pt x="21" y="136"/>
                    <a:pt x="22" y="136"/>
                  </a:cubicBezTo>
                  <a:cubicBezTo>
                    <a:pt x="22" y="136"/>
                    <a:pt x="22" y="136"/>
                    <a:pt x="22" y="136"/>
                  </a:cubicBezTo>
                  <a:cubicBezTo>
                    <a:pt x="23" y="135"/>
                    <a:pt x="24" y="134"/>
                    <a:pt x="25" y="134"/>
                  </a:cubicBezTo>
                  <a:cubicBezTo>
                    <a:pt x="26" y="134"/>
                    <a:pt x="26" y="134"/>
                    <a:pt x="26" y="134"/>
                  </a:cubicBezTo>
                  <a:cubicBezTo>
                    <a:pt x="27" y="134"/>
                    <a:pt x="28" y="134"/>
                    <a:pt x="29" y="134"/>
                  </a:cubicBezTo>
                  <a:cubicBezTo>
                    <a:pt x="31" y="134"/>
                    <a:pt x="32" y="132"/>
                    <a:pt x="33" y="131"/>
                  </a:cubicBezTo>
                  <a:cubicBezTo>
                    <a:pt x="33" y="131"/>
                    <a:pt x="33" y="131"/>
                    <a:pt x="34" y="131"/>
                  </a:cubicBezTo>
                  <a:cubicBezTo>
                    <a:pt x="34" y="131"/>
                    <a:pt x="34" y="131"/>
                    <a:pt x="34" y="131"/>
                  </a:cubicBezTo>
                  <a:cubicBezTo>
                    <a:pt x="34" y="131"/>
                    <a:pt x="35" y="130"/>
                    <a:pt x="35" y="130"/>
                  </a:cubicBezTo>
                  <a:cubicBezTo>
                    <a:pt x="36" y="129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3"/>
                    <a:pt x="36" y="121"/>
                    <a:pt x="37" y="119"/>
                  </a:cubicBezTo>
                  <a:cubicBezTo>
                    <a:pt x="37" y="118"/>
                    <a:pt x="37" y="117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5"/>
                    <a:pt x="39" y="114"/>
                    <a:pt x="39" y="113"/>
                  </a:cubicBezTo>
                  <a:cubicBezTo>
                    <a:pt x="39" y="112"/>
                    <a:pt x="39" y="112"/>
                    <a:pt x="40" y="111"/>
                  </a:cubicBezTo>
                  <a:cubicBezTo>
                    <a:pt x="40" y="110"/>
                    <a:pt x="40" y="109"/>
                    <a:pt x="41" y="107"/>
                  </a:cubicBezTo>
                  <a:cubicBezTo>
                    <a:pt x="41" y="107"/>
                    <a:pt x="41" y="106"/>
                    <a:pt x="41" y="105"/>
                  </a:cubicBezTo>
                  <a:cubicBezTo>
                    <a:pt x="41" y="104"/>
                    <a:pt x="41" y="103"/>
                    <a:pt x="41" y="102"/>
                  </a:cubicBezTo>
                  <a:cubicBezTo>
                    <a:pt x="42" y="101"/>
                    <a:pt x="42" y="101"/>
                    <a:pt x="42" y="100"/>
                  </a:cubicBezTo>
                  <a:cubicBezTo>
                    <a:pt x="42" y="100"/>
                    <a:pt x="43" y="99"/>
                    <a:pt x="43" y="99"/>
                  </a:cubicBezTo>
                  <a:cubicBezTo>
                    <a:pt x="43" y="99"/>
                    <a:pt x="43" y="98"/>
                    <a:pt x="44" y="98"/>
                  </a:cubicBezTo>
                  <a:cubicBezTo>
                    <a:pt x="44" y="96"/>
                    <a:pt x="44" y="95"/>
                    <a:pt x="44" y="94"/>
                  </a:cubicBezTo>
                  <a:cubicBezTo>
                    <a:pt x="44" y="93"/>
                    <a:pt x="44" y="92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6" y="90"/>
                    <a:pt x="46" y="90"/>
                    <a:pt x="46" y="89"/>
                  </a:cubicBezTo>
                  <a:cubicBezTo>
                    <a:pt x="46" y="88"/>
                    <a:pt x="46" y="88"/>
                    <a:pt x="46" y="88"/>
                  </a:cubicBezTo>
                  <a:cubicBezTo>
                    <a:pt x="46" y="87"/>
                    <a:pt x="46" y="87"/>
                    <a:pt x="46" y="87"/>
                  </a:cubicBezTo>
                  <a:cubicBezTo>
                    <a:pt x="46" y="87"/>
                    <a:pt x="46" y="86"/>
                    <a:pt x="46" y="86"/>
                  </a:cubicBezTo>
                  <a:cubicBezTo>
                    <a:pt x="46" y="85"/>
                    <a:pt x="47" y="85"/>
                    <a:pt x="47" y="84"/>
                  </a:cubicBezTo>
                  <a:cubicBezTo>
                    <a:pt x="47" y="83"/>
                    <a:pt x="47" y="82"/>
                    <a:pt x="47" y="81"/>
                  </a:cubicBezTo>
                  <a:cubicBezTo>
                    <a:pt x="48" y="81"/>
                    <a:pt x="48" y="81"/>
                    <a:pt x="48" y="80"/>
                  </a:cubicBezTo>
                  <a:cubicBezTo>
                    <a:pt x="48" y="80"/>
                    <a:pt x="49" y="79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7"/>
                    <a:pt x="50" y="76"/>
                    <a:pt x="50" y="74"/>
                  </a:cubicBezTo>
                  <a:cubicBezTo>
                    <a:pt x="50" y="72"/>
                    <a:pt x="51" y="70"/>
                    <a:pt x="51" y="68"/>
                  </a:cubicBezTo>
                  <a:cubicBezTo>
                    <a:pt x="52" y="67"/>
                    <a:pt x="52" y="66"/>
                    <a:pt x="52" y="65"/>
                  </a:cubicBezTo>
                  <a:cubicBezTo>
                    <a:pt x="52" y="64"/>
                    <a:pt x="52" y="63"/>
                    <a:pt x="53" y="62"/>
                  </a:cubicBezTo>
                  <a:cubicBezTo>
                    <a:pt x="53" y="62"/>
                    <a:pt x="53" y="61"/>
                    <a:pt x="54" y="60"/>
                  </a:cubicBezTo>
                  <a:cubicBezTo>
                    <a:pt x="54" y="59"/>
                    <a:pt x="54" y="59"/>
                    <a:pt x="54" y="59"/>
                  </a:cubicBezTo>
                  <a:cubicBezTo>
                    <a:pt x="54" y="58"/>
                    <a:pt x="55" y="57"/>
                    <a:pt x="55" y="56"/>
                  </a:cubicBezTo>
                  <a:cubicBezTo>
                    <a:pt x="55" y="55"/>
                    <a:pt x="55" y="54"/>
                    <a:pt x="54" y="53"/>
                  </a:cubicBezTo>
                  <a:cubicBezTo>
                    <a:pt x="54" y="52"/>
                    <a:pt x="54" y="52"/>
                    <a:pt x="54" y="52"/>
                  </a:cubicBezTo>
                  <a:cubicBezTo>
                    <a:pt x="54" y="51"/>
                    <a:pt x="54" y="51"/>
                    <a:pt x="54" y="51"/>
                  </a:cubicBezTo>
                  <a:cubicBezTo>
                    <a:pt x="55" y="50"/>
                    <a:pt x="56" y="49"/>
                    <a:pt x="56" y="48"/>
                  </a:cubicBezTo>
                  <a:cubicBezTo>
                    <a:pt x="56" y="48"/>
                    <a:pt x="56" y="48"/>
                    <a:pt x="56" y="48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6" y="47"/>
                    <a:pt x="56" y="46"/>
                    <a:pt x="56" y="46"/>
                  </a:cubicBezTo>
                  <a:cubicBezTo>
                    <a:pt x="56" y="46"/>
                    <a:pt x="57" y="46"/>
                    <a:pt x="57" y="45"/>
                  </a:cubicBezTo>
                  <a:cubicBezTo>
                    <a:pt x="58" y="43"/>
                    <a:pt x="57" y="42"/>
                    <a:pt x="57" y="41"/>
                  </a:cubicBezTo>
                  <a:cubicBezTo>
                    <a:pt x="56" y="41"/>
                    <a:pt x="56" y="40"/>
                    <a:pt x="56" y="40"/>
                  </a:cubicBezTo>
                  <a:cubicBezTo>
                    <a:pt x="56" y="39"/>
                    <a:pt x="56" y="39"/>
                    <a:pt x="56" y="39"/>
                  </a:cubicBezTo>
                  <a:cubicBezTo>
                    <a:pt x="57" y="40"/>
                    <a:pt x="57" y="41"/>
                    <a:pt x="58" y="41"/>
                  </a:cubicBezTo>
                  <a:cubicBezTo>
                    <a:pt x="59" y="41"/>
                    <a:pt x="60" y="41"/>
                    <a:pt x="60" y="39"/>
                  </a:cubicBezTo>
                  <a:cubicBezTo>
                    <a:pt x="60" y="39"/>
                    <a:pt x="60" y="39"/>
                    <a:pt x="60" y="39"/>
                  </a:cubicBezTo>
                  <a:cubicBezTo>
                    <a:pt x="61" y="38"/>
                    <a:pt x="61" y="38"/>
                    <a:pt x="61" y="37"/>
                  </a:cubicBezTo>
                  <a:cubicBezTo>
                    <a:pt x="61" y="37"/>
                    <a:pt x="61" y="36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3" y="34"/>
                    <a:pt x="63" y="33"/>
                    <a:pt x="63" y="33"/>
                  </a:cubicBezTo>
                  <a:cubicBezTo>
                    <a:pt x="63" y="31"/>
                    <a:pt x="63" y="30"/>
                    <a:pt x="62" y="30"/>
                  </a:cubicBezTo>
                  <a:lnTo>
                    <a:pt x="62" y="29"/>
                  </a:lnTo>
                  <a:close/>
                  <a:moveTo>
                    <a:pt x="10" y="69"/>
                  </a:moveTo>
                  <a:cubicBezTo>
                    <a:pt x="10" y="69"/>
                    <a:pt x="10" y="69"/>
                    <a:pt x="10" y="69"/>
                  </a:cubicBezTo>
                  <a:cubicBezTo>
                    <a:pt x="10" y="69"/>
                    <a:pt x="10" y="69"/>
                    <a:pt x="10" y="69"/>
                  </a:cubicBezTo>
                  <a:close/>
                  <a:moveTo>
                    <a:pt x="22" y="40"/>
                  </a:move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lose/>
                  <a:moveTo>
                    <a:pt x="37" y="115"/>
                  </a:moveTo>
                  <a:cubicBezTo>
                    <a:pt x="37" y="115"/>
                    <a:pt x="37" y="115"/>
                    <a:pt x="37" y="115"/>
                  </a:cubicBezTo>
                  <a:cubicBezTo>
                    <a:pt x="37" y="115"/>
                    <a:pt x="37" y="115"/>
                    <a:pt x="37" y="1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auto">
            <a:xfrm>
              <a:off x="4381" y="3009"/>
              <a:ext cx="33" cy="26"/>
            </a:xfrm>
            <a:custGeom>
              <a:avLst/>
              <a:gdLst>
                <a:gd name="T0" fmla="*/ 9 w 14"/>
                <a:gd name="T1" fmla="*/ 6 h 11"/>
                <a:gd name="T2" fmla="*/ 7 w 14"/>
                <a:gd name="T3" fmla="*/ 3 h 11"/>
                <a:gd name="T4" fmla="*/ 7 w 14"/>
                <a:gd name="T5" fmla="*/ 2 h 11"/>
                <a:gd name="T6" fmla="*/ 3 w 14"/>
                <a:gd name="T7" fmla="*/ 0 h 11"/>
                <a:gd name="T8" fmla="*/ 1 w 14"/>
                <a:gd name="T9" fmla="*/ 1 h 11"/>
                <a:gd name="T10" fmla="*/ 2 w 14"/>
                <a:gd name="T11" fmla="*/ 5 h 11"/>
                <a:gd name="T12" fmla="*/ 2 w 14"/>
                <a:gd name="T13" fmla="*/ 6 h 11"/>
                <a:gd name="T14" fmla="*/ 5 w 14"/>
                <a:gd name="T15" fmla="*/ 8 h 11"/>
                <a:gd name="T16" fmla="*/ 14 w 14"/>
                <a:gd name="T17" fmla="*/ 11 h 11"/>
                <a:gd name="T18" fmla="*/ 9 w 14"/>
                <a:gd name="T19" fmla="*/ 7 h 11"/>
                <a:gd name="T20" fmla="*/ 9 w 14"/>
                <a:gd name="T21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" h="11">
                  <a:moveTo>
                    <a:pt x="9" y="6"/>
                  </a:moveTo>
                  <a:cubicBezTo>
                    <a:pt x="9" y="4"/>
                    <a:pt x="8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1"/>
                    <a:pt x="5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0" y="3"/>
                    <a:pt x="1" y="4"/>
                    <a:pt x="2" y="5"/>
                  </a:cubicBezTo>
                  <a:cubicBezTo>
                    <a:pt x="2" y="5"/>
                    <a:pt x="2" y="6"/>
                    <a:pt x="2" y="6"/>
                  </a:cubicBezTo>
                  <a:cubicBezTo>
                    <a:pt x="3" y="7"/>
                    <a:pt x="4" y="8"/>
                    <a:pt x="5" y="8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auto">
            <a:xfrm>
              <a:off x="4428" y="2990"/>
              <a:ext cx="14" cy="17"/>
            </a:xfrm>
            <a:custGeom>
              <a:avLst/>
              <a:gdLst>
                <a:gd name="T0" fmla="*/ 3 w 6"/>
                <a:gd name="T1" fmla="*/ 0 h 7"/>
                <a:gd name="T2" fmla="*/ 2 w 6"/>
                <a:gd name="T3" fmla="*/ 1 h 7"/>
                <a:gd name="T4" fmla="*/ 0 w 6"/>
                <a:gd name="T5" fmla="*/ 3 h 7"/>
                <a:gd name="T6" fmla="*/ 0 w 6"/>
                <a:gd name="T7" fmla="*/ 3 h 7"/>
                <a:gd name="T8" fmla="*/ 0 w 6"/>
                <a:gd name="T9" fmla="*/ 4 h 7"/>
                <a:gd name="T10" fmla="*/ 1 w 6"/>
                <a:gd name="T11" fmla="*/ 7 h 7"/>
                <a:gd name="T12" fmla="*/ 2 w 6"/>
                <a:gd name="T13" fmla="*/ 7 h 7"/>
                <a:gd name="T14" fmla="*/ 6 w 6"/>
                <a:gd name="T15" fmla="*/ 3 h 7"/>
                <a:gd name="T16" fmla="*/ 6 w 6"/>
                <a:gd name="T17" fmla="*/ 3 h 7"/>
                <a:gd name="T18" fmla="*/ 3 w 6"/>
                <a:gd name="T19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7">
                  <a:moveTo>
                    <a:pt x="3" y="0"/>
                  </a:moveTo>
                  <a:cubicBezTo>
                    <a:pt x="3" y="0"/>
                    <a:pt x="3" y="1"/>
                    <a:pt x="2" y="1"/>
                  </a:cubicBezTo>
                  <a:cubicBezTo>
                    <a:pt x="1" y="1"/>
                    <a:pt x="1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5"/>
                    <a:pt x="0" y="6"/>
                    <a:pt x="1" y="7"/>
                  </a:cubicBezTo>
                  <a:cubicBezTo>
                    <a:pt x="1" y="7"/>
                    <a:pt x="2" y="7"/>
                    <a:pt x="2" y="7"/>
                  </a:cubicBezTo>
                  <a:cubicBezTo>
                    <a:pt x="4" y="7"/>
                    <a:pt x="6" y="5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auto">
            <a:xfrm>
              <a:off x="6472" y="3743"/>
              <a:ext cx="19" cy="19"/>
            </a:xfrm>
            <a:custGeom>
              <a:avLst/>
              <a:gdLst>
                <a:gd name="T0" fmla="*/ 7 w 8"/>
                <a:gd name="T1" fmla="*/ 2 h 8"/>
                <a:gd name="T2" fmla="*/ 4 w 8"/>
                <a:gd name="T3" fmla="*/ 0 h 8"/>
                <a:gd name="T4" fmla="*/ 3 w 8"/>
                <a:gd name="T5" fmla="*/ 0 h 8"/>
                <a:gd name="T6" fmla="*/ 1 w 8"/>
                <a:gd name="T7" fmla="*/ 1 h 8"/>
                <a:gd name="T8" fmla="*/ 1 w 8"/>
                <a:gd name="T9" fmla="*/ 4 h 8"/>
                <a:gd name="T10" fmla="*/ 1 w 8"/>
                <a:gd name="T11" fmla="*/ 4 h 8"/>
                <a:gd name="T12" fmla="*/ 0 w 8"/>
                <a:gd name="T13" fmla="*/ 6 h 8"/>
                <a:gd name="T14" fmla="*/ 3 w 8"/>
                <a:gd name="T15" fmla="*/ 8 h 8"/>
                <a:gd name="T16" fmla="*/ 3 w 8"/>
                <a:gd name="T17" fmla="*/ 8 h 8"/>
                <a:gd name="T18" fmla="*/ 4 w 8"/>
                <a:gd name="T19" fmla="*/ 7 h 8"/>
                <a:gd name="T20" fmla="*/ 6 w 8"/>
                <a:gd name="T21" fmla="*/ 6 h 8"/>
                <a:gd name="T22" fmla="*/ 7 w 8"/>
                <a:gd name="T23" fmla="*/ 5 h 8"/>
                <a:gd name="T24" fmla="*/ 7 w 8"/>
                <a:gd name="T25" fmla="*/ 2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" h="8">
                  <a:moveTo>
                    <a:pt x="7" y="2"/>
                  </a:moveTo>
                  <a:cubicBezTo>
                    <a:pt x="6" y="1"/>
                    <a:pt x="5" y="1"/>
                    <a:pt x="4" y="0"/>
                  </a:cubicBezTo>
                  <a:cubicBezTo>
                    <a:pt x="4" y="0"/>
                    <a:pt x="3" y="0"/>
                    <a:pt x="3" y="0"/>
                  </a:cubicBezTo>
                  <a:cubicBezTo>
                    <a:pt x="2" y="0"/>
                    <a:pt x="1" y="1"/>
                    <a:pt x="1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4"/>
                    <a:pt x="0" y="5"/>
                    <a:pt x="0" y="6"/>
                  </a:cubicBezTo>
                  <a:cubicBezTo>
                    <a:pt x="1" y="7"/>
                    <a:pt x="1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7"/>
                    <a:pt x="4" y="7"/>
                  </a:cubicBezTo>
                  <a:cubicBezTo>
                    <a:pt x="5" y="7"/>
                    <a:pt x="6" y="7"/>
                    <a:pt x="6" y="6"/>
                  </a:cubicBezTo>
                  <a:cubicBezTo>
                    <a:pt x="7" y="6"/>
                    <a:pt x="7" y="5"/>
                    <a:pt x="7" y="5"/>
                  </a:cubicBezTo>
                  <a:cubicBezTo>
                    <a:pt x="8" y="3"/>
                    <a:pt x="7" y="2"/>
                    <a:pt x="7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2" name="Freeform 81"/>
            <p:cNvSpPr>
              <a:spLocks noEditPoints="1"/>
            </p:cNvSpPr>
            <p:nvPr/>
          </p:nvSpPr>
          <p:spPr bwMode="auto">
            <a:xfrm>
              <a:off x="6162" y="3464"/>
              <a:ext cx="343" cy="331"/>
            </a:xfrm>
            <a:custGeom>
              <a:avLst/>
              <a:gdLst>
                <a:gd name="T0" fmla="*/ 135 w 145"/>
                <a:gd name="T1" fmla="*/ 44 h 140"/>
                <a:gd name="T2" fmla="*/ 131 w 145"/>
                <a:gd name="T3" fmla="*/ 44 h 140"/>
                <a:gd name="T4" fmla="*/ 131 w 145"/>
                <a:gd name="T5" fmla="*/ 32 h 140"/>
                <a:gd name="T6" fmla="*/ 125 w 145"/>
                <a:gd name="T7" fmla="*/ 33 h 140"/>
                <a:gd name="T8" fmla="*/ 125 w 145"/>
                <a:gd name="T9" fmla="*/ 27 h 140"/>
                <a:gd name="T10" fmla="*/ 126 w 145"/>
                <a:gd name="T11" fmla="*/ 22 h 140"/>
                <a:gd name="T12" fmla="*/ 129 w 145"/>
                <a:gd name="T13" fmla="*/ 14 h 140"/>
                <a:gd name="T14" fmla="*/ 126 w 145"/>
                <a:gd name="T15" fmla="*/ 9 h 140"/>
                <a:gd name="T16" fmla="*/ 123 w 145"/>
                <a:gd name="T17" fmla="*/ 4 h 140"/>
                <a:gd name="T18" fmla="*/ 121 w 145"/>
                <a:gd name="T19" fmla="*/ 1 h 140"/>
                <a:gd name="T20" fmla="*/ 118 w 145"/>
                <a:gd name="T21" fmla="*/ 5 h 140"/>
                <a:gd name="T22" fmla="*/ 118 w 145"/>
                <a:gd name="T23" fmla="*/ 15 h 140"/>
                <a:gd name="T24" fmla="*/ 118 w 145"/>
                <a:gd name="T25" fmla="*/ 22 h 140"/>
                <a:gd name="T26" fmla="*/ 119 w 145"/>
                <a:gd name="T27" fmla="*/ 27 h 140"/>
                <a:gd name="T28" fmla="*/ 117 w 145"/>
                <a:gd name="T29" fmla="*/ 37 h 140"/>
                <a:gd name="T30" fmla="*/ 113 w 145"/>
                <a:gd name="T31" fmla="*/ 45 h 140"/>
                <a:gd name="T32" fmla="*/ 107 w 145"/>
                <a:gd name="T33" fmla="*/ 52 h 140"/>
                <a:gd name="T34" fmla="*/ 99 w 145"/>
                <a:gd name="T35" fmla="*/ 56 h 140"/>
                <a:gd name="T36" fmla="*/ 102 w 145"/>
                <a:gd name="T37" fmla="*/ 68 h 140"/>
                <a:gd name="T38" fmla="*/ 98 w 145"/>
                <a:gd name="T39" fmla="*/ 75 h 140"/>
                <a:gd name="T40" fmla="*/ 90 w 145"/>
                <a:gd name="T41" fmla="*/ 82 h 140"/>
                <a:gd name="T42" fmla="*/ 90 w 145"/>
                <a:gd name="T43" fmla="*/ 81 h 140"/>
                <a:gd name="T44" fmla="*/ 88 w 145"/>
                <a:gd name="T45" fmla="*/ 77 h 140"/>
                <a:gd name="T46" fmla="*/ 84 w 145"/>
                <a:gd name="T47" fmla="*/ 78 h 140"/>
                <a:gd name="T48" fmla="*/ 85 w 145"/>
                <a:gd name="T49" fmla="*/ 77 h 140"/>
                <a:gd name="T50" fmla="*/ 85 w 145"/>
                <a:gd name="T51" fmla="*/ 71 h 140"/>
                <a:gd name="T52" fmla="*/ 73 w 145"/>
                <a:gd name="T53" fmla="*/ 78 h 140"/>
                <a:gd name="T54" fmla="*/ 63 w 145"/>
                <a:gd name="T55" fmla="*/ 85 h 140"/>
                <a:gd name="T56" fmla="*/ 57 w 145"/>
                <a:gd name="T57" fmla="*/ 93 h 140"/>
                <a:gd name="T58" fmla="*/ 46 w 145"/>
                <a:gd name="T59" fmla="*/ 99 h 140"/>
                <a:gd name="T60" fmla="*/ 37 w 145"/>
                <a:gd name="T61" fmla="*/ 103 h 140"/>
                <a:gd name="T62" fmla="*/ 31 w 145"/>
                <a:gd name="T63" fmla="*/ 105 h 140"/>
                <a:gd name="T64" fmla="*/ 23 w 145"/>
                <a:gd name="T65" fmla="*/ 109 h 140"/>
                <a:gd name="T66" fmla="*/ 18 w 145"/>
                <a:gd name="T67" fmla="*/ 113 h 140"/>
                <a:gd name="T68" fmla="*/ 12 w 145"/>
                <a:gd name="T69" fmla="*/ 116 h 140"/>
                <a:gd name="T70" fmla="*/ 5 w 145"/>
                <a:gd name="T71" fmla="*/ 123 h 140"/>
                <a:gd name="T72" fmla="*/ 1 w 145"/>
                <a:gd name="T73" fmla="*/ 126 h 140"/>
                <a:gd name="T74" fmla="*/ 3 w 145"/>
                <a:gd name="T75" fmla="*/ 133 h 140"/>
                <a:gd name="T76" fmla="*/ 11 w 145"/>
                <a:gd name="T77" fmla="*/ 139 h 140"/>
                <a:gd name="T78" fmla="*/ 21 w 145"/>
                <a:gd name="T79" fmla="*/ 139 h 140"/>
                <a:gd name="T80" fmla="*/ 29 w 145"/>
                <a:gd name="T81" fmla="*/ 134 h 140"/>
                <a:gd name="T82" fmla="*/ 34 w 145"/>
                <a:gd name="T83" fmla="*/ 130 h 140"/>
                <a:gd name="T84" fmla="*/ 44 w 145"/>
                <a:gd name="T85" fmla="*/ 121 h 140"/>
                <a:gd name="T86" fmla="*/ 52 w 145"/>
                <a:gd name="T87" fmla="*/ 113 h 140"/>
                <a:gd name="T88" fmla="*/ 57 w 145"/>
                <a:gd name="T89" fmla="*/ 111 h 140"/>
                <a:gd name="T90" fmla="*/ 63 w 145"/>
                <a:gd name="T91" fmla="*/ 112 h 140"/>
                <a:gd name="T92" fmla="*/ 68 w 145"/>
                <a:gd name="T93" fmla="*/ 103 h 140"/>
                <a:gd name="T94" fmla="*/ 77 w 145"/>
                <a:gd name="T95" fmla="*/ 98 h 140"/>
                <a:gd name="T96" fmla="*/ 80 w 145"/>
                <a:gd name="T97" fmla="*/ 93 h 140"/>
                <a:gd name="T98" fmla="*/ 85 w 145"/>
                <a:gd name="T99" fmla="*/ 90 h 140"/>
                <a:gd name="T100" fmla="*/ 89 w 145"/>
                <a:gd name="T101" fmla="*/ 86 h 140"/>
                <a:gd name="T102" fmla="*/ 93 w 145"/>
                <a:gd name="T103" fmla="*/ 90 h 140"/>
                <a:gd name="T104" fmla="*/ 99 w 145"/>
                <a:gd name="T105" fmla="*/ 85 h 140"/>
                <a:gd name="T106" fmla="*/ 105 w 145"/>
                <a:gd name="T107" fmla="*/ 82 h 140"/>
                <a:gd name="T108" fmla="*/ 109 w 145"/>
                <a:gd name="T109" fmla="*/ 78 h 140"/>
                <a:gd name="T110" fmla="*/ 117 w 145"/>
                <a:gd name="T111" fmla="*/ 72 h 140"/>
                <a:gd name="T112" fmla="*/ 122 w 145"/>
                <a:gd name="T113" fmla="*/ 64 h 140"/>
                <a:gd name="T114" fmla="*/ 127 w 145"/>
                <a:gd name="T115" fmla="*/ 62 h 140"/>
                <a:gd name="T116" fmla="*/ 131 w 145"/>
                <a:gd name="T117" fmla="*/ 60 h 140"/>
                <a:gd name="T118" fmla="*/ 138 w 145"/>
                <a:gd name="T119" fmla="*/ 55 h 140"/>
                <a:gd name="T120" fmla="*/ 143 w 145"/>
                <a:gd name="T121" fmla="*/ 47 h 140"/>
                <a:gd name="T122" fmla="*/ 62 w 145"/>
                <a:gd name="T123" fmla="*/ 11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45" h="140">
                  <a:moveTo>
                    <a:pt x="143" y="41"/>
                  </a:moveTo>
                  <a:cubicBezTo>
                    <a:pt x="141" y="41"/>
                    <a:pt x="141" y="41"/>
                    <a:pt x="140" y="41"/>
                  </a:cubicBezTo>
                  <a:cubicBezTo>
                    <a:pt x="139" y="42"/>
                    <a:pt x="139" y="42"/>
                    <a:pt x="138" y="42"/>
                  </a:cubicBezTo>
                  <a:cubicBezTo>
                    <a:pt x="138" y="42"/>
                    <a:pt x="137" y="42"/>
                    <a:pt x="137" y="42"/>
                  </a:cubicBezTo>
                  <a:cubicBezTo>
                    <a:pt x="136" y="43"/>
                    <a:pt x="135" y="43"/>
                    <a:pt x="135" y="44"/>
                  </a:cubicBezTo>
                  <a:cubicBezTo>
                    <a:pt x="135" y="44"/>
                    <a:pt x="135" y="44"/>
                    <a:pt x="135" y="44"/>
                  </a:cubicBezTo>
                  <a:cubicBezTo>
                    <a:pt x="134" y="45"/>
                    <a:pt x="134" y="45"/>
                    <a:pt x="133" y="45"/>
                  </a:cubicBezTo>
                  <a:cubicBezTo>
                    <a:pt x="132" y="45"/>
                    <a:pt x="132" y="45"/>
                    <a:pt x="132" y="45"/>
                  </a:cubicBezTo>
                  <a:cubicBezTo>
                    <a:pt x="132" y="46"/>
                    <a:pt x="132" y="46"/>
                    <a:pt x="131" y="46"/>
                  </a:cubicBezTo>
                  <a:cubicBezTo>
                    <a:pt x="131" y="46"/>
                    <a:pt x="131" y="45"/>
                    <a:pt x="131" y="44"/>
                  </a:cubicBezTo>
                  <a:cubicBezTo>
                    <a:pt x="131" y="44"/>
                    <a:pt x="131" y="44"/>
                    <a:pt x="131" y="43"/>
                  </a:cubicBezTo>
                  <a:cubicBezTo>
                    <a:pt x="130" y="42"/>
                    <a:pt x="129" y="42"/>
                    <a:pt x="129" y="41"/>
                  </a:cubicBezTo>
                  <a:cubicBezTo>
                    <a:pt x="128" y="40"/>
                    <a:pt x="128" y="40"/>
                    <a:pt x="128" y="39"/>
                  </a:cubicBezTo>
                  <a:cubicBezTo>
                    <a:pt x="128" y="39"/>
                    <a:pt x="129" y="39"/>
                    <a:pt x="129" y="38"/>
                  </a:cubicBezTo>
                  <a:cubicBezTo>
                    <a:pt x="130" y="36"/>
                    <a:pt x="131" y="34"/>
                    <a:pt x="131" y="32"/>
                  </a:cubicBezTo>
                  <a:cubicBezTo>
                    <a:pt x="131" y="31"/>
                    <a:pt x="130" y="29"/>
                    <a:pt x="129" y="28"/>
                  </a:cubicBezTo>
                  <a:cubicBezTo>
                    <a:pt x="129" y="28"/>
                    <a:pt x="128" y="28"/>
                    <a:pt x="128" y="28"/>
                  </a:cubicBezTo>
                  <a:cubicBezTo>
                    <a:pt x="127" y="28"/>
                    <a:pt x="127" y="28"/>
                    <a:pt x="126" y="29"/>
                  </a:cubicBezTo>
                  <a:cubicBezTo>
                    <a:pt x="126" y="30"/>
                    <a:pt x="126" y="31"/>
                    <a:pt x="125" y="32"/>
                  </a:cubicBezTo>
                  <a:cubicBezTo>
                    <a:pt x="125" y="32"/>
                    <a:pt x="125" y="33"/>
                    <a:pt x="125" y="33"/>
                  </a:cubicBezTo>
                  <a:cubicBezTo>
                    <a:pt x="125" y="32"/>
                    <a:pt x="125" y="32"/>
                    <a:pt x="124" y="31"/>
                  </a:cubicBezTo>
                  <a:cubicBezTo>
                    <a:pt x="125" y="31"/>
                    <a:pt x="125" y="30"/>
                    <a:pt x="125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8"/>
                    <a:pt x="125" y="28"/>
                    <a:pt x="125" y="28"/>
                  </a:cubicBezTo>
                  <a:cubicBezTo>
                    <a:pt x="125" y="28"/>
                    <a:pt x="125" y="28"/>
                    <a:pt x="125" y="27"/>
                  </a:cubicBezTo>
                  <a:cubicBezTo>
                    <a:pt x="125" y="27"/>
                    <a:pt x="125" y="27"/>
                    <a:pt x="125" y="27"/>
                  </a:cubicBezTo>
                  <a:cubicBezTo>
                    <a:pt x="126" y="27"/>
                    <a:pt x="127" y="27"/>
                    <a:pt x="127" y="26"/>
                  </a:cubicBezTo>
                  <a:cubicBezTo>
                    <a:pt x="128" y="25"/>
                    <a:pt x="127" y="24"/>
                    <a:pt x="127" y="24"/>
                  </a:cubicBezTo>
                  <a:cubicBezTo>
                    <a:pt x="127" y="23"/>
                    <a:pt x="126" y="23"/>
                    <a:pt x="126" y="23"/>
                  </a:cubicBezTo>
                  <a:cubicBezTo>
                    <a:pt x="126" y="22"/>
                    <a:pt x="126" y="22"/>
                    <a:pt x="126" y="22"/>
                  </a:cubicBezTo>
                  <a:cubicBezTo>
                    <a:pt x="126" y="22"/>
                    <a:pt x="126" y="21"/>
                    <a:pt x="126" y="21"/>
                  </a:cubicBezTo>
                  <a:cubicBezTo>
                    <a:pt x="126" y="21"/>
                    <a:pt x="126" y="21"/>
                    <a:pt x="126" y="21"/>
                  </a:cubicBezTo>
                  <a:cubicBezTo>
                    <a:pt x="126" y="20"/>
                    <a:pt x="126" y="20"/>
                    <a:pt x="126" y="20"/>
                  </a:cubicBezTo>
                  <a:cubicBezTo>
                    <a:pt x="127" y="20"/>
                    <a:pt x="127" y="20"/>
                    <a:pt x="128" y="20"/>
                  </a:cubicBezTo>
                  <a:cubicBezTo>
                    <a:pt x="129" y="18"/>
                    <a:pt x="129" y="16"/>
                    <a:pt x="129" y="14"/>
                  </a:cubicBezTo>
                  <a:cubicBezTo>
                    <a:pt x="129" y="13"/>
                    <a:pt x="129" y="13"/>
                    <a:pt x="129" y="13"/>
                  </a:cubicBezTo>
                  <a:cubicBezTo>
                    <a:pt x="129" y="13"/>
                    <a:pt x="129" y="12"/>
                    <a:pt x="129" y="12"/>
                  </a:cubicBezTo>
                  <a:cubicBezTo>
                    <a:pt x="129" y="10"/>
                    <a:pt x="128" y="10"/>
                    <a:pt x="127" y="10"/>
                  </a:cubicBezTo>
                  <a:cubicBezTo>
                    <a:pt x="126" y="9"/>
                    <a:pt x="126" y="9"/>
                    <a:pt x="126" y="9"/>
                  </a:cubicBezTo>
                  <a:cubicBezTo>
                    <a:pt x="126" y="9"/>
                    <a:pt x="126" y="9"/>
                    <a:pt x="126" y="9"/>
                  </a:cubicBezTo>
                  <a:cubicBezTo>
                    <a:pt x="126" y="9"/>
                    <a:pt x="125" y="9"/>
                    <a:pt x="125" y="9"/>
                  </a:cubicBezTo>
                  <a:cubicBezTo>
                    <a:pt x="125" y="9"/>
                    <a:pt x="125" y="8"/>
                    <a:pt x="125" y="8"/>
                  </a:cubicBezTo>
                  <a:cubicBezTo>
                    <a:pt x="125" y="7"/>
                    <a:pt x="124" y="6"/>
                    <a:pt x="123" y="6"/>
                  </a:cubicBezTo>
                  <a:cubicBezTo>
                    <a:pt x="123" y="6"/>
                    <a:pt x="123" y="5"/>
                    <a:pt x="123" y="5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3" y="4"/>
                    <a:pt x="123" y="4"/>
                    <a:pt x="123" y="4"/>
                  </a:cubicBezTo>
                  <a:cubicBezTo>
                    <a:pt x="124" y="4"/>
                    <a:pt x="125" y="3"/>
                    <a:pt x="124" y="2"/>
                  </a:cubicBezTo>
                  <a:cubicBezTo>
                    <a:pt x="124" y="1"/>
                    <a:pt x="123" y="0"/>
                    <a:pt x="122" y="0"/>
                  </a:cubicBezTo>
                  <a:cubicBezTo>
                    <a:pt x="122" y="0"/>
                    <a:pt x="121" y="0"/>
                    <a:pt x="121" y="1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21" y="0"/>
                    <a:pt x="120" y="0"/>
                    <a:pt x="120" y="0"/>
                  </a:cubicBezTo>
                  <a:cubicBezTo>
                    <a:pt x="120" y="0"/>
                    <a:pt x="120" y="0"/>
                    <a:pt x="120" y="0"/>
                  </a:cubicBezTo>
                  <a:cubicBezTo>
                    <a:pt x="119" y="0"/>
                    <a:pt x="119" y="1"/>
                    <a:pt x="118" y="1"/>
                  </a:cubicBezTo>
                  <a:cubicBezTo>
                    <a:pt x="117" y="2"/>
                    <a:pt x="118" y="4"/>
                    <a:pt x="118" y="5"/>
                  </a:cubicBezTo>
                  <a:cubicBezTo>
                    <a:pt x="118" y="5"/>
                    <a:pt x="118" y="5"/>
                    <a:pt x="118" y="5"/>
                  </a:cubicBezTo>
                  <a:cubicBezTo>
                    <a:pt x="119" y="6"/>
                    <a:pt x="119" y="7"/>
                    <a:pt x="119" y="8"/>
                  </a:cubicBezTo>
                  <a:cubicBezTo>
                    <a:pt x="119" y="8"/>
                    <a:pt x="119" y="8"/>
                    <a:pt x="119" y="9"/>
                  </a:cubicBezTo>
                  <a:cubicBezTo>
                    <a:pt x="118" y="9"/>
                    <a:pt x="118" y="9"/>
                    <a:pt x="118" y="10"/>
                  </a:cubicBezTo>
                  <a:cubicBezTo>
                    <a:pt x="117" y="10"/>
                    <a:pt x="116" y="13"/>
                    <a:pt x="118" y="15"/>
                  </a:cubicBezTo>
                  <a:cubicBezTo>
                    <a:pt x="118" y="15"/>
                    <a:pt x="118" y="15"/>
                    <a:pt x="119" y="15"/>
                  </a:cubicBezTo>
                  <a:cubicBezTo>
                    <a:pt x="119" y="15"/>
                    <a:pt x="119" y="15"/>
                    <a:pt x="119" y="15"/>
                  </a:cubicBezTo>
                  <a:cubicBezTo>
                    <a:pt x="119" y="16"/>
                    <a:pt x="118" y="17"/>
                    <a:pt x="118" y="18"/>
                  </a:cubicBezTo>
                  <a:cubicBezTo>
                    <a:pt x="118" y="19"/>
                    <a:pt x="118" y="20"/>
                    <a:pt x="118" y="21"/>
                  </a:cubicBezTo>
                  <a:cubicBezTo>
                    <a:pt x="118" y="21"/>
                    <a:pt x="118" y="22"/>
                    <a:pt x="118" y="22"/>
                  </a:cubicBezTo>
                  <a:cubicBezTo>
                    <a:pt x="119" y="22"/>
                    <a:pt x="118" y="22"/>
                    <a:pt x="118" y="22"/>
                  </a:cubicBezTo>
                  <a:cubicBezTo>
                    <a:pt x="118" y="23"/>
                    <a:pt x="118" y="24"/>
                    <a:pt x="119" y="25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19" y="26"/>
                    <a:pt x="119" y="27"/>
                    <a:pt x="119" y="27"/>
                  </a:cubicBezTo>
                  <a:cubicBezTo>
                    <a:pt x="118" y="28"/>
                    <a:pt x="118" y="29"/>
                    <a:pt x="118" y="30"/>
                  </a:cubicBezTo>
                  <a:cubicBezTo>
                    <a:pt x="117" y="30"/>
                    <a:pt x="117" y="30"/>
                    <a:pt x="117" y="30"/>
                  </a:cubicBezTo>
                  <a:cubicBezTo>
                    <a:pt x="117" y="31"/>
                    <a:pt x="118" y="32"/>
                    <a:pt x="118" y="33"/>
                  </a:cubicBezTo>
                  <a:cubicBezTo>
                    <a:pt x="118" y="33"/>
                    <a:pt x="117" y="33"/>
                    <a:pt x="117" y="34"/>
                  </a:cubicBezTo>
                  <a:cubicBezTo>
                    <a:pt x="116" y="35"/>
                    <a:pt x="117" y="36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6" y="38"/>
                    <a:pt x="116" y="38"/>
                    <a:pt x="115" y="39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1"/>
                    <a:pt x="114" y="41"/>
                    <a:pt x="114" y="42"/>
                  </a:cubicBezTo>
                  <a:cubicBezTo>
                    <a:pt x="113" y="42"/>
                    <a:pt x="112" y="43"/>
                    <a:pt x="113" y="45"/>
                  </a:cubicBezTo>
                  <a:cubicBezTo>
                    <a:pt x="112" y="45"/>
                    <a:pt x="112" y="45"/>
                    <a:pt x="111" y="45"/>
                  </a:cubicBezTo>
                  <a:cubicBezTo>
                    <a:pt x="110" y="46"/>
                    <a:pt x="110" y="47"/>
                    <a:pt x="109" y="48"/>
                  </a:cubicBezTo>
                  <a:cubicBezTo>
                    <a:pt x="109" y="49"/>
                    <a:pt x="109" y="49"/>
                    <a:pt x="109" y="50"/>
                  </a:cubicBezTo>
                  <a:cubicBezTo>
                    <a:pt x="108" y="50"/>
                    <a:pt x="108" y="50"/>
                    <a:pt x="108" y="51"/>
                  </a:cubicBezTo>
                  <a:cubicBezTo>
                    <a:pt x="107" y="51"/>
                    <a:pt x="107" y="52"/>
                    <a:pt x="107" y="52"/>
                  </a:cubicBezTo>
                  <a:cubicBezTo>
                    <a:pt x="106" y="53"/>
                    <a:pt x="106" y="53"/>
                    <a:pt x="106" y="53"/>
                  </a:cubicBezTo>
                  <a:cubicBezTo>
                    <a:pt x="106" y="54"/>
                    <a:pt x="106" y="54"/>
                    <a:pt x="106" y="54"/>
                  </a:cubicBezTo>
                  <a:cubicBezTo>
                    <a:pt x="106" y="54"/>
                    <a:pt x="105" y="54"/>
                    <a:pt x="104" y="54"/>
                  </a:cubicBezTo>
                  <a:cubicBezTo>
                    <a:pt x="104" y="55"/>
                    <a:pt x="104" y="55"/>
                    <a:pt x="104" y="55"/>
                  </a:cubicBezTo>
                  <a:cubicBezTo>
                    <a:pt x="102" y="55"/>
                    <a:pt x="101" y="55"/>
                    <a:pt x="99" y="56"/>
                  </a:cubicBezTo>
                  <a:cubicBezTo>
                    <a:pt x="97" y="57"/>
                    <a:pt x="97" y="60"/>
                    <a:pt x="97" y="62"/>
                  </a:cubicBezTo>
                  <a:cubicBezTo>
                    <a:pt x="98" y="63"/>
                    <a:pt x="99" y="64"/>
                    <a:pt x="99" y="64"/>
                  </a:cubicBezTo>
                  <a:cubicBezTo>
                    <a:pt x="100" y="64"/>
                    <a:pt x="100" y="64"/>
                    <a:pt x="100" y="65"/>
                  </a:cubicBezTo>
                  <a:cubicBezTo>
                    <a:pt x="100" y="66"/>
                    <a:pt x="100" y="66"/>
                    <a:pt x="100" y="66"/>
                  </a:cubicBezTo>
                  <a:cubicBezTo>
                    <a:pt x="100" y="67"/>
                    <a:pt x="101" y="67"/>
                    <a:pt x="102" y="68"/>
                  </a:cubicBezTo>
                  <a:cubicBezTo>
                    <a:pt x="102" y="68"/>
                    <a:pt x="102" y="68"/>
                    <a:pt x="102" y="68"/>
                  </a:cubicBezTo>
                  <a:cubicBezTo>
                    <a:pt x="102" y="68"/>
                    <a:pt x="102" y="69"/>
                    <a:pt x="102" y="69"/>
                  </a:cubicBezTo>
                  <a:cubicBezTo>
                    <a:pt x="102" y="70"/>
                    <a:pt x="101" y="72"/>
                    <a:pt x="100" y="73"/>
                  </a:cubicBezTo>
                  <a:cubicBezTo>
                    <a:pt x="100" y="73"/>
                    <a:pt x="100" y="73"/>
                    <a:pt x="100" y="74"/>
                  </a:cubicBezTo>
                  <a:cubicBezTo>
                    <a:pt x="99" y="74"/>
                    <a:pt x="99" y="74"/>
                    <a:pt x="98" y="75"/>
                  </a:cubicBezTo>
                  <a:cubicBezTo>
                    <a:pt x="98" y="75"/>
                    <a:pt x="97" y="76"/>
                    <a:pt x="97" y="76"/>
                  </a:cubicBezTo>
                  <a:cubicBezTo>
                    <a:pt x="97" y="76"/>
                    <a:pt x="97" y="77"/>
                    <a:pt x="96" y="77"/>
                  </a:cubicBezTo>
                  <a:cubicBezTo>
                    <a:pt x="96" y="78"/>
                    <a:pt x="95" y="78"/>
                    <a:pt x="94" y="79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2" y="80"/>
                    <a:pt x="91" y="81"/>
                    <a:pt x="90" y="82"/>
                  </a:cubicBezTo>
                  <a:cubicBezTo>
                    <a:pt x="90" y="82"/>
                    <a:pt x="90" y="82"/>
                    <a:pt x="89" y="82"/>
                  </a:cubicBezTo>
                  <a:cubicBezTo>
                    <a:pt x="89" y="82"/>
                    <a:pt x="89" y="82"/>
                    <a:pt x="89" y="81"/>
                  </a:cubicBezTo>
                  <a:cubicBezTo>
                    <a:pt x="89" y="81"/>
                    <a:pt x="89" y="81"/>
                    <a:pt x="89" y="81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90" y="81"/>
                    <a:pt x="91" y="81"/>
                    <a:pt x="92" y="79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2" y="78"/>
                    <a:pt x="92" y="78"/>
                    <a:pt x="92" y="78"/>
                  </a:cubicBezTo>
                  <a:cubicBezTo>
                    <a:pt x="91" y="77"/>
                    <a:pt x="91" y="77"/>
                    <a:pt x="90" y="77"/>
                  </a:cubicBezTo>
                  <a:cubicBezTo>
                    <a:pt x="90" y="77"/>
                    <a:pt x="89" y="77"/>
                    <a:pt x="88" y="77"/>
                  </a:cubicBezTo>
                  <a:cubicBezTo>
                    <a:pt x="88" y="77"/>
                    <a:pt x="87" y="77"/>
                    <a:pt x="87" y="77"/>
                  </a:cubicBezTo>
                  <a:cubicBezTo>
                    <a:pt x="86" y="77"/>
                    <a:pt x="86" y="77"/>
                    <a:pt x="86" y="78"/>
                  </a:cubicBezTo>
                  <a:cubicBezTo>
                    <a:pt x="86" y="78"/>
                    <a:pt x="86" y="78"/>
                    <a:pt x="86" y="78"/>
                  </a:cubicBezTo>
                  <a:cubicBezTo>
                    <a:pt x="85" y="78"/>
                    <a:pt x="85" y="78"/>
                    <a:pt x="85" y="78"/>
                  </a:cubicBezTo>
                  <a:cubicBezTo>
                    <a:pt x="85" y="78"/>
                    <a:pt x="84" y="78"/>
                    <a:pt x="84" y="78"/>
                  </a:cubicBezTo>
                  <a:cubicBezTo>
                    <a:pt x="84" y="78"/>
                    <a:pt x="84" y="78"/>
                    <a:pt x="83" y="79"/>
                  </a:cubicBezTo>
                  <a:cubicBezTo>
                    <a:pt x="83" y="79"/>
                    <a:pt x="83" y="78"/>
                    <a:pt x="83" y="78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83" y="78"/>
                    <a:pt x="84" y="78"/>
                    <a:pt x="84" y="78"/>
                  </a:cubicBezTo>
                  <a:cubicBezTo>
                    <a:pt x="84" y="78"/>
                    <a:pt x="84" y="77"/>
                    <a:pt x="85" y="77"/>
                  </a:cubicBezTo>
                  <a:cubicBezTo>
                    <a:pt x="85" y="77"/>
                    <a:pt x="86" y="76"/>
                    <a:pt x="85" y="75"/>
                  </a:cubicBezTo>
                  <a:cubicBezTo>
                    <a:pt x="85" y="74"/>
                    <a:pt x="85" y="74"/>
                    <a:pt x="85" y="74"/>
                  </a:cubicBezTo>
                  <a:cubicBezTo>
                    <a:pt x="85" y="74"/>
                    <a:pt x="86" y="73"/>
                    <a:pt x="86" y="72"/>
                  </a:cubicBezTo>
                  <a:cubicBezTo>
                    <a:pt x="86" y="72"/>
                    <a:pt x="86" y="72"/>
                    <a:pt x="86" y="72"/>
                  </a:cubicBezTo>
                  <a:cubicBezTo>
                    <a:pt x="85" y="71"/>
                    <a:pt x="85" y="71"/>
                    <a:pt x="85" y="71"/>
                  </a:cubicBezTo>
                  <a:cubicBezTo>
                    <a:pt x="84" y="70"/>
                    <a:pt x="81" y="71"/>
                    <a:pt x="79" y="72"/>
                  </a:cubicBezTo>
                  <a:cubicBezTo>
                    <a:pt x="79" y="72"/>
                    <a:pt x="79" y="72"/>
                    <a:pt x="79" y="72"/>
                  </a:cubicBezTo>
                  <a:cubicBezTo>
                    <a:pt x="77" y="73"/>
                    <a:pt x="76" y="74"/>
                    <a:pt x="75" y="75"/>
                  </a:cubicBezTo>
                  <a:cubicBezTo>
                    <a:pt x="74" y="76"/>
                    <a:pt x="74" y="76"/>
                    <a:pt x="74" y="76"/>
                  </a:cubicBezTo>
                  <a:cubicBezTo>
                    <a:pt x="74" y="77"/>
                    <a:pt x="73" y="77"/>
                    <a:pt x="73" y="78"/>
                  </a:cubicBezTo>
                  <a:cubicBezTo>
                    <a:pt x="72" y="78"/>
                    <a:pt x="72" y="79"/>
                    <a:pt x="71" y="80"/>
                  </a:cubicBezTo>
                  <a:cubicBezTo>
                    <a:pt x="70" y="81"/>
                    <a:pt x="70" y="81"/>
                    <a:pt x="70" y="81"/>
                  </a:cubicBezTo>
                  <a:cubicBezTo>
                    <a:pt x="69" y="82"/>
                    <a:pt x="69" y="82"/>
                    <a:pt x="68" y="82"/>
                  </a:cubicBezTo>
                  <a:cubicBezTo>
                    <a:pt x="67" y="82"/>
                    <a:pt x="67" y="82"/>
                    <a:pt x="66" y="83"/>
                  </a:cubicBezTo>
                  <a:cubicBezTo>
                    <a:pt x="65" y="83"/>
                    <a:pt x="64" y="84"/>
                    <a:pt x="63" y="85"/>
                  </a:cubicBezTo>
                  <a:cubicBezTo>
                    <a:pt x="63" y="86"/>
                    <a:pt x="62" y="87"/>
                    <a:pt x="61" y="87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0" y="89"/>
                    <a:pt x="60" y="89"/>
                    <a:pt x="59" y="90"/>
                  </a:cubicBezTo>
                  <a:cubicBezTo>
                    <a:pt x="59" y="90"/>
                    <a:pt x="58" y="91"/>
                    <a:pt x="58" y="91"/>
                  </a:cubicBezTo>
                  <a:cubicBezTo>
                    <a:pt x="57" y="92"/>
                    <a:pt x="57" y="92"/>
                    <a:pt x="57" y="93"/>
                  </a:cubicBezTo>
                  <a:cubicBezTo>
                    <a:pt x="56" y="93"/>
                    <a:pt x="56" y="94"/>
                    <a:pt x="55" y="94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3" y="95"/>
                    <a:pt x="52" y="96"/>
                    <a:pt x="51" y="96"/>
                  </a:cubicBezTo>
                  <a:cubicBezTo>
                    <a:pt x="50" y="96"/>
                    <a:pt x="50" y="96"/>
                    <a:pt x="50" y="96"/>
                  </a:cubicBezTo>
                  <a:cubicBezTo>
                    <a:pt x="49" y="97"/>
                    <a:pt x="46" y="97"/>
                    <a:pt x="46" y="99"/>
                  </a:cubicBezTo>
                  <a:cubicBezTo>
                    <a:pt x="46" y="99"/>
                    <a:pt x="47" y="100"/>
                    <a:pt x="47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4" y="100"/>
                    <a:pt x="42" y="100"/>
                    <a:pt x="41" y="101"/>
                  </a:cubicBezTo>
                  <a:cubicBezTo>
                    <a:pt x="40" y="102"/>
                    <a:pt x="39" y="103"/>
                    <a:pt x="37" y="103"/>
                  </a:cubicBezTo>
                  <a:cubicBezTo>
                    <a:pt x="37" y="104"/>
                    <a:pt x="36" y="104"/>
                    <a:pt x="36" y="104"/>
                  </a:cubicBezTo>
                  <a:cubicBezTo>
                    <a:pt x="35" y="104"/>
                    <a:pt x="35" y="104"/>
                    <a:pt x="35" y="104"/>
                  </a:cubicBezTo>
                  <a:cubicBezTo>
                    <a:pt x="35" y="104"/>
                    <a:pt x="34" y="105"/>
                    <a:pt x="33" y="105"/>
                  </a:cubicBezTo>
                  <a:cubicBezTo>
                    <a:pt x="33" y="105"/>
                    <a:pt x="32" y="105"/>
                    <a:pt x="31" y="105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30" y="105"/>
                    <a:pt x="30" y="105"/>
                    <a:pt x="29" y="106"/>
                  </a:cubicBezTo>
                  <a:cubicBezTo>
                    <a:pt x="28" y="106"/>
                    <a:pt x="28" y="106"/>
                    <a:pt x="27" y="107"/>
                  </a:cubicBezTo>
                  <a:cubicBezTo>
                    <a:pt x="27" y="107"/>
                    <a:pt x="27" y="107"/>
                    <a:pt x="26" y="107"/>
                  </a:cubicBezTo>
                  <a:cubicBezTo>
                    <a:pt x="26" y="107"/>
                    <a:pt x="26" y="107"/>
                    <a:pt x="26" y="107"/>
                  </a:cubicBezTo>
                  <a:cubicBezTo>
                    <a:pt x="25" y="108"/>
                    <a:pt x="24" y="108"/>
                    <a:pt x="23" y="109"/>
                  </a:cubicBezTo>
                  <a:cubicBezTo>
                    <a:pt x="23" y="109"/>
                    <a:pt x="23" y="110"/>
                    <a:pt x="23" y="110"/>
                  </a:cubicBezTo>
                  <a:cubicBezTo>
                    <a:pt x="23" y="111"/>
                    <a:pt x="23" y="111"/>
                    <a:pt x="23" y="111"/>
                  </a:cubicBezTo>
                  <a:cubicBezTo>
                    <a:pt x="23" y="111"/>
                    <a:pt x="22" y="111"/>
                    <a:pt x="22" y="111"/>
                  </a:cubicBezTo>
                  <a:cubicBezTo>
                    <a:pt x="22" y="111"/>
                    <a:pt x="20" y="111"/>
                    <a:pt x="20" y="113"/>
                  </a:cubicBezTo>
                  <a:cubicBezTo>
                    <a:pt x="19" y="113"/>
                    <a:pt x="18" y="113"/>
                    <a:pt x="18" y="113"/>
                  </a:cubicBezTo>
                  <a:cubicBezTo>
                    <a:pt x="17" y="113"/>
                    <a:pt x="17" y="114"/>
                    <a:pt x="17" y="114"/>
                  </a:cubicBezTo>
                  <a:cubicBezTo>
                    <a:pt x="17" y="114"/>
                    <a:pt x="16" y="114"/>
                    <a:pt x="15" y="114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4" y="115"/>
                    <a:pt x="14" y="115"/>
                  </a:cubicBezTo>
                  <a:cubicBezTo>
                    <a:pt x="13" y="115"/>
                    <a:pt x="13" y="115"/>
                    <a:pt x="12" y="116"/>
                  </a:cubicBezTo>
                  <a:cubicBezTo>
                    <a:pt x="12" y="116"/>
                    <a:pt x="12" y="117"/>
                    <a:pt x="12" y="117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0" y="119"/>
                    <a:pt x="9" y="120"/>
                    <a:pt x="9" y="121"/>
                  </a:cubicBezTo>
                  <a:cubicBezTo>
                    <a:pt x="8" y="120"/>
                    <a:pt x="8" y="120"/>
                    <a:pt x="6" y="120"/>
                  </a:cubicBezTo>
                  <a:cubicBezTo>
                    <a:pt x="5" y="121"/>
                    <a:pt x="5" y="122"/>
                    <a:pt x="5" y="123"/>
                  </a:cubicBezTo>
                  <a:cubicBezTo>
                    <a:pt x="5" y="123"/>
                    <a:pt x="5" y="124"/>
                    <a:pt x="5" y="124"/>
                  </a:cubicBezTo>
                  <a:cubicBezTo>
                    <a:pt x="4" y="124"/>
                    <a:pt x="4" y="125"/>
                    <a:pt x="4" y="125"/>
                  </a:cubicBezTo>
                  <a:cubicBezTo>
                    <a:pt x="4" y="125"/>
                    <a:pt x="3" y="125"/>
                    <a:pt x="3" y="125"/>
                  </a:cubicBezTo>
                  <a:cubicBezTo>
                    <a:pt x="3" y="125"/>
                    <a:pt x="3" y="125"/>
                    <a:pt x="3" y="125"/>
                  </a:cubicBezTo>
                  <a:cubicBezTo>
                    <a:pt x="2" y="125"/>
                    <a:pt x="1" y="126"/>
                    <a:pt x="1" y="126"/>
                  </a:cubicBezTo>
                  <a:cubicBezTo>
                    <a:pt x="0" y="127"/>
                    <a:pt x="0" y="128"/>
                    <a:pt x="0" y="128"/>
                  </a:cubicBezTo>
                  <a:cubicBezTo>
                    <a:pt x="0" y="129"/>
                    <a:pt x="1" y="129"/>
                    <a:pt x="2" y="129"/>
                  </a:cubicBezTo>
                  <a:cubicBezTo>
                    <a:pt x="1" y="129"/>
                    <a:pt x="1" y="130"/>
                    <a:pt x="0" y="130"/>
                  </a:cubicBezTo>
                  <a:cubicBezTo>
                    <a:pt x="0" y="131"/>
                    <a:pt x="0" y="132"/>
                    <a:pt x="0" y="133"/>
                  </a:cubicBezTo>
                  <a:cubicBezTo>
                    <a:pt x="1" y="133"/>
                    <a:pt x="1" y="134"/>
                    <a:pt x="3" y="133"/>
                  </a:cubicBezTo>
                  <a:cubicBezTo>
                    <a:pt x="3" y="133"/>
                    <a:pt x="4" y="133"/>
                    <a:pt x="4" y="133"/>
                  </a:cubicBezTo>
                  <a:cubicBezTo>
                    <a:pt x="4" y="133"/>
                    <a:pt x="5" y="133"/>
                    <a:pt x="6" y="133"/>
                  </a:cubicBezTo>
                  <a:cubicBezTo>
                    <a:pt x="6" y="134"/>
                    <a:pt x="7" y="135"/>
                    <a:pt x="8" y="135"/>
                  </a:cubicBezTo>
                  <a:cubicBezTo>
                    <a:pt x="7" y="136"/>
                    <a:pt x="7" y="137"/>
                    <a:pt x="7" y="138"/>
                  </a:cubicBezTo>
                  <a:cubicBezTo>
                    <a:pt x="8" y="139"/>
                    <a:pt x="9" y="139"/>
                    <a:pt x="11" y="139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2" y="139"/>
                    <a:pt x="12" y="139"/>
                    <a:pt x="12" y="139"/>
                  </a:cubicBezTo>
                  <a:cubicBezTo>
                    <a:pt x="13" y="140"/>
                    <a:pt x="14" y="140"/>
                    <a:pt x="15" y="140"/>
                  </a:cubicBezTo>
                  <a:cubicBezTo>
                    <a:pt x="15" y="140"/>
                    <a:pt x="15" y="140"/>
                    <a:pt x="15" y="140"/>
                  </a:cubicBezTo>
                  <a:cubicBezTo>
                    <a:pt x="17" y="140"/>
                    <a:pt x="19" y="139"/>
                    <a:pt x="21" y="139"/>
                  </a:cubicBezTo>
                  <a:cubicBezTo>
                    <a:pt x="21" y="138"/>
                    <a:pt x="22" y="138"/>
                    <a:pt x="22" y="138"/>
                  </a:cubicBezTo>
                  <a:cubicBezTo>
                    <a:pt x="23" y="138"/>
                    <a:pt x="23" y="138"/>
                    <a:pt x="24" y="138"/>
                  </a:cubicBezTo>
                  <a:cubicBezTo>
                    <a:pt x="24" y="137"/>
                    <a:pt x="24" y="137"/>
                    <a:pt x="24" y="137"/>
                  </a:cubicBezTo>
                  <a:cubicBezTo>
                    <a:pt x="25" y="137"/>
                    <a:pt x="26" y="137"/>
                    <a:pt x="27" y="136"/>
                  </a:cubicBezTo>
                  <a:cubicBezTo>
                    <a:pt x="28" y="136"/>
                    <a:pt x="28" y="135"/>
                    <a:pt x="29" y="134"/>
                  </a:cubicBezTo>
                  <a:cubicBezTo>
                    <a:pt x="29" y="134"/>
                    <a:pt x="29" y="134"/>
                    <a:pt x="29" y="134"/>
                  </a:cubicBezTo>
                  <a:cubicBezTo>
                    <a:pt x="29" y="134"/>
                    <a:pt x="29" y="134"/>
                    <a:pt x="30" y="134"/>
                  </a:cubicBezTo>
                  <a:cubicBezTo>
                    <a:pt x="31" y="134"/>
                    <a:pt x="33" y="133"/>
                    <a:pt x="33" y="131"/>
                  </a:cubicBezTo>
                  <a:cubicBezTo>
                    <a:pt x="33" y="131"/>
                    <a:pt x="33" y="131"/>
                    <a:pt x="33" y="131"/>
                  </a:cubicBezTo>
                  <a:cubicBezTo>
                    <a:pt x="34" y="130"/>
                    <a:pt x="34" y="130"/>
                    <a:pt x="34" y="130"/>
                  </a:cubicBezTo>
                  <a:cubicBezTo>
                    <a:pt x="35" y="130"/>
                    <a:pt x="36" y="129"/>
                    <a:pt x="36" y="128"/>
                  </a:cubicBezTo>
                  <a:cubicBezTo>
                    <a:pt x="37" y="128"/>
                    <a:pt x="37" y="128"/>
                    <a:pt x="37" y="127"/>
                  </a:cubicBezTo>
                  <a:cubicBezTo>
                    <a:pt x="38" y="127"/>
                    <a:pt x="39" y="126"/>
                    <a:pt x="39" y="125"/>
                  </a:cubicBezTo>
                  <a:cubicBezTo>
                    <a:pt x="40" y="124"/>
                    <a:pt x="40" y="124"/>
                    <a:pt x="41" y="123"/>
                  </a:cubicBezTo>
                  <a:cubicBezTo>
                    <a:pt x="42" y="123"/>
                    <a:pt x="43" y="122"/>
                    <a:pt x="44" y="121"/>
                  </a:cubicBezTo>
                  <a:cubicBezTo>
                    <a:pt x="44" y="120"/>
                    <a:pt x="45" y="120"/>
                    <a:pt x="45" y="119"/>
                  </a:cubicBezTo>
                  <a:cubicBezTo>
                    <a:pt x="46" y="118"/>
                    <a:pt x="47" y="117"/>
                    <a:pt x="48" y="116"/>
                  </a:cubicBezTo>
                  <a:cubicBezTo>
                    <a:pt x="48" y="115"/>
                    <a:pt x="49" y="114"/>
                    <a:pt x="50" y="114"/>
                  </a:cubicBezTo>
                  <a:cubicBezTo>
                    <a:pt x="50" y="113"/>
                    <a:pt x="50" y="113"/>
                    <a:pt x="51" y="113"/>
                  </a:cubicBezTo>
                  <a:cubicBezTo>
                    <a:pt x="51" y="113"/>
                    <a:pt x="52" y="113"/>
                    <a:pt x="52" y="113"/>
                  </a:cubicBezTo>
                  <a:cubicBezTo>
                    <a:pt x="53" y="113"/>
                    <a:pt x="53" y="113"/>
                    <a:pt x="54" y="112"/>
                  </a:cubicBezTo>
                  <a:cubicBezTo>
                    <a:pt x="54" y="112"/>
                    <a:pt x="54" y="112"/>
                    <a:pt x="55" y="112"/>
                  </a:cubicBezTo>
                  <a:cubicBezTo>
                    <a:pt x="55" y="112"/>
                    <a:pt x="55" y="111"/>
                    <a:pt x="56" y="111"/>
                  </a:cubicBezTo>
                  <a:cubicBezTo>
                    <a:pt x="56" y="111"/>
                    <a:pt x="56" y="111"/>
                    <a:pt x="57" y="111"/>
                  </a:cubicBezTo>
                  <a:cubicBezTo>
                    <a:pt x="57" y="111"/>
                    <a:pt x="57" y="111"/>
                    <a:pt x="57" y="111"/>
                  </a:cubicBezTo>
                  <a:cubicBezTo>
                    <a:pt x="57" y="111"/>
                    <a:pt x="58" y="110"/>
                    <a:pt x="58" y="110"/>
                  </a:cubicBezTo>
                  <a:cubicBezTo>
                    <a:pt x="58" y="111"/>
                    <a:pt x="58" y="111"/>
                    <a:pt x="58" y="111"/>
                  </a:cubicBezTo>
                  <a:cubicBezTo>
                    <a:pt x="59" y="112"/>
                    <a:pt x="60" y="112"/>
                    <a:pt x="61" y="112"/>
                  </a:cubicBezTo>
                  <a:cubicBezTo>
                    <a:pt x="62" y="112"/>
                    <a:pt x="62" y="112"/>
                    <a:pt x="62" y="112"/>
                  </a:cubicBezTo>
                  <a:cubicBezTo>
                    <a:pt x="63" y="112"/>
                    <a:pt x="63" y="112"/>
                    <a:pt x="63" y="112"/>
                  </a:cubicBezTo>
                  <a:cubicBezTo>
                    <a:pt x="63" y="112"/>
                    <a:pt x="63" y="112"/>
                    <a:pt x="63" y="111"/>
                  </a:cubicBezTo>
                  <a:cubicBezTo>
                    <a:pt x="65" y="111"/>
                    <a:pt x="65" y="110"/>
                    <a:pt x="65" y="109"/>
                  </a:cubicBezTo>
                  <a:cubicBezTo>
                    <a:pt x="65" y="108"/>
                    <a:pt x="65" y="108"/>
                    <a:pt x="65" y="107"/>
                  </a:cubicBezTo>
                  <a:cubicBezTo>
                    <a:pt x="65" y="106"/>
                    <a:pt x="65" y="105"/>
                    <a:pt x="66" y="105"/>
                  </a:cubicBezTo>
                  <a:cubicBezTo>
                    <a:pt x="66" y="104"/>
                    <a:pt x="67" y="103"/>
                    <a:pt x="68" y="103"/>
                  </a:cubicBezTo>
                  <a:cubicBezTo>
                    <a:pt x="69" y="102"/>
                    <a:pt x="70" y="102"/>
                    <a:pt x="70" y="102"/>
                  </a:cubicBezTo>
                  <a:cubicBezTo>
                    <a:pt x="71" y="102"/>
                    <a:pt x="73" y="101"/>
                    <a:pt x="74" y="100"/>
                  </a:cubicBezTo>
                  <a:cubicBezTo>
                    <a:pt x="74" y="100"/>
                    <a:pt x="75" y="100"/>
                    <a:pt x="75" y="99"/>
                  </a:cubicBezTo>
                  <a:cubicBezTo>
                    <a:pt x="75" y="99"/>
                    <a:pt x="75" y="99"/>
                    <a:pt x="75" y="99"/>
                  </a:cubicBezTo>
                  <a:cubicBezTo>
                    <a:pt x="76" y="99"/>
                    <a:pt x="76" y="99"/>
                    <a:pt x="77" y="98"/>
                  </a:cubicBezTo>
                  <a:cubicBezTo>
                    <a:pt x="77" y="97"/>
                    <a:pt x="77" y="97"/>
                    <a:pt x="77" y="96"/>
                  </a:cubicBezTo>
                  <a:cubicBezTo>
                    <a:pt x="77" y="96"/>
                    <a:pt x="77" y="96"/>
                    <a:pt x="77" y="96"/>
                  </a:cubicBezTo>
                  <a:cubicBezTo>
                    <a:pt x="77" y="96"/>
                    <a:pt x="77" y="96"/>
                    <a:pt x="78" y="96"/>
                  </a:cubicBezTo>
                  <a:cubicBezTo>
                    <a:pt x="78" y="96"/>
                    <a:pt x="79" y="96"/>
                    <a:pt x="79" y="96"/>
                  </a:cubicBezTo>
                  <a:cubicBezTo>
                    <a:pt x="81" y="95"/>
                    <a:pt x="81" y="93"/>
                    <a:pt x="80" y="93"/>
                  </a:cubicBezTo>
                  <a:cubicBezTo>
                    <a:pt x="80" y="93"/>
                    <a:pt x="81" y="92"/>
                    <a:pt x="82" y="92"/>
                  </a:cubicBezTo>
                  <a:cubicBezTo>
                    <a:pt x="82" y="92"/>
                    <a:pt x="82" y="92"/>
                    <a:pt x="83" y="92"/>
                  </a:cubicBezTo>
                  <a:cubicBezTo>
                    <a:pt x="83" y="92"/>
                    <a:pt x="84" y="91"/>
                    <a:pt x="84" y="91"/>
                  </a:cubicBezTo>
                  <a:cubicBezTo>
                    <a:pt x="84" y="91"/>
                    <a:pt x="85" y="90"/>
                    <a:pt x="85" y="90"/>
                  </a:cubicBezTo>
                  <a:cubicBezTo>
                    <a:pt x="85" y="90"/>
                    <a:pt x="85" y="90"/>
                    <a:pt x="85" y="90"/>
                  </a:cubicBezTo>
                  <a:cubicBezTo>
                    <a:pt x="85" y="90"/>
                    <a:pt x="86" y="90"/>
                    <a:pt x="86" y="89"/>
                  </a:cubicBezTo>
                  <a:cubicBezTo>
                    <a:pt x="86" y="89"/>
                    <a:pt x="87" y="89"/>
                    <a:pt x="87" y="89"/>
                  </a:cubicBezTo>
                  <a:cubicBezTo>
                    <a:pt x="89" y="88"/>
                    <a:pt x="88" y="87"/>
                    <a:pt x="88" y="86"/>
                  </a:cubicBezTo>
                  <a:cubicBezTo>
                    <a:pt x="88" y="86"/>
                    <a:pt x="88" y="86"/>
                    <a:pt x="88" y="86"/>
                  </a:cubicBezTo>
                  <a:cubicBezTo>
                    <a:pt x="88" y="86"/>
                    <a:pt x="88" y="86"/>
                    <a:pt x="89" y="86"/>
                  </a:cubicBezTo>
                  <a:cubicBezTo>
                    <a:pt x="89" y="85"/>
                    <a:pt x="90" y="85"/>
                    <a:pt x="90" y="84"/>
                  </a:cubicBezTo>
                  <a:cubicBezTo>
                    <a:pt x="91" y="85"/>
                    <a:pt x="92" y="85"/>
                    <a:pt x="93" y="85"/>
                  </a:cubicBezTo>
                  <a:cubicBezTo>
                    <a:pt x="93" y="85"/>
                    <a:pt x="93" y="85"/>
                    <a:pt x="93" y="85"/>
                  </a:cubicBezTo>
                  <a:cubicBezTo>
                    <a:pt x="93" y="86"/>
                    <a:pt x="93" y="86"/>
                    <a:pt x="93" y="87"/>
                  </a:cubicBezTo>
                  <a:cubicBezTo>
                    <a:pt x="93" y="90"/>
                    <a:pt x="93" y="90"/>
                    <a:pt x="93" y="90"/>
                  </a:cubicBezTo>
                  <a:cubicBezTo>
                    <a:pt x="95" y="88"/>
                    <a:pt x="95" y="88"/>
                    <a:pt x="95" y="88"/>
                  </a:cubicBezTo>
                  <a:cubicBezTo>
                    <a:pt x="96" y="88"/>
                    <a:pt x="96" y="88"/>
                    <a:pt x="97" y="87"/>
                  </a:cubicBezTo>
                  <a:cubicBezTo>
                    <a:pt x="97" y="87"/>
                    <a:pt x="97" y="87"/>
                    <a:pt x="97" y="87"/>
                  </a:cubicBezTo>
                  <a:cubicBezTo>
                    <a:pt x="99" y="87"/>
                    <a:pt x="99" y="87"/>
                    <a:pt x="100" y="86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99" y="85"/>
                    <a:pt x="99" y="85"/>
                    <a:pt x="99" y="85"/>
                  </a:cubicBezTo>
                  <a:cubicBezTo>
                    <a:pt x="100" y="86"/>
                    <a:pt x="100" y="86"/>
                    <a:pt x="100" y="86"/>
                  </a:cubicBezTo>
                  <a:cubicBezTo>
                    <a:pt x="101" y="86"/>
                    <a:pt x="101" y="85"/>
                    <a:pt x="101" y="85"/>
                  </a:cubicBezTo>
                  <a:cubicBezTo>
                    <a:pt x="102" y="85"/>
                    <a:pt x="102" y="85"/>
                    <a:pt x="103" y="85"/>
                  </a:cubicBezTo>
                  <a:cubicBezTo>
                    <a:pt x="104" y="84"/>
                    <a:pt x="105" y="83"/>
                    <a:pt x="105" y="82"/>
                  </a:cubicBezTo>
                  <a:cubicBezTo>
                    <a:pt x="105" y="82"/>
                    <a:pt x="105" y="82"/>
                    <a:pt x="105" y="82"/>
                  </a:cubicBezTo>
                  <a:cubicBezTo>
                    <a:pt x="106" y="82"/>
                    <a:pt x="106" y="81"/>
                    <a:pt x="107" y="80"/>
                  </a:cubicBezTo>
                  <a:cubicBezTo>
                    <a:pt x="107" y="80"/>
                    <a:pt x="107" y="80"/>
                    <a:pt x="107" y="80"/>
                  </a:cubicBezTo>
                  <a:cubicBezTo>
                    <a:pt x="107" y="80"/>
                    <a:pt x="108" y="80"/>
                    <a:pt x="108" y="79"/>
                  </a:cubicBezTo>
                  <a:cubicBezTo>
                    <a:pt x="108" y="79"/>
                    <a:pt x="109" y="78"/>
                    <a:pt x="109" y="78"/>
                  </a:cubicBezTo>
                  <a:cubicBezTo>
                    <a:pt x="110" y="78"/>
                    <a:pt x="110" y="78"/>
                    <a:pt x="110" y="78"/>
                  </a:cubicBezTo>
                  <a:cubicBezTo>
                    <a:pt x="110" y="77"/>
                    <a:pt x="111" y="77"/>
                    <a:pt x="112" y="76"/>
                  </a:cubicBezTo>
                  <a:cubicBezTo>
                    <a:pt x="112" y="76"/>
                    <a:pt x="112" y="76"/>
                    <a:pt x="113" y="76"/>
                  </a:cubicBezTo>
                  <a:cubicBezTo>
                    <a:pt x="113" y="76"/>
                    <a:pt x="114" y="75"/>
                    <a:pt x="114" y="75"/>
                  </a:cubicBezTo>
                  <a:cubicBezTo>
                    <a:pt x="116" y="74"/>
                    <a:pt x="116" y="73"/>
                    <a:pt x="117" y="72"/>
                  </a:cubicBezTo>
                  <a:cubicBezTo>
                    <a:pt x="117" y="72"/>
                    <a:pt x="117" y="72"/>
                    <a:pt x="117" y="72"/>
                  </a:cubicBezTo>
                  <a:cubicBezTo>
                    <a:pt x="117" y="71"/>
                    <a:pt x="117" y="70"/>
                    <a:pt x="118" y="70"/>
                  </a:cubicBezTo>
                  <a:cubicBezTo>
                    <a:pt x="118" y="70"/>
                    <a:pt x="118" y="70"/>
                    <a:pt x="118" y="70"/>
                  </a:cubicBezTo>
                  <a:cubicBezTo>
                    <a:pt x="120" y="69"/>
                    <a:pt x="122" y="68"/>
                    <a:pt x="122" y="66"/>
                  </a:cubicBezTo>
                  <a:cubicBezTo>
                    <a:pt x="122" y="66"/>
                    <a:pt x="122" y="65"/>
                    <a:pt x="122" y="64"/>
                  </a:cubicBezTo>
                  <a:cubicBezTo>
                    <a:pt x="122" y="64"/>
                    <a:pt x="122" y="64"/>
                    <a:pt x="122" y="63"/>
                  </a:cubicBezTo>
                  <a:cubicBezTo>
                    <a:pt x="122" y="63"/>
                    <a:pt x="123" y="63"/>
                    <a:pt x="124" y="62"/>
                  </a:cubicBezTo>
                  <a:cubicBezTo>
                    <a:pt x="124" y="62"/>
                    <a:pt x="124" y="62"/>
                    <a:pt x="125" y="62"/>
                  </a:cubicBezTo>
                  <a:cubicBezTo>
                    <a:pt x="125" y="62"/>
                    <a:pt x="125" y="62"/>
                    <a:pt x="126" y="62"/>
                  </a:cubicBezTo>
                  <a:cubicBezTo>
                    <a:pt x="126" y="62"/>
                    <a:pt x="126" y="62"/>
                    <a:pt x="127" y="62"/>
                  </a:cubicBezTo>
                  <a:cubicBezTo>
                    <a:pt x="127" y="62"/>
                    <a:pt x="127" y="63"/>
                    <a:pt x="128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8" y="63"/>
                    <a:pt x="128" y="63"/>
                    <a:pt x="128" y="63"/>
                  </a:cubicBezTo>
                  <a:cubicBezTo>
                    <a:pt x="129" y="63"/>
                    <a:pt x="130" y="62"/>
                    <a:pt x="130" y="62"/>
                  </a:cubicBezTo>
                  <a:cubicBezTo>
                    <a:pt x="131" y="61"/>
                    <a:pt x="131" y="61"/>
                    <a:pt x="131" y="60"/>
                  </a:cubicBezTo>
                  <a:cubicBezTo>
                    <a:pt x="132" y="59"/>
                    <a:pt x="132" y="59"/>
                    <a:pt x="132" y="59"/>
                  </a:cubicBezTo>
                  <a:cubicBezTo>
                    <a:pt x="132" y="59"/>
                    <a:pt x="132" y="58"/>
                    <a:pt x="133" y="58"/>
                  </a:cubicBezTo>
                  <a:cubicBezTo>
                    <a:pt x="133" y="58"/>
                    <a:pt x="133" y="58"/>
                    <a:pt x="133" y="58"/>
                  </a:cubicBezTo>
                  <a:cubicBezTo>
                    <a:pt x="134" y="58"/>
                    <a:pt x="134" y="58"/>
                    <a:pt x="134" y="58"/>
                  </a:cubicBezTo>
                  <a:cubicBezTo>
                    <a:pt x="135" y="57"/>
                    <a:pt x="137" y="56"/>
                    <a:pt x="138" y="55"/>
                  </a:cubicBezTo>
                  <a:cubicBezTo>
                    <a:pt x="140" y="54"/>
                    <a:pt x="140" y="53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41" y="50"/>
                    <a:pt x="141" y="50"/>
                    <a:pt x="141" y="50"/>
                  </a:cubicBezTo>
                  <a:cubicBezTo>
                    <a:pt x="142" y="49"/>
                    <a:pt x="142" y="48"/>
                    <a:pt x="143" y="47"/>
                  </a:cubicBezTo>
                  <a:cubicBezTo>
                    <a:pt x="143" y="47"/>
                    <a:pt x="143" y="47"/>
                    <a:pt x="143" y="47"/>
                  </a:cubicBezTo>
                  <a:cubicBezTo>
                    <a:pt x="144" y="47"/>
                    <a:pt x="145" y="46"/>
                    <a:pt x="145" y="44"/>
                  </a:cubicBezTo>
                  <a:cubicBezTo>
                    <a:pt x="145" y="43"/>
                    <a:pt x="143" y="42"/>
                    <a:pt x="143" y="41"/>
                  </a:cubicBezTo>
                  <a:close/>
                  <a:moveTo>
                    <a:pt x="62" y="112"/>
                  </a:moveTo>
                  <a:cubicBezTo>
                    <a:pt x="62" y="110"/>
                    <a:pt x="62" y="110"/>
                    <a:pt x="62" y="110"/>
                  </a:cubicBezTo>
                  <a:cubicBezTo>
                    <a:pt x="62" y="110"/>
                    <a:pt x="62" y="110"/>
                    <a:pt x="62" y="110"/>
                  </a:cubicBezTo>
                  <a:cubicBezTo>
                    <a:pt x="62" y="111"/>
                    <a:pt x="62" y="111"/>
                    <a:pt x="62" y="111"/>
                  </a:cubicBezTo>
                  <a:cubicBezTo>
                    <a:pt x="62" y="112"/>
                    <a:pt x="62" y="112"/>
                    <a:pt x="62" y="1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auto">
            <a:xfrm>
              <a:off x="5873" y="3551"/>
              <a:ext cx="17" cy="19"/>
            </a:xfrm>
            <a:custGeom>
              <a:avLst/>
              <a:gdLst>
                <a:gd name="T0" fmla="*/ 2 w 7"/>
                <a:gd name="T1" fmla="*/ 1 h 8"/>
                <a:gd name="T2" fmla="*/ 1 w 7"/>
                <a:gd name="T3" fmla="*/ 3 h 8"/>
                <a:gd name="T4" fmla="*/ 1 w 7"/>
                <a:gd name="T5" fmla="*/ 3 h 8"/>
                <a:gd name="T6" fmla="*/ 1 w 7"/>
                <a:gd name="T7" fmla="*/ 3 h 8"/>
                <a:gd name="T8" fmla="*/ 1 w 7"/>
                <a:gd name="T9" fmla="*/ 4 h 8"/>
                <a:gd name="T10" fmla="*/ 0 w 7"/>
                <a:gd name="T11" fmla="*/ 6 h 8"/>
                <a:gd name="T12" fmla="*/ 2 w 7"/>
                <a:gd name="T13" fmla="*/ 8 h 8"/>
                <a:gd name="T14" fmla="*/ 3 w 7"/>
                <a:gd name="T15" fmla="*/ 8 h 8"/>
                <a:gd name="T16" fmla="*/ 6 w 7"/>
                <a:gd name="T17" fmla="*/ 5 h 8"/>
                <a:gd name="T18" fmla="*/ 6 w 7"/>
                <a:gd name="T19" fmla="*/ 4 h 8"/>
                <a:gd name="T20" fmla="*/ 7 w 7"/>
                <a:gd name="T21" fmla="*/ 1 h 8"/>
                <a:gd name="T22" fmla="*/ 6 w 7"/>
                <a:gd name="T23" fmla="*/ 0 h 8"/>
                <a:gd name="T24" fmla="*/ 3 w 7"/>
                <a:gd name="T25" fmla="*/ 0 h 8"/>
                <a:gd name="T26" fmla="*/ 3 w 7"/>
                <a:gd name="T27" fmla="*/ 1 h 8"/>
                <a:gd name="T28" fmla="*/ 2 w 7"/>
                <a:gd name="T29" fmla="*/ 1 h 8"/>
                <a:gd name="T30" fmla="*/ 3 w 7"/>
                <a:gd name="T31" fmla="*/ 2 h 8"/>
                <a:gd name="T32" fmla="*/ 3 w 7"/>
                <a:gd name="T33" fmla="*/ 2 h 8"/>
                <a:gd name="T34" fmla="*/ 2 w 7"/>
                <a:gd name="T35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" h="8">
                  <a:moveTo>
                    <a:pt x="2" y="1"/>
                  </a:moveTo>
                  <a:cubicBezTo>
                    <a:pt x="2" y="2"/>
                    <a:pt x="1" y="2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5"/>
                    <a:pt x="6" y="4"/>
                    <a:pt x="6" y="4"/>
                  </a:cubicBezTo>
                  <a:cubicBezTo>
                    <a:pt x="7" y="3"/>
                    <a:pt x="7" y="2"/>
                    <a:pt x="7" y="1"/>
                  </a:cubicBezTo>
                  <a:cubicBezTo>
                    <a:pt x="7" y="0"/>
                    <a:pt x="6" y="0"/>
                    <a:pt x="6" y="0"/>
                  </a:cubicBezTo>
                  <a:cubicBezTo>
                    <a:pt x="5" y="0"/>
                    <a:pt x="4" y="0"/>
                    <a:pt x="3" y="0"/>
                  </a:cubicBezTo>
                  <a:cubicBezTo>
                    <a:pt x="3" y="0"/>
                    <a:pt x="3" y="0"/>
                    <a:pt x="3" y="1"/>
                  </a:cubicBezTo>
                  <a:cubicBezTo>
                    <a:pt x="2" y="1"/>
                    <a:pt x="2" y="1"/>
                    <a:pt x="2" y="1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lnTo>
                    <a:pt x="2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auto">
            <a:xfrm>
              <a:off x="5864" y="3580"/>
              <a:ext cx="83" cy="90"/>
            </a:xfrm>
            <a:custGeom>
              <a:avLst/>
              <a:gdLst>
                <a:gd name="T0" fmla="*/ 31 w 35"/>
                <a:gd name="T1" fmla="*/ 3 h 38"/>
                <a:gd name="T2" fmla="*/ 29 w 35"/>
                <a:gd name="T3" fmla="*/ 4 h 38"/>
                <a:gd name="T4" fmla="*/ 26 w 35"/>
                <a:gd name="T5" fmla="*/ 5 h 38"/>
                <a:gd name="T6" fmla="*/ 25 w 35"/>
                <a:gd name="T7" fmla="*/ 6 h 38"/>
                <a:gd name="T8" fmla="*/ 21 w 35"/>
                <a:gd name="T9" fmla="*/ 6 h 38"/>
                <a:gd name="T10" fmla="*/ 19 w 35"/>
                <a:gd name="T11" fmla="*/ 6 h 38"/>
                <a:gd name="T12" fmla="*/ 17 w 35"/>
                <a:gd name="T13" fmla="*/ 6 h 38"/>
                <a:gd name="T14" fmla="*/ 15 w 35"/>
                <a:gd name="T15" fmla="*/ 4 h 38"/>
                <a:gd name="T16" fmla="*/ 11 w 35"/>
                <a:gd name="T17" fmla="*/ 1 h 38"/>
                <a:gd name="T18" fmla="*/ 8 w 35"/>
                <a:gd name="T19" fmla="*/ 0 h 38"/>
                <a:gd name="T20" fmla="*/ 5 w 35"/>
                <a:gd name="T21" fmla="*/ 3 h 38"/>
                <a:gd name="T22" fmla="*/ 4 w 35"/>
                <a:gd name="T23" fmla="*/ 6 h 38"/>
                <a:gd name="T24" fmla="*/ 3 w 35"/>
                <a:gd name="T25" fmla="*/ 9 h 38"/>
                <a:gd name="T26" fmla="*/ 3 w 35"/>
                <a:gd name="T27" fmla="*/ 14 h 38"/>
                <a:gd name="T28" fmla="*/ 2 w 35"/>
                <a:gd name="T29" fmla="*/ 18 h 38"/>
                <a:gd name="T30" fmla="*/ 3 w 35"/>
                <a:gd name="T31" fmla="*/ 21 h 38"/>
                <a:gd name="T32" fmla="*/ 1 w 35"/>
                <a:gd name="T33" fmla="*/ 23 h 38"/>
                <a:gd name="T34" fmla="*/ 1 w 35"/>
                <a:gd name="T35" fmla="*/ 31 h 38"/>
                <a:gd name="T36" fmla="*/ 2 w 35"/>
                <a:gd name="T37" fmla="*/ 32 h 38"/>
                <a:gd name="T38" fmla="*/ 1 w 35"/>
                <a:gd name="T39" fmla="*/ 35 h 38"/>
                <a:gd name="T40" fmla="*/ 4 w 35"/>
                <a:gd name="T41" fmla="*/ 36 h 38"/>
                <a:gd name="T42" fmla="*/ 5 w 35"/>
                <a:gd name="T43" fmla="*/ 36 h 38"/>
                <a:gd name="T44" fmla="*/ 5 w 35"/>
                <a:gd name="T45" fmla="*/ 37 h 38"/>
                <a:gd name="T46" fmla="*/ 6 w 35"/>
                <a:gd name="T47" fmla="*/ 36 h 38"/>
                <a:gd name="T48" fmla="*/ 6 w 35"/>
                <a:gd name="T49" fmla="*/ 38 h 38"/>
                <a:gd name="T50" fmla="*/ 10 w 35"/>
                <a:gd name="T51" fmla="*/ 35 h 38"/>
                <a:gd name="T52" fmla="*/ 14 w 35"/>
                <a:gd name="T53" fmla="*/ 32 h 38"/>
                <a:gd name="T54" fmla="*/ 15 w 35"/>
                <a:gd name="T55" fmla="*/ 33 h 38"/>
                <a:gd name="T56" fmla="*/ 20 w 35"/>
                <a:gd name="T57" fmla="*/ 29 h 38"/>
                <a:gd name="T58" fmla="*/ 21 w 35"/>
                <a:gd name="T59" fmla="*/ 28 h 38"/>
                <a:gd name="T60" fmla="*/ 23 w 35"/>
                <a:gd name="T61" fmla="*/ 25 h 38"/>
                <a:gd name="T62" fmla="*/ 24 w 35"/>
                <a:gd name="T63" fmla="*/ 22 h 38"/>
                <a:gd name="T64" fmla="*/ 25 w 35"/>
                <a:gd name="T65" fmla="*/ 21 h 38"/>
                <a:gd name="T66" fmla="*/ 26 w 35"/>
                <a:gd name="T67" fmla="*/ 24 h 38"/>
                <a:gd name="T68" fmla="*/ 29 w 35"/>
                <a:gd name="T69" fmla="*/ 20 h 38"/>
                <a:gd name="T70" fmla="*/ 29 w 35"/>
                <a:gd name="T71" fmla="*/ 19 h 38"/>
                <a:gd name="T72" fmla="*/ 30 w 35"/>
                <a:gd name="T73" fmla="*/ 17 h 38"/>
                <a:gd name="T74" fmla="*/ 31 w 35"/>
                <a:gd name="T75" fmla="*/ 15 h 38"/>
                <a:gd name="T76" fmla="*/ 32 w 35"/>
                <a:gd name="T77" fmla="*/ 12 h 38"/>
                <a:gd name="T78" fmla="*/ 33 w 35"/>
                <a:gd name="T79" fmla="*/ 11 h 38"/>
                <a:gd name="T80" fmla="*/ 34 w 35"/>
                <a:gd name="T81" fmla="*/ 9 h 38"/>
                <a:gd name="T82" fmla="*/ 32 w 35"/>
                <a:gd name="T83" fmla="*/ 4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5" h="38">
                  <a:moveTo>
                    <a:pt x="32" y="4"/>
                  </a:moveTo>
                  <a:cubicBezTo>
                    <a:pt x="32" y="4"/>
                    <a:pt x="31" y="3"/>
                    <a:pt x="31" y="3"/>
                  </a:cubicBezTo>
                  <a:cubicBezTo>
                    <a:pt x="30" y="3"/>
                    <a:pt x="29" y="4"/>
                    <a:pt x="29" y="4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6" y="5"/>
                  </a:cubicBezTo>
                  <a:cubicBezTo>
                    <a:pt x="26" y="5"/>
                    <a:pt x="26" y="5"/>
                    <a:pt x="25" y="5"/>
                  </a:cubicBezTo>
                  <a:cubicBezTo>
                    <a:pt x="25" y="5"/>
                    <a:pt x="25" y="6"/>
                    <a:pt x="25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5"/>
                    <a:pt x="22" y="6"/>
                    <a:pt x="21" y="6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20" y="6"/>
                    <a:pt x="20" y="6"/>
                    <a:pt x="19" y="6"/>
                  </a:cubicBezTo>
                  <a:cubicBezTo>
                    <a:pt x="19" y="6"/>
                    <a:pt x="18" y="6"/>
                    <a:pt x="18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6" y="5"/>
                    <a:pt x="16" y="5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4" y="2"/>
                    <a:pt x="13" y="2"/>
                    <a:pt x="12" y="2"/>
                  </a:cubicBezTo>
                  <a:cubicBezTo>
                    <a:pt x="12" y="1"/>
                    <a:pt x="11" y="1"/>
                    <a:pt x="11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0" y="0"/>
                    <a:pt x="9" y="0"/>
                    <a:pt x="8" y="0"/>
                  </a:cubicBezTo>
                  <a:cubicBezTo>
                    <a:pt x="7" y="0"/>
                    <a:pt x="6" y="1"/>
                    <a:pt x="6" y="2"/>
                  </a:cubicBezTo>
                  <a:cubicBezTo>
                    <a:pt x="6" y="2"/>
                    <a:pt x="5" y="3"/>
                    <a:pt x="5" y="3"/>
                  </a:cubicBezTo>
                  <a:cubicBezTo>
                    <a:pt x="4" y="4"/>
                    <a:pt x="4" y="4"/>
                    <a:pt x="4" y="5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7"/>
                    <a:pt x="4" y="7"/>
                    <a:pt x="4" y="8"/>
                  </a:cubicBezTo>
                  <a:cubicBezTo>
                    <a:pt x="4" y="8"/>
                    <a:pt x="3" y="9"/>
                    <a:pt x="3" y="9"/>
                  </a:cubicBezTo>
                  <a:cubicBezTo>
                    <a:pt x="3" y="10"/>
                    <a:pt x="3" y="11"/>
                    <a:pt x="3" y="12"/>
                  </a:cubicBezTo>
                  <a:cubicBezTo>
                    <a:pt x="3" y="12"/>
                    <a:pt x="3" y="13"/>
                    <a:pt x="3" y="14"/>
                  </a:cubicBezTo>
                  <a:cubicBezTo>
                    <a:pt x="3" y="14"/>
                    <a:pt x="3" y="15"/>
                    <a:pt x="3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2" y="19"/>
                    <a:pt x="3" y="19"/>
                    <a:pt x="3" y="20"/>
                  </a:cubicBezTo>
                  <a:cubicBezTo>
                    <a:pt x="3" y="20"/>
                    <a:pt x="3" y="20"/>
                    <a:pt x="3" y="21"/>
                  </a:cubicBezTo>
                  <a:cubicBezTo>
                    <a:pt x="3" y="21"/>
                    <a:pt x="3" y="21"/>
                    <a:pt x="2" y="22"/>
                  </a:cubicBezTo>
                  <a:cubicBezTo>
                    <a:pt x="2" y="22"/>
                    <a:pt x="1" y="23"/>
                    <a:pt x="1" y="23"/>
                  </a:cubicBezTo>
                  <a:cubicBezTo>
                    <a:pt x="1" y="24"/>
                    <a:pt x="0" y="26"/>
                    <a:pt x="0" y="27"/>
                  </a:cubicBezTo>
                  <a:cubicBezTo>
                    <a:pt x="0" y="28"/>
                    <a:pt x="0" y="30"/>
                    <a:pt x="1" y="31"/>
                  </a:cubicBezTo>
                  <a:cubicBezTo>
                    <a:pt x="1" y="31"/>
                    <a:pt x="1" y="32"/>
                    <a:pt x="2" y="32"/>
                  </a:cubicBezTo>
                  <a:cubicBezTo>
                    <a:pt x="2" y="32"/>
                    <a:pt x="2" y="32"/>
                    <a:pt x="2" y="32"/>
                  </a:cubicBezTo>
                  <a:cubicBezTo>
                    <a:pt x="2" y="32"/>
                    <a:pt x="2" y="32"/>
                    <a:pt x="1" y="33"/>
                  </a:cubicBezTo>
                  <a:cubicBezTo>
                    <a:pt x="0" y="34"/>
                    <a:pt x="1" y="35"/>
                    <a:pt x="1" y="35"/>
                  </a:cubicBezTo>
                  <a:cubicBezTo>
                    <a:pt x="1" y="36"/>
                    <a:pt x="2" y="36"/>
                    <a:pt x="3" y="36"/>
                  </a:cubicBezTo>
                  <a:cubicBezTo>
                    <a:pt x="3" y="36"/>
                    <a:pt x="4" y="36"/>
                    <a:pt x="4" y="36"/>
                  </a:cubicBezTo>
                  <a:cubicBezTo>
                    <a:pt x="4" y="36"/>
                    <a:pt x="4" y="36"/>
                    <a:pt x="5" y="36"/>
                  </a:cubicBezTo>
                  <a:cubicBezTo>
                    <a:pt x="5" y="36"/>
                    <a:pt x="5" y="36"/>
                    <a:pt x="5" y="36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6"/>
                    <a:pt x="6" y="36"/>
                    <a:pt x="6" y="3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7" y="37"/>
                    <a:pt x="7" y="37"/>
                    <a:pt x="7" y="37"/>
                  </a:cubicBezTo>
                  <a:cubicBezTo>
                    <a:pt x="8" y="36"/>
                    <a:pt x="9" y="36"/>
                    <a:pt x="10" y="35"/>
                  </a:cubicBezTo>
                  <a:cubicBezTo>
                    <a:pt x="10" y="35"/>
                    <a:pt x="11" y="34"/>
                    <a:pt x="11" y="34"/>
                  </a:cubicBezTo>
                  <a:cubicBezTo>
                    <a:pt x="12" y="34"/>
                    <a:pt x="14" y="33"/>
                    <a:pt x="14" y="32"/>
                  </a:cubicBezTo>
                  <a:cubicBezTo>
                    <a:pt x="15" y="32"/>
                    <a:pt x="15" y="32"/>
                    <a:pt x="15" y="31"/>
                  </a:cubicBezTo>
                  <a:cubicBezTo>
                    <a:pt x="15" y="32"/>
                    <a:pt x="15" y="32"/>
                    <a:pt x="15" y="33"/>
                  </a:cubicBezTo>
                  <a:cubicBezTo>
                    <a:pt x="16" y="33"/>
                    <a:pt x="17" y="33"/>
                    <a:pt x="17" y="33"/>
                  </a:cubicBezTo>
                  <a:cubicBezTo>
                    <a:pt x="19" y="33"/>
                    <a:pt x="19" y="31"/>
                    <a:pt x="20" y="29"/>
                  </a:cubicBezTo>
                  <a:cubicBezTo>
                    <a:pt x="20" y="29"/>
                    <a:pt x="20" y="29"/>
                    <a:pt x="20" y="29"/>
                  </a:cubicBezTo>
                  <a:cubicBezTo>
                    <a:pt x="20" y="29"/>
                    <a:pt x="20" y="28"/>
                    <a:pt x="21" y="28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2" y="27"/>
                    <a:pt x="23" y="26"/>
                    <a:pt x="23" y="25"/>
                  </a:cubicBezTo>
                  <a:cubicBezTo>
                    <a:pt x="24" y="25"/>
                    <a:pt x="24" y="24"/>
                    <a:pt x="24" y="23"/>
                  </a:cubicBezTo>
                  <a:cubicBezTo>
                    <a:pt x="24" y="23"/>
                    <a:pt x="24" y="23"/>
                    <a:pt x="24" y="22"/>
                  </a:cubicBezTo>
                  <a:cubicBezTo>
                    <a:pt x="24" y="22"/>
                    <a:pt x="25" y="21"/>
                    <a:pt x="25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8" y="22"/>
                    <a:pt x="28" y="21"/>
                    <a:pt x="29" y="20"/>
                  </a:cubicBezTo>
                  <a:cubicBezTo>
                    <a:pt x="29" y="20"/>
                    <a:pt x="29" y="20"/>
                    <a:pt x="29" y="20"/>
                  </a:cubicBezTo>
                  <a:cubicBezTo>
                    <a:pt x="29" y="20"/>
                    <a:pt x="29" y="19"/>
                    <a:pt x="29" y="19"/>
                  </a:cubicBezTo>
                  <a:cubicBezTo>
                    <a:pt x="29" y="19"/>
                    <a:pt x="29" y="19"/>
                    <a:pt x="29" y="18"/>
                  </a:cubicBezTo>
                  <a:cubicBezTo>
                    <a:pt x="30" y="18"/>
                    <a:pt x="30" y="17"/>
                    <a:pt x="30" y="17"/>
                  </a:cubicBezTo>
                  <a:cubicBezTo>
                    <a:pt x="30" y="16"/>
                    <a:pt x="30" y="16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5"/>
                    <a:pt x="32" y="14"/>
                    <a:pt x="32" y="13"/>
                  </a:cubicBezTo>
                  <a:cubicBezTo>
                    <a:pt x="32" y="13"/>
                    <a:pt x="32" y="12"/>
                    <a:pt x="32" y="12"/>
                  </a:cubicBezTo>
                  <a:cubicBezTo>
                    <a:pt x="32" y="12"/>
                    <a:pt x="32" y="12"/>
                    <a:pt x="32" y="12"/>
                  </a:cubicBezTo>
                  <a:cubicBezTo>
                    <a:pt x="32" y="12"/>
                    <a:pt x="32" y="12"/>
                    <a:pt x="33" y="11"/>
                  </a:cubicBezTo>
                  <a:cubicBezTo>
                    <a:pt x="33" y="11"/>
                    <a:pt x="33" y="10"/>
                    <a:pt x="34" y="10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35" y="7"/>
                    <a:pt x="34" y="6"/>
                    <a:pt x="33" y="4"/>
                  </a:cubicBezTo>
                  <a:lnTo>
                    <a:pt x="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5" name="Freeform 84"/>
            <p:cNvSpPr>
              <a:spLocks noEditPoints="1"/>
            </p:cNvSpPr>
            <p:nvPr/>
          </p:nvSpPr>
          <p:spPr bwMode="auto">
            <a:xfrm>
              <a:off x="4556" y="3693"/>
              <a:ext cx="38" cy="36"/>
            </a:xfrm>
            <a:custGeom>
              <a:avLst/>
              <a:gdLst>
                <a:gd name="T0" fmla="*/ 15 w 16"/>
                <a:gd name="T1" fmla="*/ 5 h 15"/>
                <a:gd name="T2" fmla="*/ 14 w 16"/>
                <a:gd name="T3" fmla="*/ 5 h 15"/>
                <a:gd name="T4" fmla="*/ 10 w 16"/>
                <a:gd name="T5" fmla="*/ 7 h 15"/>
                <a:gd name="T6" fmla="*/ 9 w 16"/>
                <a:gd name="T7" fmla="*/ 7 h 15"/>
                <a:gd name="T8" fmla="*/ 9 w 16"/>
                <a:gd name="T9" fmla="*/ 7 h 15"/>
                <a:gd name="T10" fmla="*/ 8 w 16"/>
                <a:gd name="T11" fmla="*/ 5 h 15"/>
                <a:gd name="T12" fmla="*/ 8 w 16"/>
                <a:gd name="T13" fmla="*/ 5 h 15"/>
                <a:gd name="T14" fmla="*/ 8 w 16"/>
                <a:gd name="T15" fmla="*/ 3 h 15"/>
                <a:gd name="T16" fmla="*/ 7 w 16"/>
                <a:gd name="T17" fmla="*/ 3 h 15"/>
                <a:gd name="T18" fmla="*/ 7 w 16"/>
                <a:gd name="T19" fmla="*/ 2 h 15"/>
                <a:gd name="T20" fmla="*/ 5 w 16"/>
                <a:gd name="T21" fmla="*/ 1 h 15"/>
                <a:gd name="T22" fmla="*/ 3 w 16"/>
                <a:gd name="T23" fmla="*/ 1 h 15"/>
                <a:gd name="T24" fmla="*/ 1 w 16"/>
                <a:gd name="T25" fmla="*/ 7 h 15"/>
                <a:gd name="T26" fmla="*/ 1 w 16"/>
                <a:gd name="T27" fmla="*/ 8 h 15"/>
                <a:gd name="T28" fmla="*/ 1 w 16"/>
                <a:gd name="T29" fmla="*/ 10 h 15"/>
                <a:gd name="T30" fmla="*/ 1 w 16"/>
                <a:gd name="T31" fmla="*/ 11 h 15"/>
                <a:gd name="T32" fmla="*/ 0 w 16"/>
                <a:gd name="T33" fmla="*/ 14 h 15"/>
                <a:gd name="T34" fmla="*/ 1 w 16"/>
                <a:gd name="T35" fmla="*/ 15 h 15"/>
                <a:gd name="T36" fmla="*/ 2 w 16"/>
                <a:gd name="T37" fmla="*/ 15 h 15"/>
                <a:gd name="T38" fmla="*/ 4 w 16"/>
                <a:gd name="T39" fmla="*/ 14 h 15"/>
                <a:gd name="T40" fmla="*/ 6 w 16"/>
                <a:gd name="T41" fmla="*/ 15 h 15"/>
                <a:gd name="T42" fmla="*/ 6 w 16"/>
                <a:gd name="T43" fmla="*/ 15 h 15"/>
                <a:gd name="T44" fmla="*/ 8 w 16"/>
                <a:gd name="T45" fmla="*/ 14 h 15"/>
                <a:gd name="T46" fmla="*/ 8 w 16"/>
                <a:gd name="T47" fmla="*/ 14 h 15"/>
                <a:gd name="T48" fmla="*/ 8 w 16"/>
                <a:gd name="T49" fmla="*/ 14 h 15"/>
                <a:gd name="T50" fmla="*/ 11 w 16"/>
                <a:gd name="T51" fmla="*/ 15 h 15"/>
                <a:gd name="T52" fmla="*/ 12 w 16"/>
                <a:gd name="T53" fmla="*/ 15 h 15"/>
                <a:gd name="T54" fmla="*/ 13 w 16"/>
                <a:gd name="T55" fmla="*/ 12 h 15"/>
                <a:gd name="T56" fmla="*/ 12 w 16"/>
                <a:gd name="T57" fmla="*/ 12 h 15"/>
                <a:gd name="T58" fmla="*/ 13 w 16"/>
                <a:gd name="T59" fmla="*/ 12 h 15"/>
                <a:gd name="T60" fmla="*/ 14 w 16"/>
                <a:gd name="T61" fmla="*/ 12 h 15"/>
                <a:gd name="T62" fmla="*/ 16 w 16"/>
                <a:gd name="T63" fmla="*/ 7 h 15"/>
                <a:gd name="T64" fmla="*/ 15 w 16"/>
                <a:gd name="T65" fmla="*/ 5 h 15"/>
                <a:gd name="T66" fmla="*/ 11 w 16"/>
                <a:gd name="T67" fmla="*/ 11 h 15"/>
                <a:gd name="T68" fmla="*/ 11 w 16"/>
                <a:gd name="T69" fmla="*/ 11 h 15"/>
                <a:gd name="T70" fmla="*/ 11 w 16"/>
                <a:gd name="T71" fmla="*/ 12 h 15"/>
                <a:gd name="T72" fmla="*/ 11 w 16"/>
                <a:gd name="T73" fmla="*/ 11 h 15"/>
                <a:gd name="T74" fmla="*/ 11 w 16"/>
                <a:gd name="T75" fmla="*/ 11 h 15"/>
                <a:gd name="T76" fmla="*/ 11 w 16"/>
                <a:gd name="T77" fmla="*/ 11 h 15"/>
                <a:gd name="T78" fmla="*/ 11 w 16"/>
                <a:gd name="T79" fmla="*/ 11 h 15"/>
                <a:gd name="T80" fmla="*/ 12 w 16"/>
                <a:gd name="T81" fmla="*/ 11 h 15"/>
                <a:gd name="T82" fmla="*/ 11 w 16"/>
                <a:gd name="T83" fmla="*/ 11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" h="15">
                  <a:moveTo>
                    <a:pt x="15" y="5"/>
                  </a:moveTo>
                  <a:cubicBezTo>
                    <a:pt x="15" y="5"/>
                    <a:pt x="14" y="5"/>
                    <a:pt x="14" y="5"/>
                  </a:cubicBezTo>
                  <a:cubicBezTo>
                    <a:pt x="12" y="5"/>
                    <a:pt x="11" y="6"/>
                    <a:pt x="10" y="7"/>
                  </a:cubicBezTo>
                  <a:cubicBezTo>
                    <a:pt x="10" y="7"/>
                    <a:pt x="9" y="7"/>
                    <a:pt x="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7"/>
                    <a:pt x="9" y="6"/>
                    <a:pt x="8" y="5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4"/>
                    <a:pt x="8" y="4"/>
                    <a:pt x="8" y="3"/>
                  </a:cubicBezTo>
                  <a:cubicBezTo>
                    <a:pt x="8" y="3"/>
                    <a:pt x="7" y="3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6" y="1"/>
                    <a:pt x="5" y="1"/>
                  </a:cubicBezTo>
                  <a:cubicBezTo>
                    <a:pt x="5" y="1"/>
                    <a:pt x="4" y="0"/>
                    <a:pt x="3" y="1"/>
                  </a:cubicBezTo>
                  <a:cubicBezTo>
                    <a:pt x="1" y="3"/>
                    <a:pt x="1" y="7"/>
                    <a:pt x="1" y="7"/>
                  </a:cubicBezTo>
                  <a:cubicBezTo>
                    <a:pt x="1" y="8"/>
                    <a:pt x="1" y="8"/>
                    <a:pt x="1" y="8"/>
                  </a:cubicBezTo>
                  <a:cubicBezTo>
                    <a:pt x="1" y="9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1"/>
                    <a:pt x="0" y="12"/>
                    <a:pt x="0" y="14"/>
                  </a:cubicBezTo>
                  <a:cubicBezTo>
                    <a:pt x="0" y="14"/>
                    <a:pt x="1" y="15"/>
                    <a:pt x="1" y="15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3" y="15"/>
                    <a:pt x="4" y="14"/>
                    <a:pt x="4" y="14"/>
                  </a:cubicBezTo>
                  <a:cubicBezTo>
                    <a:pt x="4" y="14"/>
                    <a:pt x="5" y="15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7" y="15"/>
                    <a:pt x="7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5"/>
                    <a:pt x="10" y="15"/>
                    <a:pt x="11" y="15"/>
                  </a:cubicBezTo>
                  <a:cubicBezTo>
                    <a:pt x="11" y="15"/>
                    <a:pt x="12" y="15"/>
                    <a:pt x="12" y="15"/>
                  </a:cubicBezTo>
                  <a:cubicBezTo>
                    <a:pt x="13" y="14"/>
                    <a:pt x="13" y="13"/>
                    <a:pt x="13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5" y="11"/>
                    <a:pt x="16" y="7"/>
                    <a:pt x="16" y="7"/>
                  </a:cubicBezTo>
                  <a:cubicBezTo>
                    <a:pt x="16" y="6"/>
                    <a:pt x="15" y="5"/>
                    <a:pt x="15" y="5"/>
                  </a:cubicBezTo>
                  <a:close/>
                  <a:moveTo>
                    <a:pt x="11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2"/>
                    <a:pt x="11" y="12"/>
                    <a:pt x="11" y="12"/>
                  </a:cubicBezTo>
                  <a:lnTo>
                    <a:pt x="11" y="11"/>
                  </a:lnTo>
                  <a:close/>
                  <a:moveTo>
                    <a:pt x="11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1" y="11"/>
                    <a:pt x="12" y="11"/>
                  </a:cubicBezTo>
                  <a:lnTo>
                    <a:pt x="11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6" name="Freeform 85"/>
            <p:cNvSpPr>
              <a:spLocks noEditPoints="1"/>
            </p:cNvSpPr>
            <p:nvPr/>
          </p:nvSpPr>
          <p:spPr bwMode="auto">
            <a:xfrm>
              <a:off x="5426" y="2799"/>
              <a:ext cx="762" cy="750"/>
            </a:xfrm>
            <a:custGeom>
              <a:avLst/>
              <a:gdLst>
                <a:gd name="T0" fmla="*/ 316 w 322"/>
                <a:gd name="T1" fmla="*/ 198 h 317"/>
                <a:gd name="T2" fmla="*/ 320 w 322"/>
                <a:gd name="T3" fmla="*/ 171 h 317"/>
                <a:gd name="T4" fmla="*/ 311 w 322"/>
                <a:gd name="T5" fmla="*/ 145 h 317"/>
                <a:gd name="T6" fmla="*/ 308 w 322"/>
                <a:gd name="T7" fmla="*/ 129 h 317"/>
                <a:gd name="T8" fmla="*/ 305 w 322"/>
                <a:gd name="T9" fmla="*/ 114 h 317"/>
                <a:gd name="T10" fmla="*/ 297 w 322"/>
                <a:gd name="T11" fmla="*/ 100 h 317"/>
                <a:gd name="T12" fmla="*/ 289 w 322"/>
                <a:gd name="T13" fmla="*/ 84 h 317"/>
                <a:gd name="T14" fmla="*/ 289 w 322"/>
                <a:gd name="T15" fmla="*/ 61 h 317"/>
                <a:gd name="T16" fmla="*/ 287 w 322"/>
                <a:gd name="T17" fmla="*/ 45 h 317"/>
                <a:gd name="T18" fmla="*/ 277 w 322"/>
                <a:gd name="T19" fmla="*/ 36 h 317"/>
                <a:gd name="T20" fmla="*/ 273 w 322"/>
                <a:gd name="T21" fmla="*/ 12 h 317"/>
                <a:gd name="T22" fmla="*/ 265 w 322"/>
                <a:gd name="T23" fmla="*/ 10 h 317"/>
                <a:gd name="T24" fmla="*/ 257 w 322"/>
                <a:gd name="T25" fmla="*/ 32 h 317"/>
                <a:gd name="T26" fmla="*/ 253 w 322"/>
                <a:gd name="T27" fmla="*/ 59 h 317"/>
                <a:gd name="T28" fmla="*/ 242 w 322"/>
                <a:gd name="T29" fmla="*/ 75 h 317"/>
                <a:gd name="T30" fmla="*/ 226 w 322"/>
                <a:gd name="T31" fmla="*/ 62 h 317"/>
                <a:gd name="T32" fmla="*/ 211 w 322"/>
                <a:gd name="T33" fmla="*/ 47 h 317"/>
                <a:gd name="T34" fmla="*/ 217 w 322"/>
                <a:gd name="T35" fmla="*/ 29 h 317"/>
                <a:gd name="T36" fmla="*/ 218 w 322"/>
                <a:gd name="T37" fmla="*/ 15 h 317"/>
                <a:gd name="T38" fmla="*/ 201 w 322"/>
                <a:gd name="T39" fmla="*/ 11 h 317"/>
                <a:gd name="T40" fmla="*/ 182 w 322"/>
                <a:gd name="T41" fmla="*/ 6 h 317"/>
                <a:gd name="T42" fmla="*/ 182 w 322"/>
                <a:gd name="T43" fmla="*/ 14 h 317"/>
                <a:gd name="T44" fmla="*/ 167 w 322"/>
                <a:gd name="T45" fmla="*/ 28 h 317"/>
                <a:gd name="T46" fmla="*/ 158 w 322"/>
                <a:gd name="T47" fmla="*/ 43 h 317"/>
                <a:gd name="T48" fmla="*/ 148 w 322"/>
                <a:gd name="T49" fmla="*/ 38 h 317"/>
                <a:gd name="T50" fmla="*/ 132 w 322"/>
                <a:gd name="T51" fmla="*/ 34 h 317"/>
                <a:gd name="T52" fmla="*/ 124 w 322"/>
                <a:gd name="T53" fmla="*/ 44 h 317"/>
                <a:gd name="T54" fmla="*/ 109 w 322"/>
                <a:gd name="T55" fmla="*/ 56 h 317"/>
                <a:gd name="T56" fmla="*/ 97 w 322"/>
                <a:gd name="T57" fmla="*/ 74 h 317"/>
                <a:gd name="T58" fmla="*/ 84 w 322"/>
                <a:gd name="T59" fmla="*/ 89 h 317"/>
                <a:gd name="T60" fmla="*/ 62 w 322"/>
                <a:gd name="T61" fmla="*/ 97 h 317"/>
                <a:gd name="T62" fmla="*/ 39 w 322"/>
                <a:gd name="T63" fmla="*/ 106 h 317"/>
                <a:gd name="T64" fmla="*/ 19 w 322"/>
                <a:gd name="T65" fmla="*/ 125 h 317"/>
                <a:gd name="T66" fmla="*/ 15 w 322"/>
                <a:gd name="T67" fmla="*/ 150 h 317"/>
                <a:gd name="T68" fmla="*/ 12 w 322"/>
                <a:gd name="T69" fmla="*/ 176 h 317"/>
                <a:gd name="T70" fmla="*/ 12 w 322"/>
                <a:gd name="T71" fmla="*/ 214 h 317"/>
                <a:gd name="T72" fmla="*/ 7 w 322"/>
                <a:gd name="T73" fmla="*/ 235 h 317"/>
                <a:gd name="T74" fmla="*/ 5 w 322"/>
                <a:gd name="T75" fmla="*/ 248 h 317"/>
                <a:gd name="T76" fmla="*/ 17 w 322"/>
                <a:gd name="T77" fmla="*/ 255 h 317"/>
                <a:gd name="T78" fmla="*/ 37 w 322"/>
                <a:gd name="T79" fmla="*/ 248 h 317"/>
                <a:gd name="T80" fmla="*/ 56 w 322"/>
                <a:gd name="T81" fmla="*/ 245 h 317"/>
                <a:gd name="T82" fmla="*/ 76 w 322"/>
                <a:gd name="T83" fmla="*/ 237 h 317"/>
                <a:gd name="T84" fmla="*/ 106 w 322"/>
                <a:gd name="T85" fmla="*/ 228 h 317"/>
                <a:gd name="T86" fmla="*/ 136 w 322"/>
                <a:gd name="T87" fmla="*/ 225 h 317"/>
                <a:gd name="T88" fmla="*/ 150 w 322"/>
                <a:gd name="T89" fmla="*/ 236 h 317"/>
                <a:gd name="T90" fmla="*/ 150 w 322"/>
                <a:gd name="T91" fmla="*/ 258 h 317"/>
                <a:gd name="T92" fmla="*/ 161 w 322"/>
                <a:gd name="T93" fmla="*/ 257 h 317"/>
                <a:gd name="T94" fmla="*/ 172 w 322"/>
                <a:gd name="T95" fmla="*/ 250 h 317"/>
                <a:gd name="T96" fmla="*/ 161 w 322"/>
                <a:gd name="T97" fmla="*/ 267 h 317"/>
                <a:gd name="T98" fmla="*/ 168 w 322"/>
                <a:gd name="T99" fmla="*/ 272 h 317"/>
                <a:gd name="T100" fmla="*/ 162 w 322"/>
                <a:gd name="T101" fmla="*/ 277 h 317"/>
                <a:gd name="T102" fmla="*/ 175 w 322"/>
                <a:gd name="T103" fmla="*/ 287 h 317"/>
                <a:gd name="T104" fmla="*/ 192 w 322"/>
                <a:gd name="T105" fmla="*/ 309 h 317"/>
                <a:gd name="T106" fmla="*/ 209 w 322"/>
                <a:gd name="T107" fmla="*/ 309 h 317"/>
                <a:gd name="T108" fmla="*/ 218 w 322"/>
                <a:gd name="T109" fmla="*/ 313 h 317"/>
                <a:gd name="T110" fmla="*/ 240 w 322"/>
                <a:gd name="T111" fmla="*/ 304 h 317"/>
                <a:gd name="T112" fmla="*/ 254 w 322"/>
                <a:gd name="T113" fmla="*/ 290 h 317"/>
                <a:gd name="T114" fmla="*/ 266 w 322"/>
                <a:gd name="T115" fmla="*/ 274 h 317"/>
                <a:gd name="T116" fmla="*/ 281 w 322"/>
                <a:gd name="T117" fmla="*/ 255 h 317"/>
                <a:gd name="T118" fmla="*/ 295 w 322"/>
                <a:gd name="T119" fmla="*/ 240 h 317"/>
                <a:gd name="T120" fmla="*/ 308 w 322"/>
                <a:gd name="T121" fmla="*/ 218 h 317"/>
                <a:gd name="T122" fmla="*/ 171 w 322"/>
                <a:gd name="T123" fmla="*/ 22 h 317"/>
                <a:gd name="T124" fmla="*/ 109 w 322"/>
                <a:gd name="T125" fmla="*/ 58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22" h="317">
                  <a:moveTo>
                    <a:pt x="308" y="216"/>
                  </a:moveTo>
                  <a:cubicBezTo>
                    <a:pt x="308" y="216"/>
                    <a:pt x="308" y="216"/>
                    <a:pt x="308" y="216"/>
                  </a:cubicBezTo>
                  <a:cubicBezTo>
                    <a:pt x="309" y="216"/>
                    <a:pt x="309" y="216"/>
                    <a:pt x="309" y="216"/>
                  </a:cubicBezTo>
                  <a:cubicBezTo>
                    <a:pt x="309" y="216"/>
                    <a:pt x="310" y="215"/>
                    <a:pt x="310" y="214"/>
                  </a:cubicBezTo>
                  <a:cubicBezTo>
                    <a:pt x="310" y="214"/>
                    <a:pt x="310" y="213"/>
                    <a:pt x="310" y="213"/>
                  </a:cubicBezTo>
                  <a:cubicBezTo>
                    <a:pt x="311" y="213"/>
                    <a:pt x="311" y="213"/>
                    <a:pt x="311" y="212"/>
                  </a:cubicBezTo>
                  <a:cubicBezTo>
                    <a:pt x="311" y="212"/>
                    <a:pt x="311" y="211"/>
                    <a:pt x="311" y="211"/>
                  </a:cubicBezTo>
                  <a:cubicBezTo>
                    <a:pt x="311" y="210"/>
                    <a:pt x="312" y="210"/>
                    <a:pt x="312" y="209"/>
                  </a:cubicBezTo>
                  <a:cubicBezTo>
                    <a:pt x="312" y="208"/>
                    <a:pt x="312" y="208"/>
                    <a:pt x="313" y="208"/>
                  </a:cubicBezTo>
                  <a:cubicBezTo>
                    <a:pt x="313" y="207"/>
                    <a:pt x="314" y="207"/>
                    <a:pt x="314" y="207"/>
                  </a:cubicBezTo>
                  <a:cubicBezTo>
                    <a:pt x="315" y="205"/>
                    <a:pt x="315" y="204"/>
                    <a:pt x="315" y="203"/>
                  </a:cubicBezTo>
                  <a:cubicBezTo>
                    <a:pt x="316" y="203"/>
                    <a:pt x="316" y="203"/>
                    <a:pt x="316" y="203"/>
                  </a:cubicBezTo>
                  <a:cubicBezTo>
                    <a:pt x="316" y="202"/>
                    <a:pt x="316" y="202"/>
                    <a:pt x="316" y="201"/>
                  </a:cubicBezTo>
                  <a:cubicBezTo>
                    <a:pt x="316" y="201"/>
                    <a:pt x="316" y="201"/>
                    <a:pt x="316" y="201"/>
                  </a:cubicBezTo>
                  <a:cubicBezTo>
                    <a:pt x="316" y="200"/>
                    <a:pt x="317" y="200"/>
                    <a:pt x="317" y="199"/>
                  </a:cubicBezTo>
                  <a:cubicBezTo>
                    <a:pt x="317" y="198"/>
                    <a:pt x="316" y="198"/>
                    <a:pt x="316" y="198"/>
                  </a:cubicBezTo>
                  <a:cubicBezTo>
                    <a:pt x="316" y="198"/>
                    <a:pt x="316" y="197"/>
                    <a:pt x="316" y="197"/>
                  </a:cubicBezTo>
                  <a:cubicBezTo>
                    <a:pt x="316" y="197"/>
                    <a:pt x="316" y="196"/>
                    <a:pt x="316" y="195"/>
                  </a:cubicBezTo>
                  <a:cubicBezTo>
                    <a:pt x="317" y="194"/>
                    <a:pt x="317" y="192"/>
                    <a:pt x="317" y="191"/>
                  </a:cubicBezTo>
                  <a:cubicBezTo>
                    <a:pt x="317" y="190"/>
                    <a:pt x="317" y="190"/>
                    <a:pt x="317" y="190"/>
                  </a:cubicBezTo>
                  <a:cubicBezTo>
                    <a:pt x="317" y="189"/>
                    <a:pt x="317" y="188"/>
                    <a:pt x="317" y="187"/>
                  </a:cubicBezTo>
                  <a:cubicBezTo>
                    <a:pt x="317" y="186"/>
                    <a:pt x="317" y="186"/>
                    <a:pt x="317" y="186"/>
                  </a:cubicBezTo>
                  <a:cubicBezTo>
                    <a:pt x="317" y="186"/>
                    <a:pt x="317" y="186"/>
                    <a:pt x="317" y="186"/>
                  </a:cubicBezTo>
                  <a:cubicBezTo>
                    <a:pt x="317" y="185"/>
                    <a:pt x="318" y="185"/>
                    <a:pt x="318" y="185"/>
                  </a:cubicBezTo>
                  <a:cubicBezTo>
                    <a:pt x="319" y="183"/>
                    <a:pt x="320" y="181"/>
                    <a:pt x="320" y="179"/>
                  </a:cubicBezTo>
                  <a:cubicBezTo>
                    <a:pt x="320" y="178"/>
                    <a:pt x="320" y="178"/>
                    <a:pt x="320" y="178"/>
                  </a:cubicBezTo>
                  <a:cubicBezTo>
                    <a:pt x="320" y="178"/>
                    <a:pt x="321" y="177"/>
                    <a:pt x="321" y="176"/>
                  </a:cubicBezTo>
                  <a:cubicBezTo>
                    <a:pt x="321" y="176"/>
                    <a:pt x="321" y="175"/>
                    <a:pt x="321" y="175"/>
                  </a:cubicBezTo>
                  <a:cubicBezTo>
                    <a:pt x="321" y="175"/>
                    <a:pt x="322" y="174"/>
                    <a:pt x="321" y="173"/>
                  </a:cubicBezTo>
                  <a:cubicBezTo>
                    <a:pt x="321" y="172"/>
                    <a:pt x="321" y="172"/>
                    <a:pt x="320" y="172"/>
                  </a:cubicBezTo>
                  <a:cubicBezTo>
                    <a:pt x="320" y="172"/>
                    <a:pt x="320" y="171"/>
                    <a:pt x="320" y="171"/>
                  </a:cubicBezTo>
                  <a:cubicBezTo>
                    <a:pt x="320" y="171"/>
                    <a:pt x="320" y="171"/>
                    <a:pt x="320" y="171"/>
                  </a:cubicBezTo>
                  <a:cubicBezTo>
                    <a:pt x="320" y="170"/>
                    <a:pt x="320" y="170"/>
                    <a:pt x="321" y="169"/>
                  </a:cubicBezTo>
                  <a:cubicBezTo>
                    <a:pt x="321" y="169"/>
                    <a:pt x="321" y="168"/>
                    <a:pt x="321" y="167"/>
                  </a:cubicBezTo>
                  <a:cubicBezTo>
                    <a:pt x="321" y="166"/>
                    <a:pt x="321" y="166"/>
                    <a:pt x="321" y="165"/>
                  </a:cubicBezTo>
                  <a:cubicBezTo>
                    <a:pt x="321" y="165"/>
                    <a:pt x="320" y="164"/>
                    <a:pt x="320" y="164"/>
                  </a:cubicBezTo>
                  <a:cubicBezTo>
                    <a:pt x="321" y="163"/>
                    <a:pt x="321" y="163"/>
                    <a:pt x="321" y="163"/>
                  </a:cubicBezTo>
                  <a:cubicBezTo>
                    <a:pt x="321" y="162"/>
                    <a:pt x="321" y="161"/>
                    <a:pt x="320" y="160"/>
                  </a:cubicBezTo>
                  <a:cubicBezTo>
                    <a:pt x="320" y="159"/>
                    <a:pt x="320" y="158"/>
                    <a:pt x="320" y="158"/>
                  </a:cubicBezTo>
                  <a:cubicBezTo>
                    <a:pt x="319" y="157"/>
                    <a:pt x="319" y="157"/>
                    <a:pt x="319" y="156"/>
                  </a:cubicBezTo>
                  <a:cubicBezTo>
                    <a:pt x="319" y="156"/>
                    <a:pt x="319" y="156"/>
                    <a:pt x="319" y="155"/>
                  </a:cubicBezTo>
                  <a:cubicBezTo>
                    <a:pt x="319" y="154"/>
                    <a:pt x="319" y="154"/>
                    <a:pt x="318" y="153"/>
                  </a:cubicBezTo>
                  <a:cubicBezTo>
                    <a:pt x="318" y="152"/>
                    <a:pt x="317" y="151"/>
                    <a:pt x="315" y="150"/>
                  </a:cubicBezTo>
                  <a:cubicBezTo>
                    <a:pt x="315" y="149"/>
                    <a:pt x="314" y="149"/>
                    <a:pt x="314" y="149"/>
                  </a:cubicBezTo>
                  <a:cubicBezTo>
                    <a:pt x="314" y="148"/>
                    <a:pt x="314" y="148"/>
                    <a:pt x="314" y="148"/>
                  </a:cubicBezTo>
                  <a:cubicBezTo>
                    <a:pt x="314" y="147"/>
                    <a:pt x="314" y="147"/>
                    <a:pt x="313" y="146"/>
                  </a:cubicBezTo>
                  <a:cubicBezTo>
                    <a:pt x="312" y="145"/>
                    <a:pt x="312" y="145"/>
                    <a:pt x="311" y="145"/>
                  </a:cubicBezTo>
                  <a:cubicBezTo>
                    <a:pt x="311" y="145"/>
                    <a:pt x="311" y="145"/>
                    <a:pt x="311" y="145"/>
                  </a:cubicBezTo>
                  <a:cubicBezTo>
                    <a:pt x="311" y="144"/>
                    <a:pt x="311" y="144"/>
                    <a:pt x="311" y="144"/>
                  </a:cubicBezTo>
                  <a:cubicBezTo>
                    <a:pt x="312" y="144"/>
                    <a:pt x="312" y="144"/>
                    <a:pt x="312" y="144"/>
                  </a:cubicBezTo>
                  <a:cubicBezTo>
                    <a:pt x="313" y="143"/>
                    <a:pt x="313" y="142"/>
                    <a:pt x="313" y="141"/>
                  </a:cubicBezTo>
                  <a:cubicBezTo>
                    <a:pt x="313" y="141"/>
                    <a:pt x="313" y="141"/>
                    <a:pt x="313" y="141"/>
                  </a:cubicBezTo>
                  <a:cubicBezTo>
                    <a:pt x="313" y="140"/>
                    <a:pt x="313" y="140"/>
                    <a:pt x="314" y="140"/>
                  </a:cubicBezTo>
                  <a:cubicBezTo>
                    <a:pt x="314" y="139"/>
                    <a:pt x="314" y="138"/>
                    <a:pt x="314" y="137"/>
                  </a:cubicBezTo>
                  <a:cubicBezTo>
                    <a:pt x="314" y="137"/>
                    <a:pt x="314" y="136"/>
                    <a:pt x="314" y="136"/>
                  </a:cubicBezTo>
                  <a:cubicBezTo>
                    <a:pt x="314" y="136"/>
                    <a:pt x="314" y="135"/>
                    <a:pt x="314" y="135"/>
                  </a:cubicBezTo>
                  <a:cubicBezTo>
                    <a:pt x="314" y="135"/>
                    <a:pt x="314" y="135"/>
                    <a:pt x="314" y="134"/>
                  </a:cubicBezTo>
                  <a:cubicBezTo>
                    <a:pt x="314" y="133"/>
                    <a:pt x="313" y="132"/>
                    <a:pt x="312" y="132"/>
                  </a:cubicBezTo>
                  <a:cubicBezTo>
                    <a:pt x="312" y="132"/>
                    <a:pt x="312" y="132"/>
                    <a:pt x="312" y="132"/>
                  </a:cubicBezTo>
                  <a:cubicBezTo>
                    <a:pt x="311" y="132"/>
                    <a:pt x="311" y="132"/>
                    <a:pt x="310" y="132"/>
                  </a:cubicBezTo>
                  <a:cubicBezTo>
                    <a:pt x="310" y="132"/>
                    <a:pt x="310" y="132"/>
                    <a:pt x="310" y="132"/>
                  </a:cubicBezTo>
                  <a:cubicBezTo>
                    <a:pt x="310" y="132"/>
                    <a:pt x="310" y="132"/>
                    <a:pt x="310" y="132"/>
                  </a:cubicBezTo>
                  <a:cubicBezTo>
                    <a:pt x="310" y="131"/>
                    <a:pt x="310" y="131"/>
                    <a:pt x="310" y="130"/>
                  </a:cubicBezTo>
                  <a:cubicBezTo>
                    <a:pt x="309" y="129"/>
                    <a:pt x="309" y="129"/>
                    <a:pt x="308" y="129"/>
                  </a:cubicBezTo>
                  <a:cubicBezTo>
                    <a:pt x="307" y="129"/>
                    <a:pt x="306" y="130"/>
                    <a:pt x="305" y="131"/>
                  </a:cubicBezTo>
                  <a:cubicBezTo>
                    <a:pt x="305" y="131"/>
                    <a:pt x="305" y="130"/>
                    <a:pt x="305" y="130"/>
                  </a:cubicBezTo>
                  <a:cubicBezTo>
                    <a:pt x="305" y="130"/>
                    <a:pt x="305" y="130"/>
                    <a:pt x="305" y="130"/>
                  </a:cubicBezTo>
                  <a:cubicBezTo>
                    <a:pt x="305" y="130"/>
                    <a:pt x="305" y="130"/>
                    <a:pt x="305" y="130"/>
                  </a:cubicBezTo>
                  <a:cubicBezTo>
                    <a:pt x="305" y="130"/>
                    <a:pt x="305" y="129"/>
                    <a:pt x="305" y="129"/>
                  </a:cubicBezTo>
                  <a:cubicBezTo>
                    <a:pt x="306" y="129"/>
                    <a:pt x="306" y="128"/>
                    <a:pt x="306" y="128"/>
                  </a:cubicBezTo>
                  <a:cubicBezTo>
                    <a:pt x="306" y="127"/>
                    <a:pt x="306" y="127"/>
                    <a:pt x="306" y="127"/>
                  </a:cubicBezTo>
                  <a:cubicBezTo>
                    <a:pt x="306" y="127"/>
                    <a:pt x="306" y="126"/>
                    <a:pt x="306" y="126"/>
                  </a:cubicBezTo>
                  <a:cubicBezTo>
                    <a:pt x="307" y="126"/>
                    <a:pt x="308" y="124"/>
                    <a:pt x="307" y="123"/>
                  </a:cubicBezTo>
                  <a:cubicBezTo>
                    <a:pt x="307" y="122"/>
                    <a:pt x="307" y="122"/>
                    <a:pt x="306" y="122"/>
                  </a:cubicBezTo>
                  <a:cubicBezTo>
                    <a:pt x="306" y="122"/>
                    <a:pt x="306" y="121"/>
                    <a:pt x="306" y="121"/>
                  </a:cubicBezTo>
                  <a:cubicBezTo>
                    <a:pt x="306" y="121"/>
                    <a:pt x="306" y="120"/>
                    <a:pt x="306" y="120"/>
                  </a:cubicBezTo>
                  <a:cubicBezTo>
                    <a:pt x="306" y="120"/>
                    <a:pt x="306" y="119"/>
                    <a:pt x="306" y="119"/>
                  </a:cubicBezTo>
                  <a:cubicBezTo>
                    <a:pt x="306" y="119"/>
                    <a:pt x="306" y="119"/>
                    <a:pt x="306" y="119"/>
                  </a:cubicBezTo>
                  <a:cubicBezTo>
                    <a:pt x="306" y="118"/>
                    <a:pt x="305" y="117"/>
                    <a:pt x="305" y="116"/>
                  </a:cubicBezTo>
                  <a:cubicBezTo>
                    <a:pt x="305" y="115"/>
                    <a:pt x="305" y="115"/>
                    <a:pt x="305" y="114"/>
                  </a:cubicBezTo>
                  <a:cubicBezTo>
                    <a:pt x="305" y="114"/>
                    <a:pt x="305" y="114"/>
                    <a:pt x="305" y="114"/>
                  </a:cubicBezTo>
                  <a:cubicBezTo>
                    <a:pt x="305" y="113"/>
                    <a:pt x="305" y="113"/>
                    <a:pt x="304" y="112"/>
                  </a:cubicBezTo>
                  <a:cubicBezTo>
                    <a:pt x="304" y="112"/>
                    <a:pt x="304" y="112"/>
                    <a:pt x="304" y="112"/>
                  </a:cubicBezTo>
                  <a:cubicBezTo>
                    <a:pt x="305" y="112"/>
                    <a:pt x="305" y="111"/>
                    <a:pt x="305" y="111"/>
                  </a:cubicBezTo>
                  <a:cubicBezTo>
                    <a:pt x="305" y="110"/>
                    <a:pt x="305" y="109"/>
                    <a:pt x="304" y="108"/>
                  </a:cubicBezTo>
                  <a:cubicBezTo>
                    <a:pt x="304" y="108"/>
                    <a:pt x="304" y="108"/>
                    <a:pt x="304" y="108"/>
                  </a:cubicBezTo>
                  <a:cubicBezTo>
                    <a:pt x="303" y="106"/>
                    <a:pt x="303" y="106"/>
                    <a:pt x="302" y="105"/>
                  </a:cubicBezTo>
                  <a:cubicBezTo>
                    <a:pt x="301" y="105"/>
                    <a:pt x="301" y="105"/>
                    <a:pt x="301" y="104"/>
                  </a:cubicBezTo>
                  <a:cubicBezTo>
                    <a:pt x="301" y="104"/>
                    <a:pt x="301" y="104"/>
                    <a:pt x="301" y="103"/>
                  </a:cubicBezTo>
                  <a:cubicBezTo>
                    <a:pt x="300" y="103"/>
                    <a:pt x="300" y="102"/>
                    <a:pt x="300" y="102"/>
                  </a:cubicBezTo>
                  <a:cubicBezTo>
                    <a:pt x="300" y="102"/>
                    <a:pt x="300" y="102"/>
                    <a:pt x="300" y="102"/>
                  </a:cubicBezTo>
                  <a:cubicBezTo>
                    <a:pt x="299" y="101"/>
                    <a:pt x="299" y="100"/>
                    <a:pt x="298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100"/>
                  </a:cubicBezTo>
                  <a:cubicBezTo>
                    <a:pt x="297" y="100"/>
                    <a:pt x="297" y="100"/>
                    <a:pt x="297" y="99"/>
                  </a:cubicBezTo>
                  <a:cubicBezTo>
                    <a:pt x="297" y="99"/>
                    <a:pt x="297" y="97"/>
                    <a:pt x="296" y="97"/>
                  </a:cubicBezTo>
                  <a:cubicBezTo>
                    <a:pt x="295" y="96"/>
                    <a:pt x="295" y="96"/>
                    <a:pt x="294" y="96"/>
                  </a:cubicBezTo>
                  <a:cubicBezTo>
                    <a:pt x="294" y="96"/>
                    <a:pt x="294" y="96"/>
                    <a:pt x="294" y="96"/>
                  </a:cubicBezTo>
                  <a:cubicBezTo>
                    <a:pt x="293" y="95"/>
                    <a:pt x="293" y="95"/>
                    <a:pt x="293" y="95"/>
                  </a:cubicBezTo>
                  <a:cubicBezTo>
                    <a:pt x="293" y="95"/>
                    <a:pt x="293" y="94"/>
                    <a:pt x="292" y="94"/>
                  </a:cubicBezTo>
                  <a:cubicBezTo>
                    <a:pt x="292" y="94"/>
                    <a:pt x="291" y="93"/>
                    <a:pt x="291" y="93"/>
                  </a:cubicBezTo>
                  <a:cubicBezTo>
                    <a:pt x="290" y="93"/>
                    <a:pt x="290" y="93"/>
                    <a:pt x="290" y="93"/>
                  </a:cubicBezTo>
                  <a:cubicBezTo>
                    <a:pt x="290" y="93"/>
                    <a:pt x="290" y="92"/>
                    <a:pt x="290" y="92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0" y="91"/>
                    <a:pt x="290" y="91"/>
                    <a:pt x="290" y="91"/>
                  </a:cubicBezTo>
                  <a:cubicBezTo>
                    <a:pt x="290" y="91"/>
                    <a:pt x="290" y="91"/>
                    <a:pt x="290" y="90"/>
                  </a:cubicBezTo>
                  <a:cubicBezTo>
                    <a:pt x="291" y="90"/>
                    <a:pt x="291" y="88"/>
                    <a:pt x="290" y="87"/>
                  </a:cubicBezTo>
                  <a:cubicBezTo>
                    <a:pt x="290" y="86"/>
                    <a:pt x="290" y="86"/>
                    <a:pt x="289" y="86"/>
                  </a:cubicBezTo>
                  <a:cubicBezTo>
                    <a:pt x="289" y="86"/>
                    <a:pt x="289" y="85"/>
                    <a:pt x="289" y="85"/>
                  </a:cubicBezTo>
                  <a:cubicBezTo>
                    <a:pt x="290" y="85"/>
                    <a:pt x="290" y="84"/>
                    <a:pt x="289" y="84"/>
                  </a:cubicBezTo>
                  <a:cubicBezTo>
                    <a:pt x="289" y="83"/>
                    <a:pt x="289" y="83"/>
                    <a:pt x="289" y="83"/>
                  </a:cubicBezTo>
                  <a:cubicBezTo>
                    <a:pt x="289" y="83"/>
                    <a:pt x="289" y="83"/>
                    <a:pt x="289" y="82"/>
                  </a:cubicBezTo>
                  <a:cubicBezTo>
                    <a:pt x="290" y="82"/>
                    <a:pt x="290" y="82"/>
                    <a:pt x="290" y="81"/>
                  </a:cubicBezTo>
                  <a:cubicBezTo>
                    <a:pt x="291" y="81"/>
                    <a:pt x="290" y="80"/>
                    <a:pt x="290" y="79"/>
                  </a:cubicBezTo>
                  <a:cubicBezTo>
                    <a:pt x="290" y="79"/>
                    <a:pt x="290" y="79"/>
                    <a:pt x="290" y="79"/>
                  </a:cubicBezTo>
                  <a:cubicBezTo>
                    <a:pt x="290" y="79"/>
                    <a:pt x="291" y="79"/>
                    <a:pt x="291" y="78"/>
                  </a:cubicBezTo>
                  <a:cubicBezTo>
                    <a:pt x="291" y="77"/>
                    <a:pt x="291" y="76"/>
                    <a:pt x="291" y="76"/>
                  </a:cubicBezTo>
                  <a:cubicBezTo>
                    <a:pt x="291" y="75"/>
                    <a:pt x="290" y="74"/>
                    <a:pt x="290" y="72"/>
                  </a:cubicBezTo>
                  <a:cubicBezTo>
                    <a:pt x="290" y="72"/>
                    <a:pt x="290" y="71"/>
                    <a:pt x="290" y="70"/>
                  </a:cubicBezTo>
                  <a:cubicBezTo>
                    <a:pt x="290" y="70"/>
                    <a:pt x="290" y="70"/>
                    <a:pt x="290" y="70"/>
                  </a:cubicBezTo>
                  <a:cubicBezTo>
                    <a:pt x="290" y="69"/>
                    <a:pt x="289" y="68"/>
                    <a:pt x="289" y="67"/>
                  </a:cubicBezTo>
                  <a:cubicBezTo>
                    <a:pt x="289" y="67"/>
                    <a:pt x="288" y="67"/>
                    <a:pt x="288" y="66"/>
                  </a:cubicBezTo>
                  <a:cubicBezTo>
                    <a:pt x="288" y="66"/>
                    <a:pt x="288" y="66"/>
                    <a:pt x="288" y="66"/>
                  </a:cubicBezTo>
                  <a:cubicBezTo>
                    <a:pt x="288" y="66"/>
                    <a:pt x="288" y="65"/>
                    <a:pt x="288" y="65"/>
                  </a:cubicBezTo>
                  <a:cubicBezTo>
                    <a:pt x="288" y="65"/>
                    <a:pt x="289" y="64"/>
                    <a:pt x="289" y="63"/>
                  </a:cubicBezTo>
                  <a:cubicBezTo>
                    <a:pt x="289" y="62"/>
                    <a:pt x="289" y="62"/>
                    <a:pt x="289" y="61"/>
                  </a:cubicBezTo>
                  <a:cubicBezTo>
                    <a:pt x="288" y="61"/>
                    <a:pt x="288" y="61"/>
                    <a:pt x="288" y="61"/>
                  </a:cubicBezTo>
                  <a:cubicBezTo>
                    <a:pt x="289" y="61"/>
                    <a:pt x="289" y="61"/>
                    <a:pt x="289" y="61"/>
                  </a:cubicBezTo>
                  <a:cubicBezTo>
                    <a:pt x="289" y="61"/>
                    <a:pt x="289" y="60"/>
                    <a:pt x="289" y="60"/>
                  </a:cubicBezTo>
                  <a:cubicBezTo>
                    <a:pt x="289" y="59"/>
                    <a:pt x="289" y="58"/>
                    <a:pt x="289" y="57"/>
                  </a:cubicBezTo>
                  <a:cubicBezTo>
                    <a:pt x="289" y="57"/>
                    <a:pt x="289" y="57"/>
                    <a:pt x="289" y="57"/>
                  </a:cubicBezTo>
                  <a:cubicBezTo>
                    <a:pt x="289" y="56"/>
                    <a:pt x="289" y="56"/>
                    <a:pt x="289" y="56"/>
                  </a:cubicBezTo>
                  <a:cubicBezTo>
                    <a:pt x="289" y="55"/>
                    <a:pt x="288" y="54"/>
                    <a:pt x="287" y="54"/>
                  </a:cubicBezTo>
                  <a:cubicBezTo>
                    <a:pt x="286" y="53"/>
                    <a:pt x="286" y="53"/>
                    <a:pt x="286" y="53"/>
                  </a:cubicBezTo>
                  <a:cubicBezTo>
                    <a:pt x="288" y="53"/>
                    <a:pt x="288" y="53"/>
                    <a:pt x="288" y="53"/>
                  </a:cubicBezTo>
                  <a:cubicBezTo>
                    <a:pt x="288" y="53"/>
                    <a:pt x="288" y="53"/>
                    <a:pt x="289" y="53"/>
                  </a:cubicBezTo>
                  <a:cubicBezTo>
                    <a:pt x="290" y="51"/>
                    <a:pt x="289" y="50"/>
                    <a:pt x="289" y="50"/>
                  </a:cubicBezTo>
                  <a:cubicBezTo>
                    <a:pt x="289" y="49"/>
                    <a:pt x="289" y="49"/>
                    <a:pt x="289" y="49"/>
                  </a:cubicBezTo>
                  <a:cubicBezTo>
                    <a:pt x="289" y="49"/>
                    <a:pt x="290" y="48"/>
                    <a:pt x="289" y="48"/>
                  </a:cubicBezTo>
                  <a:cubicBezTo>
                    <a:pt x="289" y="47"/>
                    <a:pt x="288" y="46"/>
                    <a:pt x="287" y="46"/>
                  </a:cubicBezTo>
                  <a:cubicBezTo>
                    <a:pt x="287" y="46"/>
                    <a:pt x="287" y="46"/>
                    <a:pt x="287" y="46"/>
                  </a:cubicBezTo>
                  <a:cubicBezTo>
                    <a:pt x="287" y="46"/>
                    <a:pt x="287" y="46"/>
                    <a:pt x="287" y="45"/>
                  </a:cubicBezTo>
                  <a:cubicBezTo>
                    <a:pt x="286" y="45"/>
                    <a:pt x="286" y="44"/>
                    <a:pt x="285" y="43"/>
                  </a:cubicBezTo>
                  <a:cubicBezTo>
                    <a:pt x="285" y="43"/>
                    <a:pt x="285" y="43"/>
                    <a:pt x="285" y="43"/>
                  </a:cubicBezTo>
                  <a:cubicBezTo>
                    <a:pt x="285" y="43"/>
                    <a:pt x="285" y="43"/>
                    <a:pt x="285" y="43"/>
                  </a:cubicBezTo>
                  <a:cubicBezTo>
                    <a:pt x="285" y="42"/>
                    <a:pt x="285" y="41"/>
                    <a:pt x="285" y="40"/>
                  </a:cubicBezTo>
                  <a:cubicBezTo>
                    <a:pt x="284" y="39"/>
                    <a:pt x="284" y="38"/>
                    <a:pt x="283" y="38"/>
                  </a:cubicBezTo>
                  <a:cubicBezTo>
                    <a:pt x="282" y="37"/>
                    <a:pt x="280" y="38"/>
                    <a:pt x="280" y="39"/>
                  </a:cubicBezTo>
                  <a:cubicBezTo>
                    <a:pt x="280" y="40"/>
                    <a:pt x="280" y="40"/>
                    <a:pt x="280" y="40"/>
                  </a:cubicBezTo>
                  <a:cubicBezTo>
                    <a:pt x="280" y="40"/>
                    <a:pt x="280" y="40"/>
                    <a:pt x="280" y="40"/>
                  </a:cubicBezTo>
                  <a:cubicBezTo>
                    <a:pt x="280" y="39"/>
                    <a:pt x="280" y="39"/>
                    <a:pt x="280" y="39"/>
                  </a:cubicBezTo>
                  <a:cubicBezTo>
                    <a:pt x="279" y="39"/>
                    <a:pt x="278" y="40"/>
                    <a:pt x="278" y="41"/>
                  </a:cubicBezTo>
                  <a:cubicBezTo>
                    <a:pt x="277" y="41"/>
                    <a:pt x="277" y="41"/>
                    <a:pt x="277" y="41"/>
                  </a:cubicBezTo>
                  <a:cubicBezTo>
                    <a:pt x="277" y="41"/>
                    <a:pt x="277" y="41"/>
                    <a:pt x="277" y="41"/>
                  </a:cubicBezTo>
                  <a:cubicBezTo>
                    <a:pt x="277" y="41"/>
                    <a:pt x="277" y="41"/>
                    <a:pt x="277" y="40"/>
                  </a:cubicBezTo>
                  <a:cubicBezTo>
                    <a:pt x="278" y="40"/>
                    <a:pt x="278" y="40"/>
                    <a:pt x="278" y="40"/>
                  </a:cubicBezTo>
                  <a:cubicBezTo>
                    <a:pt x="278" y="39"/>
                    <a:pt x="278" y="38"/>
                    <a:pt x="278" y="37"/>
                  </a:cubicBezTo>
                  <a:cubicBezTo>
                    <a:pt x="278" y="36"/>
                    <a:pt x="277" y="36"/>
                    <a:pt x="277" y="36"/>
                  </a:cubicBezTo>
                  <a:cubicBezTo>
                    <a:pt x="277" y="35"/>
                    <a:pt x="277" y="35"/>
                    <a:pt x="277" y="35"/>
                  </a:cubicBezTo>
                  <a:cubicBezTo>
                    <a:pt x="277" y="35"/>
                    <a:pt x="277" y="34"/>
                    <a:pt x="277" y="33"/>
                  </a:cubicBezTo>
                  <a:cubicBezTo>
                    <a:pt x="278" y="33"/>
                    <a:pt x="278" y="32"/>
                    <a:pt x="278" y="31"/>
                  </a:cubicBezTo>
                  <a:cubicBezTo>
                    <a:pt x="278" y="29"/>
                    <a:pt x="278" y="28"/>
                    <a:pt x="278" y="27"/>
                  </a:cubicBezTo>
                  <a:cubicBezTo>
                    <a:pt x="278" y="27"/>
                    <a:pt x="279" y="26"/>
                    <a:pt x="278" y="25"/>
                  </a:cubicBezTo>
                  <a:cubicBezTo>
                    <a:pt x="278" y="24"/>
                    <a:pt x="277" y="24"/>
                    <a:pt x="277" y="24"/>
                  </a:cubicBezTo>
                  <a:cubicBezTo>
                    <a:pt x="277" y="22"/>
                    <a:pt x="276" y="20"/>
                    <a:pt x="275" y="18"/>
                  </a:cubicBezTo>
                  <a:cubicBezTo>
                    <a:pt x="275" y="18"/>
                    <a:pt x="275" y="18"/>
                    <a:pt x="275" y="18"/>
                  </a:cubicBezTo>
                  <a:cubicBezTo>
                    <a:pt x="275" y="18"/>
                    <a:pt x="275" y="18"/>
                    <a:pt x="276" y="18"/>
                  </a:cubicBezTo>
                  <a:cubicBezTo>
                    <a:pt x="276" y="17"/>
                    <a:pt x="276" y="16"/>
                    <a:pt x="276" y="16"/>
                  </a:cubicBezTo>
                  <a:cubicBezTo>
                    <a:pt x="276" y="15"/>
                    <a:pt x="275" y="14"/>
                    <a:pt x="274" y="14"/>
                  </a:cubicBezTo>
                  <a:cubicBezTo>
                    <a:pt x="274" y="14"/>
                    <a:pt x="274" y="13"/>
                    <a:pt x="274" y="13"/>
                  </a:cubicBezTo>
                  <a:cubicBezTo>
                    <a:pt x="274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3"/>
                  </a:cubicBezTo>
                  <a:cubicBezTo>
                    <a:pt x="273" y="13"/>
                    <a:pt x="273" y="13"/>
                    <a:pt x="273" y="12"/>
                  </a:cubicBezTo>
                  <a:cubicBezTo>
                    <a:pt x="273" y="12"/>
                    <a:pt x="273" y="12"/>
                    <a:pt x="273" y="12"/>
                  </a:cubicBezTo>
                  <a:cubicBezTo>
                    <a:pt x="274" y="11"/>
                    <a:pt x="274" y="9"/>
                    <a:pt x="274" y="8"/>
                  </a:cubicBezTo>
                  <a:cubicBezTo>
                    <a:pt x="274" y="7"/>
                    <a:pt x="273" y="5"/>
                    <a:pt x="272" y="4"/>
                  </a:cubicBezTo>
                  <a:cubicBezTo>
                    <a:pt x="272" y="4"/>
                    <a:pt x="272" y="4"/>
                    <a:pt x="272" y="3"/>
                  </a:cubicBezTo>
                  <a:cubicBezTo>
                    <a:pt x="272" y="3"/>
                    <a:pt x="272" y="2"/>
                    <a:pt x="272" y="2"/>
                  </a:cubicBezTo>
                  <a:cubicBezTo>
                    <a:pt x="272" y="0"/>
                    <a:pt x="272" y="0"/>
                    <a:pt x="272" y="0"/>
                  </a:cubicBezTo>
                  <a:cubicBezTo>
                    <a:pt x="271" y="0"/>
                    <a:pt x="271" y="0"/>
                    <a:pt x="271" y="0"/>
                  </a:cubicBezTo>
                  <a:cubicBezTo>
                    <a:pt x="271" y="0"/>
                    <a:pt x="270" y="0"/>
                    <a:pt x="270" y="1"/>
                  </a:cubicBezTo>
                  <a:cubicBezTo>
                    <a:pt x="269" y="1"/>
                    <a:pt x="269" y="2"/>
                    <a:pt x="268" y="2"/>
                  </a:cubicBezTo>
                  <a:cubicBezTo>
                    <a:pt x="268" y="2"/>
                    <a:pt x="268" y="2"/>
                    <a:pt x="268" y="2"/>
                  </a:cubicBezTo>
                  <a:cubicBezTo>
                    <a:pt x="268" y="2"/>
                    <a:pt x="268" y="2"/>
                    <a:pt x="268" y="2"/>
                  </a:cubicBezTo>
                  <a:cubicBezTo>
                    <a:pt x="267" y="2"/>
                    <a:pt x="267" y="2"/>
                    <a:pt x="267" y="2"/>
                  </a:cubicBezTo>
                  <a:cubicBezTo>
                    <a:pt x="267" y="2"/>
                    <a:pt x="267" y="2"/>
                    <a:pt x="267" y="2"/>
                  </a:cubicBezTo>
                  <a:cubicBezTo>
                    <a:pt x="266" y="3"/>
                    <a:pt x="266" y="4"/>
                    <a:pt x="266" y="5"/>
                  </a:cubicBezTo>
                  <a:cubicBezTo>
                    <a:pt x="266" y="7"/>
                    <a:pt x="266" y="8"/>
                    <a:pt x="265" y="9"/>
                  </a:cubicBezTo>
                  <a:cubicBezTo>
                    <a:pt x="265" y="10"/>
                    <a:pt x="265" y="10"/>
                    <a:pt x="265" y="10"/>
                  </a:cubicBezTo>
                  <a:cubicBezTo>
                    <a:pt x="265" y="10"/>
                    <a:pt x="264" y="11"/>
                    <a:pt x="264" y="12"/>
                  </a:cubicBezTo>
                  <a:cubicBezTo>
                    <a:pt x="264" y="13"/>
                    <a:pt x="264" y="13"/>
                    <a:pt x="264" y="13"/>
                  </a:cubicBezTo>
                  <a:cubicBezTo>
                    <a:pt x="264" y="13"/>
                    <a:pt x="264" y="13"/>
                    <a:pt x="264" y="13"/>
                  </a:cubicBezTo>
                  <a:cubicBezTo>
                    <a:pt x="264" y="13"/>
                    <a:pt x="264" y="13"/>
                    <a:pt x="264" y="13"/>
                  </a:cubicBezTo>
                  <a:cubicBezTo>
                    <a:pt x="263" y="13"/>
                    <a:pt x="262" y="14"/>
                    <a:pt x="262" y="15"/>
                  </a:cubicBezTo>
                  <a:cubicBezTo>
                    <a:pt x="261" y="16"/>
                    <a:pt x="261" y="16"/>
                    <a:pt x="261" y="17"/>
                  </a:cubicBezTo>
                  <a:cubicBezTo>
                    <a:pt x="261" y="17"/>
                    <a:pt x="261" y="17"/>
                    <a:pt x="261" y="18"/>
                  </a:cubicBezTo>
                  <a:cubicBezTo>
                    <a:pt x="261" y="18"/>
                    <a:pt x="261" y="18"/>
                    <a:pt x="261" y="19"/>
                  </a:cubicBezTo>
                  <a:cubicBezTo>
                    <a:pt x="261" y="19"/>
                    <a:pt x="260" y="20"/>
                    <a:pt x="260" y="21"/>
                  </a:cubicBezTo>
                  <a:cubicBezTo>
                    <a:pt x="260" y="22"/>
                    <a:pt x="261" y="22"/>
                    <a:pt x="261" y="23"/>
                  </a:cubicBezTo>
                  <a:cubicBezTo>
                    <a:pt x="259" y="23"/>
                    <a:pt x="259" y="25"/>
                    <a:pt x="259" y="26"/>
                  </a:cubicBezTo>
                  <a:cubicBezTo>
                    <a:pt x="259" y="26"/>
                    <a:pt x="259" y="26"/>
                    <a:pt x="259" y="26"/>
                  </a:cubicBezTo>
                  <a:cubicBezTo>
                    <a:pt x="258" y="27"/>
                    <a:pt x="258" y="28"/>
                    <a:pt x="258" y="29"/>
                  </a:cubicBezTo>
                  <a:cubicBezTo>
                    <a:pt x="258" y="29"/>
                    <a:pt x="259" y="29"/>
                    <a:pt x="259" y="30"/>
                  </a:cubicBezTo>
                  <a:cubicBezTo>
                    <a:pt x="259" y="30"/>
                    <a:pt x="259" y="30"/>
                    <a:pt x="259" y="30"/>
                  </a:cubicBezTo>
                  <a:cubicBezTo>
                    <a:pt x="258" y="30"/>
                    <a:pt x="257" y="31"/>
                    <a:pt x="257" y="32"/>
                  </a:cubicBezTo>
                  <a:cubicBezTo>
                    <a:pt x="257" y="32"/>
                    <a:pt x="257" y="32"/>
                    <a:pt x="257" y="32"/>
                  </a:cubicBezTo>
                  <a:cubicBezTo>
                    <a:pt x="257" y="33"/>
                    <a:pt x="256" y="35"/>
                    <a:pt x="257" y="37"/>
                  </a:cubicBezTo>
                  <a:cubicBezTo>
                    <a:pt x="257" y="37"/>
                    <a:pt x="257" y="38"/>
                    <a:pt x="257" y="38"/>
                  </a:cubicBezTo>
                  <a:cubicBezTo>
                    <a:pt x="257" y="39"/>
                    <a:pt x="257" y="39"/>
                    <a:pt x="257" y="39"/>
                  </a:cubicBezTo>
                  <a:cubicBezTo>
                    <a:pt x="257" y="40"/>
                    <a:pt x="257" y="40"/>
                    <a:pt x="257" y="41"/>
                  </a:cubicBezTo>
                  <a:cubicBezTo>
                    <a:pt x="256" y="42"/>
                    <a:pt x="257" y="44"/>
                    <a:pt x="257" y="45"/>
                  </a:cubicBezTo>
                  <a:cubicBezTo>
                    <a:pt x="257" y="46"/>
                    <a:pt x="257" y="47"/>
                    <a:pt x="257" y="47"/>
                  </a:cubicBezTo>
                  <a:cubicBezTo>
                    <a:pt x="257" y="48"/>
                    <a:pt x="257" y="48"/>
                    <a:pt x="257" y="48"/>
                  </a:cubicBezTo>
                  <a:cubicBezTo>
                    <a:pt x="256" y="49"/>
                    <a:pt x="256" y="49"/>
                    <a:pt x="256" y="50"/>
                  </a:cubicBezTo>
                  <a:cubicBezTo>
                    <a:pt x="256" y="50"/>
                    <a:pt x="256" y="50"/>
                    <a:pt x="256" y="50"/>
                  </a:cubicBezTo>
                  <a:cubicBezTo>
                    <a:pt x="256" y="50"/>
                    <a:pt x="256" y="50"/>
                    <a:pt x="256" y="50"/>
                  </a:cubicBezTo>
                  <a:cubicBezTo>
                    <a:pt x="255" y="51"/>
                    <a:pt x="255" y="51"/>
                    <a:pt x="254" y="52"/>
                  </a:cubicBezTo>
                  <a:cubicBezTo>
                    <a:pt x="254" y="53"/>
                    <a:pt x="254" y="54"/>
                    <a:pt x="254" y="54"/>
                  </a:cubicBezTo>
                  <a:cubicBezTo>
                    <a:pt x="254" y="55"/>
                    <a:pt x="254" y="55"/>
                    <a:pt x="254" y="55"/>
                  </a:cubicBezTo>
                  <a:cubicBezTo>
                    <a:pt x="253" y="56"/>
                    <a:pt x="253" y="56"/>
                    <a:pt x="253" y="57"/>
                  </a:cubicBezTo>
                  <a:cubicBezTo>
                    <a:pt x="253" y="58"/>
                    <a:pt x="253" y="58"/>
                    <a:pt x="253" y="59"/>
                  </a:cubicBezTo>
                  <a:cubicBezTo>
                    <a:pt x="253" y="59"/>
                    <a:pt x="253" y="60"/>
                    <a:pt x="252" y="60"/>
                  </a:cubicBezTo>
                  <a:cubicBezTo>
                    <a:pt x="252" y="61"/>
                    <a:pt x="252" y="61"/>
                    <a:pt x="252" y="61"/>
                  </a:cubicBezTo>
                  <a:cubicBezTo>
                    <a:pt x="251" y="62"/>
                    <a:pt x="251" y="63"/>
                    <a:pt x="251" y="63"/>
                  </a:cubicBezTo>
                  <a:cubicBezTo>
                    <a:pt x="251" y="64"/>
                    <a:pt x="250" y="64"/>
                    <a:pt x="250" y="65"/>
                  </a:cubicBezTo>
                  <a:cubicBezTo>
                    <a:pt x="250" y="65"/>
                    <a:pt x="250" y="66"/>
                    <a:pt x="249" y="66"/>
                  </a:cubicBezTo>
                  <a:cubicBezTo>
                    <a:pt x="249" y="66"/>
                    <a:pt x="249" y="66"/>
                    <a:pt x="249" y="66"/>
                  </a:cubicBezTo>
                  <a:cubicBezTo>
                    <a:pt x="249" y="66"/>
                    <a:pt x="249" y="67"/>
                    <a:pt x="248" y="67"/>
                  </a:cubicBezTo>
                  <a:cubicBezTo>
                    <a:pt x="248" y="68"/>
                    <a:pt x="248" y="68"/>
                    <a:pt x="248" y="68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8" y="69"/>
                    <a:pt x="248" y="69"/>
                    <a:pt x="248" y="69"/>
                  </a:cubicBezTo>
                  <a:cubicBezTo>
                    <a:pt x="247" y="70"/>
                    <a:pt x="247" y="70"/>
                    <a:pt x="247" y="70"/>
                  </a:cubicBezTo>
                  <a:cubicBezTo>
                    <a:pt x="247" y="70"/>
                    <a:pt x="247" y="71"/>
                    <a:pt x="246" y="71"/>
                  </a:cubicBezTo>
                  <a:cubicBezTo>
                    <a:pt x="246" y="72"/>
                    <a:pt x="246" y="73"/>
                    <a:pt x="245" y="73"/>
                  </a:cubicBezTo>
                  <a:cubicBezTo>
                    <a:pt x="244" y="74"/>
                    <a:pt x="244" y="74"/>
                    <a:pt x="244" y="74"/>
                  </a:cubicBezTo>
                  <a:cubicBezTo>
                    <a:pt x="244" y="74"/>
                    <a:pt x="243" y="74"/>
                    <a:pt x="243" y="75"/>
                  </a:cubicBezTo>
                  <a:cubicBezTo>
                    <a:pt x="243" y="75"/>
                    <a:pt x="243" y="75"/>
                    <a:pt x="242" y="75"/>
                  </a:cubicBezTo>
                  <a:cubicBezTo>
                    <a:pt x="242" y="75"/>
                    <a:pt x="242" y="75"/>
                    <a:pt x="241" y="75"/>
                  </a:cubicBezTo>
                  <a:cubicBezTo>
                    <a:pt x="241" y="75"/>
                    <a:pt x="241" y="75"/>
                    <a:pt x="241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40" y="75"/>
                    <a:pt x="240" y="75"/>
                    <a:pt x="240" y="75"/>
                  </a:cubicBezTo>
                  <a:cubicBezTo>
                    <a:pt x="239" y="74"/>
                    <a:pt x="239" y="74"/>
                    <a:pt x="238" y="74"/>
                  </a:cubicBezTo>
                  <a:cubicBezTo>
                    <a:pt x="238" y="74"/>
                    <a:pt x="238" y="73"/>
                    <a:pt x="238" y="73"/>
                  </a:cubicBezTo>
                  <a:cubicBezTo>
                    <a:pt x="237" y="73"/>
                    <a:pt x="237" y="73"/>
                    <a:pt x="237" y="72"/>
                  </a:cubicBezTo>
                  <a:cubicBezTo>
                    <a:pt x="237" y="72"/>
                    <a:pt x="237" y="72"/>
                    <a:pt x="236" y="72"/>
                  </a:cubicBezTo>
                  <a:cubicBezTo>
                    <a:pt x="236" y="71"/>
                    <a:pt x="236" y="71"/>
                    <a:pt x="236" y="71"/>
                  </a:cubicBezTo>
                  <a:cubicBezTo>
                    <a:pt x="236" y="71"/>
                    <a:pt x="235" y="70"/>
                    <a:pt x="235" y="70"/>
                  </a:cubicBezTo>
                  <a:cubicBezTo>
                    <a:pt x="235" y="70"/>
                    <a:pt x="235" y="69"/>
                    <a:pt x="235" y="69"/>
                  </a:cubicBezTo>
                  <a:cubicBezTo>
                    <a:pt x="235" y="67"/>
                    <a:pt x="234" y="67"/>
                    <a:pt x="233" y="66"/>
                  </a:cubicBezTo>
                  <a:cubicBezTo>
                    <a:pt x="232" y="65"/>
                    <a:pt x="231" y="65"/>
                    <a:pt x="229" y="65"/>
                  </a:cubicBezTo>
                  <a:cubicBezTo>
                    <a:pt x="229" y="65"/>
                    <a:pt x="228" y="64"/>
                    <a:pt x="228" y="64"/>
                  </a:cubicBezTo>
                  <a:cubicBezTo>
                    <a:pt x="227" y="64"/>
                    <a:pt x="227" y="64"/>
                    <a:pt x="227" y="63"/>
                  </a:cubicBezTo>
                  <a:cubicBezTo>
                    <a:pt x="227" y="63"/>
                    <a:pt x="227" y="63"/>
                    <a:pt x="226" y="62"/>
                  </a:cubicBezTo>
                  <a:cubicBezTo>
                    <a:pt x="226" y="62"/>
                    <a:pt x="226" y="61"/>
                    <a:pt x="226" y="61"/>
                  </a:cubicBezTo>
                  <a:cubicBezTo>
                    <a:pt x="225" y="60"/>
                    <a:pt x="224" y="59"/>
                    <a:pt x="223" y="59"/>
                  </a:cubicBezTo>
                  <a:cubicBezTo>
                    <a:pt x="222" y="59"/>
                    <a:pt x="222" y="58"/>
                    <a:pt x="222" y="58"/>
                  </a:cubicBezTo>
                  <a:cubicBezTo>
                    <a:pt x="221" y="57"/>
                    <a:pt x="221" y="56"/>
                    <a:pt x="220" y="55"/>
                  </a:cubicBezTo>
                  <a:cubicBezTo>
                    <a:pt x="219" y="55"/>
                    <a:pt x="219" y="55"/>
                    <a:pt x="219" y="55"/>
                  </a:cubicBezTo>
                  <a:cubicBezTo>
                    <a:pt x="219" y="55"/>
                    <a:pt x="218" y="55"/>
                    <a:pt x="218" y="55"/>
                  </a:cubicBezTo>
                  <a:cubicBezTo>
                    <a:pt x="218" y="55"/>
                    <a:pt x="218" y="54"/>
                    <a:pt x="217" y="54"/>
                  </a:cubicBezTo>
                  <a:cubicBezTo>
                    <a:pt x="217" y="54"/>
                    <a:pt x="217" y="53"/>
                    <a:pt x="217" y="53"/>
                  </a:cubicBezTo>
                  <a:cubicBezTo>
                    <a:pt x="216" y="53"/>
                    <a:pt x="216" y="53"/>
                    <a:pt x="216" y="52"/>
                  </a:cubicBezTo>
                  <a:cubicBezTo>
                    <a:pt x="216" y="52"/>
                    <a:pt x="215" y="52"/>
                    <a:pt x="215" y="52"/>
                  </a:cubicBezTo>
                  <a:cubicBezTo>
                    <a:pt x="215" y="52"/>
                    <a:pt x="215" y="51"/>
                    <a:pt x="215" y="51"/>
                  </a:cubicBezTo>
                  <a:cubicBezTo>
                    <a:pt x="215" y="51"/>
                    <a:pt x="215" y="51"/>
                    <a:pt x="215" y="51"/>
                  </a:cubicBezTo>
                  <a:cubicBezTo>
                    <a:pt x="214" y="49"/>
                    <a:pt x="213" y="49"/>
                    <a:pt x="212" y="48"/>
                  </a:cubicBezTo>
                  <a:cubicBezTo>
                    <a:pt x="212" y="48"/>
                    <a:pt x="211" y="48"/>
                    <a:pt x="211" y="47"/>
                  </a:cubicBezTo>
                  <a:cubicBezTo>
                    <a:pt x="210" y="48"/>
                    <a:pt x="210" y="48"/>
                    <a:pt x="210" y="48"/>
                  </a:cubicBezTo>
                  <a:cubicBezTo>
                    <a:pt x="211" y="47"/>
                    <a:pt x="211" y="47"/>
                    <a:pt x="211" y="47"/>
                  </a:cubicBezTo>
                  <a:cubicBezTo>
                    <a:pt x="211" y="46"/>
                    <a:pt x="211" y="45"/>
                    <a:pt x="210" y="45"/>
                  </a:cubicBezTo>
                  <a:cubicBezTo>
                    <a:pt x="210" y="45"/>
                    <a:pt x="210" y="45"/>
                    <a:pt x="210" y="45"/>
                  </a:cubicBezTo>
                  <a:cubicBezTo>
                    <a:pt x="210" y="44"/>
                    <a:pt x="210" y="44"/>
                    <a:pt x="210" y="44"/>
                  </a:cubicBezTo>
                  <a:cubicBezTo>
                    <a:pt x="211" y="44"/>
                    <a:pt x="211" y="43"/>
                    <a:pt x="211" y="43"/>
                  </a:cubicBezTo>
                  <a:cubicBezTo>
                    <a:pt x="211" y="43"/>
                    <a:pt x="212" y="43"/>
                    <a:pt x="212" y="42"/>
                  </a:cubicBezTo>
                  <a:cubicBezTo>
                    <a:pt x="212" y="42"/>
                    <a:pt x="212" y="42"/>
                    <a:pt x="213" y="42"/>
                  </a:cubicBezTo>
                  <a:cubicBezTo>
                    <a:pt x="213" y="41"/>
                    <a:pt x="214" y="40"/>
                    <a:pt x="214" y="40"/>
                  </a:cubicBezTo>
                  <a:cubicBezTo>
                    <a:pt x="214" y="39"/>
                    <a:pt x="214" y="39"/>
                    <a:pt x="214" y="39"/>
                  </a:cubicBezTo>
                  <a:cubicBezTo>
                    <a:pt x="215" y="38"/>
                    <a:pt x="215" y="38"/>
                    <a:pt x="215" y="36"/>
                  </a:cubicBezTo>
                  <a:cubicBezTo>
                    <a:pt x="215" y="35"/>
                    <a:pt x="215" y="35"/>
                    <a:pt x="216" y="35"/>
                  </a:cubicBezTo>
                  <a:cubicBezTo>
                    <a:pt x="216" y="34"/>
                    <a:pt x="217" y="33"/>
                    <a:pt x="216" y="32"/>
                  </a:cubicBezTo>
                  <a:cubicBezTo>
                    <a:pt x="216" y="32"/>
                    <a:pt x="216" y="31"/>
                    <a:pt x="215" y="31"/>
                  </a:cubicBezTo>
                  <a:cubicBezTo>
                    <a:pt x="215" y="31"/>
                    <a:pt x="215" y="31"/>
                    <a:pt x="215" y="31"/>
                  </a:cubicBezTo>
                  <a:cubicBezTo>
                    <a:pt x="215" y="31"/>
                    <a:pt x="216" y="30"/>
                    <a:pt x="216" y="30"/>
                  </a:cubicBezTo>
                  <a:cubicBezTo>
                    <a:pt x="216" y="29"/>
                    <a:pt x="216" y="29"/>
                    <a:pt x="217" y="29"/>
                  </a:cubicBezTo>
                  <a:cubicBezTo>
                    <a:pt x="217" y="29"/>
                    <a:pt x="217" y="29"/>
                    <a:pt x="217" y="29"/>
                  </a:cubicBezTo>
                  <a:cubicBezTo>
                    <a:pt x="217" y="30"/>
                    <a:pt x="218" y="30"/>
                    <a:pt x="218" y="30"/>
                  </a:cubicBezTo>
                  <a:cubicBezTo>
                    <a:pt x="219" y="30"/>
                    <a:pt x="220" y="29"/>
                    <a:pt x="220" y="29"/>
                  </a:cubicBezTo>
                  <a:cubicBezTo>
                    <a:pt x="220" y="28"/>
                    <a:pt x="220" y="28"/>
                    <a:pt x="221" y="28"/>
                  </a:cubicBezTo>
                  <a:cubicBezTo>
                    <a:pt x="221" y="27"/>
                    <a:pt x="221" y="27"/>
                    <a:pt x="221" y="27"/>
                  </a:cubicBezTo>
                  <a:cubicBezTo>
                    <a:pt x="222" y="26"/>
                    <a:pt x="222" y="26"/>
                    <a:pt x="222" y="25"/>
                  </a:cubicBezTo>
                  <a:cubicBezTo>
                    <a:pt x="222" y="24"/>
                    <a:pt x="222" y="24"/>
                    <a:pt x="222" y="23"/>
                  </a:cubicBezTo>
                  <a:cubicBezTo>
                    <a:pt x="222" y="23"/>
                    <a:pt x="223" y="22"/>
                    <a:pt x="223" y="22"/>
                  </a:cubicBezTo>
                  <a:cubicBezTo>
                    <a:pt x="223" y="21"/>
                    <a:pt x="223" y="21"/>
                    <a:pt x="223" y="21"/>
                  </a:cubicBezTo>
                  <a:cubicBezTo>
                    <a:pt x="223" y="20"/>
                    <a:pt x="223" y="20"/>
                    <a:pt x="223" y="20"/>
                  </a:cubicBezTo>
                  <a:cubicBezTo>
                    <a:pt x="224" y="21"/>
                    <a:pt x="224" y="21"/>
                    <a:pt x="224" y="21"/>
                  </a:cubicBezTo>
                  <a:cubicBezTo>
                    <a:pt x="224" y="20"/>
                    <a:pt x="226" y="19"/>
                    <a:pt x="225" y="17"/>
                  </a:cubicBezTo>
                  <a:cubicBezTo>
                    <a:pt x="225" y="16"/>
                    <a:pt x="224" y="16"/>
                    <a:pt x="223" y="15"/>
                  </a:cubicBezTo>
                  <a:cubicBezTo>
                    <a:pt x="223" y="15"/>
                    <a:pt x="223" y="15"/>
                    <a:pt x="223" y="15"/>
                  </a:cubicBezTo>
                  <a:cubicBezTo>
                    <a:pt x="223" y="14"/>
                    <a:pt x="223" y="13"/>
                    <a:pt x="223" y="13"/>
                  </a:cubicBezTo>
                  <a:cubicBezTo>
                    <a:pt x="222" y="12"/>
                    <a:pt x="221" y="12"/>
                    <a:pt x="220" y="13"/>
                  </a:cubicBezTo>
                  <a:cubicBezTo>
                    <a:pt x="219" y="14"/>
                    <a:pt x="218" y="14"/>
                    <a:pt x="218" y="15"/>
                  </a:cubicBezTo>
                  <a:cubicBezTo>
                    <a:pt x="218" y="15"/>
                    <a:pt x="218" y="15"/>
                    <a:pt x="217" y="14"/>
                  </a:cubicBezTo>
                  <a:cubicBezTo>
                    <a:pt x="217" y="14"/>
                    <a:pt x="217" y="14"/>
                    <a:pt x="217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13"/>
                    <a:pt x="216" y="13"/>
                    <a:pt x="216" y="13"/>
                  </a:cubicBezTo>
                  <a:cubicBezTo>
                    <a:pt x="216" y="13"/>
                    <a:pt x="215" y="13"/>
                    <a:pt x="215" y="13"/>
                  </a:cubicBezTo>
                  <a:cubicBezTo>
                    <a:pt x="214" y="13"/>
                    <a:pt x="213" y="14"/>
                    <a:pt x="212" y="14"/>
                  </a:cubicBezTo>
                  <a:cubicBezTo>
                    <a:pt x="212" y="15"/>
                    <a:pt x="211" y="15"/>
                    <a:pt x="211" y="15"/>
                  </a:cubicBezTo>
                  <a:cubicBezTo>
                    <a:pt x="210" y="15"/>
                    <a:pt x="210" y="15"/>
                    <a:pt x="209" y="14"/>
                  </a:cubicBezTo>
                  <a:cubicBezTo>
                    <a:pt x="209" y="14"/>
                    <a:pt x="209" y="14"/>
                    <a:pt x="209" y="14"/>
                  </a:cubicBezTo>
                  <a:cubicBezTo>
                    <a:pt x="208" y="14"/>
                    <a:pt x="208" y="13"/>
                    <a:pt x="208" y="13"/>
                  </a:cubicBezTo>
                  <a:cubicBezTo>
                    <a:pt x="207" y="12"/>
                    <a:pt x="206" y="13"/>
                    <a:pt x="205" y="13"/>
                  </a:cubicBezTo>
                  <a:cubicBezTo>
                    <a:pt x="205" y="13"/>
                    <a:pt x="205" y="13"/>
                    <a:pt x="205" y="13"/>
                  </a:cubicBezTo>
                  <a:cubicBezTo>
                    <a:pt x="205" y="13"/>
                    <a:pt x="205" y="13"/>
                    <a:pt x="204" y="13"/>
                  </a:cubicBezTo>
                  <a:cubicBezTo>
                    <a:pt x="204" y="13"/>
                    <a:pt x="203" y="13"/>
                    <a:pt x="203" y="13"/>
                  </a:cubicBezTo>
                  <a:cubicBezTo>
                    <a:pt x="203" y="13"/>
                    <a:pt x="202" y="12"/>
                    <a:pt x="202" y="12"/>
                  </a:cubicBezTo>
                  <a:cubicBezTo>
                    <a:pt x="202" y="12"/>
                    <a:pt x="202" y="11"/>
                    <a:pt x="201" y="11"/>
                  </a:cubicBezTo>
                  <a:cubicBezTo>
                    <a:pt x="200" y="10"/>
                    <a:pt x="199" y="11"/>
                    <a:pt x="199" y="11"/>
                  </a:cubicBezTo>
                  <a:cubicBezTo>
                    <a:pt x="199" y="11"/>
                    <a:pt x="198" y="11"/>
                    <a:pt x="198" y="11"/>
                  </a:cubicBezTo>
                  <a:cubicBezTo>
                    <a:pt x="198" y="11"/>
                    <a:pt x="198" y="11"/>
                    <a:pt x="198" y="11"/>
                  </a:cubicBezTo>
                  <a:cubicBezTo>
                    <a:pt x="198" y="11"/>
                    <a:pt x="197" y="10"/>
                    <a:pt x="196" y="10"/>
                  </a:cubicBezTo>
                  <a:cubicBezTo>
                    <a:pt x="196" y="10"/>
                    <a:pt x="196" y="10"/>
                    <a:pt x="196" y="10"/>
                  </a:cubicBezTo>
                  <a:cubicBezTo>
                    <a:pt x="196" y="10"/>
                    <a:pt x="196" y="10"/>
                    <a:pt x="195" y="10"/>
                  </a:cubicBezTo>
                  <a:cubicBezTo>
                    <a:pt x="195" y="10"/>
                    <a:pt x="195" y="10"/>
                    <a:pt x="195" y="10"/>
                  </a:cubicBezTo>
                  <a:cubicBezTo>
                    <a:pt x="195" y="9"/>
                    <a:pt x="195" y="9"/>
                    <a:pt x="195" y="9"/>
                  </a:cubicBezTo>
                  <a:cubicBezTo>
                    <a:pt x="195" y="8"/>
                    <a:pt x="195" y="7"/>
                    <a:pt x="194" y="7"/>
                  </a:cubicBezTo>
                  <a:cubicBezTo>
                    <a:pt x="193" y="7"/>
                    <a:pt x="193" y="7"/>
                    <a:pt x="192" y="7"/>
                  </a:cubicBezTo>
                  <a:cubicBezTo>
                    <a:pt x="192" y="7"/>
                    <a:pt x="192" y="7"/>
                    <a:pt x="192" y="7"/>
                  </a:cubicBezTo>
                  <a:cubicBezTo>
                    <a:pt x="192" y="7"/>
                    <a:pt x="192" y="6"/>
                    <a:pt x="191" y="6"/>
                  </a:cubicBezTo>
                  <a:cubicBezTo>
                    <a:pt x="191" y="5"/>
                    <a:pt x="189" y="4"/>
                    <a:pt x="188" y="4"/>
                  </a:cubicBezTo>
                  <a:cubicBezTo>
                    <a:pt x="187" y="4"/>
                    <a:pt x="187" y="4"/>
                    <a:pt x="187" y="4"/>
                  </a:cubicBezTo>
                  <a:cubicBezTo>
                    <a:pt x="186" y="3"/>
                    <a:pt x="185" y="4"/>
                    <a:pt x="183" y="4"/>
                  </a:cubicBezTo>
                  <a:cubicBezTo>
                    <a:pt x="183" y="5"/>
                    <a:pt x="182" y="5"/>
                    <a:pt x="182" y="6"/>
                  </a:cubicBezTo>
                  <a:cubicBezTo>
                    <a:pt x="182" y="7"/>
                    <a:pt x="183" y="8"/>
                    <a:pt x="184" y="8"/>
                  </a:cubicBezTo>
                  <a:cubicBezTo>
                    <a:pt x="184" y="9"/>
                    <a:pt x="184" y="9"/>
                    <a:pt x="184" y="10"/>
                  </a:cubicBezTo>
                  <a:cubicBezTo>
                    <a:pt x="185" y="10"/>
                    <a:pt x="185" y="10"/>
                    <a:pt x="185" y="10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6" y="11"/>
                    <a:pt x="187" y="11"/>
                    <a:pt x="187" y="11"/>
                  </a:cubicBezTo>
                  <a:cubicBezTo>
                    <a:pt x="188" y="10"/>
                    <a:pt x="188" y="10"/>
                    <a:pt x="188" y="10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9" y="11"/>
                    <a:pt x="189" y="11"/>
                    <a:pt x="189" y="11"/>
                  </a:cubicBezTo>
                  <a:cubicBezTo>
                    <a:pt x="189" y="12"/>
                    <a:pt x="189" y="12"/>
                    <a:pt x="189" y="12"/>
                  </a:cubicBezTo>
                  <a:cubicBezTo>
                    <a:pt x="189" y="12"/>
                    <a:pt x="188" y="13"/>
                    <a:pt x="189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8" y="13"/>
                    <a:pt x="187" y="13"/>
                    <a:pt x="187" y="13"/>
                  </a:cubicBezTo>
                  <a:cubicBezTo>
                    <a:pt x="187" y="13"/>
                    <a:pt x="186" y="14"/>
                    <a:pt x="186" y="14"/>
                  </a:cubicBezTo>
                  <a:cubicBezTo>
                    <a:pt x="185" y="14"/>
                    <a:pt x="185" y="14"/>
                    <a:pt x="185" y="14"/>
                  </a:cubicBezTo>
                  <a:cubicBezTo>
                    <a:pt x="184" y="14"/>
                    <a:pt x="183" y="14"/>
                    <a:pt x="182" y="14"/>
                  </a:cubicBezTo>
                  <a:cubicBezTo>
                    <a:pt x="182" y="14"/>
                    <a:pt x="182" y="14"/>
                    <a:pt x="182" y="14"/>
                  </a:cubicBezTo>
                  <a:cubicBezTo>
                    <a:pt x="182" y="14"/>
                    <a:pt x="182" y="14"/>
                    <a:pt x="182" y="14"/>
                  </a:cubicBezTo>
                  <a:cubicBezTo>
                    <a:pt x="182" y="14"/>
                    <a:pt x="182" y="14"/>
                    <a:pt x="181" y="13"/>
                  </a:cubicBezTo>
                  <a:cubicBezTo>
                    <a:pt x="180" y="12"/>
                    <a:pt x="178" y="12"/>
                    <a:pt x="177" y="14"/>
                  </a:cubicBezTo>
                  <a:cubicBezTo>
                    <a:pt x="177" y="14"/>
                    <a:pt x="176" y="14"/>
                    <a:pt x="175" y="14"/>
                  </a:cubicBezTo>
                  <a:cubicBezTo>
                    <a:pt x="175" y="14"/>
                    <a:pt x="175" y="15"/>
                    <a:pt x="175" y="15"/>
                  </a:cubicBezTo>
                  <a:cubicBezTo>
                    <a:pt x="174" y="16"/>
                    <a:pt x="175" y="16"/>
                    <a:pt x="175" y="17"/>
                  </a:cubicBezTo>
                  <a:cubicBezTo>
                    <a:pt x="174" y="16"/>
                    <a:pt x="174" y="16"/>
                    <a:pt x="173" y="16"/>
                  </a:cubicBezTo>
                  <a:cubicBezTo>
                    <a:pt x="173" y="16"/>
                    <a:pt x="172" y="16"/>
                    <a:pt x="172" y="17"/>
                  </a:cubicBezTo>
                  <a:cubicBezTo>
                    <a:pt x="171" y="18"/>
                    <a:pt x="171" y="18"/>
                    <a:pt x="171" y="19"/>
                  </a:cubicBezTo>
                  <a:cubicBezTo>
                    <a:pt x="171" y="19"/>
                    <a:pt x="170" y="20"/>
                    <a:pt x="170" y="21"/>
                  </a:cubicBezTo>
                  <a:cubicBezTo>
                    <a:pt x="169" y="21"/>
                    <a:pt x="169" y="21"/>
                    <a:pt x="169" y="22"/>
                  </a:cubicBezTo>
                  <a:cubicBezTo>
                    <a:pt x="167" y="22"/>
                    <a:pt x="167" y="24"/>
                    <a:pt x="168" y="26"/>
                  </a:cubicBezTo>
                  <a:cubicBezTo>
                    <a:pt x="168" y="26"/>
                    <a:pt x="169" y="27"/>
                    <a:pt x="169" y="27"/>
                  </a:cubicBezTo>
                  <a:cubicBezTo>
                    <a:pt x="169" y="27"/>
                    <a:pt x="169" y="27"/>
                    <a:pt x="169" y="27"/>
                  </a:cubicBezTo>
                  <a:cubicBezTo>
                    <a:pt x="168" y="27"/>
                    <a:pt x="167" y="27"/>
                    <a:pt x="167" y="28"/>
                  </a:cubicBezTo>
                  <a:cubicBezTo>
                    <a:pt x="167" y="28"/>
                    <a:pt x="167" y="28"/>
                    <a:pt x="167" y="28"/>
                  </a:cubicBezTo>
                  <a:cubicBezTo>
                    <a:pt x="167" y="28"/>
                    <a:pt x="166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4" y="28"/>
                    <a:pt x="163" y="29"/>
                    <a:pt x="163" y="29"/>
                  </a:cubicBezTo>
                  <a:cubicBezTo>
                    <a:pt x="163" y="30"/>
                    <a:pt x="163" y="30"/>
                    <a:pt x="163" y="31"/>
                  </a:cubicBezTo>
                  <a:cubicBezTo>
                    <a:pt x="161" y="31"/>
                    <a:pt x="161" y="33"/>
                    <a:pt x="161" y="34"/>
                  </a:cubicBezTo>
                  <a:cubicBezTo>
                    <a:pt x="162" y="34"/>
                    <a:pt x="162" y="34"/>
                    <a:pt x="162" y="34"/>
                  </a:cubicBezTo>
                  <a:cubicBezTo>
                    <a:pt x="161" y="34"/>
                    <a:pt x="161" y="34"/>
                    <a:pt x="161" y="34"/>
                  </a:cubicBezTo>
                  <a:cubicBezTo>
                    <a:pt x="161" y="34"/>
                    <a:pt x="161" y="35"/>
                    <a:pt x="160" y="35"/>
                  </a:cubicBezTo>
                  <a:cubicBezTo>
                    <a:pt x="160" y="36"/>
                    <a:pt x="159" y="37"/>
                    <a:pt x="159" y="38"/>
                  </a:cubicBezTo>
                  <a:cubicBezTo>
                    <a:pt x="158" y="38"/>
                    <a:pt x="158" y="40"/>
                    <a:pt x="159" y="41"/>
                  </a:cubicBezTo>
                  <a:cubicBezTo>
                    <a:pt x="160" y="42"/>
                    <a:pt x="160" y="42"/>
                    <a:pt x="161" y="42"/>
                  </a:cubicBezTo>
                  <a:cubicBezTo>
                    <a:pt x="161" y="42"/>
                    <a:pt x="161" y="42"/>
                    <a:pt x="161" y="42"/>
                  </a:cubicBezTo>
                  <a:cubicBezTo>
                    <a:pt x="161" y="42"/>
                    <a:pt x="161" y="42"/>
                    <a:pt x="161" y="43"/>
                  </a:cubicBezTo>
                  <a:cubicBezTo>
                    <a:pt x="161" y="43"/>
                    <a:pt x="161" y="43"/>
                    <a:pt x="161" y="43"/>
                  </a:cubicBezTo>
                  <a:cubicBezTo>
                    <a:pt x="160" y="42"/>
                    <a:pt x="159" y="42"/>
                    <a:pt x="158" y="43"/>
                  </a:cubicBezTo>
                  <a:cubicBezTo>
                    <a:pt x="158" y="43"/>
                    <a:pt x="158" y="43"/>
                    <a:pt x="157" y="43"/>
                  </a:cubicBezTo>
                  <a:cubicBezTo>
                    <a:pt x="156" y="42"/>
                    <a:pt x="155" y="42"/>
                    <a:pt x="154" y="42"/>
                  </a:cubicBezTo>
                  <a:cubicBezTo>
                    <a:pt x="154" y="42"/>
                    <a:pt x="154" y="42"/>
                    <a:pt x="154" y="42"/>
                  </a:cubicBezTo>
                  <a:cubicBezTo>
                    <a:pt x="153" y="42"/>
                    <a:pt x="152" y="42"/>
                    <a:pt x="152" y="43"/>
                  </a:cubicBezTo>
                  <a:cubicBezTo>
                    <a:pt x="151" y="43"/>
                    <a:pt x="151" y="44"/>
                    <a:pt x="152" y="44"/>
                  </a:cubicBezTo>
                  <a:cubicBezTo>
                    <a:pt x="151" y="45"/>
                    <a:pt x="151" y="45"/>
                    <a:pt x="151" y="45"/>
                  </a:cubicBezTo>
                  <a:cubicBezTo>
                    <a:pt x="151" y="45"/>
                    <a:pt x="150" y="46"/>
                    <a:pt x="150" y="47"/>
                  </a:cubicBezTo>
                  <a:cubicBezTo>
                    <a:pt x="150" y="47"/>
                    <a:pt x="149" y="47"/>
                    <a:pt x="149" y="47"/>
                  </a:cubicBezTo>
                  <a:cubicBezTo>
                    <a:pt x="150" y="47"/>
                    <a:pt x="150" y="46"/>
                    <a:pt x="150" y="46"/>
                  </a:cubicBezTo>
                  <a:cubicBezTo>
                    <a:pt x="150" y="45"/>
                    <a:pt x="150" y="45"/>
                    <a:pt x="150" y="45"/>
                  </a:cubicBezTo>
                  <a:cubicBezTo>
                    <a:pt x="150" y="45"/>
                    <a:pt x="150" y="44"/>
                    <a:pt x="150" y="44"/>
                  </a:cubicBezTo>
                  <a:cubicBezTo>
                    <a:pt x="150" y="44"/>
                    <a:pt x="150" y="44"/>
                    <a:pt x="150" y="44"/>
                  </a:cubicBezTo>
                  <a:cubicBezTo>
                    <a:pt x="150" y="44"/>
                    <a:pt x="151" y="43"/>
                    <a:pt x="151" y="41"/>
                  </a:cubicBezTo>
                  <a:cubicBezTo>
                    <a:pt x="151" y="40"/>
                    <a:pt x="150" y="40"/>
                    <a:pt x="149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8"/>
                    <a:pt x="148" y="38"/>
                  </a:cubicBezTo>
                  <a:cubicBezTo>
                    <a:pt x="148" y="38"/>
                    <a:pt x="148" y="37"/>
                    <a:pt x="148" y="36"/>
                  </a:cubicBezTo>
                  <a:cubicBezTo>
                    <a:pt x="148" y="36"/>
                    <a:pt x="148" y="35"/>
                    <a:pt x="147" y="35"/>
                  </a:cubicBezTo>
                  <a:cubicBezTo>
                    <a:pt x="147" y="35"/>
                    <a:pt x="147" y="34"/>
                    <a:pt x="147" y="34"/>
                  </a:cubicBezTo>
                  <a:cubicBezTo>
                    <a:pt x="147" y="34"/>
                    <a:pt x="147" y="34"/>
                    <a:pt x="147" y="34"/>
                  </a:cubicBezTo>
                  <a:cubicBezTo>
                    <a:pt x="147" y="33"/>
                    <a:pt x="146" y="32"/>
                    <a:pt x="145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3" y="32"/>
                  </a:cubicBezTo>
                  <a:cubicBezTo>
                    <a:pt x="143" y="31"/>
                    <a:pt x="143" y="31"/>
                    <a:pt x="142" y="30"/>
                  </a:cubicBezTo>
                  <a:cubicBezTo>
                    <a:pt x="141" y="29"/>
                    <a:pt x="140" y="30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8" y="32"/>
                    <a:pt x="138" y="32"/>
                  </a:cubicBezTo>
                  <a:cubicBezTo>
                    <a:pt x="137" y="32"/>
                    <a:pt x="137" y="32"/>
                    <a:pt x="137" y="33"/>
                  </a:cubicBezTo>
                  <a:cubicBezTo>
                    <a:pt x="137" y="32"/>
                    <a:pt x="136" y="32"/>
                    <a:pt x="136" y="31"/>
                  </a:cubicBezTo>
                  <a:cubicBezTo>
                    <a:pt x="136" y="31"/>
                    <a:pt x="135" y="31"/>
                    <a:pt x="134" y="31"/>
                  </a:cubicBezTo>
                  <a:cubicBezTo>
                    <a:pt x="134" y="31"/>
                    <a:pt x="133" y="31"/>
                    <a:pt x="133" y="32"/>
                  </a:cubicBezTo>
                  <a:cubicBezTo>
                    <a:pt x="132" y="32"/>
                    <a:pt x="132" y="33"/>
                    <a:pt x="132" y="34"/>
                  </a:cubicBezTo>
                  <a:cubicBezTo>
                    <a:pt x="132" y="35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7"/>
                    <a:pt x="134" y="37"/>
                    <a:pt x="134" y="38"/>
                  </a:cubicBezTo>
                  <a:cubicBezTo>
                    <a:pt x="133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5"/>
                    <a:pt x="131" y="34"/>
                    <a:pt x="130" y="34"/>
                  </a:cubicBezTo>
                  <a:cubicBezTo>
                    <a:pt x="129" y="34"/>
                    <a:pt x="129" y="35"/>
                    <a:pt x="128" y="36"/>
                  </a:cubicBezTo>
                  <a:cubicBezTo>
                    <a:pt x="128" y="36"/>
                    <a:pt x="128" y="37"/>
                    <a:pt x="128" y="37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7" y="38"/>
                  </a:cubicBezTo>
                  <a:cubicBezTo>
                    <a:pt x="126" y="39"/>
                    <a:pt x="125" y="39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4" y="40"/>
                    <a:pt x="124" y="41"/>
                  </a:cubicBezTo>
                  <a:cubicBezTo>
                    <a:pt x="123" y="41"/>
                    <a:pt x="123" y="42"/>
                    <a:pt x="123" y="42"/>
                  </a:cubicBezTo>
                  <a:cubicBezTo>
                    <a:pt x="123" y="43"/>
                    <a:pt x="124" y="44"/>
                    <a:pt x="124" y="44"/>
                  </a:cubicBezTo>
                  <a:cubicBezTo>
                    <a:pt x="124" y="44"/>
                    <a:pt x="123" y="44"/>
                    <a:pt x="122" y="45"/>
                  </a:cubicBezTo>
                  <a:cubicBezTo>
                    <a:pt x="121" y="45"/>
                    <a:pt x="121" y="46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1" y="47"/>
                    <a:pt x="121" y="47"/>
                  </a:cubicBezTo>
                  <a:cubicBezTo>
                    <a:pt x="121" y="47"/>
                    <a:pt x="120" y="47"/>
                    <a:pt x="119" y="48"/>
                  </a:cubicBezTo>
                  <a:cubicBezTo>
                    <a:pt x="119" y="48"/>
                    <a:pt x="119" y="48"/>
                    <a:pt x="119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8" y="48"/>
                    <a:pt x="116" y="48"/>
                    <a:pt x="116" y="52"/>
                  </a:cubicBezTo>
                  <a:cubicBezTo>
                    <a:pt x="116" y="53"/>
                    <a:pt x="116" y="54"/>
                    <a:pt x="117" y="55"/>
                  </a:cubicBezTo>
                  <a:cubicBezTo>
                    <a:pt x="117" y="55"/>
                    <a:pt x="116" y="56"/>
                    <a:pt x="116" y="57"/>
                  </a:cubicBezTo>
                  <a:cubicBezTo>
                    <a:pt x="116" y="57"/>
                    <a:pt x="116" y="57"/>
                    <a:pt x="116" y="57"/>
                  </a:cubicBezTo>
                  <a:cubicBezTo>
                    <a:pt x="116" y="57"/>
                    <a:pt x="115" y="57"/>
                    <a:pt x="114" y="56"/>
                  </a:cubicBezTo>
                  <a:cubicBezTo>
                    <a:pt x="114" y="56"/>
                    <a:pt x="114" y="56"/>
                    <a:pt x="113" y="56"/>
                  </a:cubicBezTo>
                  <a:cubicBezTo>
                    <a:pt x="113" y="55"/>
                    <a:pt x="113" y="55"/>
                    <a:pt x="112" y="55"/>
                  </a:cubicBezTo>
                  <a:cubicBezTo>
                    <a:pt x="111" y="54"/>
                    <a:pt x="111" y="54"/>
                    <a:pt x="111" y="54"/>
                  </a:cubicBezTo>
                  <a:cubicBezTo>
                    <a:pt x="110" y="54"/>
                    <a:pt x="110" y="55"/>
                    <a:pt x="109" y="56"/>
                  </a:cubicBezTo>
                  <a:cubicBezTo>
                    <a:pt x="109" y="56"/>
                    <a:pt x="109" y="56"/>
                    <a:pt x="109" y="57"/>
                  </a:cubicBezTo>
                  <a:cubicBezTo>
                    <a:pt x="109" y="56"/>
                    <a:pt x="109" y="56"/>
                    <a:pt x="108" y="56"/>
                  </a:cubicBezTo>
                  <a:cubicBezTo>
                    <a:pt x="108" y="56"/>
                    <a:pt x="107" y="55"/>
                    <a:pt x="107" y="55"/>
                  </a:cubicBezTo>
                  <a:cubicBezTo>
                    <a:pt x="105" y="55"/>
                    <a:pt x="104" y="57"/>
                    <a:pt x="103" y="57"/>
                  </a:cubicBezTo>
                  <a:cubicBezTo>
                    <a:pt x="103" y="57"/>
                    <a:pt x="103" y="58"/>
                    <a:pt x="103" y="58"/>
                  </a:cubicBezTo>
                  <a:cubicBezTo>
                    <a:pt x="103" y="58"/>
                    <a:pt x="102" y="58"/>
                    <a:pt x="102" y="59"/>
                  </a:cubicBezTo>
                  <a:cubicBezTo>
                    <a:pt x="102" y="60"/>
                    <a:pt x="102" y="60"/>
                    <a:pt x="102" y="61"/>
                  </a:cubicBezTo>
                  <a:cubicBezTo>
                    <a:pt x="101" y="61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99" y="63"/>
                    <a:pt x="98" y="63"/>
                    <a:pt x="97" y="64"/>
                  </a:cubicBezTo>
                  <a:cubicBezTo>
                    <a:pt x="97" y="65"/>
                    <a:pt x="97" y="66"/>
                    <a:pt x="98" y="67"/>
                  </a:cubicBezTo>
                  <a:cubicBezTo>
                    <a:pt x="98" y="67"/>
                    <a:pt x="98" y="67"/>
                    <a:pt x="98" y="67"/>
                  </a:cubicBezTo>
                  <a:cubicBezTo>
                    <a:pt x="97" y="67"/>
                    <a:pt x="96" y="68"/>
                    <a:pt x="96" y="70"/>
                  </a:cubicBezTo>
                  <a:cubicBezTo>
                    <a:pt x="97" y="71"/>
                    <a:pt x="97" y="72"/>
                    <a:pt x="97" y="72"/>
                  </a:cubicBezTo>
                  <a:cubicBezTo>
                    <a:pt x="98" y="73"/>
                    <a:pt x="98" y="73"/>
                    <a:pt x="98" y="74"/>
                  </a:cubicBezTo>
                  <a:cubicBezTo>
                    <a:pt x="98" y="74"/>
                    <a:pt x="98" y="74"/>
                    <a:pt x="97" y="74"/>
                  </a:cubicBezTo>
                  <a:cubicBezTo>
                    <a:pt x="97" y="74"/>
                    <a:pt x="97" y="75"/>
                    <a:pt x="97" y="75"/>
                  </a:cubicBezTo>
                  <a:cubicBezTo>
                    <a:pt x="96" y="75"/>
                    <a:pt x="96" y="76"/>
                    <a:pt x="96" y="76"/>
                  </a:cubicBezTo>
                  <a:cubicBezTo>
                    <a:pt x="95" y="76"/>
                    <a:pt x="95" y="76"/>
                    <a:pt x="95" y="76"/>
                  </a:cubicBezTo>
                  <a:cubicBezTo>
                    <a:pt x="95" y="77"/>
                    <a:pt x="95" y="77"/>
                    <a:pt x="94" y="77"/>
                  </a:cubicBezTo>
                  <a:cubicBezTo>
                    <a:pt x="94" y="77"/>
                    <a:pt x="94" y="77"/>
                    <a:pt x="93" y="78"/>
                  </a:cubicBezTo>
                  <a:cubicBezTo>
                    <a:pt x="93" y="78"/>
                    <a:pt x="93" y="79"/>
                    <a:pt x="92" y="79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2" y="79"/>
                    <a:pt x="92" y="79"/>
                    <a:pt x="92" y="79"/>
                  </a:cubicBezTo>
                  <a:cubicBezTo>
                    <a:pt x="92" y="80"/>
                    <a:pt x="92" y="80"/>
                    <a:pt x="92" y="80"/>
                  </a:cubicBezTo>
                  <a:cubicBezTo>
                    <a:pt x="92" y="81"/>
                    <a:pt x="91" y="81"/>
                    <a:pt x="91" y="82"/>
                  </a:cubicBezTo>
                  <a:cubicBezTo>
                    <a:pt x="90" y="82"/>
                    <a:pt x="90" y="83"/>
                    <a:pt x="89" y="84"/>
                  </a:cubicBezTo>
                  <a:cubicBezTo>
                    <a:pt x="89" y="84"/>
                    <a:pt x="89" y="85"/>
                    <a:pt x="89" y="85"/>
                  </a:cubicBezTo>
                  <a:cubicBezTo>
                    <a:pt x="89" y="86"/>
                    <a:pt x="88" y="86"/>
                    <a:pt x="88" y="86"/>
                  </a:cubicBezTo>
                  <a:cubicBezTo>
                    <a:pt x="88" y="87"/>
                    <a:pt x="87" y="87"/>
                    <a:pt x="87" y="87"/>
                  </a:cubicBezTo>
                  <a:cubicBezTo>
                    <a:pt x="86" y="87"/>
                    <a:pt x="86" y="88"/>
                    <a:pt x="86" y="88"/>
                  </a:cubicBezTo>
                  <a:cubicBezTo>
                    <a:pt x="85" y="88"/>
                    <a:pt x="85" y="89"/>
                    <a:pt x="84" y="89"/>
                  </a:cubicBezTo>
                  <a:cubicBezTo>
                    <a:pt x="83" y="90"/>
                    <a:pt x="83" y="90"/>
                    <a:pt x="83" y="90"/>
                  </a:cubicBezTo>
                  <a:cubicBezTo>
                    <a:pt x="83" y="90"/>
                    <a:pt x="82" y="90"/>
                    <a:pt x="82" y="91"/>
                  </a:cubicBezTo>
                  <a:cubicBezTo>
                    <a:pt x="82" y="91"/>
                    <a:pt x="82" y="91"/>
                    <a:pt x="82" y="91"/>
                  </a:cubicBezTo>
                  <a:cubicBezTo>
                    <a:pt x="81" y="91"/>
                    <a:pt x="80" y="91"/>
                    <a:pt x="80" y="92"/>
                  </a:cubicBezTo>
                  <a:cubicBezTo>
                    <a:pt x="79" y="92"/>
                    <a:pt x="79" y="92"/>
                    <a:pt x="79" y="92"/>
                  </a:cubicBezTo>
                  <a:cubicBezTo>
                    <a:pt x="78" y="93"/>
                    <a:pt x="78" y="93"/>
                    <a:pt x="77" y="93"/>
                  </a:cubicBezTo>
                  <a:cubicBezTo>
                    <a:pt x="75" y="92"/>
                    <a:pt x="74" y="93"/>
                    <a:pt x="73" y="94"/>
                  </a:cubicBezTo>
                  <a:cubicBezTo>
                    <a:pt x="73" y="94"/>
                    <a:pt x="73" y="94"/>
                    <a:pt x="73" y="94"/>
                  </a:cubicBezTo>
                  <a:cubicBezTo>
                    <a:pt x="72" y="94"/>
                    <a:pt x="72" y="94"/>
                    <a:pt x="72" y="94"/>
                  </a:cubicBezTo>
                  <a:cubicBezTo>
                    <a:pt x="71" y="94"/>
                    <a:pt x="70" y="93"/>
                    <a:pt x="69" y="93"/>
                  </a:cubicBezTo>
                  <a:cubicBezTo>
                    <a:pt x="68" y="94"/>
                    <a:pt x="68" y="94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6" y="95"/>
                    <a:pt x="66" y="96"/>
                    <a:pt x="66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3" y="97"/>
                    <a:pt x="63" y="97"/>
                    <a:pt x="62" y="97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1" y="96"/>
                    <a:pt x="59" y="96"/>
                    <a:pt x="58" y="98"/>
                  </a:cubicBezTo>
                  <a:cubicBezTo>
                    <a:pt x="58" y="98"/>
                    <a:pt x="57" y="99"/>
                    <a:pt x="56" y="99"/>
                  </a:cubicBezTo>
                  <a:cubicBezTo>
                    <a:pt x="56" y="99"/>
                    <a:pt x="56" y="99"/>
                    <a:pt x="55" y="99"/>
                  </a:cubicBezTo>
                  <a:cubicBezTo>
                    <a:pt x="55" y="99"/>
                    <a:pt x="54" y="99"/>
                    <a:pt x="53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2" y="99"/>
                    <a:pt x="52" y="99"/>
                    <a:pt x="52" y="99"/>
                  </a:cubicBezTo>
                  <a:cubicBezTo>
                    <a:pt x="52" y="99"/>
                    <a:pt x="51" y="98"/>
                    <a:pt x="50" y="98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49" y="98"/>
                    <a:pt x="47" y="100"/>
                    <a:pt x="46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3" y="102"/>
                    <a:pt x="43" y="102"/>
                    <a:pt x="43" y="102"/>
                  </a:cubicBezTo>
                  <a:cubicBezTo>
                    <a:pt x="42" y="103"/>
                    <a:pt x="42" y="103"/>
                    <a:pt x="41" y="104"/>
                  </a:cubicBezTo>
                  <a:cubicBezTo>
                    <a:pt x="40" y="104"/>
                    <a:pt x="40" y="105"/>
                    <a:pt x="40" y="105"/>
                  </a:cubicBezTo>
                  <a:cubicBezTo>
                    <a:pt x="40" y="105"/>
                    <a:pt x="39" y="106"/>
                    <a:pt x="39" y="106"/>
                  </a:cubicBezTo>
                  <a:cubicBezTo>
                    <a:pt x="39" y="106"/>
                    <a:pt x="39" y="106"/>
                    <a:pt x="38" y="106"/>
                  </a:cubicBezTo>
                  <a:cubicBezTo>
                    <a:pt x="38" y="106"/>
                    <a:pt x="37" y="106"/>
                    <a:pt x="36" y="106"/>
                  </a:cubicBezTo>
                  <a:cubicBezTo>
                    <a:pt x="35" y="106"/>
                    <a:pt x="35" y="107"/>
                    <a:pt x="35" y="108"/>
                  </a:cubicBezTo>
                  <a:cubicBezTo>
                    <a:pt x="34" y="108"/>
                    <a:pt x="34" y="108"/>
                    <a:pt x="34" y="108"/>
                  </a:cubicBezTo>
                  <a:cubicBezTo>
                    <a:pt x="34" y="109"/>
                    <a:pt x="34" y="109"/>
                    <a:pt x="33" y="109"/>
                  </a:cubicBezTo>
                  <a:cubicBezTo>
                    <a:pt x="33" y="109"/>
                    <a:pt x="32" y="109"/>
                    <a:pt x="32" y="109"/>
                  </a:cubicBezTo>
                  <a:cubicBezTo>
                    <a:pt x="31" y="109"/>
                    <a:pt x="30" y="110"/>
                    <a:pt x="29" y="111"/>
                  </a:cubicBezTo>
                  <a:cubicBezTo>
                    <a:pt x="29" y="111"/>
                    <a:pt x="29" y="112"/>
                    <a:pt x="28" y="112"/>
                  </a:cubicBezTo>
                  <a:cubicBezTo>
                    <a:pt x="28" y="112"/>
                    <a:pt x="28" y="112"/>
                    <a:pt x="28" y="111"/>
                  </a:cubicBezTo>
                  <a:cubicBezTo>
                    <a:pt x="27" y="110"/>
                    <a:pt x="26" y="110"/>
                    <a:pt x="24" y="111"/>
                  </a:cubicBezTo>
                  <a:cubicBezTo>
                    <a:pt x="23" y="112"/>
                    <a:pt x="22" y="113"/>
                    <a:pt x="22" y="114"/>
                  </a:cubicBezTo>
                  <a:cubicBezTo>
                    <a:pt x="22" y="115"/>
                    <a:pt x="22" y="115"/>
                    <a:pt x="21" y="116"/>
                  </a:cubicBezTo>
                  <a:cubicBezTo>
                    <a:pt x="20" y="117"/>
                    <a:pt x="20" y="119"/>
                    <a:pt x="21" y="121"/>
                  </a:cubicBezTo>
                  <a:cubicBezTo>
                    <a:pt x="21" y="122"/>
                    <a:pt x="21" y="122"/>
                    <a:pt x="21" y="123"/>
                  </a:cubicBezTo>
                  <a:cubicBezTo>
                    <a:pt x="21" y="123"/>
                    <a:pt x="21" y="123"/>
                    <a:pt x="20" y="123"/>
                  </a:cubicBezTo>
                  <a:cubicBezTo>
                    <a:pt x="20" y="124"/>
                    <a:pt x="20" y="124"/>
                    <a:pt x="19" y="125"/>
                  </a:cubicBezTo>
                  <a:cubicBezTo>
                    <a:pt x="19" y="126"/>
                    <a:pt x="19" y="127"/>
                    <a:pt x="19" y="127"/>
                  </a:cubicBezTo>
                  <a:cubicBezTo>
                    <a:pt x="19" y="128"/>
                    <a:pt x="19" y="128"/>
                    <a:pt x="19" y="129"/>
                  </a:cubicBezTo>
                  <a:cubicBezTo>
                    <a:pt x="19" y="129"/>
                    <a:pt x="18" y="129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6" y="131"/>
                    <a:pt x="15" y="132"/>
                    <a:pt x="15" y="133"/>
                  </a:cubicBezTo>
                  <a:cubicBezTo>
                    <a:pt x="15" y="134"/>
                    <a:pt x="15" y="134"/>
                    <a:pt x="15" y="134"/>
                  </a:cubicBezTo>
                  <a:cubicBezTo>
                    <a:pt x="14" y="136"/>
                    <a:pt x="13" y="138"/>
                    <a:pt x="14" y="140"/>
                  </a:cubicBezTo>
                  <a:cubicBezTo>
                    <a:pt x="14" y="140"/>
                    <a:pt x="14" y="141"/>
                    <a:pt x="14" y="141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3"/>
                    <a:pt x="14" y="143"/>
                  </a:cubicBezTo>
                  <a:cubicBezTo>
                    <a:pt x="14" y="143"/>
                    <a:pt x="14" y="143"/>
                    <a:pt x="14" y="144"/>
                  </a:cubicBezTo>
                  <a:cubicBezTo>
                    <a:pt x="14" y="145"/>
                    <a:pt x="14" y="146"/>
                    <a:pt x="15" y="146"/>
                  </a:cubicBezTo>
                  <a:cubicBezTo>
                    <a:pt x="15" y="146"/>
                    <a:pt x="15" y="146"/>
                    <a:pt x="15" y="147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5" y="148"/>
                    <a:pt x="15" y="149"/>
                    <a:pt x="15" y="150"/>
                  </a:cubicBezTo>
                  <a:cubicBezTo>
                    <a:pt x="15" y="150"/>
                    <a:pt x="15" y="150"/>
                    <a:pt x="15" y="150"/>
                  </a:cubicBezTo>
                  <a:cubicBezTo>
                    <a:pt x="15" y="150"/>
                    <a:pt x="14" y="150"/>
                    <a:pt x="14" y="150"/>
                  </a:cubicBezTo>
                  <a:cubicBezTo>
                    <a:pt x="14" y="150"/>
                    <a:pt x="14" y="150"/>
                    <a:pt x="14" y="150"/>
                  </a:cubicBezTo>
                  <a:cubicBezTo>
                    <a:pt x="13" y="150"/>
                    <a:pt x="12" y="150"/>
                    <a:pt x="12" y="151"/>
                  </a:cubicBezTo>
                  <a:cubicBezTo>
                    <a:pt x="11" y="151"/>
                    <a:pt x="11" y="152"/>
                    <a:pt x="11" y="153"/>
                  </a:cubicBezTo>
                  <a:cubicBezTo>
                    <a:pt x="11" y="154"/>
                    <a:pt x="11" y="154"/>
                    <a:pt x="11" y="154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5"/>
                    <a:pt x="12" y="155"/>
                    <a:pt x="12" y="155"/>
                  </a:cubicBezTo>
                  <a:cubicBezTo>
                    <a:pt x="10" y="155"/>
                    <a:pt x="9" y="156"/>
                    <a:pt x="8" y="157"/>
                  </a:cubicBezTo>
                  <a:cubicBezTo>
                    <a:pt x="8" y="158"/>
                    <a:pt x="9" y="159"/>
                    <a:pt x="9" y="160"/>
                  </a:cubicBezTo>
                  <a:cubicBezTo>
                    <a:pt x="9" y="160"/>
                    <a:pt x="9" y="161"/>
                    <a:pt x="9" y="161"/>
                  </a:cubicBezTo>
                  <a:cubicBezTo>
                    <a:pt x="9" y="162"/>
                    <a:pt x="9" y="162"/>
                    <a:pt x="9" y="162"/>
                  </a:cubicBezTo>
                  <a:cubicBezTo>
                    <a:pt x="9" y="163"/>
                    <a:pt x="10" y="164"/>
                    <a:pt x="10" y="165"/>
                  </a:cubicBezTo>
                  <a:cubicBezTo>
                    <a:pt x="11" y="166"/>
                    <a:pt x="11" y="166"/>
                    <a:pt x="11" y="166"/>
                  </a:cubicBezTo>
                  <a:cubicBezTo>
                    <a:pt x="12" y="168"/>
                    <a:pt x="12" y="169"/>
                    <a:pt x="12" y="171"/>
                  </a:cubicBezTo>
                  <a:cubicBezTo>
                    <a:pt x="12" y="172"/>
                    <a:pt x="12" y="174"/>
                    <a:pt x="12" y="175"/>
                  </a:cubicBezTo>
                  <a:cubicBezTo>
                    <a:pt x="12" y="176"/>
                    <a:pt x="12" y="176"/>
                    <a:pt x="12" y="176"/>
                  </a:cubicBezTo>
                  <a:cubicBezTo>
                    <a:pt x="12" y="177"/>
                    <a:pt x="12" y="178"/>
                    <a:pt x="12" y="179"/>
                  </a:cubicBezTo>
                  <a:cubicBezTo>
                    <a:pt x="12" y="180"/>
                    <a:pt x="12" y="180"/>
                    <a:pt x="12" y="181"/>
                  </a:cubicBezTo>
                  <a:cubicBezTo>
                    <a:pt x="13" y="181"/>
                    <a:pt x="13" y="181"/>
                    <a:pt x="13" y="181"/>
                  </a:cubicBezTo>
                  <a:cubicBezTo>
                    <a:pt x="13" y="182"/>
                    <a:pt x="13" y="182"/>
                    <a:pt x="13" y="183"/>
                  </a:cubicBezTo>
                  <a:cubicBezTo>
                    <a:pt x="13" y="183"/>
                    <a:pt x="13" y="184"/>
                    <a:pt x="13" y="184"/>
                  </a:cubicBezTo>
                  <a:cubicBezTo>
                    <a:pt x="13" y="187"/>
                    <a:pt x="13" y="189"/>
                    <a:pt x="14" y="191"/>
                  </a:cubicBezTo>
                  <a:cubicBezTo>
                    <a:pt x="14" y="192"/>
                    <a:pt x="14" y="193"/>
                    <a:pt x="13" y="195"/>
                  </a:cubicBezTo>
                  <a:cubicBezTo>
                    <a:pt x="13" y="195"/>
                    <a:pt x="13" y="196"/>
                    <a:pt x="13" y="196"/>
                  </a:cubicBezTo>
                  <a:cubicBezTo>
                    <a:pt x="12" y="198"/>
                    <a:pt x="12" y="200"/>
                    <a:pt x="12" y="202"/>
                  </a:cubicBezTo>
                  <a:cubicBezTo>
                    <a:pt x="12" y="202"/>
                    <a:pt x="12" y="203"/>
                    <a:pt x="12" y="203"/>
                  </a:cubicBezTo>
                  <a:cubicBezTo>
                    <a:pt x="12" y="204"/>
                    <a:pt x="12" y="204"/>
                    <a:pt x="12" y="205"/>
                  </a:cubicBezTo>
                  <a:cubicBezTo>
                    <a:pt x="12" y="206"/>
                    <a:pt x="12" y="206"/>
                    <a:pt x="12" y="206"/>
                  </a:cubicBezTo>
                  <a:cubicBezTo>
                    <a:pt x="12" y="207"/>
                    <a:pt x="13" y="208"/>
                    <a:pt x="13" y="210"/>
                  </a:cubicBezTo>
                  <a:cubicBezTo>
                    <a:pt x="13" y="210"/>
                    <a:pt x="13" y="211"/>
                    <a:pt x="13" y="211"/>
                  </a:cubicBezTo>
                  <a:cubicBezTo>
                    <a:pt x="13" y="211"/>
                    <a:pt x="13" y="212"/>
                    <a:pt x="13" y="212"/>
                  </a:cubicBezTo>
                  <a:cubicBezTo>
                    <a:pt x="13" y="212"/>
                    <a:pt x="12" y="213"/>
                    <a:pt x="12" y="214"/>
                  </a:cubicBezTo>
                  <a:cubicBezTo>
                    <a:pt x="12" y="215"/>
                    <a:pt x="13" y="216"/>
                    <a:pt x="13" y="217"/>
                  </a:cubicBezTo>
                  <a:cubicBezTo>
                    <a:pt x="14" y="218"/>
                    <a:pt x="14" y="218"/>
                    <a:pt x="14" y="219"/>
                  </a:cubicBezTo>
                  <a:cubicBezTo>
                    <a:pt x="14" y="219"/>
                    <a:pt x="13" y="220"/>
                    <a:pt x="13" y="221"/>
                  </a:cubicBezTo>
                  <a:cubicBezTo>
                    <a:pt x="12" y="221"/>
                    <a:pt x="12" y="222"/>
                    <a:pt x="11" y="223"/>
                  </a:cubicBezTo>
                  <a:cubicBezTo>
                    <a:pt x="11" y="224"/>
                    <a:pt x="11" y="225"/>
                    <a:pt x="11" y="225"/>
                  </a:cubicBezTo>
                  <a:cubicBezTo>
                    <a:pt x="11" y="225"/>
                    <a:pt x="11" y="226"/>
                    <a:pt x="11" y="226"/>
                  </a:cubicBezTo>
                  <a:cubicBezTo>
                    <a:pt x="10" y="226"/>
                    <a:pt x="10" y="226"/>
                    <a:pt x="10" y="227"/>
                  </a:cubicBezTo>
                  <a:cubicBezTo>
                    <a:pt x="9" y="228"/>
                    <a:pt x="9" y="229"/>
                    <a:pt x="9" y="229"/>
                  </a:cubicBezTo>
                  <a:cubicBezTo>
                    <a:pt x="9" y="229"/>
                    <a:pt x="9" y="230"/>
                    <a:pt x="9" y="230"/>
                  </a:cubicBezTo>
                  <a:cubicBezTo>
                    <a:pt x="9" y="230"/>
                    <a:pt x="9" y="230"/>
                    <a:pt x="9" y="230"/>
                  </a:cubicBezTo>
                  <a:cubicBezTo>
                    <a:pt x="9" y="231"/>
                    <a:pt x="9" y="231"/>
                    <a:pt x="9" y="231"/>
                  </a:cubicBezTo>
                  <a:cubicBezTo>
                    <a:pt x="9" y="232"/>
                    <a:pt x="9" y="232"/>
                    <a:pt x="9" y="233"/>
                  </a:cubicBezTo>
                  <a:cubicBezTo>
                    <a:pt x="9" y="233"/>
                    <a:pt x="9" y="233"/>
                    <a:pt x="9" y="233"/>
                  </a:cubicBezTo>
                  <a:cubicBezTo>
                    <a:pt x="9" y="233"/>
                    <a:pt x="9" y="233"/>
                    <a:pt x="9" y="233"/>
                  </a:cubicBezTo>
                  <a:cubicBezTo>
                    <a:pt x="8" y="233"/>
                    <a:pt x="7" y="234"/>
                    <a:pt x="7" y="235"/>
                  </a:cubicBezTo>
                  <a:cubicBezTo>
                    <a:pt x="7" y="235"/>
                    <a:pt x="7" y="235"/>
                    <a:pt x="7" y="235"/>
                  </a:cubicBezTo>
                  <a:cubicBezTo>
                    <a:pt x="7" y="235"/>
                    <a:pt x="6" y="235"/>
                    <a:pt x="6" y="236"/>
                  </a:cubicBezTo>
                  <a:cubicBezTo>
                    <a:pt x="6" y="236"/>
                    <a:pt x="6" y="236"/>
                    <a:pt x="6" y="236"/>
                  </a:cubicBezTo>
                  <a:cubicBezTo>
                    <a:pt x="6" y="236"/>
                    <a:pt x="5" y="236"/>
                    <a:pt x="5" y="236"/>
                  </a:cubicBezTo>
                  <a:cubicBezTo>
                    <a:pt x="4" y="236"/>
                    <a:pt x="4" y="236"/>
                    <a:pt x="4" y="236"/>
                  </a:cubicBezTo>
                  <a:cubicBezTo>
                    <a:pt x="3" y="236"/>
                    <a:pt x="2" y="237"/>
                    <a:pt x="2" y="238"/>
                  </a:cubicBezTo>
                  <a:cubicBezTo>
                    <a:pt x="2" y="238"/>
                    <a:pt x="2" y="238"/>
                    <a:pt x="2" y="238"/>
                  </a:cubicBezTo>
                  <a:cubicBezTo>
                    <a:pt x="1" y="239"/>
                    <a:pt x="1" y="239"/>
                    <a:pt x="1" y="240"/>
                  </a:cubicBezTo>
                  <a:cubicBezTo>
                    <a:pt x="1" y="241"/>
                    <a:pt x="1" y="241"/>
                    <a:pt x="1" y="242"/>
                  </a:cubicBezTo>
                  <a:cubicBezTo>
                    <a:pt x="1" y="243"/>
                    <a:pt x="1" y="243"/>
                    <a:pt x="1" y="243"/>
                  </a:cubicBezTo>
                  <a:cubicBezTo>
                    <a:pt x="1" y="243"/>
                    <a:pt x="1" y="244"/>
                    <a:pt x="1" y="245"/>
                  </a:cubicBezTo>
                  <a:cubicBezTo>
                    <a:pt x="1" y="245"/>
                    <a:pt x="0" y="246"/>
                    <a:pt x="1" y="247"/>
                  </a:cubicBezTo>
                  <a:cubicBezTo>
                    <a:pt x="1" y="248"/>
                    <a:pt x="1" y="248"/>
                    <a:pt x="1" y="248"/>
                  </a:cubicBezTo>
                  <a:cubicBezTo>
                    <a:pt x="2" y="248"/>
                    <a:pt x="2" y="248"/>
                    <a:pt x="2" y="248"/>
                  </a:cubicBezTo>
                  <a:cubicBezTo>
                    <a:pt x="3" y="248"/>
                    <a:pt x="4" y="247"/>
                    <a:pt x="4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247"/>
                    <a:pt x="5" y="247"/>
                    <a:pt x="5" y="248"/>
                  </a:cubicBezTo>
                  <a:cubicBezTo>
                    <a:pt x="5" y="248"/>
                    <a:pt x="5" y="248"/>
                    <a:pt x="5" y="248"/>
                  </a:cubicBezTo>
                  <a:cubicBezTo>
                    <a:pt x="5" y="249"/>
                    <a:pt x="6" y="249"/>
                    <a:pt x="6" y="249"/>
                  </a:cubicBezTo>
                  <a:cubicBezTo>
                    <a:pt x="6" y="249"/>
                    <a:pt x="6" y="249"/>
                    <a:pt x="6" y="249"/>
                  </a:cubicBezTo>
                  <a:cubicBezTo>
                    <a:pt x="6" y="250"/>
                    <a:pt x="6" y="250"/>
                    <a:pt x="6" y="250"/>
                  </a:cubicBezTo>
                  <a:cubicBezTo>
                    <a:pt x="6" y="250"/>
                    <a:pt x="6" y="251"/>
                    <a:pt x="7" y="251"/>
                  </a:cubicBezTo>
                  <a:cubicBezTo>
                    <a:pt x="7" y="252"/>
                    <a:pt x="7" y="252"/>
                    <a:pt x="8" y="252"/>
                  </a:cubicBezTo>
                  <a:cubicBezTo>
                    <a:pt x="8" y="252"/>
                    <a:pt x="8" y="252"/>
                    <a:pt x="9" y="253"/>
                  </a:cubicBezTo>
                  <a:cubicBezTo>
                    <a:pt x="9" y="253"/>
                    <a:pt x="9" y="253"/>
                    <a:pt x="9" y="253"/>
                  </a:cubicBezTo>
                  <a:cubicBezTo>
                    <a:pt x="9" y="254"/>
                    <a:pt x="10" y="254"/>
                    <a:pt x="10" y="254"/>
                  </a:cubicBezTo>
                  <a:cubicBezTo>
                    <a:pt x="11" y="255"/>
                    <a:pt x="11" y="255"/>
                    <a:pt x="12" y="255"/>
                  </a:cubicBezTo>
                  <a:cubicBezTo>
                    <a:pt x="13" y="255"/>
                    <a:pt x="13" y="255"/>
                    <a:pt x="13" y="255"/>
                  </a:cubicBezTo>
                  <a:cubicBezTo>
                    <a:pt x="13" y="255"/>
                    <a:pt x="13" y="255"/>
                    <a:pt x="14" y="255"/>
                  </a:cubicBezTo>
                  <a:cubicBezTo>
                    <a:pt x="14" y="255"/>
                    <a:pt x="14" y="255"/>
                    <a:pt x="14" y="255"/>
                  </a:cubicBezTo>
                  <a:cubicBezTo>
                    <a:pt x="14" y="255"/>
                    <a:pt x="15" y="256"/>
                    <a:pt x="16" y="256"/>
                  </a:cubicBezTo>
                  <a:cubicBezTo>
                    <a:pt x="16" y="256"/>
                    <a:pt x="16" y="256"/>
                    <a:pt x="16" y="256"/>
                  </a:cubicBezTo>
                  <a:cubicBezTo>
                    <a:pt x="17" y="255"/>
                    <a:pt x="17" y="255"/>
                    <a:pt x="17" y="255"/>
                  </a:cubicBezTo>
                  <a:cubicBezTo>
                    <a:pt x="17" y="255"/>
                    <a:pt x="17" y="255"/>
                    <a:pt x="17" y="255"/>
                  </a:cubicBezTo>
                  <a:cubicBezTo>
                    <a:pt x="18" y="255"/>
                    <a:pt x="18" y="255"/>
                    <a:pt x="18" y="256"/>
                  </a:cubicBezTo>
                  <a:cubicBezTo>
                    <a:pt x="18" y="256"/>
                    <a:pt x="19" y="256"/>
                    <a:pt x="20" y="256"/>
                  </a:cubicBezTo>
                  <a:cubicBezTo>
                    <a:pt x="21" y="256"/>
                    <a:pt x="22" y="256"/>
                    <a:pt x="22" y="255"/>
                  </a:cubicBezTo>
                  <a:cubicBezTo>
                    <a:pt x="23" y="255"/>
                    <a:pt x="23" y="255"/>
                    <a:pt x="23" y="255"/>
                  </a:cubicBezTo>
                  <a:cubicBezTo>
                    <a:pt x="24" y="255"/>
                    <a:pt x="24" y="254"/>
                    <a:pt x="25" y="254"/>
                  </a:cubicBezTo>
                  <a:cubicBezTo>
                    <a:pt x="25" y="254"/>
                    <a:pt x="25" y="254"/>
                    <a:pt x="25" y="254"/>
                  </a:cubicBezTo>
                  <a:cubicBezTo>
                    <a:pt x="26" y="254"/>
                    <a:pt x="26" y="253"/>
                    <a:pt x="26" y="253"/>
                  </a:cubicBezTo>
                  <a:cubicBezTo>
                    <a:pt x="27" y="253"/>
                    <a:pt x="27" y="253"/>
                    <a:pt x="28" y="253"/>
                  </a:cubicBezTo>
                  <a:cubicBezTo>
                    <a:pt x="28" y="252"/>
                    <a:pt x="28" y="252"/>
                    <a:pt x="28" y="252"/>
                  </a:cubicBezTo>
                  <a:cubicBezTo>
                    <a:pt x="29" y="252"/>
                    <a:pt x="30" y="251"/>
                    <a:pt x="30" y="251"/>
                  </a:cubicBezTo>
                  <a:cubicBezTo>
                    <a:pt x="30" y="251"/>
                    <a:pt x="30" y="250"/>
                    <a:pt x="30" y="250"/>
                  </a:cubicBezTo>
                  <a:cubicBezTo>
                    <a:pt x="31" y="250"/>
                    <a:pt x="31" y="251"/>
                    <a:pt x="31" y="251"/>
                  </a:cubicBezTo>
                  <a:cubicBezTo>
                    <a:pt x="32" y="251"/>
                    <a:pt x="34" y="251"/>
                    <a:pt x="35" y="250"/>
                  </a:cubicBezTo>
                  <a:cubicBezTo>
                    <a:pt x="35" y="250"/>
                    <a:pt x="35" y="250"/>
                    <a:pt x="35" y="250"/>
                  </a:cubicBezTo>
                  <a:cubicBezTo>
                    <a:pt x="36" y="250"/>
                    <a:pt x="37" y="249"/>
                    <a:pt x="37" y="248"/>
                  </a:cubicBezTo>
                  <a:cubicBezTo>
                    <a:pt x="38" y="247"/>
                    <a:pt x="38" y="247"/>
                    <a:pt x="38" y="246"/>
                  </a:cubicBezTo>
                  <a:cubicBezTo>
                    <a:pt x="38" y="246"/>
                    <a:pt x="38" y="246"/>
                    <a:pt x="38" y="246"/>
                  </a:cubicBezTo>
                  <a:cubicBezTo>
                    <a:pt x="38" y="246"/>
                    <a:pt x="39" y="246"/>
                    <a:pt x="39" y="246"/>
                  </a:cubicBezTo>
                  <a:cubicBezTo>
                    <a:pt x="40" y="246"/>
                    <a:pt x="40" y="245"/>
                    <a:pt x="40" y="245"/>
                  </a:cubicBezTo>
                  <a:cubicBezTo>
                    <a:pt x="41" y="245"/>
                    <a:pt x="41" y="244"/>
                    <a:pt x="41" y="244"/>
                  </a:cubicBezTo>
                  <a:cubicBezTo>
                    <a:pt x="41" y="244"/>
                    <a:pt x="41" y="244"/>
                    <a:pt x="42" y="244"/>
                  </a:cubicBezTo>
                  <a:cubicBezTo>
                    <a:pt x="42" y="244"/>
                    <a:pt x="42" y="244"/>
                    <a:pt x="43" y="245"/>
                  </a:cubicBezTo>
                  <a:cubicBezTo>
                    <a:pt x="43" y="244"/>
                    <a:pt x="43" y="244"/>
                    <a:pt x="43" y="244"/>
                  </a:cubicBezTo>
                  <a:cubicBezTo>
                    <a:pt x="44" y="244"/>
                    <a:pt x="45" y="244"/>
                    <a:pt x="45" y="244"/>
                  </a:cubicBezTo>
                  <a:cubicBezTo>
                    <a:pt x="46" y="244"/>
                    <a:pt x="46" y="244"/>
                    <a:pt x="47" y="244"/>
                  </a:cubicBezTo>
                  <a:cubicBezTo>
                    <a:pt x="47" y="243"/>
                    <a:pt x="47" y="243"/>
                    <a:pt x="47" y="243"/>
                  </a:cubicBezTo>
                  <a:cubicBezTo>
                    <a:pt x="48" y="243"/>
                    <a:pt x="49" y="243"/>
                    <a:pt x="50" y="244"/>
                  </a:cubicBezTo>
                  <a:cubicBezTo>
                    <a:pt x="51" y="244"/>
                    <a:pt x="52" y="244"/>
                    <a:pt x="54" y="244"/>
                  </a:cubicBezTo>
                  <a:cubicBezTo>
                    <a:pt x="55" y="244"/>
                    <a:pt x="55" y="244"/>
                    <a:pt x="55" y="244"/>
                  </a:cubicBezTo>
                  <a:cubicBezTo>
                    <a:pt x="55" y="244"/>
                    <a:pt x="55" y="244"/>
                    <a:pt x="55" y="245"/>
                  </a:cubicBezTo>
                  <a:cubicBezTo>
                    <a:pt x="56" y="245"/>
                    <a:pt x="56" y="245"/>
                    <a:pt x="56" y="245"/>
                  </a:cubicBezTo>
                  <a:cubicBezTo>
                    <a:pt x="56" y="246"/>
                    <a:pt x="57" y="246"/>
                    <a:pt x="58" y="246"/>
                  </a:cubicBezTo>
                  <a:cubicBezTo>
                    <a:pt x="59" y="246"/>
                    <a:pt x="59" y="246"/>
                    <a:pt x="60" y="246"/>
                  </a:cubicBezTo>
                  <a:cubicBezTo>
                    <a:pt x="60" y="246"/>
                    <a:pt x="60" y="246"/>
                    <a:pt x="60" y="246"/>
                  </a:cubicBezTo>
                  <a:cubicBezTo>
                    <a:pt x="61" y="245"/>
                    <a:pt x="62" y="246"/>
                    <a:pt x="63" y="246"/>
                  </a:cubicBezTo>
                  <a:cubicBezTo>
                    <a:pt x="64" y="247"/>
                    <a:pt x="65" y="246"/>
                    <a:pt x="66" y="246"/>
                  </a:cubicBezTo>
                  <a:cubicBezTo>
                    <a:pt x="66" y="246"/>
                    <a:pt x="66" y="246"/>
                    <a:pt x="66" y="246"/>
                  </a:cubicBezTo>
                  <a:cubicBezTo>
                    <a:pt x="67" y="246"/>
                    <a:pt x="67" y="246"/>
                    <a:pt x="67" y="246"/>
                  </a:cubicBezTo>
                  <a:cubicBezTo>
                    <a:pt x="68" y="246"/>
                    <a:pt x="69" y="246"/>
                    <a:pt x="69" y="245"/>
                  </a:cubicBezTo>
                  <a:cubicBezTo>
                    <a:pt x="70" y="245"/>
                    <a:pt x="70" y="244"/>
                    <a:pt x="70" y="243"/>
                  </a:cubicBezTo>
                  <a:cubicBezTo>
                    <a:pt x="71" y="243"/>
                    <a:pt x="71" y="243"/>
                    <a:pt x="71" y="243"/>
                  </a:cubicBezTo>
                  <a:cubicBezTo>
                    <a:pt x="71" y="242"/>
                    <a:pt x="72" y="242"/>
                    <a:pt x="72" y="241"/>
                  </a:cubicBezTo>
                  <a:cubicBezTo>
                    <a:pt x="73" y="241"/>
                    <a:pt x="73" y="240"/>
                    <a:pt x="73" y="240"/>
                  </a:cubicBezTo>
                  <a:cubicBezTo>
                    <a:pt x="73" y="240"/>
                    <a:pt x="74" y="240"/>
                    <a:pt x="74" y="239"/>
                  </a:cubicBezTo>
                  <a:cubicBezTo>
                    <a:pt x="75" y="239"/>
                    <a:pt x="75" y="238"/>
                    <a:pt x="75" y="238"/>
                  </a:cubicBezTo>
                  <a:cubicBezTo>
                    <a:pt x="76" y="238"/>
                    <a:pt x="76" y="237"/>
                    <a:pt x="76" y="237"/>
                  </a:cubicBezTo>
                  <a:cubicBezTo>
                    <a:pt x="76" y="237"/>
                    <a:pt x="76" y="237"/>
                    <a:pt x="76" y="237"/>
                  </a:cubicBezTo>
                  <a:cubicBezTo>
                    <a:pt x="77" y="237"/>
                    <a:pt x="77" y="236"/>
                    <a:pt x="77" y="236"/>
                  </a:cubicBezTo>
                  <a:cubicBezTo>
                    <a:pt x="77" y="236"/>
                    <a:pt x="78" y="235"/>
                    <a:pt x="79" y="235"/>
                  </a:cubicBezTo>
                  <a:cubicBezTo>
                    <a:pt x="79" y="235"/>
                    <a:pt x="79" y="235"/>
                    <a:pt x="80" y="235"/>
                  </a:cubicBezTo>
                  <a:cubicBezTo>
                    <a:pt x="80" y="235"/>
                    <a:pt x="81" y="235"/>
                    <a:pt x="81" y="235"/>
                  </a:cubicBezTo>
                  <a:cubicBezTo>
                    <a:pt x="83" y="234"/>
                    <a:pt x="85" y="233"/>
                    <a:pt x="87" y="232"/>
                  </a:cubicBezTo>
                  <a:cubicBezTo>
                    <a:pt x="88" y="231"/>
                    <a:pt x="88" y="231"/>
                    <a:pt x="89" y="231"/>
                  </a:cubicBezTo>
                  <a:cubicBezTo>
                    <a:pt x="90" y="230"/>
                    <a:pt x="91" y="230"/>
                    <a:pt x="92" y="229"/>
                  </a:cubicBezTo>
                  <a:cubicBezTo>
                    <a:pt x="93" y="228"/>
                    <a:pt x="94" y="229"/>
                    <a:pt x="96" y="230"/>
                  </a:cubicBezTo>
                  <a:cubicBezTo>
                    <a:pt x="96" y="230"/>
                    <a:pt x="96" y="230"/>
                    <a:pt x="96" y="230"/>
                  </a:cubicBezTo>
                  <a:cubicBezTo>
                    <a:pt x="97" y="230"/>
                    <a:pt x="98" y="231"/>
                    <a:pt x="99" y="231"/>
                  </a:cubicBezTo>
                  <a:cubicBezTo>
                    <a:pt x="99" y="231"/>
                    <a:pt x="99" y="231"/>
                    <a:pt x="99" y="231"/>
                  </a:cubicBezTo>
                  <a:cubicBezTo>
                    <a:pt x="100" y="230"/>
                    <a:pt x="101" y="230"/>
                    <a:pt x="101" y="230"/>
                  </a:cubicBezTo>
                  <a:cubicBezTo>
                    <a:pt x="101" y="230"/>
                    <a:pt x="101" y="229"/>
                    <a:pt x="102" y="229"/>
                  </a:cubicBezTo>
                  <a:cubicBezTo>
                    <a:pt x="102" y="229"/>
                    <a:pt x="103" y="229"/>
                    <a:pt x="104" y="229"/>
                  </a:cubicBezTo>
                  <a:cubicBezTo>
                    <a:pt x="104" y="229"/>
                    <a:pt x="104" y="229"/>
                    <a:pt x="104" y="229"/>
                  </a:cubicBezTo>
                  <a:cubicBezTo>
                    <a:pt x="105" y="229"/>
                    <a:pt x="106" y="229"/>
                    <a:pt x="106" y="228"/>
                  </a:cubicBezTo>
                  <a:cubicBezTo>
                    <a:pt x="107" y="228"/>
                    <a:pt x="107" y="228"/>
                    <a:pt x="107" y="228"/>
                  </a:cubicBezTo>
                  <a:cubicBezTo>
                    <a:pt x="107" y="228"/>
                    <a:pt x="108" y="228"/>
                    <a:pt x="108" y="228"/>
                  </a:cubicBezTo>
                  <a:cubicBezTo>
                    <a:pt x="109" y="228"/>
                    <a:pt x="109" y="228"/>
                    <a:pt x="110" y="228"/>
                  </a:cubicBezTo>
                  <a:cubicBezTo>
                    <a:pt x="111" y="227"/>
                    <a:pt x="112" y="227"/>
                    <a:pt x="113" y="226"/>
                  </a:cubicBezTo>
                  <a:cubicBezTo>
                    <a:pt x="113" y="226"/>
                    <a:pt x="113" y="226"/>
                    <a:pt x="113" y="226"/>
                  </a:cubicBezTo>
                  <a:cubicBezTo>
                    <a:pt x="114" y="225"/>
                    <a:pt x="115" y="225"/>
                    <a:pt x="116" y="225"/>
                  </a:cubicBezTo>
                  <a:cubicBezTo>
                    <a:pt x="116" y="225"/>
                    <a:pt x="117" y="225"/>
                    <a:pt x="119" y="225"/>
                  </a:cubicBezTo>
                  <a:cubicBezTo>
                    <a:pt x="119" y="224"/>
                    <a:pt x="120" y="224"/>
                    <a:pt x="121" y="224"/>
                  </a:cubicBezTo>
                  <a:cubicBezTo>
                    <a:pt x="122" y="223"/>
                    <a:pt x="123" y="223"/>
                    <a:pt x="124" y="223"/>
                  </a:cubicBezTo>
                  <a:cubicBezTo>
                    <a:pt x="124" y="223"/>
                    <a:pt x="125" y="223"/>
                    <a:pt x="125" y="224"/>
                  </a:cubicBezTo>
                  <a:cubicBezTo>
                    <a:pt x="126" y="224"/>
                    <a:pt x="128" y="225"/>
                    <a:pt x="129" y="224"/>
                  </a:cubicBezTo>
                  <a:cubicBezTo>
                    <a:pt x="130" y="224"/>
                    <a:pt x="130" y="224"/>
                    <a:pt x="130" y="224"/>
                  </a:cubicBezTo>
                  <a:cubicBezTo>
                    <a:pt x="131" y="224"/>
                    <a:pt x="131" y="223"/>
                    <a:pt x="132" y="223"/>
                  </a:cubicBezTo>
                  <a:cubicBezTo>
                    <a:pt x="133" y="223"/>
                    <a:pt x="134" y="224"/>
                    <a:pt x="134" y="224"/>
                  </a:cubicBezTo>
                  <a:cubicBezTo>
                    <a:pt x="135" y="224"/>
                    <a:pt x="135" y="224"/>
                    <a:pt x="135" y="225"/>
                  </a:cubicBezTo>
                  <a:cubicBezTo>
                    <a:pt x="135" y="225"/>
                    <a:pt x="135" y="225"/>
                    <a:pt x="136" y="225"/>
                  </a:cubicBezTo>
                  <a:cubicBezTo>
                    <a:pt x="136" y="226"/>
                    <a:pt x="136" y="227"/>
                    <a:pt x="137" y="227"/>
                  </a:cubicBezTo>
                  <a:cubicBezTo>
                    <a:pt x="137" y="227"/>
                    <a:pt x="138" y="228"/>
                    <a:pt x="138" y="228"/>
                  </a:cubicBezTo>
                  <a:cubicBezTo>
                    <a:pt x="138" y="228"/>
                    <a:pt x="138" y="228"/>
                    <a:pt x="138" y="228"/>
                  </a:cubicBezTo>
                  <a:cubicBezTo>
                    <a:pt x="138" y="229"/>
                    <a:pt x="139" y="231"/>
                    <a:pt x="141" y="231"/>
                  </a:cubicBezTo>
                  <a:cubicBezTo>
                    <a:pt x="141" y="231"/>
                    <a:pt x="141" y="231"/>
                    <a:pt x="141" y="231"/>
                  </a:cubicBezTo>
                  <a:cubicBezTo>
                    <a:pt x="141" y="231"/>
                    <a:pt x="142" y="230"/>
                    <a:pt x="142" y="230"/>
                  </a:cubicBezTo>
                  <a:cubicBezTo>
                    <a:pt x="143" y="230"/>
                    <a:pt x="143" y="230"/>
                    <a:pt x="143" y="230"/>
                  </a:cubicBezTo>
                  <a:cubicBezTo>
                    <a:pt x="143" y="230"/>
                    <a:pt x="143" y="230"/>
                    <a:pt x="143" y="230"/>
                  </a:cubicBezTo>
                  <a:cubicBezTo>
                    <a:pt x="143" y="230"/>
                    <a:pt x="144" y="230"/>
                    <a:pt x="144" y="231"/>
                  </a:cubicBezTo>
                  <a:cubicBezTo>
                    <a:pt x="144" y="231"/>
                    <a:pt x="144" y="231"/>
                    <a:pt x="144" y="231"/>
                  </a:cubicBezTo>
                  <a:cubicBezTo>
                    <a:pt x="145" y="232"/>
                    <a:pt x="147" y="233"/>
                    <a:pt x="149" y="232"/>
                  </a:cubicBezTo>
                  <a:cubicBezTo>
                    <a:pt x="149" y="232"/>
                    <a:pt x="149" y="233"/>
                    <a:pt x="149" y="233"/>
                  </a:cubicBezTo>
                  <a:cubicBezTo>
                    <a:pt x="148" y="234"/>
                    <a:pt x="148" y="234"/>
                    <a:pt x="149" y="235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50" y="236"/>
                    <a:pt x="150" y="236"/>
                    <a:pt x="150" y="236"/>
                  </a:cubicBezTo>
                  <a:cubicBezTo>
                    <a:pt x="149" y="237"/>
                    <a:pt x="149" y="238"/>
                    <a:pt x="149" y="239"/>
                  </a:cubicBezTo>
                  <a:cubicBezTo>
                    <a:pt x="149" y="239"/>
                    <a:pt x="149" y="239"/>
                    <a:pt x="149" y="240"/>
                  </a:cubicBezTo>
                  <a:cubicBezTo>
                    <a:pt x="149" y="240"/>
                    <a:pt x="149" y="241"/>
                    <a:pt x="150" y="242"/>
                  </a:cubicBezTo>
                  <a:cubicBezTo>
                    <a:pt x="150" y="243"/>
                    <a:pt x="151" y="243"/>
                    <a:pt x="151" y="243"/>
                  </a:cubicBezTo>
                  <a:cubicBezTo>
                    <a:pt x="152" y="243"/>
                    <a:pt x="152" y="243"/>
                    <a:pt x="152" y="243"/>
                  </a:cubicBezTo>
                  <a:cubicBezTo>
                    <a:pt x="152" y="243"/>
                    <a:pt x="153" y="244"/>
                    <a:pt x="153" y="244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2" y="245"/>
                    <a:pt x="152" y="246"/>
                    <a:pt x="152" y="246"/>
                  </a:cubicBezTo>
                  <a:cubicBezTo>
                    <a:pt x="152" y="247"/>
                    <a:pt x="152" y="248"/>
                    <a:pt x="153" y="249"/>
                  </a:cubicBezTo>
                  <a:cubicBezTo>
                    <a:pt x="153" y="249"/>
                    <a:pt x="153" y="249"/>
                    <a:pt x="153" y="249"/>
                  </a:cubicBezTo>
                  <a:cubicBezTo>
                    <a:pt x="153" y="250"/>
                    <a:pt x="153" y="250"/>
                    <a:pt x="153" y="250"/>
                  </a:cubicBezTo>
                  <a:cubicBezTo>
                    <a:pt x="153" y="251"/>
                    <a:pt x="153" y="251"/>
                    <a:pt x="153" y="251"/>
                  </a:cubicBezTo>
                  <a:cubicBezTo>
                    <a:pt x="153" y="252"/>
                    <a:pt x="153" y="252"/>
                    <a:pt x="153" y="252"/>
                  </a:cubicBezTo>
                  <a:cubicBezTo>
                    <a:pt x="152" y="253"/>
                    <a:pt x="152" y="254"/>
                    <a:pt x="152" y="254"/>
                  </a:cubicBezTo>
                  <a:cubicBezTo>
                    <a:pt x="152" y="255"/>
                    <a:pt x="152" y="255"/>
                    <a:pt x="152" y="255"/>
                  </a:cubicBezTo>
                  <a:cubicBezTo>
                    <a:pt x="150" y="256"/>
                    <a:pt x="150" y="257"/>
                    <a:pt x="150" y="258"/>
                  </a:cubicBezTo>
                  <a:cubicBezTo>
                    <a:pt x="151" y="259"/>
                    <a:pt x="151" y="260"/>
                    <a:pt x="152" y="260"/>
                  </a:cubicBezTo>
                  <a:cubicBezTo>
                    <a:pt x="152" y="260"/>
                    <a:pt x="152" y="260"/>
                    <a:pt x="152" y="260"/>
                  </a:cubicBezTo>
                  <a:cubicBezTo>
                    <a:pt x="152" y="260"/>
                    <a:pt x="152" y="261"/>
                    <a:pt x="152" y="261"/>
                  </a:cubicBezTo>
                  <a:cubicBezTo>
                    <a:pt x="152" y="262"/>
                    <a:pt x="153" y="262"/>
                    <a:pt x="153" y="263"/>
                  </a:cubicBezTo>
                  <a:cubicBezTo>
                    <a:pt x="153" y="263"/>
                    <a:pt x="154" y="263"/>
                    <a:pt x="154" y="263"/>
                  </a:cubicBezTo>
                  <a:cubicBezTo>
                    <a:pt x="154" y="263"/>
                    <a:pt x="155" y="264"/>
                    <a:pt x="156" y="264"/>
                  </a:cubicBezTo>
                  <a:cubicBezTo>
                    <a:pt x="156" y="264"/>
                    <a:pt x="156" y="264"/>
                    <a:pt x="156" y="264"/>
                  </a:cubicBezTo>
                  <a:cubicBezTo>
                    <a:pt x="157" y="263"/>
                    <a:pt x="158" y="262"/>
                    <a:pt x="158" y="262"/>
                  </a:cubicBezTo>
                  <a:cubicBezTo>
                    <a:pt x="159" y="261"/>
                    <a:pt x="159" y="260"/>
                    <a:pt x="159" y="260"/>
                  </a:cubicBezTo>
                  <a:cubicBezTo>
                    <a:pt x="159" y="260"/>
                    <a:pt x="159" y="259"/>
                    <a:pt x="159" y="259"/>
                  </a:cubicBezTo>
                  <a:cubicBezTo>
                    <a:pt x="159" y="259"/>
                    <a:pt x="158" y="259"/>
                    <a:pt x="158" y="259"/>
                  </a:cubicBezTo>
                  <a:cubicBezTo>
                    <a:pt x="158" y="258"/>
                    <a:pt x="158" y="258"/>
                    <a:pt x="158" y="258"/>
                  </a:cubicBezTo>
                  <a:cubicBezTo>
                    <a:pt x="159" y="259"/>
                    <a:pt x="159" y="259"/>
                    <a:pt x="159" y="259"/>
                  </a:cubicBezTo>
                  <a:cubicBezTo>
                    <a:pt x="159" y="259"/>
                    <a:pt x="159" y="259"/>
                    <a:pt x="159" y="259"/>
                  </a:cubicBezTo>
                  <a:cubicBezTo>
                    <a:pt x="159" y="259"/>
                    <a:pt x="160" y="259"/>
                    <a:pt x="161" y="258"/>
                  </a:cubicBezTo>
                  <a:cubicBezTo>
                    <a:pt x="161" y="258"/>
                    <a:pt x="161" y="257"/>
                    <a:pt x="161" y="257"/>
                  </a:cubicBezTo>
                  <a:cubicBezTo>
                    <a:pt x="162" y="257"/>
                    <a:pt x="162" y="257"/>
                    <a:pt x="162" y="256"/>
                  </a:cubicBezTo>
                  <a:cubicBezTo>
                    <a:pt x="163" y="256"/>
                    <a:pt x="163" y="255"/>
                    <a:pt x="164" y="255"/>
                  </a:cubicBezTo>
                  <a:cubicBezTo>
                    <a:pt x="164" y="254"/>
                    <a:pt x="164" y="254"/>
                    <a:pt x="164" y="254"/>
                  </a:cubicBezTo>
                  <a:cubicBezTo>
                    <a:pt x="165" y="254"/>
                    <a:pt x="165" y="253"/>
                    <a:pt x="166" y="253"/>
                  </a:cubicBezTo>
                  <a:cubicBezTo>
                    <a:pt x="167" y="253"/>
                    <a:pt x="168" y="252"/>
                    <a:pt x="169" y="251"/>
                  </a:cubicBezTo>
                  <a:cubicBezTo>
                    <a:pt x="169" y="251"/>
                    <a:pt x="169" y="251"/>
                    <a:pt x="169" y="251"/>
                  </a:cubicBezTo>
                  <a:cubicBezTo>
                    <a:pt x="169" y="251"/>
                    <a:pt x="169" y="251"/>
                    <a:pt x="169" y="251"/>
                  </a:cubicBezTo>
                  <a:cubicBezTo>
                    <a:pt x="169" y="251"/>
                    <a:pt x="170" y="251"/>
                    <a:pt x="170" y="251"/>
                  </a:cubicBezTo>
                  <a:cubicBezTo>
                    <a:pt x="170" y="251"/>
                    <a:pt x="170" y="251"/>
                    <a:pt x="170" y="251"/>
                  </a:cubicBezTo>
                  <a:cubicBezTo>
                    <a:pt x="171" y="250"/>
                    <a:pt x="172" y="250"/>
                    <a:pt x="172" y="249"/>
                  </a:cubicBezTo>
                  <a:cubicBezTo>
                    <a:pt x="173" y="249"/>
                    <a:pt x="173" y="248"/>
                    <a:pt x="173" y="248"/>
                  </a:cubicBezTo>
                  <a:cubicBezTo>
                    <a:pt x="172" y="247"/>
                    <a:pt x="172" y="247"/>
                    <a:pt x="172" y="247"/>
                  </a:cubicBezTo>
                  <a:cubicBezTo>
                    <a:pt x="173" y="248"/>
                    <a:pt x="173" y="248"/>
                    <a:pt x="173" y="248"/>
                  </a:cubicBezTo>
                  <a:cubicBezTo>
                    <a:pt x="173" y="248"/>
                    <a:pt x="174" y="248"/>
                    <a:pt x="174" y="248"/>
                  </a:cubicBezTo>
                  <a:cubicBezTo>
                    <a:pt x="174" y="248"/>
                    <a:pt x="173" y="249"/>
                    <a:pt x="173" y="249"/>
                  </a:cubicBezTo>
                  <a:cubicBezTo>
                    <a:pt x="173" y="249"/>
                    <a:pt x="172" y="250"/>
                    <a:pt x="172" y="250"/>
                  </a:cubicBezTo>
                  <a:cubicBezTo>
                    <a:pt x="172" y="250"/>
                    <a:pt x="172" y="250"/>
                    <a:pt x="171" y="251"/>
                  </a:cubicBezTo>
                  <a:cubicBezTo>
                    <a:pt x="171" y="251"/>
                    <a:pt x="170" y="251"/>
                    <a:pt x="170" y="252"/>
                  </a:cubicBezTo>
                  <a:cubicBezTo>
                    <a:pt x="170" y="252"/>
                    <a:pt x="169" y="253"/>
                    <a:pt x="169" y="254"/>
                  </a:cubicBezTo>
                  <a:cubicBezTo>
                    <a:pt x="169" y="254"/>
                    <a:pt x="169" y="254"/>
                    <a:pt x="169" y="254"/>
                  </a:cubicBezTo>
                  <a:cubicBezTo>
                    <a:pt x="169" y="254"/>
                    <a:pt x="169" y="255"/>
                    <a:pt x="169" y="255"/>
                  </a:cubicBezTo>
                  <a:cubicBezTo>
                    <a:pt x="168" y="255"/>
                    <a:pt x="168" y="256"/>
                    <a:pt x="167" y="257"/>
                  </a:cubicBezTo>
                  <a:cubicBezTo>
                    <a:pt x="167" y="258"/>
                    <a:pt x="168" y="258"/>
                    <a:pt x="168" y="259"/>
                  </a:cubicBezTo>
                  <a:cubicBezTo>
                    <a:pt x="168" y="259"/>
                    <a:pt x="168" y="259"/>
                    <a:pt x="168" y="259"/>
                  </a:cubicBezTo>
                  <a:cubicBezTo>
                    <a:pt x="168" y="259"/>
                    <a:pt x="167" y="260"/>
                    <a:pt x="167" y="261"/>
                  </a:cubicBezTo>
                  <a:cubicBezTo>
                    <a:pt x="167" y="261"/>
                    <a:pt x="167" y="261"/>
                    <a:pt x="166" y="261"/>
                  </a:cubicBezTo>
                  <a:cubicBezTo>
                    <a:pt x="166" y="261"/>
                    <a:pt x="165" y="261"/>
                    <a:pt x="165" y="261"/>
                  </a:cubicBezTo>
                  <a:cubicBezTo>
                    <a:pt x="164" y="261"/>
                    <a:pt x="163" y="262"/>
                    <a:pt x="163" y="262"/>
                  </a:cubicBezTo>
                  <a:cubicBezTo>
                    <a:pt x="163" y="262"/>
                    <a:pt x="163" y="263"/>
                    <a:pt x="163" y="263"/>
                  </a:cubicBezTo>
                  <a:cubicBezTo>
                    <a:pt x="162" y="263"/>
                    <a:pt x="162" y="263"/>
                    <a:pt x="162" y="263"/>
                  </a:cubicBezTo>
                  <a:cubicBezTo>
                    <a:pt x="162" y="263"/>
                    <a:pt x="161" y="264"/>
                    <a:pt x="161" y="265"/>
                  </a:cubicBezTo>
                  <a:cubicBezTo>
                    <a:pt x="160" y="265"/>
                    <a:pt x="161" y="266"/>
                    <a:pt x="161" y="267"/>
                  </a:cubicBezTo>
                  <a:cubicBezTo>
                    <a:pt x="161" y="267"/>
                    <a:pt x="162" y="268"/>
                    <a:pt x="162" y="268"/>
                  </a:cubicBezTo>
                  <a:cubicBezTo>
                    <a:pt x="163" y="268"/>
                    <a:pt x="163" y="268"/>
                    <a:pt x="164" y="267"/>
                  </a:cubicBezTo>
                  <a:cubicBezTo>
                    <a:pt x="164" y="267"/>
                    <a:pt x="164" y="267"/>
                    <a:pt x="165" y="267"/>
                  </a:cubicBezTo>
                  <a:cubicBezTo>
                    <a:pt x="165" y="267"/>
                    <a:pt x="165" y="267"/>
                    <a:pt x="165" y="267"/>
                  </a:cubicBezTo>
                  <a:cubicBezTo>
                    <a:pt x="166" y="267"/>
                    <a:pt x="166" y="267"/>
                    <a:pt x="167" y="267"/>
                  </a:cubicBezTo>
                  <a:cubicBezTo>
                    <a:pt x="168" y="267"/>
                    <a:pt x="168" y="267"/>
                    <a:pt x="168" y="267"/>
                  </a:cubicBezTo>
                  <a:cubicBezTo>
                    <a:pt x="170" y="267"/>
                    <a:pt x="171" y="264"/>
                    <a:pt x="172" y="263"/>
                  </a:cubicBezTo>
                  <a:cubicBezTo>
                    <a:pt x="172" y="262"/>
                    <a:pt x="172" y="262"/>
                    <a:pt x="172" y="261"/>
                  </a:cubicBezTo>
                  <a:cubicBezTo>
                    <a:pt x="173" y="261"/>
                    <a:pt x="173" y="260"/>
                    <a:pt x="174" y="259"/>
                  </a:cubicBezTo>
                  <a:cubicBezTo>
                    <a:pt x="174" y="259"/>
                    <a:pt x="174" y="259"/>
                    <a:pt x="174" y="260"/>
                  </a:cubicBezTo>
                  <a:cubicBezTo>
                    <a:pt x="174" y="260"/>
                    <a:pt x="174" y="260"/>
                    <a:pt x="174" y="261"/>
                  </a:cubicBezTo>
                  <a:cubicBezTo>
                    <a:pt x="174" y="261"/>
                    <a:pt x="174" y="262"/>
                    <a:pt x="174" y="263"/>
                  </a:cubicBezTo>
                  <a:cubicBezTo>
                    <a:pt x="174" y="264"/>
                    <a:pt x="173" y="266"/>
                    <a:pt x="172" y="267"/>
                  </a:cubicBezTo>
                  <a:cubicBezTo>
                    <a:pt x="172" y="267"/>
                    <a:pt x="171" y="267"/>
                    <a:pt x="171" y="267"/>
                  </a:cubicBezTo>
                  <a:cubicBezTo>
                    <a:pt x="170" y="268"/>
                    <a:pt x="168" y="269"/>
                    <a:pt x="168" y="270"/>
                  </a:cubicBezTo>
                  <a:cubicBezTo>
                    <a:pt x="168" y="271"/>
                    <a:pt x="168" y="271"/>
                    <a:pt x="168" y="272"/>
                  </a:cubicBezTo>
                  <a:cubicBezTo>
                    <a:pt x="168" y="272"/>
                    <a:pt x="168" y="272"/>
                    <a:pt x="167" y="272"/>
                  </a:cubicBezTo>
                  <a:cubicBezTo>
                    <a:pt x="167" y="272"/>
                    <a:pt x="167" y="272"/>
                    <a:pt x="167" y="272"/>
                  </a:cubicBezTo>
                  <a:cubicBezTo>
                    <a:pt x="167" y="272"/>
                    <a:pt x="167" y="272"/>
                    <a:pt x="167" y="271"/>
                  </a:cubicBezTo>
                  <a:cubicBezTo>
                    <a:pt x="167" y="271"/>
                    <a:pt x="167" y="269"/>
                    <a:pt x="165" y="269"/>
                  </a:cubicBezTo>
                  <a:cubicBezTo>
                    <a:pt x="163" y="268"/>
                    <a:pt x="162" y="269"/>
                    <a:pt x="161" y="270"/>
                  </a:cubicBezTo>
                  <a:cubicBezTo>
                    <a:pt x="160" y="270"/>
                    <a:pt x="160" y="270"/>
                    <a:pt x="160" y="270"/>
                  </a:cubicBezTo>
                  <a:cubicBezTo>
                    <a:pt x="160" y="270"/>
                    <a:pt x="160" y="270"/>
                    <a:pt x="160" y="270"/>
                  </a:cubicBezTo>
                  <a:cubicBezTo>
                    <a:pt x="160" y="270"/>
                    <a:pt x="159" y="270"/>
                    <a:pt x="159" y="270"/>
                  </a:cubicBezTo>
                  <a:cubicBezTo>
                    <a:pt x="159" y="270"/>
                    <a:pt x="159" y="270"/>
                    <a:pt x="158" y="270"/>
                  </a:cubicBezTo>
                  <a:cubicBezTo>
                    <a:pt x="156" y="270"/>
                    <a:pt x="155" y="271"/>
                    <a:pt x="155" y="273"/>
                  </a:cubicBezTo>
                  <a:cubicBezTo>
                    <a:pt x="154" y="275"/>
                    <a:pt x="154" y="276"/>
                    <a:pt x="155" y="277"/>
                  </a:cubicBezTo>
                  <a:cubicBezTo>
                    <a:pt x="156" y="278"/>
                    <a:pt x="157" y="278"/>
                    <a:pt x="157" y="278"/>
                  </a:cubicBezTo>
                  <a:cubicBezTo>
                    <a:pt x="158" y="278"/>
                    <a:pt x="159" y="277"/>
                    <a:pt x="160" y="277"/>
                  </a:cubicBezTo>
                  <a:cubicBezTo>
                    <a:pt x="160" y="277"/>
                    <a:pt x="161" y="276"/>
                    <a:pt x="161" y="276"/>
                  </a:cubicBezTo>
                  <a:cubicBezTo>
                    <a:pt x="161" y="276"/>
                    <a:pt x="161" y="276"/>
                    <a:pt x="161" y="276"/>
                  </a:cubicBezTo>
                  <a:cubicBezTo>
                    <a:pt x="162" y="277"/>
                    <a:pt x="162" y="277"/>
                    <a:pt x="162" y="277"/>
                  </a:cubicBezTo>
                  <a:cubicBezTo>
                    <a:pt x="163" y="277"/>
                    <a:pt x="164" y="277"/>
                    <a:pt x="165" y="276"/>
                  </a:cubicBezTo>
                  <a:cubicBezTo>
                    <a:pt x="165" y="276"/>
                    <a:pt x="166" y="276"/>
                    <a:pt x="166" y="276"/>
                  </a:cubicBezTo>
                  <a:cubicBezTo>
                    <a:pt x="166" y="276"/>
                    <a:pt x="166" y="276"/>
                    <a:pt x="166" y="276"/>
                  </a:cubicBezTo>
                  <a:cubicBezTo>
                    <a:pt x="168" y="276"/>
                    <a:pt x="169" y="276"/>
                    <a:pt x="170" y="275"/>
                  </a:cubicBezTo>
                  <a:cubicBezTo>
                    <a:pt x="170" y="274"/>
                    <a:pt x="170" y="274"/>
                    <a:pt x="170" y="273"/>
                  </a:cubicBezTo>
                  <a:cubicBezTo>
                    <a:pt x="170" y="273"/>
                    <a:pt x="170" y="273"/>
                    <a:pt x="170" y="273"/>
                  </a:cubicBezTo>
                  <a:cubicBezTo>
                    <a:pt x="171" y="273"/>
                    <a:pt x="172" y="273"/>
                    <a:pt x="172" y="273"/>
                  </a:cubicBezTo>
                  <a:cubicBezTo>
                    <a:pt x="172" y="273"/>
                    <a:pt x="173" y="272"/>
                    <a:pt x="173" y="272"/>
                  </a:cubicBezTo>
                  <a:cubicBezTo>
                    <a:pt x="173" y="272"/>
                    <a:pt x="174" y="272"/>
                    <a:pt x="175" y="272"/>
                  </a:cubicBezTo>
                  <a:cubicBezTo>
                    <a:pt x="175" y="272"/>
                    <a:pt x="175" y="272"/>
                    <a:pt x="175" y="273"/>
                  </a:cubicBezTo>
                  <a:cubicBezTo>
                    <a:pt x="175" y="273"/>
                    <a:pt x="175" y="273"/>
                    <a:pt x="175" y="273"/>
                  </a:cubicBezTo>
                  <a:cubicBezTo>
                    <a:pt x="175" y="274"/>
                    <a:pt x="175" y="275"/>
                    <a:pt x="176" y="275"/>
                  </a:cubicBezTo>
                  <a:cubicBezTo>
                    <a:pt x="176" y="277"/>
                    <a:pt x="177" y="279"/>
                    <a:pt x="177" y="281"/>
                  </a:cubicBezTo>
                  <a:cubicBezTo>
                    <a:pt x="177" y="282"/>
                    <a:pt x="176" y="282"/>
                    <a:pt x="176" y="283"/>
                  </a:cubicBezTo>
                  <a:cubicBezTo>
                    <a:pt x="176" y="283"/>
                    <a:pt x="176" y="284"/>
                    <a:pt x="175" y="284"/>
                  </a:cubicBezTo>
                  <a:cubicBezTo>
                    <a:pt x="175" y="285"/>
                    <a:pt x="175" y="286"/>
                    <a:pt x="175" y="287"/>
                  </a:cubicBezTo>
                  <a:cubicBezTo>
                    <a:pt x="174" y="287"/>
                    <a:pt x="174" y="288"/>
                    <a:pt x="174" y="288"/>
                  </a:cubicBezTo>
                  <a:cubicBezTo>
                    <a:pt x="174" y="289"/>
                    <a:pt x="174" y="289"/>
                    <a:pt x="174" y="289"/>
                  </a:cubicBezTo>
                  <a:cubicBezTo>
                    <a:pt x="174" y="290"/>
                    <a:pt x="173" y="291"/>
                    <a:pt x="174" y="293"/>
                  </a:cubicBezTo>
                  <a:cubicBezTo>
                    <a:pt x="174" y="293"/>
                    <a:pt x="174" y="294"/>
                    <a:pt x="174" y="295"/>
                  </a:cubicBezTo>
                  <a:cubicBezTo>
                    <a:pt x="175" y="297"/>
                    <a:pt x="175" y="301"/>
                    <a:pt x="178" y="302"/>
                  </a:cubicBezTo>
                  <a:cubicBezTo>
                    <a:pt x="179" y="303"/>
                    <a:pt x="179" y="303"/>
                    <a:pt x="179" y="304"/>
                  </a:cubicBezTo>
                  <a:cubicBezTo>
                    <a:pt x="180" y="305"/>
                    <a:pt x="182" y="306"/>
                    <a:pt x="183" y="306"/>
                  </a:cubicBezTo>
                  <a:cubicBezTo>
                    <a:pt x="183" y="305"/>
                    <a:pt x="184" y="305"/>
                    <a:pt x="184" y="305"/>
                  </a:cubicBezTo>
                  <a:cubicBezTo>
                    <a:pt x="184" y="305"/>
                    <a:pt x="185" y="305"/>
                    <a:pt x="185" y="305"/>
                  </a:cubicBezTo>
                  <a:cubicBezTo>
                    <a:pt x="185" y="305"/>
                    <a:pt x="186" y="305"/>
                    <a:pt x="186" y="305"/>
                  </a:cubicBezTo>
                  <a:cubicBezTo>
                    <a:pt x="187" y="306"/>
                    <a:pt x="187" y="306"/>
                    <a:pt x="188" y="306"/>
                  </a:cubicBezTo>
                  <a:cubicBezTo>
                    <a:pt x="188" y="306"/>
                    <a:pt x="189" y="306"/>
                    <a:pt x="189" y="306"/>
                  </a:cubicBezTo>
                  <a:cubicBezTo>
                    <a:pt x="189" y="306"/>
                    <a:pt x="189" y="307"/>
                    <a:pt x="189" y="307"/>
                  </a:cubicBezTo>
                  <a:cubicBezTo>
                    <a:pt x="190" y="308"/>
                    <a:pt x="190" y="308"/>
                    <a:pt x="191" y="308"/>
                  </a:cubicBezTo>
                  <a:cubicBezTo>
                    <a:pt x="191" y="308"/>
                    <a:pt x="191" y="308"/>
                    <a:pt x="192" y="309"/>
                  </a:cubicBezTo>
                  <a:cubicBezTo>
                    <a:pt x="192" y="309"/>
                    <a:pt x="192" y="309"/>
                    <a:pt x="192" y="309"/>
                  </a:cubicBezTo>
                  <a:cubicBezTo>
                    <a:pt x="192" y="310"/>
                    <a:pt x="193" y="312"/>
                    <a:pt x="195" y="312"/>
                  </a:cubicBezTo>
                  <a:cubicBezTo>
                    <a:pt x="195" y="312"/>
                    <a:pt x="195" y="312"/>
                    <a:pt x="196" y="311"/>
                  </a:cubicBezTo>
                  <a:cubicBezTo>
                    <a:pt x="196" y="311"/>
                    <a:pt x="197" y="311"/>
                    <a:pt x="197" y="311"/>
                  </a:cubicBezTo>
                  <a:cubicBezTo>
                    <a:pt x="197" y="310"/>
                    <a:pt x="197" y="310"/>
                    <a:pt x="197" y="310"/>
                  </a:cubicBezTo>
                  <a:cubicBezTo>
                    <a:pt x="198" y="310"/>
                    <a:pt x="198" y="309"/>
                    <a:pt x="199" y="309"/>
                  </a:cubicBezTo>
                  <a:cubicBezTo>
                    <a:pt x="200" y="308"/>
                    <a:pt x="200" y="307"/>
                    <a:pt x="201" y="307"/>
                  </a:cubicBezTo>
                  <a:cubicBezTo>
                    <a:pt x="201" y="307"/>
                    <a:pt x="201" y="307"/>
                    <a:pt x="201" y="307"/>
                  </a:cubicBezTo>
                  <a:cubicBezTo>
                    <a:pt x="202" y="307"/>
                    <a:pt x="204" y="307"/>
                    <a:pt x="205" y="305"/>
                  </a:cubicBezTo>
                  <a:cubicBezTo>
                    <a:pt x="205" y="305"/>
                    <a:pt x="205" y="304"/>
                    <a:pt x="205" y="303"/>
                  </a:cubicBezTo>
                  <a:cubicBezTo>
                    <a:pt x="205" y="303"/>
                    <a:pt x="206" y="302"/>
                    <a:pt x="207" y="302"/>
                  </a:cubicBezTo>
                  <a:cubicBezTo>
                    <a:pt x="208" y="302"/>
                    <a:pt x="208" y="302"/>
                    <a:pt x="208" y="302"/>
                  </a:cubicBezTo>
                  <a:cubicBezTo>
                    <a:pt x="208" y="302"/>
                    <a:pt x="208" y="303"/>
                    <a:pt x="208" y="303"/>
                  </a:cubicBezTo>
                  <a:cubicBezTo>
                    <a:pt x="208" y="303"/>
                    <a:pt x="207" y="303"/>
                    <a:pt x="207" y="303"/>
                  </a:cubicBezTo>
                  <a:cubicBezTo>
                    <a:pt x="206" y="304"/>
                    <a:pt x="205" y="305"/>
                    <a:pt x="205" y="306"/>
                  </a:cubicBezTo>
                  <a:cubicBezTo>
                    <a:pt x="205" y="307"/>
                    <a:pt x="207" y="308"/>
                    <a:pt x="209" y="307"/>
                  </a:cubicBezTo>
                  <a:cubicBezTo>
                    <a:pt x="209" y="308"/>
                    <a:pt x="209" y="308"/>
                    <a:pt x="209" y="309"/>
                  </a:cubicBezTo>
                  <a:cubicBezTo>
                    <a:pt x="209" y="309"/>
                    <a:pt x="209" y="309"/>
                    <a:pt x="210" y="310"/>
                  </a:cubicBezTo>
                  <a:cubicBezTo>
                    <a:pt x="210" y="310"/>
                    <a:pt x="210" y="310"/>
                    <a:pt x="210" y="310"/>
                  </a:cubicBezTo>
                  <a:cubicBezTo>
                    <a:pt x="209" y="311"/>
                    <a:pt x="209" y="311"/>
                    <a:pt x="209" y="312"/>
                  </a:cubicBezTo>
                  <a:cubicBezTo>
                    <a:pt x="210" y="313"/>
                    <a:pt x="210" y="313"/>
                    <a:pt x="210" y="313"/>
                  </a:cubicBezTo>
                  <a:cubicBezTo>
                    <a:pt x="211" y="313"/>
                    <a:pt x="211" y="313"/>
                    <a:pt x="211" y="313"/>
                  </a:cubicBezTo>
                  <a:cubicBezTo>
                    <a:pt x="211" y="313"/>
                    <a:pt x="211" y="313"/>
                    <a:pt x="211" y="313"/>
                  </a:cubicBezTo>
                  <a:cubicBezTo>
                    <a:pt x="212" y="314"/>
                    <a:pt x="212" y="314"/>
                    <a:pt x="212" y="314"/>
                  </a:cubicBezTo>
                  <a:cubicBezTo>
                    <a:pt x="212" y="314"/>
                    <a:pt x="212" y="314"/>
                    <a:pt x="212" y="315"/>
                  </a:cubicBezTo>
                  <a:cubicBezTo>
                    <a:pt x="213" y="317"/>
                    <a:pt x="213" y="317"/>
                    <a:pt x="214" y="317"/>
                  </a:cubicBezTo>
                  <a:cubicBezTo>
                    <a:pt x="215" y="317"/>
                    <a:pt x="215" y="317"/>
                    <a:pt x="215" y="317"/>
                  </a:cubicBezTo>
                  <a:cubicBezTo>
                    <a:pt x="217" y="316"/>
                    <a:pt x="216" y="314"/>
                    <a:pt x="216" y="313"/>
                  </a:cubicBezTo>
                  <a:cubicBezTo>
                    <a:pt x="216" y="313"/>
                    <a:pt x="216" y="313"/>
                    <a:pt x="216" y="313"/>
                  </a:cubicBezTo>
                  <a:cubicBezTo>
                    <a:pt x="216" y="313"/>
                    <a:pt x="216" y="313"/>
                    <a:pt x="216" y="313"/>
                  </a:cubicBezTo>
                  <a:cubicBezTo>
                    <a:pt x="217" y="312"/>
                    <a:pt x="217" y="312"/>
                    <a:pt x="217" y="312"/>
                  </a:cubicBezTo>
                  <a:cubicBezTo>
                    <a:pt x="217" y="312"/>
                    <a:pt x="217" y="312"/>
                    <a:pt x="217" y="312"/>
                  </a:cubicBezTo>
                  <a:cubicBezTo>
                    <a:pt x="217" y="312"/>
                    <a:pt x="218" y="313"/>
                    <a:pt x="218" y="313"/>
                  </a:cubicBezTo>
                  <a:cubicBezTo>
                    <a:pt x="218" y="313"/>
                    <a:pt x="218" y="313"/>
                    <a:pt x="218" y="313"/>
                  </a:cubicBezTo>
                  <a:cubicBezTo>
                    <a:pt x="220" y="313"/>
                    <a:pt x="220" y="312"/>
                    <a:pt x="221" y="311"/>
                  </a:cubicBezTo>
                  <a:cubicBezTo>
                    <a:pt x="221" y="310"/>
                    <a:pt x="222" y="310"/>
                    <a:pt x="223" y="310"/>
                  </a:cubicBezTo>
                  <a:cubicBezTo>
                    <a:pt x="223" y="310"/>
                    <a:pt x="223" y="309"/>
                    <a:pt x="224" y="309"/>
                  </a:cubicBezTo>
                  <a:cubicBezTo>
                    <a:pt x="225" y="309"/>
                    <a:pt x="226" y="308"/>
                    <a:pt x="227" y="307"/>
                  </a:cubicBezTo>
                  <a:cubicBezTo>
                    <a:pt x="228" y="307"/>
                    <a:pt x="229" y="306"/>
                    <a:pt x="229" y="305"/>
                  </a:cubicBezTo>
                  <a:cubicBezTo>
                    <a:pt x="230" y="305"/>
                    <a:pt x="230" y="304"/>
                    <a:pt x="231" y="304"/>
                  </a:cubicBezTo>
                  <a:cubicBezTo>
                    <a:pt x="231" y="304"/>
                    <a:pt x="231" y="304"/>
                    <a:pt x="231" y="304"/>
                  </a:cubicBezTo>
                  <a:cubicBezTo>
                    <a:pt x="231" y="304"/>
                    <a:pt x="232" y="304"/>
                    <a:pt x="231" y="303"/>
                  </a:cubicBezTo>
                  <a:cubicBezTo>
                    <a:pt x="231" y="303"/>
                    <a:pt x="232" y="304"/>
                    <a:pt x="232" y="304"/>
                  </a:cubicBezTo>
                  <a:cubicBezTo>
                    <a:pt x="232" y="304"/>
                    <a:pt x="232" y="304"/>
                    <a:pt x="232" y="304"/>
                  </a:cubicBezTo>
                  <a:cubicBezTo>
                    <a:pt x="234" y="304"/>
                    <a:pt x="235" y="304"/>
                    <a:pt x="236" y="304"/>
                  </a:cubicBezTo>
                  <a:cubicBezTo>
                    <a:pt x="236" y="304"/>
                    <a:pt x="236" y="304"/>
                    <a:pt x="237" y="304"/>
                  </a:cubicBezTo>
                  <a:cubicBezTo>
                    <a:pt x="237" y="304"/>
                    <a:pt x="238" y="304"/>
                    <a:pt x="238" y="304"/>
                  </a:cubicBezTo>
                  <a:cubicBezTo>
                    <a:pt x="239" y="304"/>
                    <a:pt x="239" y="304"/>
                    <a:pt x="239" y="304"/>
                  </a:cubicBezTo>
                  <a:cubicBezTo>
                    <a:pt x="239" y="304"/>
                    <a:pt x="240" y="303"/>
                    <a:pt x="240" y="304"/>
                  </a:cubicBezTo>
                  <a:cubicBezTo>
                    <a:pt x="240" y="304"/>
                    <a:pt x="241" y="304"/>
                    <a:pt x="242" y="304"/>
                  </a:cubicBezTo>
                  <a:cubicBezTo>
                    <a:pt x="242" y="304"/>
                    <a:pt x="243" y="304"/>
                    <a:pt x="243" y="304"/>
                  </a:cubicBezTo>
                  <a:cubicBezTo>
                    <a:pt x="244" y="304"/>
                    <a:pt x="244" y="304"/>
                    <a:pt x="244" y="304"/>
                  </a:cubicBezTo>
                  <a:cubicBezTo>
                    <a:pt x="244" y="303"/>
                    <a:pt x="244" y="303"/>
                    <a:pt x="244" y="303"/>
                  </a:cubicBezTo>
                  <a:cubicBezTo>
                    <a:pt x="245" y="303"/>
                    <a:pt x="245" y="303"/>
                    <a:pt x="245" y="303"/>
                  </a:cubicBezTo>
                  <a:cubicBezTo>
                    <a:pt x="245" y="303"/>
                    <a:pt x="245" y="302"/>
                    <a:pt x="245" y="302"/>
                  </a:cubicBezTo>
                  <a:cubicBezTo>
                    <a:pt x="246" y="302"/>
                    <a:pt x="246" y="302"/>
                    <a:pt x="246" y="302"/>
                  </a:cubicBezTo>
                  <a:cubicBezTo>
                    <a:pt x="246" y="302"/>
                    <a:pt x="247" y="302"/>
                    <a:pt x="247" y="301"/>
                  </a:cubicBezTo>
                  <a:cubicBezTo>
                    <a:pt x="247" y="301"/>
                    <a:pt x="247" y="301"/>
                    <a:pt x="247" y="301"/>
                  </a:cubicBezTo>
                  <a:cubicBezTo>
                    <a:pt x="248" y="301"/>
                    <a:pt x="248" y="301"/>
                    <a:pt x="248" y="301"/>
                  </a:cubicBezTo>
                  <a:cubicBezTo>
                    <a:pt x="249" y="300"/>
                    <a:pt x="250" y="299"/>
                    <a:pt x="250" y="297"/>
                  </a:cubicBezTo>
                  <a:cubicBezTo>
                    <a:pt x="250" y="296"/>
                    <a:pt x="250" y="296"/>
                    <a:pt x="250" y="295"/>
                  </a:cubicBezTo>
                  <a:cubicBezTo>
                    <a:pt x="250" y="295"/>
                    <a:pt x="250" y="295"/>
                    <a:pt x="250" y="295"/>
                  </a:cubicBezTo>
                  <a:cubicBezTo>
                    <a:pt x="250" y="295"/>
                    <a:pt x="251" y="294"/>
                    <a:pt x="251" y="294"/>
                  </a:cubicBezTo>
                  <a:cubicBezTo>
                    <a:pt x="252" y="293"/>
                    <a:pt x="252" y="293"/>
                    <a:pt x="253" y="292"/>
                  </a:cubicBezTo>
                  <a:cubicBezTo>
                    <a:pt x="253" y="292"/>
                    <a:pt x="254" y="291"/>
                    <a:pt x="254" y="290"/>
                  </a:cubicBezTo>
                  <a:cubicBezTo>
                    <a:pt x="254" y="290"/>
                    <a:pt x="254" y="290"/>
                    <a:pt x="254" y="289"/>
                  </a:cubicBezTo>
                  <a:cubicBezTo>
                    <a:pt x="254" y="289"/>
                    <a:pt x="255" y="289"/>
                    <a:pt x="256" y="288"/>
                  </a:cubicBezTo>
                  <a:cubicBezTo>
                    <a:pt x="256" y="288"/>
                    <a:pt x="258" y="287"/>
                    <a:pt x="258" y="285"/>
                  </a:cubicBezTo>
                  <a:cubicBezTo>
                    <a:pt x="258" y="285"/>
                    <a:pt x="258" y="285"/>
                    <a:pt x="257" y="285"/>
                  </a:cubicBezTo>
                  <a:cubicBezTo>
                    <a:pt x="257" y="284"/>
                    <a:pt x="257" y="284"/>
                    <a:pt x="257" y="284"/>
                  </a:cubicBezTo>
                  <a:cubicBezTo>
                    <a:pt x="258" y="284"/>
                    <a:pt x="258" y="284"/>
                    <a:pt x="258" y="283"/>
                  </a:cubicBezTo>
                  <a:cubicBezTo>
                    <a:pt x="258" y="283"/>
                    <a:pt x="259" y="283"/>
                    <a:pt x="259" y="282"/>
                  </a:cubicBezTo>
                  <a:cubicBezTo>
                    <a:pt x="259" y="282"/>
                    <a:pt x="259" y="281"/>
                    <a:pt x="259" y="281"/>
                  </a:cubicBezTo>
                  <a:cubicBezTo>
                    <a:pt x="259" y="281"/>
                    <a:pt x="260" y="281"/>
                    <a:pt x="260" y="280"/>
                  </a:cubicBezTo>
                  <a:cubicBezTo>
                    <a:pt x="260" y="280"/>
                    <a:pt x="260" y="280"/>
                    <a:pt x="260" y="280"/>
                  </a:cubicBezTo>
                  <a:cubicBezTo>
                    <a:pt x="261" y="280"/>
                    <a:pt x="262" y="280"/>
                    <a:pt x="262" y="278"/>
                  </a:cubicBezTo>
                  <a:cubicBezTo>
                    <a:pt x="263" y="278"/>
                    <a:pt x="263" y="278"/>
                    <a:pt x="263" y="277"/>
                  </a:cubicBezTo>
                  <a:cubicBezTo>
                    <a:pt x="263" y="277"/>
                    <a:pt x="263" y="277"/>
                    <a:pt x="263" y="277"/>
                  </a:cubicBezTo>
                  <a:cubicBezTo>
                    <a:pt x="264" y="276"/>
                    <a:pt x="265" y="275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6" y="274"/>
                    <a:pt x="266" y="274"/>
                    <a:pt x="266" y="274"/>
                  </a:cubicBezTo>
                  <a:cubicBezTo>
                    <a:pt x="268" y="274"/>
                    <a:pt x="269" y="272"/>
                    <a:pt x="270" y="271"/>
                  </a:cubicBezTo>
                  <a:cubicBezTo>
                    <a:pt x="270" y="270"/>
                    <a:pt x="270" y="270"/>
                    <a:pt x="270" y="269"/>
                  </a:cubicBezTo>
                  <a:cubicBezTo>
                    <a:pt x="270" y="269"/>
                    <a:pt x="270" y="269"/>
                    <a:pt x="270" y="269"/>
                  </a:cubicBezTo>
                  <a:cubicBezTo>
                    <a:pt x="270" y="268"/>
                    <a:pt x="271" y="267"/>
                    <a:pt x="272" y="266"/>
                  </a:cubicBezTo>
                  <a:cubicBezTo>
                    <a:pt x="272" y="266"/>
                    <a:pt x="273" y="265"/>
                    <a:pt x="273" y="265"/>
                  </a:cubicBezTo>
                  <a:cubicBezTo>
                    <a:pt x="273" y="265"/>
                    <a:pt x="273" y="265"/>
                    <a:pt x="273" y="264"/>
                  </a:cubicBezTo>
                  <a:cubicBezTo>
                    <a:pt x="275" y="263"/>
                    <a:pt x="275" y="263"/>
                    <a:pt x="275" y="263"/>
                  </a:cubicBezTo>
                  <a:cubicBezTo>
                    <a:pt x="276" y="262"/>
                    <a:pt x="277" y="261"/>
                    <a:pt x="277" y="259"/>
                  </a:cubicBezTo>
                  <a:cubicBezTo>
                    <a:pt x="278" y="259"/>
                    <a:pt x="278" y="258"/>
                    <a:pt x="278" y="258"/>
                  </a:cubicBezTo>
                  <a:cubicBezTo>
                    <a:pt x="278" y="257"/>
                    <a:pt x="278" y="257"/>
                    <a:pt x="278" y="257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78" y="257"/>
                    <a:pt x="278" y="257"/>
                    <a:pt x="278" y="257"/>
                  </a:cubicBezTo>
                  <a:cubicBezTo>
                    <a:pt x="278" y="257"/>
                    <a:pt x="277" y="257"/>
                    <a:pt x="277" y="257"/>
                  </a:cubicBezTo>
                  <a:cubicBezTo>
                    <a:pt x="278" y="257"/>
                    <a:pt x="279" y="257"/>
                    <a:pt x="280" y="256"/>
                  </a:cubicBezTo>
                  <a:cubicBezTo>
                    <a:pt x="280" y="256"/>
                    <a:pt x="281" y="255"/>
                    <a:pt x="281" y="255"/>
                  </a:cubicBezTo>
                  <a:cubicBezTo>
                    <a:pt x="281" y="255"/>
                    <a:pt x="281" y="255"/>
                    <a:pt x="281" y="255"/>
                  </a:cubicBezTo>
                  <a:cubicBezTo>
                    <a:pt x="281" y="255"/>
                    <a:pt x="281" y="254"/>
                    <a:pt x="282" y="254"/>
                  </a:cubicBezTo>
                  <a:cubicBezTo>
                    <a:pt x="282" y="254"/>
                    <a:pt x="282" y="254"/>
                    <a:pt x="282" y="254"/>
                  </a:cubicBezTo>
                  <a:cubicBezTo>
                    <a:pt x="283" y="253"/>
                    <a:pt x="283" y="252"/>
                    <a:pt x="283" y="252"/>
                  </a:cubicBezTo>
                  <a:cubicBezTo>
                    <a:pt x="283" y="252"/>
                    <a:pt x="283" y="252"/>
                    <a:pt x="283" y="251"/>
                  </a:cubicBezTo>
                  <a:cubicBezTo>
                    <a:pt x="284" y="251"/>
                    <a:pt x="284" y="251"/>
                    <a:pt x="284" y="251"/>
                  </a:cubicBezTo>
                  <a:cubicBezTo>
                    <a:pt x="284" y="251"/>
                    <a:pt x="285" y="251"/>
                    <a:pt x="285" y="251"/>
                  </a:cubicBezTo>
                  <a:cubicBezTo>
                    <a:pt x="286" y="250"/>
                    <a:pt x="286" y="249"/>
                    <a:pt x="286" y="249"/>
                  </a:cubicBezTo>
                  <a:cubicBezTo>
                    <a:pt x="286" y="248"/>
                    <a:pt x="287" y="248"/>
                    <a:pt x="287" y="248"/>
                  </a:cubicBezTo>
                  <a:cubicBezTo>
                    <a:pt x="287" y="248"/>
                    <a:pt x="288" y="248"/>
                    <a:pt x="288" y="247"/>
                  </a:cubicBezTo>
                  <a:cubicBezTo>
                    <a:pt x="289" y="247"/>
                    <a:pt x="289" y="247"/>
                    <a:pt x="290" y="246"/>
                  </a:cubicBezTo>
                  <a:cubicBezTo>
                    <a:pt x="292" y="246"/>
                    <a:pt x="292" y="244"/>
                    <a:pt x="292" y="243"/>
                  </a:cubicBezTo>
                  <a:cubicBezTo>
                    <a:pt x="293" y="243"/>
                    <a:pt x="293" y="243"/>
                    <a:pt x="293" y="243"/>
                  </a:cubicBezTo>
                  <a:cubicBezTo>
                    <a:pt x="295" y="243"/>
                    <a:pt x="295" y="241"/>
                    <a:pt x="295" y="240"/>
                  </a:cubicBezTo>
                  <a:cubicBezTo>
                    <a:pt x="295" y="240"/>
                    <a:pt x="295" y="240"/>
                    <a:pt x="295" y="240"/>
                  </a:cubicBezTo>
                  <a:cubicBezTo>
                    <a:pt x="295" y="240"/>
                    <a:pt x="295" y="240"/>
                    <a:pt x="295" y="240"/>
                  </a:cubicBezTo>
                  <a:cubicBezTo>
                    <a:pt x="296" y="240"/>
                    <a:pt x="297" y="239"/>
                    <a:pt x="297" y="238"/>
                  </a:cubicBezTo>
                  <a:cubicBezTo>
                    <a:pt x="297" y="238"/>
                    <a:pt x="297" y="237"/>
                    <a:pt x="297" y="237"/>
                  </a:cubicBezTo>
                  <a:cubicBezTo>
                    <a:pt x="297" y="237"/>
                    <a:pt x="297" y="237"/>
                    <a:pt x="297" y="237"/>
                  </a:cubicBezTo>
                  <a:cubicBezTo>
                    <a:pt x="297" y="237"/>
                    <a:pt x="297" y="237"/>
                    <a:pt x="298" y="236"/>
                  </a:cubicBezTo>
                  <a:cubicBezTo>
                    <a:pt x="298" y="236"/>
                    <a:pt x="298" y="235"/>
                    <a:pt x="298" y="235"/>
                  </a:cubicBezTo>
                  <a:cubicBezTo>
                    <a:pt x="299" y="235"/>
                    <a:pt x="300" y="235"/>
                    <a:pt x="300" y="234"/>
                  </a:cubicBezTo>
                  <a:cubicBezTo>
                    <a:pt x="301" y="234"/>
                    <a:pt x="301" y="234"/>
                    <a:pt x="301" y="234"/>
                  </a:cubicBezTo>
                  <a:cubicBezTo>
                    <a:pt x="301" y="233"/>
                    <a:pt x="302" y="232"/>
                    <a:pt x="302" y="231"/>
                  </a:cubicBezTo>
                  <a:cubicBezTo>
                    <a:pt x="302" y="230"/>
                    <a:pt x="302" y="230"/>
                    <a:pt x="302" y="229"/>
                  </a:cubicBezTo>
                  <a:cubicBezTo>
                    <a:pt x="302" y="229"/>
                    <a:pt x="302" y="228"/>
                    <a:pt x="302" y="228"/>
                  </a:cubicBezTo>
                  <a:cubicBezTo>
                    <a:pt x="302" y="227"/>
                    <a:pt x="303" y="226"/>
                    <a:pt x="304" y="225"/>
                  </a:cubicBezTo>
                  <a:cubicBezTo>
                    <a:pt x="304" y="224"/>
                    <a:pt x="304" y="224"/>
                    <a:pt x="304" y="224"/>
                  </a:cubicBezTo>
                  <a:cubicBezTo>
                    <a:pt x="305" y="223"/>
                    <a:pt x="305" y="223"/>
                    <a:pt x="305" y="223"/>
                  </a:cubicBezTo>
                  <a:cubicBezTo>
                    <a:pt x="305" y="222"/>
                    <a:pt x="306" y="222"/>
                    <a:pt x="306" y="222"/>
                  </a:cubicBezTo>
                  <a:cubicBezTo>
                    <a:pt x="306" y="221"/>
                    <a:pt x="307" y="220"/>
                    <a:pt x="307" y="219"/>
                  </a:cubicBezTo>
                  <a:cubicBezTo>
                    <a:pt x="308" y="219"/>
                    <a:pt x="308" y="218"/>
                    <a:pt x="308" y="218"/>
                  </a:cubicBezTo>
                  <a:cubicBezTo>
                    <a:pt x="308" y="217"/>
                    <a:pt x="308" y="217"/>
                    <a:pt x="309" y="217"/>
                  </a:cubicBezTo>
                  <a:lnTo>
                    <a:pt x="308" y="216"/>
                  </a:lnTo>
                  <a:close/>
                  <a:moveTo>
                    <a:pt x="16" y="156"/>
                  </a:moveTo>
                  <a:cubicBezTo>
                    <a:pt x="16" y="155"/>
                    <a:pt x="16" y="155"/>
                    <a:pt x="16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7" y="155"/>
                    <a:pt x="17" y="155"/>
                    <a:pt x="17" y="155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16" y="156"/>
                    <a:pt x="16" y="156"/>
                    <a:pt x="16" y="156"/>
                  </a:cubicBezTo>
                  <a:cubicBezTo>
                    <a:pt x="16" y="156"/>
                    <a:pt x="16" y="156"/>
                    <a:pt x="16" y="156"/>
                  </a:cubicBezTo>
                  <a:close/>
                  <a:moveTo>
                    <a:pt x="160" y="48"/>
                  </a:moveTo>
                  <a:cubicBezTo>
                    <a:pt x="160" y="48"/>
                    <a:pt x="160" y="48"/>
                    <a:pt x="160" y="48"/>
                  </a:cubicBezTo>
                  <a:cubicBezTo>
                    <a:pt x="160" y="48"/>
                    <a:pt x="160" y="48"/>
                    <a:pt x="160" y="48"/>
                  </a:cubicBezTo>
                  <a:cubicBezTo>
                    <a:pt x="160" y="48"/>
                    <a:pt x="160" y="48"/>
                    <a:pt x="160" y="48"/>
                  </a:cubicBezTo>
                  <a:close/>
                  <a:moveTo>
                    <a:pt x="171" y="22"/>
                  </a:moveTo>
                  <a:cubicBezTo>
                    <a:pt x="171" y="22"/>
                    <a:pt x="171" y="22"/>
                    <a:pt x="171" y="22"/>
                  </a:cubicBezTo>
                  <a:cubicBezTo>
                    <a:pt x="171" y="22"/>
                    <a:pt x="171" y="22"/>
                    <a:pt x="171" y="22"/>
                  </a:cubicBezTo>
                  <a:cubicBezTo>
                    <a:pt x="171" y="22"/>
                    <a:pt x="171" y="22"/>
                    <a:pt x="171" y="22"/>
                  </a:cubicBezTo>
                  <a:close/>
                  <a:moveTo>
                    <a:pt x="109" y="58"/>
                  </a:move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9"/>
                    <a:pt x="108" y="60"/>
                    <a:pt x="109" y="62"/>
                  </a:cubicBezTo>
                  <a:cubicBezTo>
                    <a:pt x="109" y="63"/>
                    <a:pt x="110" y="63"/>
                    <a:pt x="110" y="64"/>
                  </a:cubicBezTo>
                  <a:cubicBezTo>
                    <a:pt x="110" y="64"/>
                    <a:pt x="109" y="64"/>
                    <a:pt x="109" y="64"/>
                  </a:cubicBezTo>
                  <a:cubicBezTo>
                    <a:pt x="109" y="64"/>
                    <a:pt x="109" y="64"/>
                    <a:pt x="109" y="65"/>
                  </a:cubicBezTo>
                  <a:cubicBezTo>
                    <a:pt x="108" y="64"/>
                    <a:pt x="108" y="64"/>
                    <a:pt x="108" y="64"/>
                  </a:cubicBezTo>
                  <a:cubicBezTo>
                    <a:pt x="108" y="64"/>
                    <a:pt x="108" y="63"/>
                    <a:pt x="108" y="63"/>
                  </a:cubicBezTo>
                  <a:cubicBezTo>
                    <a:pt x="108" y="63"/>
                    <a:pt x="108" y="63"/>
                    <a:pt x="108" y="62"/>
                  </a:cubicBezTo>
                  <a:cubicBezTo>
                    <a:pt x="108" y="61"/>
                    <a:pt x="108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8" y="60"/>
                    <a:pt x="109" y="59"/>
                    <a:pt x="109" y="5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4608" y="3807"/>
              <a:ext cx="16" cy="14"/>
            </a:xfrm>
            <a:custGeom>
              <a:avLst/>
              <a:gdLst>
                <a:gd name="T0" fmla="*/ 5 w 7"/>
                <a:gd name="T1" fmla="*/ 2 h 6"/>
                <a:gd name="T2" fmla="*/ 4 w 7"/>
                <a:gd name="T3" fmla="*/ 1 h 6"/>
                <a:gd name="T4" fmla="*/ 4 w 7"/>
                <a:gd name="T5" fmla="*/ 1 h 6"/>
                <a:gd name="T6" fmla="*/ 2 w 7"/>
                <a:gd name="T7" fmla="*/ 0 h 6"/>
                <a:gd name="T8" fmla="*/ 1 w 7"/>
                <a:gd name="T9" fmla="*/ 2 h 6"/>
                <a:gd name="T10" fmla="*/ 1 w 7"/>
                <a:gd name="T11" fmla="*/ 5 h 6"/>
                <a:gd name="T12" fmla="*/ 4 w 7"/>
                <a:gd name="T13" fmla="*/ 6 h 6"/>
                <a:gd name="T14" fmla="*/ 4 w 7"/>
                <a:gd name="T15" fmla="*/ 6 h 6"/>
                <a:gd name="T16" fmla="*/ 7 w 7"/>
                <a:gd name="T17" fmla="*/ 5 h 6"/>
                <a:gd name="T18" fmla="*/ 7 w 7"/>
                <a:gd name="T19" fmla="*/ 3 h 6"/>
                <a:gd name="T20" fmla="*/ 5 w 7"/>
                <a:gd name="T2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" h="6">
                  <a:moveTo>
                    <a:pt x="5" y="2"/>
                  </a:moveTo>
                  <a:cubicBezTo>
                    <a:pt x="5" y="2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0" y="3"/>
                    <a:pt x="1" y="4"/>
                    <a:pt x="1" y="5"/>
                  </a:cubicBezTo>
                  <a:cubicBezTo>
                    <a:pt x="2" y="5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5" y="6"/>
                    <a:pt x="6" y="6"/>
                    <a:pt x="7" y="5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2"/>
                    <a:pt x="6" y="2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1942" y="1857"/>
              <a:ext cx="15" cy="31"/>
            </a:xfrm>
            <a:custGeom>
              <a:avLst/>
              <a:gdLst>
                <a:gd name="T0" fmla="*/ 5 w 6"/>
                <a:gd name="T1" fmla="*/ 4 h 13"/>
                <a:gd name="T2" fmla="*/ 2 w 6"/>
                <a:gd name="T3" fmla="*/ 0 h 13"/>
                <a:gd name="T4" fmla="*/ 2 w 6"/>
                <a:gd name="T5" fmla="*/ 0 h 13"/>
                <a:gd name="T6" fmla="*/ 0 w 6"/>
                <a:gd name="T7" fmla="*/ 3 h 13"/>
                <a:gd name="T8" fmla="*/ 1 w 6"/>
                <a:gd name="T9" fmla="*/ 5 h 13"/>
                <a:gd name="T10" fmla="*/ 1 w 6"/>
                <a:gd name="T11" fmla="*/ 6 h 13"/>
                <a:gd name="T12" fmla="*/ 1 w 6"/>
                <a:gd name="T13" fmla="*/ 6 h 13"/>
                <a:gd name="T14" fmla="*/ 1 w 6"/>
                <a:gd name="T15" fmla="*/ 7 h 13"/>
                <a:gd name="T16" fmla="*/ 2 w 6"/>
                <a:gd name="T17" fmla="*/ 8 h 13"/>
                <a:gd name="T18" fmla="*/ 2 w 6"/>
                <a:gd name="T19" fmla="*/ 9 h 13"/>
                <a:gd name="T20" fmla="*/ 2 w 6"/>
                <a:gd name="T21" fmla="*/ 10 h 13"/>
                <a:gd name="T22" fmla="*/ 1 w 6"/>
                <a:gd name="T23" fmla="*/ 12 h 13"/>
                <a:gd name="T24" fmla="*/ 2 w 6"/>
                <a:gd name="T25" fmla="*/ 13 h 13"/>
                <a:gd name="T26" fmla="*/ 2 w 6"/>
                <a:gd name="T27" fmla="*/ 13 h 13"/>
                <a:gd name="T28" fmla="*/ 3 w 6"/>
                <a:gd name="T29" fmla="*/ 13 h 13"/>
                <a:gd name="T30" fmla="*/ 5 w 6"/>
                <a:gd name="T31" fmla="*/ 8 h 13"/>
                <a:gd name="T32" fmla="*/ 5 w 6"/>
                <a:gd name="T33" fmla="*/ 5 h 13"/>
                <a:gd name="T34" fmla="*/ 5 w 6"/>
                <a:gd name="T35" fmla="*/ 4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" h="13">
                  <a:moveTo>
                    <a:pt x="5" y="4"/>
                  </a:moveTo>
                  <a:cubicBezTo>
                    <a:pt x="4" y="3"/>
                    <a:pt x="4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0" y="0"/>
                    <a:pt x="0" y="3"/>
                    <a:pt x="0" y="3"/>
                  </a:cubicBezTo>
                  <a:cubicBezTo>
                    <a:pt x="0" y="5"/>
                    <a:pt x="0" y="5"/>
                    <a:pt x="1" y="5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2" y="10"/>
                    <a:pt x="1" y="11"/>
                    <a:pt x="1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5" y="13"/>
                    <a:pt x="5" y="10"/>
                    <a:pt x="5" y="8"/>
                  </a:cubicBezTo>
                  <a:cubicBezTo>
                    <a:pt x="6" y="7"/>
                    <a:pt x="5" y="6"/>
                    <a:pt x="5" y="5"/>
                  </a:cubicBezTo>
                  <a:cubicBezTo>
                    <a:pt x="5" y="5"/>
                    <a:pt x="5" y="5"/>
                    <a:pt x="5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1763" y="1911"/>
              <a:ext cx="196" cy="104"/>
            </a:xfrm>
            <a:custGeom>
              <a:avLst/>
              <a:gdLst>
                <a:gd name="T0" fmla="*/ 62 w 83"/>
                <a:gd name="T1" fmla="*/ 42 h 44"/>
                <a:gd name="T2" fmla="*/ 65 w 83"/>
                <a:gd name="T3" fmla="*/ 43 h 44"/>
                <a:gd name="T4" fmla="*/ 69 w 83"/>
                <a:gd name="T5" fmla="*/ 43 h 44"/>
                <a:gd name="T6" fmla="*/ 73 w 83"/>
                <a:gd name="T7" fmla="*/ 43 h 44"/>
                <a:gd name="T8" fmla="*/ 77 w 83"/>
                <a:gd name="T9" fmla="*/ 43 h 44"/>
                <a:gd name="T10" fmla="*/ 77 w 83"/>
                <a:gd name="T11" fmla="*/ 43 h 44"/>
                <a:gd name="T12" fmla="*/ 81 w 83"/>
                <a:gd name="T13" fmla="*/ 42 h 44"/>
                <a:gd name="T14" fmla="*/ 80 w 83"/>
                <a:gd name="T15" fmla="*/ 36 h 44"/>
                <a:gd name="T16" fmla="*/ 77 w 83"/>
                <a:gd name="T17" fmla="*/ 33 h 44"/>
                <a:gd name="T18" fmla="*/ 72 w 83"/>
                <a:gd name="T19" fmla="*/ 31 h 44"/>
                <a:gd name="T20" fmla="*/ 68 w 83"/>
                <a:gd name="T21" fmla="*/ 27 h 44"/>
                <a:gd name="T22" fmla="*/ 64 w 83"/>
                <a:gd name="T23" fmla="*/ 26 h 44"/>
                <a:gd name="T24" fmla="*/ 63 w 83"/>
                <a:gd name="T25" fmla="*/ 25 h 44"/>
                <a:gd name="T26" fmla="*/ 62 w 83"/>
                <a:gd name="T27" fmla="*/ 22 h 44"/>
                <a:gd name="T28" fmla="*/ 58 w 83"/>
                <a:gd name="T29" fmla="*/ 19 h 44"/>
                <a:gd name="T30" fmla="*/ 56 w 83"/>
                <a:gd name="T31" fmla="*/ 17 h 44"/>
                <a:gd name="T32" fmla="*/ 54 w 83"/>
                <a:gd name="T33" fmla="*/ 13 h 44"/>
                <a:gd name="T34" fmla="*/ 48 w 83"/>
                <a:gd name="T35" fmla="*/ 9 h 44"/>
                <a:gd name="T36" fmla="*/ 42 w 83"/>
                <a:gd name="T37" fmla="*/ 5 h 44"/>
                <a:gd name="T38" fmla="*/ 39 w 83"/>
                <a:gd name="T39" fmla="*/ 3 h 44"/>
                <a:gd name="T40" fmla="*/ 38 w 83"/>
                <a:gd name="T41" fmla="*/ 3 h 44"/>
                <a:gd name="T42" fmla="*/ 35 w 83"/>
                <a:gd name="T43" fmla="*/ 1 h 44"/>
                <a:gd name="T44" fmla="*/ 33 w 83"/>
                <a:gd name="T45" fmla="*/ 1 h 44"/>
                <a:gd name="T46" fmla="*/ 29 w 83"/>
                <a:gd name="T47" fmla="*/ 0 h 44"/>
                <a:gd name="T48" fmla="*/ 27 w 83"/>
                <a:gd name="T49" fmla="*/ 1 h 44"/>
                <a:gd name="T50" fmla="*/ 23 w 83"/>
                <a:gd name="T51" fmla="*/ 2 h 44"/>
                <a:gd name="T52" fmla="*/ 16 w 83"/>
                <a:gd name="T53" fmla="*/ 3 h 44"/>
                <a:gd name="T54" fmla="*/ 13 w 83"/>
                <a:gd name="T55" fmla="*/ 4 h 44"/>
                <a:gd name="T56" fmla="*/ 8 w 83"/>
                <a:gd name="T57" fmla="*/ 8 h 44"/>
                <a:gd name="T58" fmla="*/ 4 w 83"/>
                <a:gd name="T59" fmla="*/ 11 h 44"/>
                <a:gd name="T60" fmla="*/ 2 w 83"/>
                <a:gd name="T61" fmla="*/ 12 h 44"/>
                <a:gd name="T62" fmla="*/ 0 w 83"/>
                <a:gd name="T63" fmla="*/ 14 h 44"/>
                <a:gd name="T64" fmla="*/ 3 w 83"/>
                <a:gd name="T65" fmla="*/ 17 h 44"/>
                <a:gd name="T66" fmla="*/ 3 w 83"/>
                <a:gd name="T67" fmla="*/ 18 h 44"/>
                <a:gd name="T68" fmla="*/ 7 w 83"/>
                <a:gd name="T69" fmla="*/ 16 h 44"/>
                <a:gd name="T70" fmla="*/ 10 w 83"/>
                <a:gd name="T71" fmla="*/ 15 h 44"/>
                <a:gd name="T72" fmla="*/ 20 w 83"/>
                <a:gd name="T73" fmla="*/ 10 h 44"/>
                <a:gd name="T74" fmla="*/ 21 w 83"/>
                <a:gd name="T75" fmla="*/ 8 h 44"/>
                <a:gd name="T76" fmla="*/ 24 w 83"/>
                <a:gd name="T77" fmla="*/ 9 h 44"/>
                <a:gd name="T78" fmla="*/ 24 w 83"/>
                <a:gd name="T79" fmla="*/ 10 h 44"/>
                <a:gd name="T80" fmla="*/ 25 w 83"/>
                <a:gd name="T81" fmla="*/ 13 h 44"/>
                <a:gd name="T82" fmla="*/ 27 w 83"/>
                <a:gd name="T83" fmla="*/ 16 h 44"/>
                <a:gd name="T84" fmla="*/ 31 w 83"/>
                <a:gd name="T85" fmla="*/ 17 h 44"/>
                <a:gd name="T86" fmla="*/ 37 w 83"/>
                <a:gd name="T87" fmla="*/ 18 h 44"/>
                <a:gd name="T88" fmla="*/ 40 w 83"/>
                <a:gd name="T89" fmla="*/ 22 h 44"/>
                <a:gd name="T90" fmla="*/ 42 w 83"/>
                <a:gd name="T91" fmla="*/ 23 h 44"/>
                <a:gd name="T92" fmla="*/ 46 w 83"/>
                <a:gd name="T93" fmla="*/ 24 h 44"/>
                <a:gd name="T94" fmla="*/ 47 w 83"/>
                <a:gd name="T95" fmla="*/ 25 h 44"/>
                <a:gd name="T96" fmla="*/ 47 w 83"/>
                <a:gd name="T97" fmla="*/ 27 h 44"/>
                <a:gd name="T98" fmla="*/ 56 w 83"/>
                <a:gd name="T99" fmla="*/ 33 h 44"/>
                <a:gd name="T100" fmla="*/ 56 w 83"/>
                <a:gd name="T101" fmla="*/ 37 h 44"/>
                <a:gd name="T102" fmla="*/ 51 w 83"/>
                <a:gd name="T103" fmla="*/ 41 h 44"/>
                <a:gd name="T104" fmla="*/ 50 w 83"/>
                <a:gd name="T105" fmla="*/ 44 h 44"/>
                <a:gd name="T106" fmla="*/ 54 w 83"/>
                <a:gd name="T107" fmla="*/ 43 h 44"/>
                <a:gd name="T108" fmla="*/ 55 w 83"/>
                <a:gd name="T109" fmla="*/ 43 h 44"/>
                <a:gd name="T110" fmla="*/ 59 w 83"/>
                <a:gd name="T111" fmla="*/ 4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3" h="44">
                  <a:moveTo>
                    <a:pt x="61" y="42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3" y="43"/>
                    <a:pt x="63" y="43"/>
                  </a:cubicBezTo>
                  <a:cubicBezTo>
                    <a:pt x="64" y="43"/>
                    <a:pt x="64" y="43"/>
                    <a:pt x="65" y="43"/>
                  </a:cubicBezTo>
                  <a:cubicBezTo>
                    <a:pt x="65" y="43"/>
                    <a:pt x="65" y="43"/>
                    <a:pt x="65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4"/>
                    <a:pt x="68" y="44"/>
                  </a:cubicBezTo>
                  <a:cubicBezTo>
                    <a:pt x="68" y="44"/>
                    <a:pt x="69" y="43"/>
                    <a:pt x="69" y="43"/>
                  </a:cubicBezTo>
                  <a:cubicBezTo>
                    <a:pt x="69" y="44"/>
                    <a:pt x="70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2" y="44"/>
                    <a:pt x="72" y="44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4" y="44"/>
                    <a:pt x="74" y="44"/>
                  </a:cubicBezTo>
                  <a:cubicBezTo>
                    <a:pt x="75" y="44"/>
                    <a:pt x="76" y="44"/>
                    <a:pt x="77" y="43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80" y="43"/>
                    <a:pt x="81" y="42"/>
                  </a:cubicBezTo>
                  <a:cubicBezTo>
                    <a:pt x="82" y="42"/>
                    <a:pt x="82" y="41"/>
                    <a:pt x="83" y="40"/>
                  </a:cubicBezTo>
                  <a:cubicBezTo>
                    <a:pt x="83" y="38"/>
                    <a:pt x="83" y="38"/>
                    <a:pt x="83" y="37"/>
                  </a:cubicBezTo>
                  <a:cubicBezTo>
                    <a:pt x="82" y="36"/>
                    <a:pt x="81" y="36"/>
                    <a:pt x="80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5"/>
                    <a:pt x="78" y="35"/>
                    <a:pt x="78" y="35"/>
                  </a:cubicBezTo>
                  <a:cubicBezTo>
                    <a:pt x="78" y="34"/>
                    <a:pt x="77" y="34"/>
                    <a:pt x="77" y="33"/>
                  </a:cubicBezTo>
                  <a:cubicBezTo>
                    <a:pt x="76" y="33"/>
                    <a:pt x="75" y="32"/>
                    <a:pt x="74" y="32"/>
                  </a:cubicBezTo>
                  <a:cubicBezTo>
                    <a:pt x="74" y="32"/>
                    <a:pt x="73" y="32"/>
                    <a:pt x="73" y="32"/>
                  </a:cubicBezTo>
                  <a:cubicBezTo>
                    <a:pt x="72" y="32"/>
                    <a:pt x="72" y="31"/>
                    <a:pt x="72" y="31"/>
                  </a:cubicBezTo>
                  <a:cubicBezTo>
                    <a:pt x="72" y="30"/>
                    <a:pt x="71" y="29"/>
                    <a:pt x="71" y="29"/>
                  </a:cubicBezTo>
                  <a:cubicBezTo>
                    <a:pt x="70" y="28"/>
                    <a:pt x="69" y="28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7" y="26"/>
                  </a:cubicBezTo>
                  <a:cubicBezTo>
                    <a:pt x="66" y="26"/>
                    <a:pt x="65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4"/>
                    <a:pt x="64" y="23"/>
                    <a:pt x="63" y="23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1"/>
                    <a:pt x="62" y="20"/>
                    <a:pt x="62" y="19"/>
                  </a:cubicBezTo>
                  <a:cubicBezTo>
                    <a:pt x="61" y="19"/>
                    <a:pt x="61" y="19"/>
                    <a:pt x="60" y="18"/>
                  </a:cubicBezTo>
                  <a:cubicBezTo>
                    <a:pt x="59" y="18"/>
                    <a:pt x="59" y="19"/>
                    <a:pt x="58" y="19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18"/>
                    <a:pt x="57" y="18"/>
                    <a:pt x="57" y="18"/>
                  </a:cubicBezTo>
                  <a:cubicBezTo>
                    <a:pt x="57" y="18"/>
                    <a:pt x="57" y="17"/>
                    <a:pt x="56" y="17"/>
                  </a:cubicBezTo>
                  <a:cubicBezTo>
                    <a:pt x="56" y="17"/>
                    <a:pt x="55" y="16"/>
                    <a:pt x="55" y="16"/>
                  </a:cubicBezTo>
                  <a:cubicBezTo>
                    <a:pt x="55" y="16"/>
                    <a:pt x="55" y="16"/>
                    <a:pt x="55" y="15"/>
                  </a:cubicBezTo>
                  <a:cubicBezTo>
                    <a:pt x="55" y="14"/>
                    <a:pt x="54" y="14"/>
                    <a:pt x="54" y="13"/>
                  </a:cubicBezTo>
                  <a:cubicBezTo>
                    <a:pt x="53" y="11"/>
                    <a:pt x="51" y="11"/>
                    <a:pt x="50" y="11"/>
                  </a:cubicBezTo>
                  <a:cubicBezTo>
                    <a:pt x="49" y="11"/>
                    <a:pt x="49" y="10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7" y="9"/>
                    <a:pt x="47" y="8"/>
                    <a:pt x="47" y="8"/>
                  </a:cubicBezTo>
                  <a:cubicBezTo>
                    <a:pt x="46" y="7"/>
                    <a:pt x="46" y="6"/>
                    <a:pt x="45" y="5"/>
                  </a:cubicBezTo>
                  <a:cubicBezTo>
                    <a:pt x="44" y="5"/>
                    <a:pt x="43" y="5"/>
                    <a:pt x="42" y="5"/>
                  </a:cubicBezTo>
                  <a:cubicBezTo>
                    <a:pt x="42" y="5"/>
                    <a:pt x="42" y="5"/>
                    <a:pt x="42" y="5"/>
                  </a:cubicBezTo>
                  <a:cubicBezTo>
                    <a:pt x="42" y="5"/>
                    <a:pt x="42" y="5"/>
                    <a:pt x="41" y="4"/>
                  </a:cubicBezTo>
                  <a:cubicBezTo>
                    <a:pt x="41" y="3"/>
                    <a:pt x="40" y="3"/>
                    <a:pt x="39" y="3"/>
                  </a:cubicBezTo>
                  <a:cubicBezTo>
                    <a:pt x="38" y="4"/>
                    <a:pt x="38" y="4"/>
                    <a:pt x="38" y="4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8" y="3"/>
                    <a:pt x="38" y="3"/>
                    <a:pt x="38" y="3"/>
                  </a:cubicBezTo>
                  <a:cubicBezTo>
                    <a:pt x="37" y="2"/>
                    <a:pt x="36" y="1"/>
                    <a:pt x="36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3" y="1"/>
                    <a:pt x="33" y="1"/>
                    <a:pt x="33" y="1"/>
                  </a:cubicBezTo>
                  <a:cubicBezTo>
                    <a:pt x="32" y="0"/>
                    <a:pt x="31" y="0"/>
                    <a:pt x="31" y="0"/>
                  </a:cubicBezTo>
                  <a:cubicBezTo>
                    <a:pt x="30" y="0"/>
                    <a:pt x="29" y="0"/>
                    <a:pt x="29" y="0"/>
                  </a:cubicBezTo>
                  <a:cubicBezTo>
                    <a:pt x="29" y="0"/>
                    <a:pt x="28" y="0"/>
                    <a:pt x="28" y="1"/>
                  </a:cubicBezTo>
                  <a:cubicBezTo>
                    <a:pt x="28" y="1"/>
                    <a:pt x="27" y="1"/>
                    <a:pt x="27" y="1"/>
                  </a:cubicBezTo>
                  <a:cubicBezTo>
                    <a:pt x="27" y="1"/>
                    <a:pt x="27" y="1"/>
                    <a:pt x="27" y="1"/>
                  </a:cubicBezTo>
                  <a:cubicBezTo>
                    <a:pt x="26" y="1"/>
                    <a:pt x="26" y="1"/>
                    <a:pt x="26" y="1"/>
                  </a:cubicBezTo>
                  <a:cubicBezTo>
                    <a:pt x="26" y="1"/>
                    <a:pt x="25" y="1"/>
                    <a:pt x="25" y="1"/>
                  </a:cubicBezTo>
                  <a:cubicBezTo>
                    <a:pt x="24" y="1"/>
                    <a:pt x="23" y="1"/>
                    <a:pt x="23" y="2"/>
                  </a:cubicBezTo>
                  <a:cubicBezTo>
                    <a:pt x="22" y="2"/>
                    <a:pt x="21" y="2"/>
                    <a:pt x="21" y="2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19" y="2"/>
                    <a:pt x="17" y="2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3" y="4"/>
                    <a:pt x="13" y="4"/>
                  </a:cubicBezTo>
                  <a:cubicBezTo>
                    <a:pt x="10" y="4"/>
                    <a:pt x="9" y="6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7" y="8"/>
                    <a:pt x="6" y="9"/>
                    <a:pt x="5" y="10"/>
                  </a:cubicBezTo>
                  <a:cubicBezTo>
                    <a:pt x="5" y="10"/>
                    <a:pt x="5" y="10"/>
                    <a:pt x="5" y="11"/>
                  </a:cubicBezTo>
                  <a:cubicBezTo>
                    <a:pt x="5" y="11"/>
                    <a:pt x="4" y="11"/>
                    <a:pt x="4" y="11"/>
                  </a:cubicBezTo>
                  <a:cubicBezTo>
                    <a:pt x="3" y="11"/>
                    <a:pt x="3" y="11"/>
                    <a:pt x="3" y="12"/>
                  </a:cubicBezTo>
                  <a:cubicBezTo>
                    <a:pt x="3" y="12"/>
                    <a:pt x="2" y="12"/>
                    <a:pt x="2" y="12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" y="13"/>
                    <a:pt x="1" y="13"/>
                    <a:pt x="0" y="13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0" y="16"/>
                    <a:pt x="0" y="16"/>
                  </a:cubicBezTo>
                  <a:cubicBezTo>
                    <a:pt x="1" y="16"/>
                    <a:pt x="1" y="17"/>
                    <a:pt x="2" y="17"/>
                  </a:cubicBezTo>
                  <a:cubicBezTo>
                    <a:pt x="2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7"/>
                    <a:pt x="3" y="17"/>
                    <a:pt x="3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6" y="18"/>
                    <a:pt x="7" y="17"/>
                    <a:pt x="7" y="17"/>
                  </a:cubicBezTo>
                  <a:cubicBezTo>
                    <a:pt x="7" y="16"/>
                    <a:pt x="7" y="16"/>
                    <a:pt x="7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8" y="16"/>
                    <a:pt x="8" y="16"/>
                    <a:pt x="8" y="16"/>
                  </a:cubicBezTo>
                  <a:cubicBezTo>
                    <a:pt x="9" y="16"/>
                    <a:pt x="10" y="16"/>
                    <a:pt x="10" y="15"/>
                  </a:cubicBezTo>
                  <a:cubicBezTo>
                    <a:pt x="11" y="14"/>
                    <a:pt x="12" y="13"/>
                    <a:pt x="13" y="13"/>
                  </a:cubicBezTo>
                  <a:cubicBezTo>
                    <a:pt x="15" y="13"/>
                    <a:pt x="17" y="11"/>
                    <a:pt x="19" y="10"/>
                  </a:cubicBezTo>
                  <a:cubicBezTo>
                    <a:pt x="19" y="10"/>
                    <a:pt x="19" y="10"/>
                    <a:pt x="20" y="10"/>
                  </a:cubicBezTo>
                  <a:cubicBezTo>
                    <a:pt x="20" y="10"/>
                    <a:pt x="20" y="9"/>
                    <a:pt x="20" y="9"/>
                  </a:cubicBezTo>
                  <a:cubicBezTo>
                    <a:pt x="20" y="9"/>
                    <a:pt x="21" y="9"/>
                    <a:pt x="21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2" y="8"/>
                    <a:pt x="22" y="8"/>
                    <a:pt x="22" y="8"/>
                  </a:cubicBezTo>
                  <a:cubicBezTo>
                    <a:pt x="22" y="8"/>
                    <a:pt x="22" y="8"/>
                    <a:pt x="23" y="8"/>
                  </a:cubicBezTo>
                  <a:cubicBezTo>
                    <a:pt x="23" y="9"/>
                    <a:pt x="23" y="9"/>
                    <a:pt x="24" y="9"/>
                  </a:cubicBezTo>
                  <a:cubicBezTo>
                    <a:pt x="24" y="9"/>
                    <a:pt x="25" y="9"/>
                    <a:pt x="2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4" y="9"/>
                    <a:pt x="24" y="9"/>
                    <a:pt x="24" y="10"/>
                  </a:cubicBezTo>
                  <a:cubicBezTo>
                    <a:pt x="23" y="11"/>
                    <a:pt x="24" y="11"/>
                    <a:pt x="24" y="12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2"/>
                    <a:pt x="24" y="13"/>
                    <a:pt x="25" y="13"/>
                  </a:cubicBezTo>
                  <a:cubicBezTo>
                    <a:pt x="25" y="13"/>
                    <a:pt x="25" y="14"/>
                    <a:pt x="25" y="14"/>
                  </a:cubicBezTo>
                  <a:cubicBezTo>
                    <a:pt x="25" y="15"/>
                    <a:pt x="26" y="15"/>
                    <a:pt x="26" y="16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27" y="16"/>
                    <a:pt x="28" y="18"/>
                    <a:pt x="30" y="18"/>
                  </a:cubicBezTo>
                  <a:cubicBezTo>
                    <a:pt x="30" y="18"/>
                    <a:pt x="31" y="17"/>
                    <a:pt x="31" y="17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32" y="18"/>
                    <a:pt x="33" y="18"/>
                    <a:pt x="35" y="18"/>
                  </a:cubicBezTo>
                  <a:cubicBezTo>
                    <a:pt x="36" y="18"/>
                    <a:pt x="36" y="18"/>
                    <a:pt x="37" y="17"/>
                  </a:cubicBezTo>
                  <a:cubicBezTo>
                    <a:pt x="37" y="17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9"/>
                    <a:pt x="37" y="20"/>
                    <a:pt x="38" y="21"/>
                  </a:cubicBezTo>
                  <a:cubicBezTo>
                    <a:pt x="38" y="22"/>
                    <a:pt x="39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1" y="22"/>
                    <a:pt x="41" y="22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3" y="24"/>
                    <a:pt x="44" y="24"/>
                    <a:pt x="45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4"/>
                    <a:pt x="46" y="24"/>
                    <a:pt x="46" y="24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4"/>
                    <a:pt x="47" y="24"/>
                    <a:pt x="47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7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8" y="31"/>
                    <a:pt x="50" y="33"/>
                    <a:pt x="54" y="33"/>
                  </a:cubicBezTo>
                  <a:cubicBezTo>
                    <a:pt x="54" y="33"/>
                    <a:pt x="55" y="33"/>
                    <a:pt x="55" y="33"/>
                  </a:cubicBezTo>
                  <a:cubicBezTo>
                    <a:pt x="55" y="33"/>
                    <a:pt x="55" y="33"/>
                    <a:pt x="56" y="33"/>
                  </a:cubicBezTo>
                  <a:cubicBezTo>
                    <a:pt x="56" y="33"/>
                    <a:pt x="56" y="34"/>
                    <a:pt x="56" y="34"/>
                  </a:cubicBezTo>
                  <a:cubicBezTo>
                    <a:pt x="55" y="35"/>
                    <a:pt x="55" y="36"/>
                    <a:pt x="56" y="37"/>
                  </a:cubicBezTo>
                  <a:cubicBezTo>
                    <a:pt x="56" y="37"/>
                    <a:pt x="56" y="37"/>
                    <a:pt x="56" y="37"/>
                  </a:cubicBezTo>
                  <a:cubicBezTo>
                    <a:pt x="55" y="37"/>
                    <a:pt x="54" y="37"/>
                    <a:pt x="53" y="38"/>
                  </a:cubicBezTo>
                  <a:cubicBezTo>
                    <a:pt x="52" y="39"/>
                    <a:pt x="52" y="40"/>
                    <a:pt x="52" y="40"/>
                  </a:cubicBezTo>
                  <a:cubicBezTo>
                    <a:pt x="52" y="40"/>
                    <a:pt x="52" y="41"/>
                    <a:pt x="51" y="41"/>
                  </a:cubicBezTo>
                  <a:cubicBezTo>
                    <a:pt x="51" y="41"/>
                    <a:pt x="50" y="42"/>
                    <a:pt x="50" y="43"/>
                  </a:cubicBezTo>
                  <a:cubicBezTo>
                    <a:pt x="51" y="43"/>
                    <a:pt x="51" y="43"/>
                    <a:pt x="51" y="43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51" y="44"/>
                    <a:pt x="51" y="44"/>
                    <a:pt x="51" y="44"/>
                  </a:cubicBezTo>
                  <a:cubicBezTo>
                    <a:pt x="52" y="44"/>
                    <a:pt x="52" y="44"/>
                    <a:pt x="52" y="44"/>
                  </a:cubicBezTo>
                  <a:cubicBezTo>
                    <a:pt x="53" y="44"/>
                    <a:pt x="54" y="44"/>
                    <a:pt x="54" y="43"/>
                  </a:cubicBezTo>
                  <a:cubicBezTo>
                    <a:pt x="54" y="43"/>
                    <a:pt x="54" y="43"/>
                    <a:pt x="54" y="43"/>
                  </a:cubicBezTo>
                  <a:cubicBezTo>
                    <a:pt x="54" y="43"/>
                    <a:pt x="55" y="43"/>
                    <a:pt x="55" y="43"/>
                  </a:cubicBezTo>
                  <a:cubicBezTo>
                    <a:pt x="55" y="43"/>
                    <a:pt x="55" y="43"/>
                    <a:pt x="55" y="43"/>
                  </a:cubicBezTo>
                  <a:cubicBezTo>
                    <a:pt x="56" y="43"/>
                    <a:pt x="57" y="43"/>
                    <a:pt x="58" y="43"/>
                  </a:cubicBezTo>
                  <a:cubicBezTo>
                    <a:pt x="58" y="43"/>
                    <a:pt x="58" y="43"/>
                    <a:pt x="58" y="43"/>
                  </a:cubicBezTo>
                  <a:cubicBezTo>
                    <a:pt x="58" y="43"/>
                    <a:pt x="59" y="42"/>
                    <a:pt x="59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0" y="42"/>
                    <a:pt x="60" y="43"/>
                    <a:pt x="61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1789" y="1944"/>
              <a:ext cx="23" cy="24"/>
            </a:xfrm>
            <a:custGeom>
              <a:avLst/>
              <a:gdLst>
                <a:gd name="T0" fmla="*/ 1 w 10"/>
                <a:gd name="T1" fmla="*/ 7 h 10"/>
                <a:gd name="T2" fmla="*/ 1 w 10"/>
                <a:gd name="T3" fmla="*/ 8 h 10"/>
                <a:gd name="T4" fmla="*/ 1 w 10"/>
                <a:gd name="T5" fmla="*/ 9 h 10"/>
                <a:gd name="T6" fmla="*/ 4 w 10"/>
                <a:gd name="T7" fmla="*/ 10 h 10"/>
                <a:gd name="T8" fmla="*/ 5 w 10"/>
                <a:gd name="T9" fmla="*/ 10 h 10"/>
                <a:gd name="T10" fmla="*/ 6 w 10"/>
                <a:gd name="T11" fmla="*/ 10 h 10"/>
                <a:gd name="T12" fmla="*/ 9 w 10"/>
                <a:gd name="T13" fmla="*/ 9 h 10"/>
                <a:gd name="T14" fmla="*/ 10 w 10"/>
                <a:gd name="T15" fmla="*/ 6 h 10"/>
                <a:gd name="T16" fmla="*/ 8 w 10"/>
                <a:gd name="T17" fmla="*/ 1 h 10"/>
                <a:gd name="T18" fmla="*/ 6 w 10"/>
                <a:gd name="T19" fmla="*/ 0 h 10"/>
                <a:gd name="T20" fmla="*/ 5 w 10"/>
                <a:gd name="T21" fmla="*/ 1 h 10"/>
                <a:gd name="T22" fmla="*/ 4 w 10"/>
                <a:gd name="T23" fmla="*/ 2 h 10"/>
                <a:gd name="T24" fmla="*/ 3 w 10"/>
                <a:gd name="T25" fmla="*/ 3 h 10"/>
                <a:gd name="T26" fmla="*/ 3 w 10"/>
                <a:gd name="T27" fmla="*/ 5 h 10"/>
                <a:gd name="T28" fmla="*/ 2 w 10"/>
                <a:gd name="T29" fmla="*/ 5 h 10"/>
                <a:gd name="T30" fmla="*/ 1 w 10"/>
                <a:gd name="T31" fmla="*/ 7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" h="10">
                  <a:moveTo>
                    <a:pt x="1" y="7"/>
                  </a:moveTo>
                  <a:cubicBezTo>
                    <a:pt x="0" y="7"/>
                    <a:pt x="1" y="8"/>
                    <a:pt x="1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2" y="9"/>
                    <a:pt x="2" y="10"/>
                    <a:pt x="4" y="10"/>
                  </a:cubicBezTo>
                  <a:cubicBezTo>
                    <a:pt x="4" y="10"/>
                    <a:pt x="5" y="10"/>
                    <a:pt x="5" y="10"/>
                  </a:cubicBezTo>
                  <a:cubicBezTo>
                    <a:pt x="5" y="10"/>
                    <a:pt x="6" y="10"/>
                    <a:pt x="6" y="10"/>
                  </a:cubicBezTo>
                  <a:cubicBezTo>
                    <a:pt x="6" y="10"/>
                    <a:pt x="7" y="10"/>
                    <a:pt x="9" y="9"/>
                  </a:cubicBezTo>
                  <a:cubicBezTo>
                    <a:pt x="10" y="8"/>
                    <a:pt x="10" y="7"/>
                    <a:pt x="10" y="6"/>
                  </a:cubicBezTo>
                  <a:cubicBezTo>
                    <a:pt x="10" y="5"/>
                    <a:pt x="9" y="3"/>
                    <a:pt x="8" y="1"/>
                  </a:cubicBezTo>
                  <a:cubicBezTo>
                    <a:pt x="8" y="1"/>
                    <a:pt x="8" y="0"/>
                    <a:pt x="6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4" y="1"/>
                    <a:pt x="4" y="2"/>
                    <a:pt x="4" y="2"/>
                  </a:cubicBezTo>
                  <a:cubicBezTo>
                    <a:pt x="4" y="2"/>
                    <a:pt x="3" y="2"/>
                    <a:pt x="3" y="3"/>
                  </a:cubicBezTo>
                  <a:cubicBezTo>
                    <a:pt x="2" y="4"/>
                    <a:pt x="3" y="4"/>
                    <a:pt x="3" y="5"/>
                  </a:cubicBezTo>
                  <a:cubicBezTo>
                    <a:pt x="3" y="5"/>
                    <a:pt x="2" y="5"/>
                    <a:pt x="2" y="5"/>
                  </a:cubicBezTo>
                  <a:cubicBezTo>
                    <a:pt x="2" y="5"/>
                    <a:pt x="1" y="6"/>
                    <a:pt x="1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1" name="Freeform 90"/>
            <p:cNvSpPr>
              <a:spLocks/>
            </p:cNvSpPr>
            <p:nvPr/>
          </p:nvSpPr>
          <p:spPr bwMode="auto">
            <a:xfrm>
              <a:off x="1912" y="1821"/>
              <a:ext cx="21" cy="14"/>
            </a:xfrm>
            <a:custGeom>
              <a:avLst/>
              <a:gdLst>
                <a:gd name="T0" fmla="*/ 2 w 9"/>
                <a:gd name="T1" fmla="*/ 6 h 6"/>
                <a:gd name="T2" fmla="*/ 3 w 9"/>
                <a:gd name="T3" fmla="*/ 6 h 6"/>
                <a:gd name="T4" fmla="*/ 6 w 9"/>
                <a:gd name="T5" fmla="*/ 5 h 6"/>
                <a:gd name="T6" fmla="*/ 6 w 9"/>
                <a:gd name="T7" fmla="*/ 5 h 6"/>
                <a:gd name="T8" fmla="*/ 8 w 9"/>
                <a:gd name="T9" fmla="*/ 4 h 6"/>
                <a:gd name="T10" fmla="*/ 9 w 9"/>
                <a:gd name="T11" fmla="*/ 3 h 6"/>
                <a:gd name="T12" fmla="*/ 9 w 9"/>
                <a:gd name="T13" fmla="*/ 3 h 6"/>
                <a:gd name="T14" fmla="*/ 9 w 9"/>
                <a:gd name="T15" fmla="*/ 1 h 6"/>
                <a:gd name="T16" fmla="*/ 8 w 9"/>
                <a:gd name="T17" fmla="*/ 0 h 6"/>
                <a:gd name="T18" fmla="*/ 5 w 9"/>
                <a:gd name="T19" fmla="*/ 1 h 6"/>
                <a:gd name="T20" fmla="*/ 4 w 9"/>
                <a:gd name="T21" fmla="*/ 1 h 6"/>
                <a:gd name="T22" fmla="*/ 3 w 9"/>
                <a:gd name="T23" fmla="*/ 2 h 6"/>
                <a:gd name="T24" fmla="*/ 2 w 9"/>
                <a:gd name="T25" fmla="*/ 1 h 6"/>
                <a:gd name="T26" fmla="*/ 1 w 9"/>
                <a:gd name="T27" fmla="*/ 1 h 6"/>
                <a:gd name="T28" fmla="*/ 1 w 9"/>
                <a:gd name="T29" fmla="*/ 2 h 6"/>
                <a:gd name="T30" fmla="*/ 0 w 9"/>
                <a:gd name="T31" fmla="*/ 4 h 6"/>
                <a:gd name="T32" fmla="*/ 2 w 9"/>
                <a:gd name="T3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" h="6">
                  <a:moveTo>
                    <a:pt x="2" y="6"/>
                  </a:moveTo>
                  <a:cubicBezTo>
                    <a:pt x="3" y="6"/>
                    <a:pt x="3" y="6"/>
                    <a:pt x="3" y="6"/>
                  </a:cubicBezTo>
                  <a:cubicBezTo>
                    <a:pt x="5" y="6"/>
                    <a:pt x="5" y="6"/>
                    <a:pt x="6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7" y="4"/>
                    <a:pt x="7" y="4"/>
                    <a:pt x="8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2"/>
                    <a:pt x="9" y="2"/>
                    <a:pt x="9" y="1"/>
                  </a:cubicBezTo>
                  <a:cubicBezTo>
                    <a:pt x="9" y="1"/>
                    <a:pt x="8" y="0"/>
                    <a:pt x="8" y="0"/>
                  </a:cubicBezTo>
                  <a:cubicBezTo>
                    <a:pt x="7" y="0"/>
                    <a:pt x="6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3" y="1"/>
                    <a:pt x="3" y="1"/>
                    <a:pt x="3" y="2"/>
                  </a:cubicBezTo>
                  <a:cubicBezTo>
                    <a:pt x="3" y="2"/>
                    <a:pt x="3" y="1"/>
                    <a:pt x="2" y="1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2"/>
                    <a:pt x="0" y="3"/>
                    <a:pt x="0" y="4"/>
                  </a:cubicBezTo>
                  <a:cubicBezTo>
                    <a:pt x="1" y="5"/>
                    <a:pt x="1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1947" y="1888"/>
              <a:ext cx="14" cy="21"/>
            </a:xfrm>
            <a:custGeom>
              <a:avLst/>
              <a:gdLst>
                <a:gd name="T0" fmla="*/ 5 w 6"/>
                <a:gd name="T1" fmla="*/ 2 h 9"/>
                <a:gd name="T2" fmla="*/ 5 w 6"/>
                <a:gd name="T3" fmla="*/ 1 h 9"/>
                <a:gd name="T4" fmla="*/ 4 w 6"/>
                <a:gd name="T5" fmla="*/ 0 h 9"/>
                <a:gd name="T6" fmla="*/ 3 w 6"/>
                <a:gd name="T7" fmla="*/ 0 h 9"/>
                <a:gd name="T8" fmla="*/ 2 w 6"/>
                <a:gd name="T9" fmla="*/ 1 h 9"/>
                <a:gd name="T10" fmla="*/ 2 w 6"/>
                <a:gd name="T11" fmla="*/ 3 h 9"/>
                <a:gd name="T12" fmla="*/ 2 w 6"/>
                <a:gd name="T13" fmla="*/ 4 h 9"/>
                <a:gd name="T14" fmla="*/ 2 w 6"/>
                <a:gd name="T15" fmla="*/ 5 h 9"/>
                <a:gd name="T16" fmla="*/ 2 w 6"/>
                <a:gd name="T17" fmla="*/ 5 h 9"/>
                <a:gd name="T18" fmla="*/ 0 w 6"/>
                <a:gd name="T19" fmla="*/ 7 h 9"/>
                <a:gd name="T20" fmla="*/ 2 w 6"/>
                <a:gd name="T21" fmla="*/ 8 h 9"/>
                <a:gd name="T22" fmla="*/ 2 w 6"/>
                <a:gd name="T23" fmla="*/ 9 h 9"/>
                <a:gd name="T24" fmla="*/ 5 w 6"/>
                <a:gd name="T25" fmla="*/ 8 h 9"/>
                <a:gd name="T26" fmla="*/ 6 w 6"/>
                <a:gd name="T27" fmla="*/ 5 h 9"/>
                <a:gd name="T28" fmla="*/ 5 w 6"/>
                <a:gd name="T2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" h="9">
                  <a:moveTo>
                    <a:pt x="5" y="2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0"/>
                    <a:pt x="2" y="1"/>
                  </a:cubicBezTo>
                  <a:cubicBezTo>
                    <a:pt x="1" y="2"/>
                    <a:pt x="2" y="3"/>
                    <a:pt x="2" y="3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5"/>
                    <a:pt x="0" y="5"/>
                    <a:pt x="0" y="7"/>
                  </a:cubicBezTo>
                  <a:cubicBezTo>
                    <a:pt x="0" y="7"/>
                    <a:pt x="0" y="8"/>
                    <a:pt x="2" y="8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3" y="9"/>
                    <a:pt x="4" y="8"/>
                    <a:pt x="5" y="8"/>
                  </a:cubicBezTo>
                  <a:cubicBezTo>
                    <a:pt x="6" y="7"/>
                    <a:pt x="6" y="6"/>
                    <a:pt x="6" y="5"/>
                  </a:cubicBezTo>
                  <a:cubicBezTo>
                    <a:pt x="6" y="4"/>
                    <a:pt x="5" y="3"/>
                    <a:pt x="5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auto">
            <a:xfrm>
              <a:off x="1905" y="1869"/>
              <a:ext cx="19" cy="42"/>
            </a:xfrm>
            <a:custGeom>
              <a:avLst/>
              <a:gdLst>
                <a:gd name="T0" fmla="*/ 2 w 8"/>
                <a:gd name="T1" fmla="*/ 4 h 18"/>
                <a:gd name="T2" fmla="*/ 1 w 8"/>
                <a:gd name="T3" fmla="*/ 5 h 18"/>
                <a:gd name="T4" fmla="*/ 0 w 8"/>
                <a:gd name="T5" fmla="*/ 7 h 18"/>
                <a:gd name="T6" fmla="*/ 1 w 8"/>
                <a:gd name="T7" fmla="*/ 9 h 18"/>
                <a:gd name="T8" fmla="*/ 3 w 8"/>
                <a:gd name="T9" fmla="*/ 9 h 18"/>
                <a:gd name="T10" fmla="*/ 3 w 8"/>
                <a:gd name="T11" fmla="*/ 10 h 18"/>
                <a:gd name="T12" fmla="*/ 3 w 8"/>
                <a:gd name="T13" fmla="*/ 11 h 18"/>
                <a:gd name="T14" fmla="*/ 3 w 8"/>
                <a:gd name="T15" fmla="*/ 12 h 18"/>
                <a:gd name="T16" fmla="*/ 2 w 8"/>
                <a:gd name="T17" fmla="*/ 13 h 18"/>
                <a:gd name="T18" fmla="*/ 2 w 8"/>
                <a:gd name="T19" fmla="*/ 14 h 18"/>
                <a:gd name="T20" fmla="*/ 2 w 8"/>
                <a:gd name="T21" fmla="*/ 14 h 18"/>
                <a:gd name="T22" fmla="*/ 2 w 8"/>
                <a:gd name="T23" fmla="*/ 15 h 18"/>
                <a:gd name="T24" fmla="*/ 2 w 8"/>
                <a:gd name="T25" fmla="*/ 18 h 18"/>
                <a:gd name="T26" fmla="*/ 4 w 8"/>
                <a:gd name="T27" fmla="*/ 18 h 18"/>
                <a:gd name="T28" fmla="*/ 4 w 8"/>
                <a:gd name="T29" fmla="*/ 18 h 18"/>
                <a:gd name="T30" fmla="*/ 6 w 8"/>
                <a:gd name="T31" fmla="*/ 16 h 18"/>
                <a:gd name="T32" fmla="*/ 6 w 8"/>
                <a:gd name="T33" fmla="*/ 16 h 18"/>
                <a:gd name="T34" fmla="*/ 7 w 8"/>
                <a:gd name="T35" fmla="*/ 15 h 18"/>
                <a:gd name="T36" fmla="*/ 7 w 8"/>
                <a:gd name="T37" fmla="*/ 10 h 18"/>
                <a:gd name="T38" fmla="*/ 6 w 8"/>
                <a:gd name="T39" fmla="*/ 10 h 18"/>
                <a:gd name="T40" fmla="*/ 7 w 8"/>
                <a:gd name="T41" fmla="*/ 6 h 18"/>
                <a:gd name="T42" fmla="*/ 8 w 8"/>
                <a:gd name="T43" fmla="*/ 5 h 18"/>
                <a:gd name="T44" fmla="*/ 7 w 8"/>
                <a:gd name="T45" fmla="*/ 2 h 18"/>
                <a:gd name="T46" fmla="*/ 3 w 8"/>
                <a:gd name="T47" fmla="*/ 1 h 18"/>
                <a:gd name="T48" fmla="*/ 3 w 8"/>
                <a:gd name="T49" fmla="*/ 3 h 18"/>
                <a:gd name="T50" fmla="*/ 2 w 8"/>
                <a:gd name="T51" fmla="*/ 4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" h="18">
                  <a:moveTo>
                    <a:pt x="2" y="4"/>
                  </a:moveTo>
                  <a:cubicBezTo>
                    <a:pt x="2" y="4"/>
                    <a:pt x="1" y="4"/>
                    <a:pt x="1" y="5"/>
                  </a:cubicBezTo>
                  <a:cubicBezTo>
                    <a:pt x="0" y="5"/>
                    <a:pt x="0" y="6"/>
                    <a:pt x="0" y="7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2" y="9"/>
                    <a:pt x="3" y="9"/>
                  </a:cubicBezTo>
                  <a:cubicBezTo>
                    <a:pt x="3" y="10"/>
                    <a:pt x="3" y="10"/>
                    <a:pt x="3" y="10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2" y="12"/>
                    <a:pt x="2" y="12"/>
                    <a:pt x="3" y="12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5"/>
                    <a:pt x="2" y="15"/>
                    <a:pt x="2" y="15"/>
                  </a:cubicBezTo>
                  <a:cubicBezTo>
                    <a:pt x="2" y="16"/>
                    <a:pt x="2" y="17"/>
                    <a:pt x="2" y="18"/>
                  </a:cubicBezTo>
                  <a:cubicBezTo>
                    <a:pt x="3" y="18"/>
                    <a:pt x="3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6" y="17"/>
                    <a:pt x="6" y="16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7" y="16"/>
                    <a:pt x="7" y="15"/>
                  </a:cubicBezTo>
                  <a:cubicBezTo>
                    <a:pt x="7" y="14"/>
                    <a:pt x="8" y="12"/>
                    <a:pt x="7" y="10"/>
                  </a:cubicBezTo>
                  <a:cubicBezTo>
                    <a:pt x="7" y="10"/>
                    <a:pt x="7" y="10"/>
                    <a:pt x="6" y="10"/>
                  </a:cubicBezTo>
                  <a:cubicBezTo>
                    <a:pt x="7" y="8"/>
                    <a:pt x="7" y="7"/>
                    <a:pt x="7" y="6"/>
                  </a:cubicBezTo>
                  <a:cubicBezTo>
                    <a:pt x="7" y="5"/>
                    <a:pt x="7" y="5"/>
                    <a:pt x="8" y="5"/>
                  </a:cubicBezTo>
                  <a:cubicBezTo>
                    <a:pt x="8" y="4"/>
                    <a:pt x="8" y="3"/>
                    <a:pt x="7" y="2"/>
                  </a:cubicBezTo>
                  <a:cubicBezTo>
                    <a:pt x="6" y="0"/>
                    <a:pt x="4" y="0"/>
                    <a:pt x="3" y="1"/>
                  </a:cubicBezTo>
                  <a:cubicBezTo>
                    <a:pt x="3" y="2"/>
                    <a:pt x="3" y="2"/>
                    <a:pt x="3" y="3"/>
                  </a:cubicBezTo>
                  <a:cubicBezTo>
                    <a:pt x="3" y="3"/>
                    <a:pt x="2" y="3"/>
                    <a:pt x="2" y="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auto">
            <a:xfrm>
              <a:off x="1935" y="1819"/>
              <a:ext cx="17" cy="33"/>
            </a:xfrm>
            <a:custGeom>
              <a:avLst/>
              <a:gdLst>
                <a:gd name="T0" fmla="*/ 0 w 7"/>
                <a:gd name="T1" fmla="*/ 14 h 14"/>
                <a:gd name="T2" fmla="*/ 2 w 7"/>
                <a:gd name="T3" fmla="*/ 14 h 14"/>
                <a:gd name="T4" fmla="*/ 2 w 7"/>
                <a:gd name="T5" fmla="*/ 14 h 14"/>
                <a:gd name="T6" fmla="*/ 3 w 7"/>
                <a:gd name="T7" fmla="*/ 13 h 14"/>
                <a:gd name="T8" fmla="*/ 4 w 7"/>
                <a:gd name="T9" fmla="*/ 13 h 14"/>
                <a:gd name="T10" fmla="*/ 4 w 7"/>
                <a:gd name="T11" fmla="*/ 12 h 14"/>
                <a:gd name="T12" fmla="*/ 5 w 7"/>
                <a:gd name="T13" fmla="*/ 11 h 14"/>
                <a:gd name="T14" fmla="*/ 5 w 7"/>
                <a:gd name="T15" fmla="*/ 11 h 14"/>
                <a:gd name="T16" fmla="*/ 5 w 7"/>
                <a:gd name="T17" fmla="*/ 10 h 14"/>
                <a:gd name="T18" fmla="*/ 5 w 7"/>
                <a:gd name="T19" fmla="*/ 10 h 14"/>
                <a:gd name="T20" fmla="*/ 7 w 7"/>
                <a:gd name="T21" fmla="*/ 9 h 14"/>
                <a:gd name="T22" fmla="*/ 7 w 7"/>
                <a:gd name="T23" fmla="*/ 7 h 14"/>
                <a:gd name="T24" fmla="*/ 6 w 7"/>
                <a:gd name="T25" fmla="*/ 5 h 14"/>
                <a:gd name="T26" fmla="*/ 5 w 7"/>
                <a:gd name="T27" fmla="*/ 2 h 14"/>
                <a:gd name="T28" fmla="*/ 3 w 7"/>
                <a:gd name="T29" fmla="*/ 0 h 14"/>
                <a:gd name="T30" fmla="*/ 1 w 7"/>
                <a:gd name="T31" fmla="*/ 1 h 14"/>
                <a:gd name="T32" fmla="*/ 1 w 7"/>
                <a:gd name="T33" fmla="*/ 3 h 14"/>
                <a:gd name="T34" fmla="*/ 1 w 7"/>
                <a:gd name="T35" fmla="*/ 4 h 14"/>
                <a:gd name="T36" fmla="*/ 2 w 7"/>
                <a:gd name="T37" fmla="*/ 5 h 14"/>
                <a:gd name="T38" fmla="*/ 2 w 7"/>
                <a:gd name="T39" fmla="*/ 6 h 14"/>
                <a:gd name="T40" fmla="*/ 2 w 7"/>
                <a:gd name="T41" fmla="*/ 6 h 14"/>
                <a:gd name="T42" fmla="*/ 2 w 7"/>
                <a:gd name="T43" fmla="*/ 7 h 14"/>
                <a:gd name="T44" fmla="*/ 2 w 7"/>
                <a:gd name="T45" fmla="*/ 7 h 14"/>
                <a:gd name="T46" fmla="*/ 2 w 7"/>
                <a:gd name="T47" fmla="*/ 8 h 14"/>
                <a:gd name="T48" fmla="*/ 2 w 7"/>
                <a:gd name="T49" fmla="*/ 8 h 14"/>
                <a:gd name="T50" fmla="*/ 2 w 7"/>
                <a:gd name="T51" fmla="*/ 9 h 14"/>
                <a:gd name="T52" fmla="*/ 1 w 7"/>
                <a:gd name="T53" fmla="*/ 9 h 14"/>
                <a:gd name="T54" fmla="*/ 1 w 7"/>
                <a:gd name="T55" fmla="*/ 9 h 14"/>
                <a:gd name="T56" fmla="*/ 1 w 7"/>
                <a:gd name="T57" fmla="*/ 10 h 14"/>
                <a:gd name="T58" fmla="*/ 0 w 7"/>
                <a:gd name="T59" fmla="*/ 12 h 14"/>
                <a:gd name="T60" fmla="*/ 0 w 7"/>
                <a:gd name="T6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" h="14">
                  <a:moveTo>
                    <a:pt x="0" y="14"/>
                  </a:moveTo>
                  <a:cubicBezTo>
                    <a:pt x="1" y="14"/>
                    <a:pt x="1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3" y="14"/>
                    <a:pt x="3" y="14"/>
                    <a:pt x="3" y="13"/>
                  </a:cubicBezTo>
                  <a:cubicBezTo>
                    <a:pt x="3" y="13"/>
                    <a:pt x="4" y="13"/>
                    <a:pt x="4" y="13"/>
                  </a:cubicBezTo>
                  <a:cubicBezTo>
                    <a:pt x="4" y="13"/>
                    <a:pt x="4" y="12"/>
                    <a:pt x="4" y="12"/>
                  </a:cubicBezTo>
                  <a:cubicBezTo>
                    <a:pt x="5" y="12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10"/>
                    <a:pt x="6" y="10"/>
                    <a:pt x="7" y="9"/>
                  </a:cubicBezTo>
                  <a:cubicBezTo>
                    <a:pt x="7" y="8"/>
                    <a:pt x="7" y="7"/>
                    <a:pt x="7" y="7"/>
                  </a:cubicBezTo>
                  <a:cubicBezTo>
                    <a:pt x="6" y="6"/>
                    <a:pt x="6" y="5"/>
                    <a:pt x="6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ubicBezTo>
                    <a:pt x="2" y="0"/>
                    <a:pt x="2" y="0"/>
                    <a:pt x="1" y="1"/>
                  </a:cubicBezTo>
                  <a:cubicBezTo>
                    <a:pt x="1" y="1"/>
                    <a:pt x="1" y="2"/>
                    <a:pt x="1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2" y="4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2" y="6"/>
                    <a:pt x="2" y="7"/>
                    <a:pt x="2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9"/>
                  </a:cubicBezTo>
                  <a:cubicBezTo>
                    <a:pt x="2" y="9"/>
                    <a:pt x="1" y="9"/>
                    <a:pt x="1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0" y="12"/>
                    <a:pt x="0" y="13"/>
                    <a:pt x="0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5" name="Freeform 94"/>
            <p:cNvSpPr>
              <a:spLocks/>
            </p:cNvSpPr>
            <p:nvPr/>
          </p:nvSpPr>
          <p:spPr bwMode="auto">
            <a:xfrm>
              <a:off x="1950" y="1911"/>
              <a:ext cx="16" cy="31"/>
            </a:xfrm>
            <a:custGeom>
              <a:avLst/>
              <a:gdLst>
                <a:gd name="T0" fmla="*/ 4 w 7"/>
                <a:gd name="T1" fmla="*/ 13 h 13"/>
                <a:gd name="T2" fmla="*/ 5 w 7"/>
                <a:gd name="T3" fmla="*/ 13 h 13"/>
                <a:gd name="T4" fmla="*/ 6 w 7"/>
                <a:gd name="T5" fmla="*/ 12 h 13"/>
                <a:gd name="T6" fmla="*/ 5 w 7"/>
                <a:gd name="T7" fmla="*/ 9 h 13"/>
                <a:gd name="T8" fmla="*/ 5 w 7"/>
                <a:gd name="T9" fmla="*/ 8 h 13"/>
                <a:gd name="T10" fmla="*/ 5 w 7"/>
                <a:gd name="T11" fmla="*/ 8 h 13"/>
                <a:gd name="T12" fmla="*/ 5 w 7"/>
                <a:gd name="T13" fmla="*/ 4 h 13"/>
                <a:gd name="T14" fmla="*/ 4 w 7"/>
                <a:gd name="T15" fmla="*/ 2 h 13"/>
                <a:gd name="T16" fmla="*/ 2 w 7"/>
                <a:gd name="T17" fmla="*/ 0 h 13"/>
                <a:gd name="T18" fmla="*/ 1 w 7"/>
                <a:gd name="T19" fmla="*/ 2 h 13"/>
                <a:gd name="T20" fmla="*/ 1 w 7"/>
                <a:gd name="T21" fmla="*/ 4 h 13"/>
                <a:gd name="T22" fmla="*/ 1 w 7"/>
                <a:gd name="T23" fmla="*/ 7 h 13"/>
                <a:gd name="T24" fmla="*/ 0 w 7"/>
                <a:gd name="T25" fmla="*/ 9 h 13"/>
                <a:gd name="T26" fmla="*/ 2 w 7"/>
                <a:gd name="T27" fmla="*/ 11 h 13"/>
                <a:gd name="T28" fmla="*/ 3 w 7"/>
                <a:gd name="T29" fmla="*/ 11 h 13"/>
                <a:gd name="T30" fmla="*/ 4 w 7"/>
                <a:gd name="T31" fmla="*/ 12 h 13"/>
                <a:gd name="T32" fmla="*/ 5 w 7"/>
                <a:gd name="T33" fmla="*/ 11 h 13"/>
                <a:gd name="T34" fmla="*/ 5 w 7"/>
                <a:gd name="T35" fmla="*/ 11 h 13"/>
                <a:gd name="T36" fmla="*/ 4 w 7"/>
                <a:gd name="T37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" h="13">
                  <a:moveTo>
                    <a:pt x="4" y="13"/>
                  </a:moveTo>
                  <a:cubicBezTo>
                    <a:pt x="5" y="13"/>
                    <a:pt x="5" y="13"/>
                    <a:pt x="5" y="13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6" y="12"/>
                    <a:pt x="7" y="11"/>
                    <a:pt x="5" y="9"/>
                  </a:cubicBezTo>
                  <a:cubicBezTo>
                    <a:pt x="5" y="9"/>
                    <a:pt x="5" y="9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7"/>
                    <a:pt x="5" y="6"/>
                    <a:pt x="5" y="4"/>
                  </a:cubicBezTo>
                  <a:cubicBezTo>
                    <a:pt x="5" y="3"/>
                    <a:pt x="5" y="3"/>
                    <a:pt x="4" y="2"/>
                  </a:cubicBezTo>
                  <a:cubicBezTo>
                    <a:pt x="4" y="2"/>
                    <a:pt x="3" y="0"/>
                    <a:pt x="2" y="0"/>
                  </a:cubicBezTo>
                  <a:cubicBezTo>
                    <a:pt x="2" y="0"/>
                    <a:pt x="1" y="1"/>
                    <a:pt x="1" y="2"/>
                  </a:cubicBezTo>
                  <a:cubicBezTo>
                    <a:pt x="1" y="3"/>
                    <a:pt x="1" y="4"/>
                    <a:pt x="1" y="4"/>
                  </a:cubicBezTo>
                  <a:cubicBezTo>
                    <a:pt x="2" y="6"/>
                    <a:pt x="2" y="7"/>
                    <a:pt x="1" y="7"/>
                  </a:cubicBezTo>
                  <a:cubicBezTo>
                    <a:pt x="0" y="8"/>
                    <a:pt x="0" y="8"/>
                    <a:pt x="0" y="9"/>
                  </a:cubicBezTo>
                  <a:cubicBezTo>
                    <a:pt x="1" y="10"/>
                    <a:pt x="2" y="11"/>
                    <a:pt x="2" y="11"/>
                  </a:cubicBezTo>
                  <a:cubicBezTo>
                    <a:pt x="2" y="11"/>
                    <a:pt x="3" y="11"/>
                    <a:pt x="3" y="11"/>
                  </a:cubicBezTo>
                  <a:cubicBezTo>
                    <a:pt x="3" y="12"/>
                    <a:pt x="3" y="12"/>
                    <a:pt x="4" y="12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lnTo>
                    <a:pt x="4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1860" y="2041"/>
              <a:ext cx="45" cy="33"/>
            </a:xfrm>
            <a:custGeom>
              <a:avLst/>
              <a:gdLst>
                <a:gd name="T0" fmla="*/ 4 w 19"/>
                <a:gd name="T1" fmla="*/ 9 h 14"/>
                <a:gd name="T2" fmla="*/ 4 w 19"/>
                <a:gd name="T3" fmla="*/ 9 h 14"/>
                <a:gd name="T4" fmla="*/ 4 w 19"/>
                <a:gd name="T5" fmla="*/ 10 h 14"/>
                <a:gd name="T6" fmla="*/ 5 w 19"/>
                <a:gd name="T7" fmla="*/ 11 h 14"/>
                <a:gd name="T8" fmla="*/ 5 w 19"/>
                <a:gd name="T9" fmla="*/ 11 h 14"/>
                <a:gd name="T10" fmla="*/ 6 w 19"/>
                <a:gd name="T11" fmla="*/ 12 h 14"/>
                <a:gd name="T12" fmla="*/ 7 w 19"/>
                <a:gd name="T13" fmla="*/ 12 h 14"/>
                <a:gd name="T14" fmla="*/ 7 w 19"/>
                <a:gd name="T15" fmla="*/ 12 h 14"/>
                <a:gd name="T16" fmla="*/ 8 w 19"/>
                <a:gd name="T17" fmla="*/ 12 h 14"/>
                <a:gd name="T18" fmla="*/ 9 w 19"/>
                <a:gd name="T19" fmla="*/ 13 h 14"/>
                <a:gd name="T20" fmla="*/ 10 w 19"/>
                <a:gd name="T21" fmla="*/ 14 h 14"/>
                <a:gd name="T22" fmla="*/ 13 w 19"/>
                <a:gd name="T23" fmla="*/ 11 h 14"/>
                <a:gd name="T24" fmla="*/ 13 w 19"/>
                <a:gd name="T25" fmla="*/ 10 h 14"/>
                <a:gd name="T26" fmla="*/ 13 w 19"/>
                <a:gd name="T27" fmla="*/ 10 h 14"/>
                <a:gd name="T28" fmla="*/ 14 w 19"/>
                <a:gd name="T29" fmla="*/ 11 h 14"/>
                <a:gd name="T30" fmla="*/ 15 w 19"/>
                <a:gd name="T31" fmla="*/ 11 h 14"/>
                <a:gd name="T32" fmla="*/ 15 w 19"/>
                <a:gd name="T33" fmla="*/ 11 h 14"/>
                <a:gd name="T34" fmla="*/ 17 w 19"/>
                <a:gd name="T35" fmla="*/ 12 h 14"/>
                <a:gd name="T36" fmla="*/ 18 w 19"/>
                <a:gd name="T37" fmla="*/ 12 h 14"/>
                <a:gd name="T38" fmla="*/ 19 w 19"/>
                <a:gd name="T39" fmla="*/ 8 h 14"/>
                <a:gd name="T40" fmla="*/ 19 w 19"/>
                <a:gd name="T41" fmla="*/ 6 h 14"/>
                <a:gd name="T42" fmla="*/ 17 w 19"/>
                <a:gd name="T43" fmla="*/ 4 h 14"/>
                <a:gd name="T44" fmla="*/ 16 w 19"/>
                <a:gd name="T45" fmla="*/ 4 h 14"/>
                <a:gd name="T46" fmla="*/ 15 w 19"/>
                <a:gd name="T47" fmla="*/ 3 h 14"/>
                <a:gd name="T48" fmla="*/ 14 w 19"/>
                <a:gd name="T49" fmla="*/ 4 h 14"/>
                <a:gd name="T50" fmla="*/ 15 w 19"/>
                <a:gd name="T51" fmla="*/ 3 h 14"/>
                <a:gd name="T52" fmla="*/ 12 w 19"/>
                <a:gd name="T53" fmla="*/ 1 h 14"/>
                <a:gd name="T54" fmla="*/ 10 w 19"/>
                <a:gd name="T55" fmla="*/ 1 h 14"/>
                <a:gd name="T56" fmla="*/ 9 w 19"/>
                <a:gd name="T57" fmla="*/ 1 h 14"/>
                <a:gd name="T58" fmla="*/ 9 w 19"/>
                <a:gd name="T59" fmla="*/ 1 h 14"/>
                <a:gd name="T60" fmla="*/ 7 w 19"/>
                <a:gd name="T61" fmla="*/ 0 h 14"/>
                <a:gd name="T62" fmla="*/ 5 w 19"/>
                <a:gd name="T63" fmla="*/ 1 h 14"/>
                <a:gd name="T64" fmla="*/ 4 w 19"/>
                <a:gd name="T65" fmla="*/ 1 h 14"/>
                <a:gd name="T66" fmla="*/ 3 w 19"/>
                <a:gd name="T67" fmla="*/ 1 h 14"/>
                <a:gd name="T68" fmla="*/ 2 w 19"/>
                <a:gd name="T69" fmla="*/ 2 h 14"/>
                <a:gd name="T70" fmla="*/ 3 w 19"/>
                <a:gd name="T71" fmla="*/ 3 h 14"/>
                <a:gd name="T72" fmla="*/ 1 w 19"/>
                <a:gd name="T73" fmla="*/ 2 h 14"/>
                <a:gd name="T74" fmla="*/ 1 w 19"/>
                <a:gd name="T75" fmla="*/ 5 h 14"/>
                <a:gd name="T76" fmla="*/ 3 w 19"/>
                <a:gd name="T77" fmla="*/ 7 h 14"/>
                <a:gd name="T78" fmla="*/ 3 w 19"/>
                <a:gd name="T79" fmla="*/ 7 h 14"/>
                <a:gd name="T80" fmla="*/ 2 w 19"/>
                <a:gd name="T81" fmla="*/ 7 h 14"/>
                <a:gd name="T82" fmla="*/ 4 w 19"/>
                <a:gd name="T83" fmla="*/ 9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" h="14">
                  <a:moveTo>
                    <a:pt x="4" y="9"/>
                  </a:move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10"/>
                    <a:pt x="4" y="10"/>
                  </a:cubicBezTo>
                  <a:cubicBezTo>
                    <a:pt x="4" y="11"/>
                    <a:pt x="4" y="11"/>
                    <a:pt x="5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1"/>
                    <a:pt x="5" y="12"/>
                    <a:pt x="6" y="12"/>
                  </a:cubicBezTo>
                  <a:cubicBezTo>
                    <a:pt x="6" y="12"/>
                    <a:pt x="6" y="12"/>
                    <a:pt x="7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1" y="14"/>
                    <a:pt x="12" y="13"/>
                    <a:pt x="13" y="11"/>
                  </a:cubicBezTo>
                  <a:cubicBezTo>
                    <a:pt x="13" y="11"/>
                    <a:pt x="13" y="11"/>
                    <a:pt x="13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3" y="10"/>
                    <a:pt x="14" y="10"/>
                    <a:pt x="14" y="11"/>
                  </a:cubicBezTo>
                  <a:cubicBezTo>
                    <a:pt x="14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6" y="11"/>
                    <a:pt x="16" y="12"/>
                    <a:pt x="17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9" y="11"/>
                    <a:pt x="19" y="9"/>
                    <a:pt x="19" y="8"/>
                  </a:cubicBezTo>
                  <a:cubicBezTo>
                    <a:pt x="19" y="8"/>
                    <a:pt x="19" y="7"/>
                    <a:pt x="19" y="6"/>
                  </a:cubicBezTo>
                  <a:cubicBezTo>
                    <a:pt x="18" y="5"/>
                    <a:pt x="18" y="4"/>
                    <a:pt x="17" y="4"/>
                  </a:cubicBezTo>
                  <a:cubicBezTo>
                    <a:pt x="17" y="4"/>
                    <a:pt x="16" y="4"/>
                    <a:pt x="16" y="4"/>
                  </a:cubicBezTo>
                  <a:cubicBezTo>
                    <a:pt x="16" y="4"/>
                    <a:pt x="15" y="3"/>
                    <a:pt x="15" y="3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2"/>
                    <a:pt x="14" y="1"/>
                    <a:pt x="12" y="1"/>
                  </a:cubicBezTo>
                  <a:cubicBezTo>
                    <a:pt x="11" y="1"/>
                    <a:pt x="11" y="1"/>
                    <a:pt x="10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8" y="1"/>
                    <a:pt x="8" y="0"/>
                    <a:pt x="7" y="0"/>
                  </a:cubicBezTo>
                  <a:cubicBezTo>
                    <a:pt x="6" y="1"/>
                    <a:pt x="6" y="1"/>
                    <a:pt x="5" y="1"/>
                  </a:cubicBezTo>
                  <a:cubicBezTo>
                    <a:pt x="5" y="1"/>
                    <a:pt x="4" y="1"/>
                    <a:pt x="4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1"/>
                    <a:pt x="2" y="1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1" y="3"/>
                    <a:pt x="0" y="4"/>
                    <a:pt x="1" y="5"/>
                  </a:cubicBezTo>
                  <a:cubicBezTo>
                    <a:pt x="1" y="6"/>
                    <a:pt x="2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8"/>
                    <a:pt x="3" y="9"/>
                    <a:pt x="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1935" y="2008"/>
              <a:ext cx="123" cy="71"/>
            </a:xfrm>
            <a:custGeom>
              <a:avLst/>
              <a:gdLst>
                <a:gd name="T0" fmla="*/ 3 w 52"/>
                <a:gd name="T1" fmla="*/ 21 h 30"/>
                <a:gd name="T2" fmla="*/ 5 w 52"/>
                <a:gd name="T3" fmla="*/ 24 h 30"/>
                <a:gd name="T4" fmla="*/ 9 w 52"/>
                <a:gd name="T5" fmla="*/ 21 h 30"/>
                <a:gd name="T6" fmla="*/ 11 w 52"/>
                <a:gd name="T7" fmla="*/ 22 h 30"/>
                <a:gd name="T8" fmla="*/ 12 w 52"/>
                <a:gd name="T9" fmla="*/ 22 h 30"/>
                <a:gd name="T10" fmla="*/ 19 w 52"/>
                <a:gd name="T11" fmla="*/ 23 h 30"/>
                <a:gd name="T12" fmla="*/ 21 w 52"/>
                <a:gd name="T13" fmla="*/ 25 h 30"/>
                <a:gd name="T14" fmla="*/ 21 w 52"/>
                <a:gd name="T15" fmla="*/ 27 h 30"/>
                <a:gd name="T16" fmla="*/ 24 w 52"/>
                <a:gd name="T17" fmla="*/ 30 h 30"/>
                <a:gd name="T18" fmla="*/ 26 w 52"/>
                <a:gd name="T19" fmla="*/ 26 h 30"/>
                <a:gd name="T20" fmla="*/ 28 w 52"/>
                <a:gd name="T21" fmla="*/ 24 h 30"/>
                <a:gd name="T22" fmla="*/ 29 w 52"/>
                <a:gd name="T23" fmla="*/ 22 h 30"/>
                <a:gd name="T24" fmla="*/ 30 w 52"/>
                <a:gd name="T25" fmla="*/ 21 h 30"/>
                <a:gd name="T26" fmla="*/ 34 w 52"/>
                <a:gd name="T27" fmla="*/ 23 h 30"/>
                <a:gd name="T28" fmla="*/ 36 w 52"/>
                <a:gd name="T29" fmla="*/ 23 h 30"/>
                <a:gd name="T30" fmla="*/ 37 w 52"/>
                <a:gd name="T31" fmla="*/ 22 h 30"/>
                <a:gd name="T32" fmla="*/ 38 w 52"/>
                <a:gd name="T33" fmla="*/ 21 h 30"/>
                <a:gd name="T34" fmla="*/ 39 w 52"/>
                <a:gd name="T35" fmla="*/ 19 h 30"/>
                <a:gd name="T36" fmla="*/ 43 w 52"/>
                <a:gd name="T37" fmla="*/ 20 h 30"/>
                <a:gd name="T38" fmla="*/ 45 w 52"/>
                <a:gd name="T39" fmla="*/ 21 h 30"/>
                <a:gd name="T40" fmla="*/ 49 w 52"/>
                <a:gd name="T41" fmla="*/ 22 h 30"/>
                <a:gd name="T42" fmla="*/ 51 w 52"/>
                <a:gd name="T43" fmla="*/ 20 h 30"/>
                <a:gd name="T44" fmla="*/ 52 w 52"/>
                <a:gd name="T45" fmla="*/ 18 h 30"/>
                <a:gd name="T46" fmla="*/ 51 w 52"/>
                <a:gd name="T47" fmla="*/ 15 h 30"/>
                <a:gd name="T48" fmla="*/ 50 w 52"/>
                <a:gd name="T49" fmla="*/ 15 h 30"/>
                <a:gd name="T50" fmla="*/ 46 w 52"/>
                <a:gd name="T51" fmla="*/ 11 h 30"/>
                <a:gd name="T52" fmla="*/ 46 w 52"/>
                <a:gd name="T53" fmla="*/ 9 h 30"/>
                <a:gd name="T54" fmla="*/ 42 w 52"/>
                <a:gd name="T55" fmla="*/ 7 h 30"/>
                <a:gd name="T56" fmla="*/ 41 w 52"/>
                <a:gd name="T57" fmla="*/ 5 h 30"/>
                <a:gd name="T58" fmla="*/ 37 w 52"/>
                <a:gd name="T59" fmla="*/ 3 h 30"/>
                <a:gd name="T60" fmla="*/ 31 w 52"/>
                <a:gd name="T61" fmla="*/ 2 h 30"/>
                <a:gd name="T62" fmla="*/ 31 w 52"/>
                <a:gd name="T63" fmla="*/ 2 h 30"/>
                <a:gd name="T64" fmla="*/ 25 w 52"/>
                <a:gd name="T65" fmla="*/ 2 h 30"/>
                <a:gd name="T66" fmla="*/ 24 w 52"/>
                <a:gd name="T67" fmla="*/ 3 h 30"/>
                <a:gd name="T68" fmla="*/ 23 w 52"/>
                <a:gd name="T69" fmla="*/ 3 h 30"/>
                <a:gd name="T70" fmla="*/ 22 w 52"/>
                <a:gd name="T71" fmla="*/ 2 h 30"/>
                <a:gd name="T72" fmla="*/ 17 w 52"/>
                <a:gd name="T73" fmla="*/ 1 h 30"/>
                <a:gd name="T74" fmla="*/ 16 w 52"/>
                <a:gd name="T75" fmla="*/ 1 h 30"/>
                <a:gd name="T76" fmla="*/ 14 w 52"/>
                <a:gd name="T77" fmla="*/ 1 h 30"/>
                <a:gd name="T78" fmla="*/ 11 w 52"/>
                <a:gd name="T79" fmla="*/ 5 h 30"/>
                <a:gd name="T80" fmla="*/ 14 w 52"/>
                <a:gd name="T81" fmla="*/ 6 h 30"/>
                <a:gd name="T82" fmla="*/ 14 w 52"/>
                <a:gd name="T83" fmla="*/ 9 h 30"/>
                <a:gd name="T84" fmla="*/ 14 w 52"/>
                <a:gd name="T85" fmla="*/ 9 h 30"/>
                <a:gd name="T86" fmla="*/ 12 w 52"/>
                <a:gd name="T87" fmla="*/ 13 h 30"/>
                <a:gd name="T88" fmla="*/ 14 w 52"/>
                <a:gd name="T89" fmla="*/ 17 h 30"/>
                <a:gd name="T90" fmla="*/ 13 w 52"/>
                <a:gd name="T91" fmla="*/ 16 h 30"/>
                <a:gd name="T92" fmla="*/ 11 w 52"/>
                <a:gd name="T93" fmla="*/ 16 h 30"/>
                <a:gd name="T94" fmla="*/ 8 w 52"/>
                <a:gd name="T95" fmla="*/ 15 h 30"/>
                <a:gd name="T96" fmla="*/ 6 w 52"/>
                <a:gd name="T97" fmla="*/ 15 h 30"/>
                <a:gd name="T98" fmla="*/ 3 w 52"/>
                <a:gd name="T99" fmla="*/ 13 h 30"/>
                <a:gd name="T100" fmla="*/ 0 w 52"/>
                <a:gd name="T101" fmla="*/ 1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2" h="30">
                  <a:moveTo>
                    <a:pt x="2" y="20"/>
                  </a:moveTo>
                  <a:cubicBezTo>
                    <a:pt x="2" y="20"/>
                    <a:pt x="2" y="21"/>
                    <a:pt x="3" y="21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4" y="23"/>
                    <a:pt x="5" y="24"/>
                    <a:pt x="5" y="24"/>
                  </a:cubicBezTo>
                  <a:cubicBezTo>
                    <a:pt x="6" y="24"/>
                    <a:pt x="7" y="23"/>
                    <a:pt x="8" y="22"/>
                  </a:cubicBezTo>
                  <a:cubicBezTo>
                    <a:pt x="8" y="21"/>
                    <a:pt x="9" y="21"/>
                    <a:pt x="9" y="21"/>
                  </a:cubicBezTo>
                  <a:cubicBezTo>
                    <a:pt x="9" y="21"/>
                    <a:pt x="9" y="21"/>
                    <a:pt x="10" y="21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3" y="23"/>
                    <a:pt x="15" y="23"/>
                    <a:pt x="15" y="22"/>
                  </a:cubicBezTo>
                  <a:cubicBezTo>
                    <a:pt x="17" y="22"/>
                    <a:pt x="18" y="23"/>
                    <a:pt x="19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1" y="26"/>
                    <a:pt x="21" y="26"/>
                  </a:cubicBezTo>
                  <a:cubicBezTo>
                    <a:pt x="21" y="26"/>
                    <a:pt x="21" y="26"/>
                    <a:pt x="21" y="27"/>
                  </a:cubicBezTo>
                  <a:cubicBezTo>
                    <a:pt x="22" y="28"/>
                    <a:pt x="22" y="29"/>
                    <a:pt x="23" y="30"/>
                  </a:cubicBezTo>
                  <a:cubicBezTo>
                    <a:pt x="24" y="30"/>
                    <a:pt x="24" y="30"/>
                    <a:pt x="24" y="30"/>
                  </a:cubicBezTo>
                  <a:cubicBezTo>
                    <a:pt x="25" y="30"/>
                    <a:pt x="26" y="28"/>
                    <a:pt x="26" y="27"/>
                  </a:cubicBezTo>
                  <a:cubicBezTo>
                    <a:pt x="26" y="27"/>
                    <a:pt x="26" y="27"/>
                    <a:pt x="26" y="26"/>
                  </a:cubicBezTo>
                  <a:cubicBezTo>
                    <a:pt x="27" y="26"/>
                    <a:pt x="27" y="25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3"/>
                    <a:pt x="28" y="23"/>
                  </a:cubicBezTo>
                  <a:cubicBezTo>
                    <a:pt x="29" y="23"/>
                    <a:pt x="29" y="23"/>
                    <a:pt x="29" y="22"/>
                  </a:cubicBezTo>
                  <a:cubicBezTo>
                    <a:pt x="29" y="22"/>
                    <a:pt x="29" y="22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2"/>
                    <a:pt x="31" y="22"/>
                    <a:pt x="31" y="23"/>
                  </a:cubicBezTo>
                  <a:cubicBezTo>
                    <a:pt x="32" y="25"/>
                    <a:pt x="33" y="24"/>
                    <a:pt x="34" y="23"/>
                  </a:cubicBezTo>
                  <a:cubicBezTo>
                    <a:pt x="34" y="23"/>
                    <a:pt x="34" y="23"/>
                    <a:pt x="35" y="23"/>
                  </a:cubicBezTo>
                  <a:cubicBezTo>
                    <a:pt x="35" y="23"/>
                    <a:pt x="36" y="23"/>
                    <a:pt x="36" y="23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7" y="21"/>
                    <a:pt x="38" y="21"/>
                    <a:pt x="38" y="21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19"/>
                    <a:pt x="39" y="19"/>
                  </a:cubicBezTo>
                  <a:cubicBezTo>
                    <a:pt x="39" y="20"/>
                    <a:pt x="39" y="21"/>
                    <a:pt x="40" y="21"/>
                  </a:cubicBezTo>
                  <a:cubicBezTo>
                    <a:pt x="41" y="21"/>
                    <a:pt x="42" y="21"/>
                    <a:pt x="43" y="20"/>
                  </a:cubicBezTo>
                  <a:cubicBezTo>
                    <a:pt x="43" y="20"/>
                    <a:pt x="43" y="20"/>
                    <a:pt x="43" y="20"/>
                  </a:cubicBezTo>
                  <a:cubicBezTo>
                    <a:pt x="44" y="20"/>
                    <a:pt x="44" y="20"/>
                    <a:pt x="45" y="21"/>
                  </a:cubicBezTo>
                  <a:cubicBezTo>
                    <a:pt x="45" y="21"/>
                    <a:pt x="45" y="22"/>
                    <a:pt x="46" y="22"/>
                  </a:cubicBezTo>
                  <a:cubicBezTo>
                    <a:pt x="47" y="23"/>
                    <a:pt x="48" y="22"/>
                    <a:pt x="49" y="22"/>
                  </a:cubicBezTo>
                  <a:cubicBezTo>
                    <a:pt x="49" y="22"/>
                    <a:pt x="49" y="22"/>
                    <a:pt x="50" y="22"/>
                  </a:cubicBezTo>
                  <a:cubicBezTo>
                    <a:pt x="51" y="21"/>
                    <a:pt x="51" y="20"/>
                    <a:pt x="51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2" y="19"/>
                    <a:pt x="52" y="18"/>
                    <a:pt x="52" y="18"/>
                  </a:cubicBezTo>
                  <a:cubicBezTo>
                    <a:pt x="52" y="17"/>
                    <a:pt x="52" y="16"/>
                    <a:pt x="51" y="16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1" y="15"/>
                    <a:pt x="51" y="15"/>
                  </a:cubicBezTo>
                  <a:cubicBezTo>
                    <a:pt x="51" y="15"/>
                    <a:pt x="50" y="15"/>
                    <a:pt x="50" y="15"/>
                  </a:cubicBezTo>
                  <a:cubicBezTo>
                    <a:pt x="50" y="14"/>
                    <a:pt x="49" y="14"/>
                    <a:pt x="49" y="14"/>
                  </a:cubicBezTo>
                  <a:cubicBezTo>
                    <a:pt x="49" y="13"/>
                    <a:pt x="48" y="12"/>
                    <a:pt x="46" y="11"/>
                  </a:cubicBezTo>
                  <a:cubicBezTo>
                    <a:pt x="46" y="11"/>
                    <a:pt x="46" y="11"/>
                    <a:pt x="46" y="11"/>
                  </a:cubicBezTo>
                  <a:cubicBezTo>
                    <a:pt x="47" y="10"/>
                    <a:pt x="46" y="9"/>
                    <a:pt x="46" y="9"/>
                  </a:cubicBezTo>
                  <a:cubicBezTo>
                    <a:pt x="45" y="7"/>
                    <a:pt x="44" y="7"/>
                    <a:pt x="43" y="7"/>
                  </a:cubicBezTo>
                  <a:cubicBezTo>
                    <a:pt x="43" y="7"/>
                    <a:pt x="42" y="7"/>
                    <a:pt x="42" y="7"/>
                  </a:cubicBezTo>
                  <a:cubicBezTo>
                    <a:pt x="42" y="7"/>
                    <a:pt x="42" y="7"/>
                    <a:pt x="41" y="6"/>
                  </a:cubicBezTo>
                  <a:cubicBezTo>
                    <a:pt x="41" y="5"/>
                    <a:pt x="41" y="5"/>
                    <a:pt x="41" y="5"/>
                  </a:cubicBezTo>
                  <a:cubicBezTo>
                    <a:pt x="41" y="3"/>
                    <a:pt x="39" y="3"/>
                    <a:pt x="38" y="3"/>
                  </a:cubicBezTo>
                  <a:cubicBezTo>
                    <a:pt x="38" y="3"/>
                    <a:pt x="37" y="3"/>
                    <a:pt x="37" y="3"/>
                  </a:cubicBezTo>
                  <a:cubicBezTo>
                    <a:pt x="36" y="3"/>
                    <a:pt x="36" y="3"/>
                    <a:pt x="35" y="2"/>
                  </a:cubicBezTo>
                  <a:cubicBezTo>
                    <a:pt x="34" y="1"/>
                    <a:pt x="32" y="1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2"/>
                    <a:pt x="31" y="2"/>
                    <a:pt x="31" y="2"/>
                  </a:cubicBezTo>
                  <a:cubicBezTo>
                    <a:pt x="31" y="1"/>
                    <a:pt x="30" y="1"/>
                    <a:pt x="29" y="0"/>
                  </a:cubicBezTo>
                  <a:cubicBezTo>
                    <a:pt x="27" y="0"/>
                    <a:pt x="26" y="1"/>
                    <a:pt x="25" y="2"/>
                  </a:cubicBezTo>
                  <a:cubicBezTo>
                    <a:pt x="25" y="2"/>
                    <a:pt x="24" y="2"/>
                    <a:pt x="24" y="3"/>
                  </a:cubicBezTo>
                  <a:cubicBezTo>
                    <a:pt x="24" y="3"/>
                    <a:pt x="24" y="3"/>
                    <a:pt x="24" y="3"/>
                  </a:cubicBezTo>
                  <a:cubicBezTo>
                    <a:pt x="24" y="3"/>
                    <a:pt x="24" y="3"/>
                    <a:pt x="23" y="3"/>
                  </a:cubicBezTo>
                  <a:cubicBezTo>
                    <a:pt x="23" y="3"/>
                    <a:pt x="23" y="3"/>
                    <a:pt x="23" y="3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1" y="2"/>
                    <a:pt x="21" y="1"/>
                    <a:pt x="19" y="1"/>
                  </a:cubicBezTo>
                  <a:cubicBezTo>
                    <a:pt x="19" y="1"/>
                    <a:pt x="18" y="1"/>
                    <a:pt x="17" y="1"/>
                  </a:cubicBezTo>
                  <a:cubicBezTo>
                    <a:pt x="17" y="1"/>
                    <a:pt x="17" y="2"/>
                    <a:pt x="17" y="2"/>
                  </a:cubicBezTo>
                  <a:cubicBezTo>
                    <a:pt x="17" y="2"/>
                    <a:pt x="16" y="1"/>
                    <a:pt x="16" y="1"/>
                  </a:cubicBezTo>
                  <a:cubicBezTo>
                    <a:pt x="15" y="1"/>
                    <a:pt x="15" y="1"/>
                    <a:pt x="14" y="1"/>
                  </a:cubicBezTo>
                  <a:cubicBezTo>
                    <a:pt x="14" y="1"/>
                    <a:pt x="14" y="1"/>
                    <a:pt x="14" y="1"/>
                  </a:cubicBezTo>
                  <a:cubicBezTo>
                    <a:pt x="13" y="1"/>
                    <a:pt x="12" y="2"/>
                    <a:pt x="12" y="2"/>
                  </a:cubicBezTo>
                  <a:cubicBezTo>
                    <a:pt x="10" y="3"/>
                    <a:pt x="10" y="4"/>
                    <a:pt x="11" y="5"/>
                  </a:cubicBezTo>
                  <a:cubicBezTo>
                    <a:pt x="11" y="5"/>
                    <a:pt x="12" y="6"/>
                    <a:pt x="13" y="6"/>
                  </a:cubicBezTo>
                  <a:cubicBezTo>
                    <a:pt x="13" y="6"/>
                    <a:pt x="14" y="6"/>
                    <a:pt x="14" y="6"/>
                  </a:cubicBezTo>
                  <a:cubicBezTo>
                    <a:pt x="14" y="6"/>
                    <a:pt x="14" y="6"/>
                    <a:pt x="15" y="6"/>
                  </a:cubicBezTo>
                  <a:cubicBezTo>
                    <a:pt x="14" y="7"/>
                    <a:pt x="14" y="7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4" y="9"/>
                    <a:pt x="14" y="9"/>
                    <a:pt x="14" y="9"/>
                  </a:cubicBezTo>
                  <a:cubicBezTo>
                    <a:pt x="13" y="10"/>
                    <a:pt x="13" y="11"/>
                    <a:pt x="14" y="11"/>
                  </a:cubicBezTo>
                  <a:cubicBezTo>
                    <a:pt x="13" y="12"/>
                    <a:pt x="12" y="12"/>
                    <a:pt x="12" y="13"/>
                  </a:cubicBezTo>
                  <a:cubicBezTo>
                    <a:pt x="11" y="14"/>
                    <a:pt x="12" y="15"/>
                    <a:pt x="12" y="15"/>
                  </a:cubicBezTo>
                  <a:cubicBezTo>
                    <a:pt x="13" y="16"/>
                    <a:pt x="13" y="17"/>
                    <a:pt x="14" y="17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4" y="17"/>
                    <a:pt x="13" y="17"/>
                    <a:pt x="13" y="16"/>
                  </a:cubicBezTo>
                  <a:cubicBezTo>
                    <a:pt x="13" y="16"/>
                    <a:pt x="12" y="16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4"/>
                    <a:pt x="7" y="14"/>
                    <a:pt x="6" y="15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6" y="15"/>
                    <a:pt x="6" y="14"/>
                    <a:pt x="5" y="14"/>
                  </a:cubicBezTo>
                  <a:cubicBezTo>
                    <a:pt x="5" y="14"/>
                    <a:pt x="4" y="13"/>
                    <a:pt x="3" y="13"/>
                  </a:cubicBezTo>
                  <a:cubicBezTo>
                    <a:pt x="2" y="13"/>
                    <a:pt x="1" y="13"/>
                    <a:pt x="1" y="14"/>
                  </a:cubicBezTo>
                  <a:cubicBezTo>
                    <a:pt x="0" y="15"/>
                    <a:pt x="0" y="16"/>
                    <a:pt x="0" y="17"/>
                  </a:cubicBezTo>
                  <a:cubicBezTo>
                    <a:pt x="0" y="18"/>
                    <a:pt x="0" y="19"/>
                    <a:pt x="2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2169" y="2148"/>
              <a:ext cx="15" cy="21"/>
            </a:xfrm>
            <a:custGeom>
              <a:avLst/>
              <a:gdLst>
                <a:gd name="T0" fmla="*/ 5 w 6"/>
                <a:gd name="T1" fmla="*/ 8 h 9"/>
                <a:gd name="T2" fmla="*/ 5 w 6"/>
                <a:gd name="T3" fmla="*/ 3 h 9"/>
                <a:gd name="T4" fmla="*/ 4 w 6"/>
                <a:gd name="T5" fmla="*/ 3 h 9"/>
                <a:gd name="T6" fmla="*/ 2 w 6"/>
                <a:gd name="T7" fmla="*/ 1 h 9"/>
                <a:gd name="T8" fmla="*/ 1 w 6"/>
                <a:gd name="T9" fmla="*/ 0 h 9"/>
                <a:gd name="T10" fmla="*/ 1 w 6"/>
                <a:gd name="T11" fmla="*/ 1 h 9"/>
                <a:gd name="T12" fmla="*/ 0 w 6"/>
                <a:gd name="T13" fmla="*/ 1 h 9"/>
                <a:gd name="T14" fmla="*/ 0 w 6"/>
                <a:gd name="T15" fmla="*/ 3 h 9"/>
                <a:gd name="T16" fmla="*/ 0 w 6"/>
                <a:gd name="T17" fmla="*/ 3 h 9"/>
                <a:gd name="T18" fmla="*/ 1 w 6"/>
                <a:gd name="T19" fmla="*/ 5 h 9"/>
                <a:gd name="T20" fmla="*/ 1 w 6"/>
                <a:gd name="T21" fmla="*/ 6 h 9"/>
                <a:gd name="T22" fmla="*/ 3 w 6"/>
                <a:gd name="T23" fmla="*/ 9 h 9"/>
                <a:gd name="T24" fmla="*/ 5 w 6"/>
                <a:gd name="T25" fmla="*/ 8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9">
                  <a:moveTo>
                    <a:pt x="5" y="8"/>
                  </a:moveTo>
                  <a:cubicBezTo>
                    <a:pt x="6" y="6"/>
                    <a:pt x="6" y="5"/>
                    <a:pt x="5" y="3"/>
                  </a:cubicBezTo>
                  <a:cubicBezTo>
                    <a:pt x="5" y="3"/>
                    <a:pt x="4" y="3"/>
                    <a:pt x="4" y="3"/>
                  </a:cubicBezTo>
                  <a:cubicBezTo>
                    <a:pt x="4" y="2"/>
                    <a:pt x="4" y="1"/>
                    <a:pt x="2" y="1"/>
                  </a:cubicBezTo>
                  <a:cubicBezTo>
                    <a:pt x="2" y="0"/>
                    <a:pt x="2" y="0"/>
                    <a:pt x="1" y="0"/>
                  </a:cubicBezTo>
                  <a:cubicBezTo>
                    <a:pt x="1" y="1"/>
                    <a:pt x="1" y="1"/>
                    <a:pt x="1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2"/>
                    <a:pt x="0" y="2"/>
                    <a:pt x="0" y="3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4"/>
                    <a:pt x="1" y="5"/>
                  </a:cubicBezTo>
                  <a:cubicBezTo>
                    <a:pt x="1" y="5"/>
                    <a:pt x="1" y="6"/>
                    <a:pt x="1" y="6"/>
                  </a:cubicBezTo>
                  <a:cubicBezTo>
                    <a:pt x="1" y="7"/>
                    <a:pt x="2" y="9"/>
                    <a:pt x="3" y="9"/>
                  </a:cubicBezTo>
                  <a:cubicBezTo>
                    <a:pt x="4" y="9"/>
                    <a:pt x="4" y="9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2167" y="2129"/>
              <a:ext cx="10" cy="16"/>
            </a:xfrm>
            <a:custGeom>
              <a:avLst/>
              <a:gdLst>
                <a:gd name="T0" fmla="*/ 2 w 4"/>
                <a:gd name="T1" fmla="*/ 7 h 7"/>
                <a:gd name="T2" fmla="*/ 4 w 4"/>
                <a:gd name="T3" fmla="*/ 5 h 7"/>
                <a:gd name="T4" fmla="*/ 3 w 4"/>
                <a:gd name="T5" fmla="*/ 1 h 7"/>
                <a:gd name="T6" fmla="*/ 2 w 4"/>
                <a:gd name="T7" fmla="*/ 0 h 7"/>
                <a:gd name="T8" fmla="*/ 2 w 4"/>
                <a:gd name="T9" fmla="*/ 0 h 7"/>
                <a:gd name="T10" fmla="*/ 0 w 4"/>
                <a:gd name="T11" fmla="*/ 2 h 7"/>
                <a:gd name="T12" fmla="*/ 0 w 4"/>
                <a:gd name="T13" fmla="*/ 3 h 7"/>
                <a:gd name="T14" fmla="*/ 0 w 4"/>
                <a:gd name="T15" fmla="*/ 4 h 7"/>
                <a:gd name="T16" fmla="*/ 0 w 4"/>
                <a:gd name="T17" fmla="*/ 6 h 7"/>
                <a:gd name="T18" fmla="*/ 2 w 4"/>
                <a:gd name="T19" fmla="*/ 7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7">
                  <a:moveTo>
                    <a:pt x="2" y="7"/>
                  </a:moveTo>
                  <a:cubicBezTo>
                    <a:pt x="3" y="7"/>
                    <a:pt x="4" y="6"/>
                    <a:pt x="4" y="5"/>
                  </a:cubicBezTo>
                  <a:cubicBezTo>
                    <a:pt x="4" y="4"/>
                    <a:pt x="4" y="2"/>
                    <a:pt x="3" y="1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2"/>
                    <a:pt x="0" y="3"/>
                    <a:pt x="0" y="3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1" y="6"/>
                    <a:pt x="1" y="7"/>
                    <a:pt x="2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2068" y="2048"/>
              <a:ext cx="40" cy="26"/>
            </a:xfrm>
            <a:custGeom>
              <a:avLst/>
              <a:gdLst>
                <a:gd name="T0" fmla="*/ 14 w 17"/>
                <a:gd name="T1" fmla="*/ 2 h 11"/>
                <a:gd name="T2" fmla="*/ 13 w 17"/>
                <a:gd name="T3" fmla="*/ 1 h 11"/>
                <a:gd name="T4" fmla="*/ 8 w 17"/>
                <a:gd name="T5" fmla="*/ 1 h 11"/>
                <a:gd name="T6" fmla="*/ 8 w 17"/>
                <a:gd name="T7" fmla="*/ 1 h 11"/>
                <a:gd name="T8" fmla="*/ 8 w 17"/>
                <a:gd name="T9" fmla="*/ 1 h 11"/>
                <a:gd name="T10" fmla="*/ 7 w 17"/>
                <a:gd name="T11" fmla="*/ 0 h 11"/>
                <a:gd name="T12" fmla="*/ 3 w 17"/>
                <a:gd name="T13" fmla="*/ 2 h 11"/>
                <a:gd name="T14" fmla="*/ 3 w 17"/>
                <a:gd name="T15" fmla="*/ 2 h 11"/>
                <a:gd name="T16" fmla="*/ 3 w 17"/>
                <a:gd name="T17" fmla="*/ 2 h 11"/>
                <a:gd name="T18" fmla="*/ 1 w 17"/>
                <a:gd name="T19" fmla="*/ 4 h 11"/>
                <a:gd name="T20" fmla="*/ 1 w 17"/>
                <a:gd name="T21" fmla="*/ 5 h 11"/>
                <a:gd name="T22" fmla="*/ 1 w 17"/>
                <a:gd name="T23" fmla="*/ 5 h 11"/>
                <a:gd name="T24" fmla="*/ 1 w 17"/>
                <a:gd name="T25" fmla="*/ 9 h 11"/>
                <a:gd name="T26" fmla="*/ 3 w 17"/>
                <a:gd name="T27" fmla="*/ 10 h 11"/>
                <a:gd name="T28" fmla="*/ 4 w 17"/>
                <a:gd name="T29" fmla="*/ 10 h 11"/>
                <a:gd name="T30" fmla="*/ 4 w 17"/>
                <a:gd name="T31" fmla="*/ 10 h 11"/>
                <a:gd name="T32" fmla="*/ 5 w 17"/>
                <a:gd name="T33" fmla="*/ 10 h 11"/>
                <a:gd name="T34" fmla="*/ 6 w 17"/>
                <a:gd name="T35" fmla="*/ 10 h 11"/>
                <a:gd name="T36" fmla="*/ 7 w 17"/>
                <a:gd name="T37" fmla="*/ 10 h 11"/>
                <a:gd name="T38" fmla="*/ 9 w 17"/>
                <a:gd name="T39" fmla="*/ 11 h 11"/>
                <a:gd name="T40" fmla="*/ 10 w 17"/>
                <a:gd name="T41" fmla="*/ 11 h 11"/>
                <a:gd name="T42" fmla="*/ 12 w 17"/>
                <a:gd name="T43" fmla="*/ 10 h 11"/>
                <a:gd name="T44" fmla="*/ 12 w 17"/>
                <a:gd name="T45" fmla="*/ 10 h 11"/>
                <a:gd name="T46" fmla="*/ 13 w 17"/>
                <a:gd name="T47" fmla="*/ 10 h 11"/>
                <a:gd name="T48" fmla="*/ 14 w 17"/>
                <a:gd name="T49" fmla="*/ 9 h 11"/>
                <a:gd name="T50" fmla="*/ 16 w 17"/>
                <a:gd name="T51" fmla="*/ 8 h 11"/>
                <a:gd name="T52" fmla="*/ 17 w 17"/>
                <a:gd name="T53" fmla="*/ 5 h 11"/>
                <a:gd name="T54" fmla="*/ 14 w 17"/>
                <a:gd name="T55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" h="11">
                  <a:moveTo>
                    <a:pt x="14" y="2"/>
                  </a:moveTo>
                  <a:cubicBezTo>
                    <a:pt x="13" y="1"/>
                    <a:pt x="13" y="1"/>
                    <a:pt x="13" y="1"/>
                  </a:cubicBezTo>
                  <a:cubicBezTo>
                    <a:pt x="12" y="0"/>
                    <a:pt x="10" y="0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7" y="1"/>
                    <a:pt x="7" y="1"/>
                    <a:pt x="7" y="0"/>
                  </a:cubicBezTo>
                  <a:cubicBezTo>
                    <a:pt x="5" y="0"/>
                    <a:pt x="4" y="1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3" y="2"/>
                    <a:pt x="3" y="2"/>
                    <a:pt x="3" y="2"/>
                  </a:cubicBezTo>
                  <a:cubicBezTo>
                    <a:pt x="2" y="3"/>
                    <a:pt x="2" y="3"/>
                    <a:pt x="1" y="4"/>
                  </a:cubicBezTo>
                  <a:cubicBezTo>
                    <a:pt x="1" y="4"/>
                    <a:pt x="1" y="4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9"/>
                    <a:pt x="2" y="10"/>
                    <a:pt x="3" y="10"/>
                  </a:cubicBezTo>
                  <a:cubicBezTo>
                    <a:pt x="3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1"/>
                    <a:pt x="9" y="11"/>
                    <a:pt x="9" y="11"/>
                  </a:cubicBezTo>
                  <a:cubicBezTo>
                    <a:pt x="9" y="11"/>
                    <a:pt x="10" y="11"/>
                    <a:pt x="10" y="11"/>
                  </a:cubicBezTo>
                  <a:cubicBezTo>
                    <a:pt x="11" y="11"/>
                    <a:pt x="11" y="11"/>
                    <a:pt x="12" y="10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3" y="10"/>
                    <a:pt x="13" y="10"/>
                    <a:pt x="13" y="10"/>
                  </a:cubicBezTo>
                  <a:cubicBezTo>
                    <a:pt x="14" y="10"/>
                    <a:pt x="14" y="9"/>
                    <a:pt x="14" y="9"/>
                  </a:cubicBezTo>
                  <a:cubicBezTo>
                    <a:pt x="15" y="9"/>
                    <a:pt x="15" y="8"/>
                    <a:pt x="16" y="8"/>
                  </a:cubicBezTo>
                  <a:cubicBezTo>
                    <a:pt x="16" y="7"/>
                    <a:pt x="17" y="6"/>
                    <a:pt x="17" y="5"/>
                  </a:cubicBezTo>
                  <a:cubicBezTo>
                    <a:pt x="17" y="3"/>
                    <a:pt x="15" y="2"/>
                    <a:pt x="14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1" name="Freeform 100"/>
            <p:cNvSpPr>
              <a:spLocks/>
            </p:cNvSpPr>
            <p:nvPr/>
          </p:nvSpPr>
          <p:spPr bwMode="auto">
            <a:xfrm>
              <a:off x="2162" y="2108"/>
              <a:ext cx="22" cy="16"/>
            </a:xfrm>
            <a:custGeom>
              <a:avLst/>
              <a:gdLst>
                <a:gd name="T0" fmla="*/ 6 w 9"/>
                <a:gd name="T1" fmla="*/ 6 h 7"/>
                <a:gd name="T2" fmla="*/ 8 w 9"/>
                <a:gd name="T3" fmla="*/ 5 h 7"/>
                <a:gd name="T4" fmla="*/ 7 w 9"/>
                <a:gd name="T5" fmla="*/ 2 h 7"/>
                <a:gd name="T6" fmla="*/ 7 w 9"/>
                <a:gd name="T7" fmla="*/ 2 h 7"/>
                <a:gd name="T8" fmla="*/ 5 w 9"/>
                <a:gd name="T9" fmla="*/ 0 h 7"/>
                <a:gd name="T10" fmla="*/ 3 w 9"/>
                <a:gd name="T11" fmla="*/ 1 h 7"/>
                <a:gd name="T12" fmla="*/ 2 w 9"/>
                <a:gd name="T13" fmla="*/ 0 h 7"/>
                <a:gd name="T14" fmla="*/ 0 w 9"/>
                <a:gd name="T15" fmla="*/ 2 h 7"/>
                <a:gd name="T16" fmla="*/ 1 w 9"/>
                <a:gd name="T17" fmla="*/ 5 h 7"/>
                <a:gd name="T18" fmla="*/ 4 w 9"/>
                <a:gd name="T19" fmla="*/ 7 h 7"/>
                <a:gd name="T20" fmla="*/ 6 w 9"/>
                <a:gd name="T21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" h="7">
                  <a:moveTo>
                    <a:pt x="6" y="6"/>
                  </a:moveTo>
                  <a:cubicBezTo>
                    <a:pt x="7" y="6"/>
                    <a:pt x="8" y="5"/>
                    <a:pt x="8" y="5"/>
                  </a:cubicBezTo>
                  <a:cubicBezTo>
                    <a:pt x="8" y="4"/>
                    <a:pt x="9" y="3"/>
                    <a:pt x="7" y="2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7" y="1"/>
                    <a:pt x="6" y="0"/>
                    <a:pt x="5" y="0"/>
                  </a:cubicBezTo>
                  <a:cubicBezTo>
                    <a:pt x="4" y="0"/>
                    <a:pt x="4" y="0"/>
                    <a:pt x="3" y="1"/>
                  </a:cubicBezTo>
                  <a:cubicBezTo>
                    <a:pt x="3" y="1"/>
                    <a:pt x="2" y="0"/>
                    <a:pt x="2" y="0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0" y="3"/>
                    <a:pt x="1" y="5"/>
                    <a:pt x="1" y="5"/>
                  </a:cubicBezTo>
                  <a:cubicBezTo>
                    <a:pt x="2" y="6"/>
                    <a:pt x="3" y="7"/>
                    <a:pt x="4" y="7"/>
                  </a:cubicBezTo>
                  <a:cubicBezTo>
                    <a:pt x="5" y="7"/>
                    <a:pt x="6" y="6"/>
                    <a:pt x="6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2" name="Freeform 101"/>
            <p:cNvSpPr>
              <a:spLocks/>
            </p:cNvSpPr>
            <p:nvPr/>
          </p:nvSpPr>
          <p:spPr bwMode="auto">
            <a:xfrm>
              <a:off x="2167" y="2169"/>
              <a:ext cx="14" cy="19"/>
            </a:xfrm>
            <a:custGeom>
              <a:avLst/>
              <a:gdLst>
                <a:gd name="T0" fmla="*/ 2 w 6"/>
                <a:gd name="T1" fmla="*/ 8 h 8"/>
                <a:gd name="T2" fmla="*/ 3 w 6"/>
                <a:gd name="T3" fmla="*/ 8 h 8"/>
                <a:gd name="T4" fmla="*/ 4 w 6"/>
                <a:gd name="T5" fmla="*/ 5 h 8"/>
                <a:gd name="T6" fmla="*/ 5 w 6"/>
                <a:gd name="T7" fmla="*/ 3 h 8"/>
                <a:gd name="T8" fmla="*/ 5 w 6"/>
                <a:gd name="T9" fmla="*/ 3 h 8"/>
                <a:gd name="T10" fmla="*/ 4 w 6"/>
                <a:gd name="T11" fmla="*/ 0 h 8"/>
                <a:gd name="T12" fmla="*/ 4 w 6"/>
                <a:gd name="T13" fmla="*/ 0 h 8"/>
                <a:gd name="T14" fmla="*/ 3 w 6"/>
                <a:gd name="T15" fmla="*/ 0 h 8"/>
                <a:gd name="T16" fmla="*/ 1 w 6"/>
                <a:gd name="T17" fmla="*/ 1 h 8"/>
                <a:gd name="T18" fmla="*/ 1 w 6"/>
                <a:gd name="T19" fmla="*/ 4 h 8"/>
                <a:gd name="T20" fmla="*/ 1 w 6"/>
                <a:gd name="T21" fmla="*/ 5 h 8"/>
                <a:gd name="T22" fmla="*/ 1 w 6"/>
                <a:gd name="T23" fmla="*/ 7 h 8"/>
                <a:gd name="T24" fmla="*/ 2 w 6"/>
                <a:gd name="T2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cubicBezTo>
                    <a:pt x="2" y="8"/>
                    <a:pt x="3" y="8"/>
                    <a:pt x="3" y="8"/>
                  </a:cubicBezTo>
                  <a:cubicBezTo>
                    <a:pt x="4" y="7"/>
                    <a:pt x="4" y="6"/>
                    <a:pt x="4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6" y="1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2" y="0"/>
                    <a:pt x="2" y="1"/>
                    <a:pt x="1" y="1"/>
                  </a:cubicBezTo>
                  <a:cubicBezTo>
                    <a:pt x="1" y="2"/>
                    <a:pt x="1" y="3"/>
                    <a:pt x="1" y="4"/>
                  </a:cubicBezTo>
                  <a:cubicBezTo>
                    <a:pt x="1" y="4"/>
                    <a:pt x="1" y="5"/>
                    <a:pt x="1" y="5"/>
                  </a:cubicBezTo>
                  <a:cubicBezTo>
                    <a:pt x="1" y="5"/>
                    <a:pt x="0" y="7"/>
                    <a:pt x="1" y="7"/>
                  </a:cubicBezTo>
                  <a:cubicBezTo>
                    <a:pt x="1" y="8"/>
                    <a:pt x="2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2155" y="2188"/>
              <a:ext cx="12" cy="31"/>
            </a:xfrm>
            <a:custGeom>
              <a:avLst/>
              <a:gdLst>
                <a:gd name="T0" fmla="*/ 2 w 5"/>
                <a:gd name="T1" fmla="*/ 6 h 13"/>
                <a:gd name="T2" fmla="*/ 2 w 5"/>
                <a:gd name="T3" fmla="*/ 6 h 13"/>
                <a:gd name="T4" fmla="*/ 5 w 5"/>
                <a:gd name="T5" fmla="*/ 13 h 13"/>
                <a:gd name="T6" fmla="*/ 5 w 5"/>
                <a:gd name="T7" fmla="*/ 5 h 13"/>
                <a:gd name="T8" fmla="*/ 5 w 5"/>
                <a:gd name="T9" fmla="*/ 3 h 13"/>
                <a:gd name="T10" fmla="*/ 2 w 5"/>
                <a:gd name="T11" fmla="*/ 0 h 13"/>
                <a:gd name="T12" fmla="*/ 0 w 5"/>
                <a:gd name="T13" fmla="*/ 2 h 13"/>
                <a:gd name="T14" fmla="*/ 1 w 5"/>
                <a:gd name="T15" fmla="*/ 4 h 13"/>
                <a:gd name="T16" fmla="*/ 2 w 5"/>
                <a:gd name="T17" fmla="*/ 4 h 13"/>
                <a:gd name="T18" fmla="*/ 2 w 5"/>
                <a:gd name="T19" fmla="*/ 4 h 13"/>
                <a:gd name="T20" fmla="*/ 2 w 5"/>
                <a:gd name="T2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" h="13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5" y="5"/>
                    <a:pt x="5" y="4"/>
                    <a:pt x="5" y="3"/>
                  </a:cubicBezTo>
                  <a:cubicBezTo>
                    <a:pt x="5" y="2"/>
                    <a:pt x="4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0" y="4"/>
                    <a:pt x="1" y="4"/>
                  </a:cubicBezTo>
                  <a:cubicBezTo>
                    <a:pt x="1" y="4"/>
                    <a:pt x="2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lnTo>
                    <a:pt x="2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2143" y="2219"/>
              <a:ext cx="12" cy="14"/>
            </a:xfrm>
            <a:custGeom>
              <a:avLst/>
              <a:gdLst>
                <a:gd name="T0" fmla="*/ 3 w 5"/>
                <a:gd name="T1" fmla="*/ 0 h 6"/>
                <a:gd name="T2" fmla="*/ 0 w 5"/>
                <a:gd name="T3" fmla="*/ 4 h 6"/>
                <a:gd name="T4" fmla="*/ 1 w 5"/>
                <a:gd name="T5" fmla="*/ 6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  <a:gd name="T12" fmla="*/ 3 w 5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6">
                  <a:moveTo>
                    <a:pt x="3" y="0"/>
                  </a:moveTo>
                  <a:cubicBezTo>
                    <a:pt x="2" y="0"/>
                    <a:pt x="0" y="2"/>
                    <a:pt x="0" y="4"/>
                  </a:cubicBezTo>
                  <a:cubicBezTo>
                    <a:pt x="0" y="4"/>
                    <a:pt x="0" y="5"/>
                    <a:pt x="1" y="6"/>
                  </a:cubicBezTo>
                  <a:cubicBezTo>
                    <a:pt x="1" y="6"/>
                    <a:pt x="2" y="6"/>
                    <a:pt x="2" y="6"/>
                  </a:cubicBezTo>
                  <a:cubicBezTo>
                    <a:pt x="3" y="6"/>
                    <a:pt x="4" y="6"/>
                    <a:pt x="5" y="5"/>
                  </a:cubicBezTo>
                  <a:cubicBezTo>
                    <a:pt x="5" y="4"/>
                    <a:pt x="5" y="3"/>
                    <a:pt x="5" y="2"/>
                  </a:cubicBezTo>
                  <a:cubicBezTo>
                    <a:pt x="5" y="1"/>
                    <a:pt x="4" y="0"/>
                    <a:pt x="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2531" y="3954"/>
              <a:ext cx="17" cy="11"/>
            </a:xfrm>
            <a:custGeom>
              <a:avLst/>
              <a:gdLst>
                <a:gd name="T0" fmla="*/ 4 w 7"/>
                <a:gd name="T1" fmla="*/ 0 h 5"/>
                <a:gd name="T2" fmla="*/ 0 w 7"/>
                <a:gd name="T3" fmla="*/ 3 h 5"/>
                <a:gd name="T4" fmla="*/ 2 w 7"/>
                <a:gd name="T5" fmla="*/ 5 h 5"/>
                <a:gd name="T6" fmla="*/ 4 w 7"/>
                <a:gd name="T7" fmla="*/ 5 h 5"/>
                <a:gd name="T8" fmla="*/ 5 w 7"/>
                <a:gd name="T9" fmla="*/ 4 h 5"/>
                <a:gd name="T10" fmla="*/ 6 w 7"/>
                <a:gd name="T11" fmla="*/ 4 h 5"/>
                <a:gd name="T12" fmla="*/ 7 w 7"/>
                <a:gd name="T13" fmla="*/ 2 h 5"/>
                <a:gd name="T14" fmla="*/ 4 w 7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" h="5">
                  <a:moveTo>
                    <a:pt x="4" y="0"/>
                  </a:moveTo>
                  <a:cubicBezTo>
                    <a:pt x="2" y="0"/>
                    <a:pt x="0" y="1"/>
                    <a:pt x="0" y="3"/>
                  </a:cubicBezTo>
                  <a:cubicBezTo>
                    <a:pt x="0" y="4"/>
                    <a:pt x="1" y="5"/>
                    <a:pt x="2" y="5"/>
                  </a:cubicBezTo>
                  <a:cubicBezTo>
                    <a:pt x="3" y="5"/>
                    <a:pt x="3" y="5"/>
                    <a:pt x="4" y="5"/>
                  </a:cubicBezTo>
                  <a:cubicBezTo>
                    <a:pt x="4" y="4"/>
                    <a:pt x="4" y="4"/>
                    <a:pt x="5" y="4"/>
                  </a:cubicBezTo>
                  <a:cubicBezTo>
                    <a:pt x="5" y="4"/>
                    <a:pt x="6" y="4"/>
                    <a:pt x="6" y="4"/>
                  </a:cubicBezTo>
                  <a:cubicBezTo>
                    <a:pt x="7" y="3"/>
                    <a:pt x="7" y="2"/>
                    <a:pt x="7" y="2"/>
                  </a:cubicBezTo>
                  <a:cubicBezTo>
                    <a:pt x="7" y="0"/>
                    <a:pt x="5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auto">
            <a:xfrm>
              <a:off x="4859" y="2297"/>
              <a:ext cx="49" cy="97"/>
            </a:xfrm>
            <a:custGeom>
              <a:avLst/>
              <a:gdLst>
                <a:gd name="T0" fmla="*/ 20 w 21"/>
                <a:gd name="T1" fmla="*/ 25 h 41"/>
                <a:gd name="T2" fmla="*/ 20 w 21"/>
                <a:gd name="T3" fmla="*/ 24 h 41"/>
                <a:gd name="T4" fmla="*/ 20 w 21"/>
                <a:gd name="T5" fmla="*/ 22 h 41"/>
                <a:gd name="T6" fmla="*/ 19 w 21"/>
                <a:gd name="T7" fmla="*/ 22 h 41"/>
                <a:gd name="T8" fmla="*/ 19 w 21"/>
                <a:gd name="T9" fmla="*/ 21 h 41"/>
                <a:gd name="T10" fmla="*/ 18 w 21"/>
                <a:gd name="T11" fmla="*/ 20 h 41"/>
                <a:gd name="T12" fmla="*/ 18 w 21"/>
                <a:gd name="T13" fmla="*/ 19 h 41"/>
                <a:gd name="T14" fmla="*/ 17 w 21"/>
                <a:gd name="T15" fmla="*/ 16 h 41"/>
                <a:gd name="T16" fmla="*/ 17 w 21"/>
                <a:gd name="T17" fmla="*/ 16 h 41"/>
                <a:gd name="T18" fmla="*/ 16 w 21"/>
                <a:gd name="T19" fmla="*/ 15 h 41"/>
                <a:gd name="T20" fmla="*/ 16 w 21"/>
                <a:gd name="T21" fmla="*/ 14 h 41"/>
                <a:gd name="T22" fmla="*/ 15 w 21"/>
                <a:gd name="T23" fmla="*/ 12 h 41"/>
                <a:gd name="T24" fmla="*/ 14 w 21"/>
                <a:gd name="T25" fmla="*/ 10 h 41"/>
                <a:gd name="T26" fmla="*/ 11 w 21"/>
                <a:gd name="T27" fmla="*/ 5 h 41"/>
                <a:gd name="T28" fmla="*/ 10 w 21"/>
                <a:gd name="T29" fmla="*/ 4 h 41"/>
                <a:gd name="T30" fmla="*/ 9 w 21"/>
                <a:gd name="T31" fmla="*/ 3 h 41"/>
                <a:gd name="T32" fmla="*/ 9 w 21"/>
                <a:gd name="T33" fmla="*/ 3 h 41"/>
                <a:gd name="T34" fmla="*/ 6 w 21"/>
                <a:gd name="T35" fmla="*/ 1 h 41"/>
                <a:gd name="T36" fmla="*/ 5 w 21"/>
                <a:gd name="T37" fmla="*/ 0 h 41"/>
                <a:gd name="T38" fmla="*/ 3 w 21"/>
                <a:gd name="T39" fmla="*/ 3 h 41"/>
                <a:gd name="T40" fmla="*/ 3 w 21"/>
                <a:gd name="T41" fmla="*/ 4 h 41"/>
                <a:gd name="T42" fmla="*/ 2 w 21"/>
                <a:gd name="T43" fmla="*/ 5 h 41"/>
                <a:gd name="T44" fmla="*/ 3 w 21"/>
                <a:gd name="T45" fmla="*/ 6 h 41"/>
                <a:gd name="T46" fmla="*/ 3 w 21"/>
                <a:gd name="T47" fmla="*/ 7 h 41"/>
                <a:gd name="T48" fmla="*/ 3 w 21"/>
                <a:gd name="T49" fmla="*/ 8 h 41"/>
                <a:gd name="T50" fmla="*/ 4 w 21"/>
                <a:gd name="T51" fmla="*/ 9 h 41"/>
                <a:gd name="T52" fmla="*/ 3 w 21"/>
                <a:gd name="T53" fmla="*/ 8 h 41"/>
                <a:gd name="T54" fmla="*/ 2 w 21"/>
                <a:gd name="T55" fmla="*/ 11 h 41"/>
                <a:gd name="T56" fmla="*/ 2 w 21"/>
                <a:gd name="T57" fmla="*/ 13 h 41"/>
                <a:gd name="T58" fmla="*/ 2 w 21"/>
                <a:gd name="T59" fmla="*/ 13 h 41"/>
                <a:gd name="T60" fmla="*/ 2 w 21"/>
                <a:gd name="T61" fmla="*/ 16 h 41"/>
                <a:gd name="T62" fmla="*/ 2 w 21"/>
                <a:gd name="T63" fmla="*/ 16 h 41"/>
                <a:gd name="T64" fmla="*/ 1 w 21"/>
                <a:gd name="T65" fmla="*/ 17 h 41"/>
                <a:gd name="T66" fmla="*/ 1 w 21"/>
                <a:gd name="T67" fmla="*/ 21 h 41"/>
                <a:gd name="T68" fmla="*/ 2 w 21"/>
                <a:gd name="T69" fmla="*/ 22 h 41"/>
                <a:gd name="T70" fmla="*/ 2 w 21"/>
                <a:gd name="T71" fmla="*/ 23 h 41"/>
                <a:gd name="T72" fmla="*/ 2 w 21"/>
                <a:gd name="T73" fmla="*/ 25 h 41"/>
                <a:gd name="T74" fmla="*/ 2 w 21"/>
                <a:gd name="T75" fmla="*/ 26 h 41"/>
                <a:gd name="T76" fmla="*/ 3 w 21"/>
                <a:gd name="T77" fmla="*/ 28 h 41"/>
                <a:gd name="T78" fmla="*/ 3 w 21"/>
                <a:gd name="T79" fmla="*/ 29 h 41"/>
                <a:gd name="T80" fmla="*/ 3 w 21"/>
                <a:gd name="T81" fmla="*/ 30 h 41"/>
                <a:gd name="T82" fmla="*/ 3 w 21"/>
                <a:gd name="T83" fmla="*/ 32 h 41"/>
                <a:gd name="T84" fmla="*/ 4 w 21"/>
                <a:gd name="T85" fmla="*/ 34 h 41"/>
                <a:gd name="T86" fmla="*/ 5 w 21"/>
                <a:gd name="T87" fmla="*/ 38 h 41"/>
                <a:gd name="T88" fmla="*/ 5 w 21"/>
                <a:gd name="T89" fmla="*/ 38 h 41"/>
                <a:gd name="T90" fmla="*/ 9 w 21"/>
                <a:gd name="T91" fmla="*/ 41 h 41"/>
                <a:gd name="T92" fmla="*/ 10 w 21"/>
                <a:gd name="T93" fmla="*/ 41 h 41"/>
                <a:gd name="T94" fmla="*/ 13 w 21"/>
                <a:gd name="T95" fmla="*/ 40 h 41"/>
                <a:gd name="T96" fmla="*/ 14 w 21"/>
                <a:gd name="T97" fmla="*/ 39 h 41"/>
                <a:gd name="T98" fmla="*/ 17 w 21"/>
                <a:gd name="T99" fmla="*/ 37 h 41"/>
                <a:gd name="T100" fmla="*/ 20 w 21"/>
                <a:gd name="T101" fmla="*/ 34 h 41"/>
                <a:gd name="T102" fmla="*/ 21 w 21"/>
                <a:gd name="T103" fmla="*/ 32 h 41"/>
                <a:gd name="T104" fmla="*/ 21 w 21"/>
                <a:gd name="T105" fmla="*/ 31 h 41"/>
                <a:gd name="T106" fmla="*/ 21 w 21"/>
                <a:gd name="T107" fmla="*/ 29 h 41"/>
                <a:gd name="T108" fmla="*/ 21 w 21"/>
                <a:gd name="T109" fmla="*/ 28 h 41"/>
                <a:gd name="T110" fmla="*/ 21 w 21"/>
                <a:gd name="T111" fmla="*/ 27 h 41"/>
                <a:gd name="T112" fmla="*/ 20 w 21"/>
                <a:gd name="T113" fmla="*/ 25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1" h="41">
                  <a:moveTo>
                    <a:pt x="20" y="25"/>
                  </a:moveTo>
                  <a:cubicBezTo>
                    <a:pt x="20" y="25"/>
                    <a:pt x="20" y="24"/>
                    <a:pt x="20" y="24"/>
                  </a:cubicBezTo>
                  <a:cubicBezTo>
                    <a:pt x="20" y="23"/>
                    <a:pt x="20" y="23"/>
                    <a:pt x="20" y="22"/>
                  </a:cubicBezTo>
                  <a:cubicBezTo>
                    <a:pt x="20" y="22"/>
                    <a:pt x="19" y="22"/>
                    <a:pt x="19" y="2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19" y="21"/>
                    <a:pt x="18" y="20"/>
                    <a:pt x="18" y="20"/>
                  </a:cubicBezTo>
                  <a:cubicBezTo>
                    <a:pt x="18" y="19"/>
                    <a:pt x="18" y="19"/>
                    <a:pt x="18" y="19"/>
                  </a:cubicBezTo>
                  <a:cubicBezTo>
                    <a:pt x="18" y="18"/>
                    <a:pt x="18" y="17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5"/>
                    <a:pt x="16" y="15"/>
                    <a:pt x="16" y="15"/>
                  </a:cubicBezTo>
                  <a:cubicBezTo>
                    <a:pt x="16" y="15"/>
                    <a:pt x="16" y="15"/>
                    <a:pt x="16" y="14"/>
                  </a:cubicBezTo>
                  <a:cubicBezTo>
                    <a:pt x="16" y="13"/>
                    <a:pt x="15" y="13"/>
                    <a:pt x="15" y="12"/>
                  </a:cubicBezTo>
                  <a:cubicBezTo>
                    <a:pt x="14" y="11"/>
                    <a:pt x="14" y="11"/>
                    <a:pt x="14" y="10"/>
                  </a:cubicBezTo>
                  <a:cubicBezTo>
                    <a:pt x="14" y="9"/>
                    <a:pt x="13" y="7"/>
                    <a:pt x="11" y="5"/>
                  </a:cubicBezTo>
                  <a:cubicBezTo>
                    <a:pt x="11" y="5"/>
                    <a:pt x="11" y="5"/>
                    <a:pt x="10" y="4"/>
                  </a:cubicBezTo>
                  <a:cubicBezTo>
                    <a:pt x="10" y="4"/>
                    <a:pt x="9" y="4"/>
                    <a:pt x="9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8" y="2"/>
                    <a:pt x="7" y="1"/>
                    <a:pt x="6" y="1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3" y="0"/>
                    <a:pt x="3" y="2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4"/>
                    <a:pt x="2" y="5"/>
                  </a:cubicBezTo>
                  <a:cubicBezTo>
                    <a:pt x="2" y="5"/>
                    <a:pt x="2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8"/>
                    <a:pt x="3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2" y="9"/>
                    <a:pt x="2" y="10"/>
                    <a:pt x="2" y="11"/>
                  </a:cubicBezTo>
                  <a:cubicBezTo>
                    <a:pt x="2" y="12"/>
                    <a:pt x="2" y="12"/>
                    <a:pt x="2" y="13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4"/>
                    <a:pt x="2" y="15"/>
                    <a:pt x="2" y="16"/>
                  </a:cubicBezTo>
                  <a:cubicBezTo>
                    <a:pt x="2" y="16"/>
                    <a:pt x="2" y="16"/>
                    <a:pt x="2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0" y="18"/>
                    <a:pt x="1" y="20"/>
                    <a:pt x="1" y="21"/>
                  </a:cubicBezTo>
                  <a:cubicBezTo>
                    <a:pt x="1" y="21"/>
                    <a:pt x="1" y="21"/>
                    <a:pt x="2" y="22"/>
                  </a:cubicBezTo>
                  <a:cubicBezTo>
                    <a:pt x="2" y="22"/>
                    <a:pt x="2" y="23"/>
                    <a:pt x="2" y="23"/>
                  </a:cubicBezTo>
                  <a:cubicBezTo>
                    <a:pt x="2" y="24"/>
                    <a:pt x="2" y="25"/>
                    <a:pt x="2" y="25"/>
                  </a:cubicBezTo>
                  <a:cubicBezTo>
                    <a:pt x="2" y="26"/>
                    <a:pt x="2" y="26"/>
                    <a:pt x="2" y="26"/>
                  </a:cubicBezTo>
                  <a:cubicBezTo>
                    <a:pt x="2" y="27"/>
                    <a:pt x="2" y="28"/>
                    <a:pt x="3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29"/>
                    <a:pt x="3" y="30"/>
                  </a:cubicBezTo>
                  <a:cubicBezTo>
                    <a:pt x="3" y="30"/>
                    <a:pt x="3" y="31"/>
                    <a:pt x="3" y="32"/>
                  </a:cubicBezTo>
                  <a:cubicBezTo>
                    <a:pt x="4" y="33"/>
                    <a:pt x="4" y="33"/>
                    <a:pt x="4" y="34"/>
                  </a:cubicBezTo>
                  <a:cubicBezTo>
                    <a:pt x="4" y="36"/>
                    <a:pt x="4" y="37"/>
                    <a:pt x="5" y="38"/>
                  </a:cubicBezTo>
                  <a:cubicBezTo>
                    <a:pt x="5" y="38"/>
                    <a:pt x="5" y="38"/>
                    <a:pt x="5" y="38"/>
                  </a:cubicBezTo>
                  <a:cubicBezTo>
                    <a:pt x="6" y="40"/>
                    <a:pt x="8" y="41"/>
                    <a:pt x="9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11" y="41"/>
                    <a:pt x="12" y="40"/>
                    <a:pt x="13" y="40"/>
                  </a:cubicBezTo>
                  <a:cubicBezTo>
                    <a:pt x="13" y="39"/>
                    <a:pt x="13" y="39"/>
                    <a:pt x="14" y="39"/>
                  </a:cubicBezTo>
                  <a:cubicBezTo>
                    <a:pt x="15" y="38"/>
                    <a:pt x="16" y="38"/>
                    <a:pt x="17" y="37"/>
                  </a:cubicBezTo>
                  <a:cubicBezTo>
                    <a:pt x="19" y="37"/>
                    <a:pt x="20" y="35"/>
                    <a:pt x="20" y="34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0"/>
                    <a:pt x="21" y="30"/>
                    <a:pt x="21" y="29"/>
                  </a:cubicBezTo>
                  <a:cubicBezTo>
                    <a:pt x="21" y="29"/>
                    <a:pt x="21" y="29"/>
                    <a:pt x="21" y="28"/>
                  </a:cubicBezTo>
                  <a:cubicBezTo>
                    <a:pt x="21" y="28"/>
                    <a:pt x="21" y="28"/>
                    <a:pt x="21" y="27"/>
                  </a:cubicBezTo>
                  <a:cubicBezTo>
                    <a:pt x="21" y="27"/>
                    <a:pt x="21" y="26"/>
                    <a:pt x="20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auto">
            <a:xfrm>
              <a:off x="3877" y="1675"/>
              <a:ext cx="21" cy="18"/>
            </a:xfrm>
            <a:custGeom>
              <a:avLst/>
              <a:gdLst>
                <a:gd name="T0" fmla="*/ 2 w 9"/>
                <a:gd name="T1" fmla="*/ 8 h 8"/>
                <a:gd name="T2" fmla="*/ 3 w 9"/>
                <a:gd name="T3" fmla="*/ 8 h 8"/>
                <a:gd name="T4" fmla="*/ 5 w 9"/>
                <a:gd name="T5" fmla="*/ 7 h 8"/>
                <a:gd name="T6" fmla="*/ 5 w 9"/>
                <a:gd name="T7" fmla="*/ 7 h 8"/>
                <a:gd name="T8" fmla="*/ 6 w 9"/>
                <a:gd name="T9" fmla="*/ 5 h 8"/>
                <a:gd name="T10" fmla="*/ 7 w 9"/>
                <a:gd name="T11" fmla="*/ 4 h 8"/>
                <a:gd name="T12" fmla="*/ 9 w 9"/>
                <a:gd name="T13" fmla="*/ 3 h 8"/>
                <a:gd name="T14" fmla="*/ 9 w 9"/>
                <a:gd name="T15" fmla="*/ 1 h 8"/>
                <a:gd name="T16" fmla="*/ 6 w 9"/>
                <a:gd name="T17" fmla="*/ 0 h 8"/>
                <a:gd name="T18" fmla="*/ 6 w 9"/>
                <a:gd name="T19" fmla="*/ 0 h 8"/>
                <a:gd name="T20" fmla="*/ 5 w 9"/>
                <a:gd name="T21" fmla="*/ 0 h 8"/>
                <a:gd name="T22" fmla="*/ 4 w 9"/>
                <a:gd name="T23" fmla="*/ 0 h 8"/>
                <a:gd name="T24" fmla="*/ 2 w 9"/>
                <a:gd name="T25" fmla="*/ 2 h 8"/>
                <a:gd name="T26" fmla="*/ 2 w 9"/>
                <a:gd name="T27" fmla="*/ 4 h 8"/>
                <a:gd name="T28" fmla="*/ 1 w 9"/>
                <a:gd name="T29" fmla="*/ 4 h 8"/>
                <a:gd name="T30" fmla="*/ 0 w 9"/>
                <a:gd name="T31" fmla="*/ 6 h 8"/>
                <a:gd name="T32" fmla="*/ 0 w 9"/>
                <a:gd name="T33" fmla="*/ 6 h 8"/>
                <a:gd name="T34" fmla="*/ 2 w 9"/>
                <a:gd name="T35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" h="8">
                  <a:moveTo>
                    <a:pt x="2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7"/>
                    <a:pt x="5" y="7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5" y="6"/>
                    <a:pt x="6" y="6"/>
                    <a:pt x="6" y="5"/>
                  </a:cubicBezTo>
                  <a:cubicBezTo>
                    <a:pt x="6" y="5"/>
                    <a:pt x="7" y="5"/>
                    <a:pt x="7" y="4"/>
                  </a:cubicBezTo>
                  <a:cubicBezTo>
                    <a:pt x="7" y="4"/>
                    <a:pt x="8" y="4"/>
                    <a:pt x="9" y="3"/>
                  </a:cubicBezTo>
                  <a:cubicBezTo>
                    <a:pt x="9" y="3"/>
                    <a:pt x="9" y="2"/>
                    <a:pt x="9" y="1"/>
                  </a:cubicBezTo>
                  <a:cubicBezTo>
                    <a:pt x="8" y="0"/>
                    <a:pt x="7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5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1"/>
                    <a:pt x="2" y="2"/>
                    <a:pt x="2" y="2"/>
                  </a:cubicBezTo>
                  <a:cubicBezTo>
                    <a:pt x="2" y="3"/>
                    <a:pt x="2" y="3"/>
                    <a:pt x="2" y="4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1" y="7"/>
                    <a:pt x="1" y="8"/>
                    <a:pt x="2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8" name="Freeform 107"/>
            <p:cNvSpPr>
              <a:spLocks noEditPoints="1"/>
            </p:cNvSpPr>
            <p:nvPr/>
          </p:nvSpPr>
          <p:spPr bwMode="auto">
            <a:xfrm>
              <a:off x="3548" y="1506"/>
              <a:ext cx="45" cy="107"/>
            </a:xfrm>
            <a:custGeom>
              <a:avLst/>
              <a:gdLst>
                <a:gd name="T0" fmla="*/ 6 w 19"/>
                <a:gd name="T1" fmla="*/ 45 h 45"/>
                <a:gd name="T2" fmla="*/ 9 w 19"/>
                <a:gd name="T3" fmla="*/ 43 h 45"/>
                <a:gd name="T4" fmla="*/ 10 w 19"/>
                <a:gd name="T5" fmla="*/ 43 h 45"/>
                <a:gd name="T6" fmla="*/ 13 w 19"/>
                <a:gd name="T7" fmla="*/ 39 h 45"/>
                <a:gd name="T8" fmla="*/ 14 w 19"/>
                <a:gd name="T9" fmla="*/ 37 h 45"/>
                <a:gd name="T10" fmla="*/ 15 w 19"/>
                <a:gd name="T11" fmla="*/ 33 h 45"/>
                <a:gd name="T12" fmla="*/ 15 w 19"/>
                <a:gd name="T13" fmla="*/ 31 h 45"/>
                <a:gd name="T14" fmla="*/ 16 w 19"/>
                <a:gd name="T15" fmla="*/ 28 h 45"/>
                <a:gd name="T16" fmla="*/ 16 w 19"/>
                <a:gd name="T17" fmla="*/ 25 h 45"/>
                <a:gd name="T18" fmla="*/ 15 w 19"/>
                <a:gd name="T19" fmla="*/ 20 h 45"/>
                <a:gd name="T20" fmla="*/ 15 w 19"/>
                <a:gd name="T21" fmla="*/ 17 h 45"/>
                <a:gd name="T22" fmla="*/ 16 w 19"/>
                <a:gd name="T23" fmla="*/ 14 h 45"/>
                <a:gd name="T24" fmla="*/ 18 w 19"/>
                <a:gd name="T25" fmla="*/ 10 h 45"/>
                <a:gd name="T26" fmla="*/ 18 w 19"/>
                <a:gd name="T27" fmla="*/ 2 h 45"/>
                <a:gd name="T28" fmla="*/ 18 w 19"/>
                <a:gd name="T29" fmla="*/ 1 h 45"/>
                <a:gd name="T30" fmla="*/ 16 w 19"/>
                <a:gd name="T31" fmla="*/ 1 h 45"/>
                <a:gd name="T32" fmla="*/ 13 w 19"/>
                <a:gd name="T33" fmla="*/ 3 h 45"/>
                <a:gd name="T34" fmla="*/ 9 w 19"/>
                <a:gd name="T35" fmla="*/ 6 h 45"/>
                <a:gd name="T36" fmla="*/ 8 w 19"/>
                <a:gd name="T37" fmla="*/ 8 h 45"/>
                <a:gd name="T38" fmla="*/ 8 w 19"/>
                <a:gd name="T39" fmla="*/ 14 h 45"/>
                <a:gd name="T40" fmla="*/ 10 w 19"/>
                <a:gd name="T41" fmla="*/ 18 h 45"/>
                <a:gd name="T42" fmla="*/ 9 w 19"/>
                <a:gd name="T43" fmla="*/ 20 h 45"/>
                <a:gd name="T44" fmla="*/ 7 w 19"/>
                <a:gd name="T45" fmla="*/ 22 h 45"/>
                <a:gd name="T46" fmla="*/ 5 w 19"/>
                <a:gd name="T47" fmla="*/ 21 h 45"/>
                <a:gd name="T48" fmla="*/ 3 w 19"/>
                <a:gd name="T49" fmla="*/ 22 h 45"/>
                <a:gd name="T50" fmla="*/ 3 w 19"/>
                <a:gd name="T51" fmla="*/ 24 h 45"/>
                <a:gd name="T52" fmla="*/ 3 w 19"/>
                <a:gd name="T53" fmla="*/ 25 h 45"/>
                <a:gd name="T54" fmla="*/ 3 w 19"/>
                <a:gd name="T55" fmla="*/ 28 h 45"/>
                <a:gd name="T56" fmla="*/ 3 w 19"/>
                <a:gd name="T57" fmla="*/ 30 h 45"/>
                <a:gd name="T58" fmla="*/ 3 w 19"/>
                <a:gd name="T59" fmla="*/ 31 h 45"/>
                <a:gd name="T60" fmla="*/ 3 w 19"/>
                <a:gd name="T61" fmla="*/ 34 h 45"/>
                <a:gd name="T62" fmla="*/ 3 w 19"/>
                <a:gd name="T63" fmla="*/ 35 h 45"/>
                <a:gd name="T64" fmla="*/ 2 w 19"/>
                <a:gd name="T65" fmla="*/ 36 h 45"/>
                <a:gd name="T66" fmla="*/ 1 w 19"/>
                <a:gd name="T67" fmla="*/ 43 h 45"/>
                <a:gd name="T68" fmla="*/ 8 w 19"/>
                <a:gd name="T69" fmla="*/ 42 h 45"/>
                <a:gd name="T70" fmla="*/ 8 w 19"/>
                <a:gd name="T71" fmla="*/ 42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" h="45">
                  <a:moveTo>
                    <a:pt x="5" y="45"/>
                  </a:moveTo>
                  <a:cubicBezTo>
                    <a:pt x="5" y="45"/>
                    <a:pt x="6" y="45"/>
                    <a:pt x="6" y="45"/>
                  </a:cubicBezTo>
                  <a:cubicBezTo>
                    <a:pt x="8" y="45"/>
                    <a:pt x="8" y="44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10" y="43"/>
                    <a:pt x="10" y="43"/>
                    <a:pt x="10" y="43"/>
                  </a:cubicBezTo>
                  <a:cubicBezTo>
                    <a:pt x="11" y="43"/>
                    <a:pt x="12" y="43"/>
                    <a:pt x="13" y="41"/>
                  </a:cubicBezTo>
                  <a:cubicBezTo>
                    <a:pt x="13" y="40"/>
                    <a:pt x="13" y="39"/>
                    <a:pt x="13" y="39"/>
                  </a:cubicBezTo>
                  <a:cubicBezTo>
                    <a:pt x="13" y="38"/>
                    <a:pt x="13" y="38"/>
                    <a:pt x="13" y="38"/>
                  </a:cubicBezTo>
                  <a:cubicBezTo>
                    <a:pt x="13" y="37"/>
                    <a:pt x="14" y="37"/>
                    <a:pt x="14" y="37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5" y="35"/>
                    <a:pt x="15" y="34"/>
                    <a:pt x="15" y="3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6" y="29"/>
                    <a:pt x="16" y="29"/>
                    <a:pt x="16" y="28"/>
                  </a:cubicBezTo>
                  <a:cubicBezTo>
                    <a:pt x="16" y="27"/>
                    <a:pt x="16" y="26"/>
                    <a:pt x="16" y="25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4"/>
                    <a:pt x="16" y="24"/>
                    <a:pt x="16" y="23"/>
                  </a:cubicBezTo>
                  <a:cubicBezTo>
                    <a:pt x="16" y="22"/>
                    <a:pt x="16" y="21"/>
                    <a:pt x="15" y="20"/>
                  </a:cubicBezTo>
                  <a:cubicBezTo>
                    <a:pt x="15" y="19"/>
                    <a:pt x="14" y="19"/>
                    <a:pt x="13" y="19"/>
                  </a:cubicBezTo>
                  <a:cubicBezTo>
                    <a:pt x="14" y="19"/>
                    <a:pt x="14" y="18"/>
                    <a:pt x="15" y="17"/>
                  </a:cubicBezTo>
                  <a:cubicBezTo>
                    <a:pt x="15" y="16"/>
                    <a:pt x="15" y="16"/>
                    <a:pt x="15" y="15"/>
                  </a:cubicBezTo>
                  <a:cubicBezTo>
                    <a:pt x="15" y="15"/>
                    <a:pt x="15" y="14"/>
                    <a:pt x="16" y="14"/>
                  </a:cubicBezTo>
                  <a:cubicBezTo>
                    <a:pt x="16" y="13"/>
                    <a:pt x="16" y="13"/>
                    <a:pt x="16" y="13"/>
                  </a:cubicBezTo>
                  <a:cubicBezTo>
                    <a:pt x="17" y="12"/>
                    <a:pt x="18" y="11"/>
                    <a:pt x="18" y="10"/>
                  </a:cubicBezTo>
                  <a:cubicBezTo>
                    <a:pt x="19" y="9"/>
                    <a:pt x="19" y="7"/>
                    <a:pt x="18" y="6"/>
                  </a:cubicBezTo>
                  <a:cubicBezTo>
                    <a:pt x="18" y="5"/>
                    <a:pt x="18" y="3"/>
                    <a:pt x="18" y="2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6" y="1"/>
                    <a:pt x="16" y="1"/>
                    <a:pt x="16" y="1"/>
                  </a:cubicBezTo>
                  <a:cubicBezTo>
                    <a:pt x="15" y="1"/>
                    <a:pt x="15" y="1"/>
                    <a:pt x="14" y="2"/>
                  </a:cubicBezTo>
                  <a:cubicBezTo>
                    <a:pt x="14" y="2"/>
                    <a:pt x="13" y="3"/>
                    <a:pt x="13" y="3"/>
                  </a:cubicBezTo>
                  <a:cubicBezTo>
                    <a:pt x="13" y="3"/>
                    <a:pt x="12" y="3"/>
                    <a:pt x="12" y="3"/>
                  </a:cubicBezTo>
                  <a:cubicBezTo>
                    <a:pt x="11" y="4"/>
                    <a:pt x="9" y="4"/>
                    <a:pt x="9" y="6"/>
                  </a:cubicBezTo>
                  <a:cubicBezTo>
                    <a:pt x="8" y="6"/>
                    <a:pt x="8" y="7"/>
                    <a:pt x="8" y="8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7" y="12"/>
                    <a:pt x="8" y="13"/>
                    <a:pt x="8" y="14"/>
                  </a:cubicBezTo>
                  <a:cubicBezTo>
                    <a:pt x="9" y="14"/>
                    <a:pt x="9" y="15"/>
                    <a:pt x="9" y="15"/>
                  </a:cubicBezTo>
                  <a:cubicBezTo>
                    <a:pt x="9" y="16"/>
                    <a:pt x="9" y="17"/>
                    <a:pt x="10" y="18"/>
                  </a:cubicBezTo>
                  <a:cubicBezTo>
                    <a:pt x="11" y="18"/>
                    <a:pt x="11" y="19"/>
                    <a:pt x="12" y="19"/>
                  </a:cubicBezTo>
                  <a:cubicBezTo>
                    <a:pt x="11" y="19"/>
                    <a:pt x="10" y="20"/>
                    <a:pt x="9" y="20"/>
                  </a:cubicBezTo>
                  <a:cubicBezTo>
                    <a:pt x="9" y="21"/>
                    <a:pt x="8" y="21"/>
                    <a:pt x="8" y="21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2"/>
                    <a:pt x="6" y="22"/>
                  </a:cubicBezTo>
                  <a:cubicBezTo>
                    <a:pt x="6" y="22"/>
                    <a:pt x="6" y="22"/>
                    <a:pt x="5" y="21"/>
                  </a:cubicBezTo>
                  <a:cubicBezTo>
                    <a:pt x="3" y="20"/>
                    <a:pt x="3" y="20"/>
                    <a:pt x="3" y="20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3"/>
                    <a:pt x="3" y="23"/>
                    <a:pt x="3" y="23"/>
                  </a:cubicBezTo>
                  <a:cubicBezTo>
                    <a:pt x="3" y="24"/>
                    <a:pt x="3" y="24"/>
                    <a:pt x="3" y="24"/>
                  </a:cubicBezTo>
                  <a:cubicBezTo>
                    <a:pt x="3" y="24"/>
                    <a:pt x="3" y="25"/>
                    <a:pt x="3" y="25"/>
                  </a:cubicBezTo>
                  <a:cubicBezTo>
                    <a:pt x="3" y="25"/>
                    <a:pt x="3" y="25"/>
                    <a:pt x="3" y="25"/>
                  </a:cubicBezTo>
                  <a:cubicBezTo>
                    <a:pt x="2" y="27"/>
                    <a:pt x="3" y="27"/>
                    <a:pt x="3" y="28"/>
                  </a:cubicBezTo>
                  <a:cubicBezTo>
                    <a:pt x="3" y="28"/>
                    <a:pt x="3" y="28"/>
                    <a:pt x="3" y="28"/>
                  </a:cubicBezTo>
                  <a:cubicBezTo>
                    <a:pt x="3" y="28"/>
                    <a:pt x="3" y="29"/>
                    <a:pt x="3" y="30"/>
                  </a:cubicBezTo>
                  <a:cubicBezTo>
                    <a:pt x="3" y="30"/>
                    <a:pt x="3" y="30"/>
                    <a:pt x="3" y="30"/>
                  </a:cubicBezTo>
                  <a:cubicBezTo>
                    <a:pt x="3" y="30"/>
                    <a:pt x="3" y="30"/>
                    <a:pt x="3" y="31"/>
                  </a:cubicBezTo>
                  <a:cubicBezTo>
                    <a:pt x="3" y="31"/>
                    <a:pt x="3" y="31"/>
                    <a:pt x="3" y="31"/>
                  </a:cubicBezTo>
                  <a:cubicBezTo>
                    <a:pt x="3" y="31"/>
                    <a:pt x="2" y="32"/>
                    <a:pt x="3" y="33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7"/>
                    <a:pt x="1" y="37"/>
                  </a:cubicBezTo>
                  <a:cubicBezTo>
                    <a:pt x="1" y="39"/>
                    <a:pt x="0" y="41"/>
                    <a:pt x="1" y="43"/>
                  </a:cubicBezTo>
                  <a:cubicBezTo>
                    <a:pt x="1" y="45"/>
                    <a:pt x="3" y="45"/>
                    <a:pt x="5" y="45"/>
                  </a:cubicBezTo>
                  <a:close/>
                  <a:moveTo>
                    <a:pt x="8" y="42"/>
                  </a:moveTo>
                  <a:cubicBezTo>
                    <a:pt x="8" y="42"/>
                    <a:pt x="8" y="42"/>
                    <a:pt x="8" y="42"/>
                  </a:cubicBezTo>
                  <a:cubicBezTo>
                    <a:pt x="8" y="42"/>
                    <a:pt x="8" y="42"/>
                    <a:pt x="8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3960" y="1693"/>
              <a:ext cx="47" cy="36"/>
            </a:xfrm>
            <a:custGeom>
              <a:avLst/>
              <a:gdLst>
                <a:gd name="T0" fmla="*/ 2 w 20"/>
                <a:gd name="T1" fmla="*/ 13 h 15"/>
                <a:gd name="T2" fmla="*/ 4 w 20"/>
                <a:gd name="T3" fmla="*/ 13 h 15"/>
                <a:gd name="T4" fmla="*/ 5 w 20"/>
                <a:gd name="T5" fmla="*/ 13 h 15"/>
                <a:gd name="T6" fmla="*/ 6 w 20"/>
                <a:gd name="T7" fmla="*/ 13 h 15"/>
                <a:gd name="T8" fmla="*/ 6 w 20"/>
                <a:gd name="T9" fmla="*/ 14 h 15"/>
                <a:gd name="T10" fmla="*/ 8 w 20"/>
                <a:gd name="T11" fmla="*/ 15 h 15"/>
                <a:gd name="T12" fmla="*/ 10 w 20"/>
                <a:gd name="T13" fmla="*/ 13 h 15"/>
                <a:gd name="T14" fmla="*/ 10 w 20"/>
                <a:gd name="T15" fmla="*/ 12 h 15"/>
                <a:gd name="T16" fmla="*/ 12 w 20"/>
                <a:gd name="T17" fmla="*/ 12 h 15"/>
                <a:gd name="T18" fmla="*/ 14 w 20"/>
                <a:gd name="T19" fmla="*/ 11 h 15"/>
                <a:gd name="T20" fmla="*/ 14 w 20"/>
                <a:gd name="T21" fmla="*/ 11 h 15"/>
                <a:gd name="T22" fmla="*/ 17 w 20"/>
                <a:gd name="T23" fmla="*/ 9 h 15"/>
                <a:gd name="T24" fmla="*/ 16 w 20"/>
                <a:gd name="T25" fmla="*/ 7 h 15"/>
                <a:gd name="T26" fmla="*/ 16 w 20"/>
                <a:gd name="T27" fmla="*/ 7 h 15"/>
                <a:gd name="T28" fmla="*/ 17 w 20"/>
                <a:gd name="T29" fmla="*/ 6 h 15"/>
                <a:gd name="T30" fmla="*/ 18 w 20"/>
                <a:gd name="T31" fmla="*/ 5 h 15"/>
                <a:gd name="T32" fmla="*/ 20 w 20"/>
                <a:gd name="T33" fmla="*/ 2 h 15"/>
                <a:gd name="T34" fmla="*/ 19 w 20"/>
                <a:gd name="T35" fmla="*/ 1 h 15"/>
                <a:gd name="T36" fmla="*/ 15 w 20"/>
                <a:gd name="T37" fmla="*/ 2 h 15"/>
                <a:gd name="T38" fmla="*/ 15 w 20"/>
                <a:gd name="T39" fmla="*/ 2 h 15"/>
                <a:gd name="T40" fmla="*/ 14 w 20"/>
                <a:gd name="T41" fmla="*/ 3 h 15"/>
                <a:gd name="T42" fmla="*/ 13 w 20"/>
                <a:gd name="T43" fmla="*/ 3 h 15"/>
                <a:gd name="T44" fmla="*/ 9 w 20"/>
                <a:gd name="T45" fmla="*/ 3 h 15"/>
                <a:gd name="T46" fmla="*/ 5 w 20"/>
                <a:gd name="T47" fmla="*/ 4 h 15"/>
                <a:gd name="T48" fmla="*/ 5 w 20"/>
                <a:gd name="T49" fmla="*/ 5 h 15"/>
                <a:gd name="T50" fmla="*/ 5 w 20"/>
                <a:gd name="T51" fmla="*/ 6 h 15"/>
                <a:gd name="T52" fmla="*/ 4 w 20"/>
                <a:gd name="T53" fmla="*/ 6 h 15"/>
                <a:gd name="T54" fmla="*/ 2 w 20"/>
                <a:gd name="T55" fmla="*/ 6 h 15"/>
                <a:gd name="T56" fmla="*/ 0 w 20"/>
                <a:gd name="T57" fmla="*/ 9 h 15"/>
                <a:gd name="T58" fmla="*/ 2 w 20"/>
                <a:gd name="T59" fmla="*/ 1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" h="15">
                  <a:moveTo>
                    <a:pt x="2" y="13"/>
                  </a:moveTo>
                  <a:cubicBezTo>
                    <a:pt x="2" y="13"/>
                    <a:pt x="3" y="13"/>
                    <a:pt x="4" y="13"/>
                  </a:cubicBezTo>
                  <a:cubicBezTo>
                    <a:pt x="4" y="13"/>
                    <a:pt x="4" y="13"/>
                    <a:pt x="5" y="13"/>
                  </a:cubicBezTo>
                  <a:cubicBezTo>
                    <a:pt x="5" y="13"/>
                    <a:pt x="5" y="13"/>
                    <a:pt x="6" y="1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7" y="14"/>
                    <a:pt x="7" y="15"/>
                    <a:pt x="8" y="15"/>
                  </a:cubicBezTo>
                  <a:cubicBezTo>
                    <a:pt x="9" y="15"/>
                    <a:pt x="9" y="14"/>
                    <a:pt x="10" y="13"/>
                  </a:cubicBezTo>
                  <a:cubicBezTo>
                    <a:pt x="10" y="13"/>
                    <a:pt x="10" y="12"/>
                    <a:pt x="10" y="12"/>
                  </a:cubicBezTo>
                  <a:cubicBezTo>
                    <a:pt x="11" y="12"/>
                    <a:pt x="12" y="12"/>
                    <a:pt x="12" y="12"/>
                  </a:cubicBezTo>
                  <a:cubicBezTo>
                    <a:pt x="13" y="11"/>
                    <a:pt x="13" y="11"/>
                    <a:pt x="14" y="11"/>
                  </a:cubicBezTo>
                  <a:cubicBezTo>
                    <a:pt x="14" y="11"/>
                    <a:pt x="14" y="11"/>
                    <a:pt x="14" y="11"/>
                  </a:cubicBezTo>
                  <a:cubicBezTo>
                    <a:pt x="16" y="11"/>
                    <a:pt x="17" y="10"/>
                    <a:pt x="17" y="9"/>
                  </a:cubicBezTo>
                  <a:cubicBezTo>
                    <a:pt x="17" y="8"/>
                    <a:pt x="17" y="8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7" y="6"/>
                    <a:pt x="18" y="6"/>
                    <a:pt x="18" y="5"/>
                  </a:cubicBezTo>
                  <a:cubicBezTo>
                    <a:pt x="19" y="4"/>
                    <a:pt x="20" y="3"/>
                    <a:pt x="20" y="2"/>
                  </a:cubicBezTo>
                  <a:cubicBezTo>
                    <a:pt x="20" y="2"/>
                    <a:pt x="20" y="1"/>
                    <a:pt x="19" y="1"/>
                  </a:cubicBezTo>
                  <a:cubicBezTo>
                    <a:pt x="18" y="0"/>
                    <a:pt x="17" y="1"/>
                    <a:pt x="15" y="2"/>
                  </a:cubicBezTo>
                  <a:cubicBezTo>
                    <a:pt x="15" y="2"/>
                    <a:pt x="15" y="2"/>
                    <a:pt x="15" y="2"/>
                  </a:cubicBezTo>
                  <a:cubicBezTo>
                    <a:pt x="15" y="2"/>
                    <a:pt x="15" y="2"/>
                    <a:pt x="14" y="3"/>
                  </a:cubicBezTo>
                  <a:cubicBezTo>
                    <a:pt x="14" y="3"/>
                    <a:pt x="14" y="3"/>
                    <a:pt x="13" y="3"/>
                  </a:cubicBezTo>
                  <a:cubicBezTo>
                    <a:pt x="12" y="4"/>
                    <a:pt x="11" y="4"/>
                    <a:pt x="9" y="3"/>
                  </a:cubicBezTo>
                  <a:cubicBezTo>
                    <a:pt x="8" y="3"/>
                    <a:pt x="6" y="3"/>
                    <a:pt x="5" y="4"/>
                  </a:cubicBezTo>
                  <a:cubicBezTo>
                    <a:pt x="5" y="4"/>
                    <a:pt x="5" y="5"/>
                    <a:pt x="5" y="5"/>
                  </a:cubicBezTo>
                  <a:cubicBezTo>
                    <a:pt x="5" y="5"/>
                    <a:pt x="5" y="6"/>
                    <a:pt x="5" y="6"/>
                  </a:cubicBezTo>
                  <a:cubicBezTo>
                    <a:pt x="5" y="6"/>
                    <a:pt x="4" y="6"/>
                    <a:pt x="4" y="6"/>
                  </a:cubicBezTo>
                  <a:cubicBezTo>
                    <a:pt x="3" y="6"/>
                    <a:pt x="3" y="6"/>
                    <a:pt x="2" y="6"/>
                  </a:cubicBezTo>
                  <a:cubicBezTo>
                    <a:pt x="1" y="6"/>
                    <a:pt x="0" y="7"/>
                    <a:pt x="0" y="9"/>
                  </a:cubicBezTo>
                  <a:cubicBezTo>
                    <a:pt x="0" y="11"/>
                    <a:pt x="1" y="12"/>
                    <a:pt x="2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3842" y="1585"/>
              <a:ext cx="11" cy="14"/>
            </a:xfrm>
            <a:custGeom>
              <a:avLst/>
              <a:gdLst>
                <a:gd name="T0" fmla="*/ 2 w 5"/>
                <a:gd name="T1" fmla="*/ 6 h 6"/>
                <a:gd name="T2" fmla="*/ 2 w 5"/>
                <a:gd name="T3" fmla="*/ 6 h 6"/>
                <a:gd name="T4" fmla="*/ 4 w 5"/>
                <a:gd name="T5" fmla="*/ 5 h 6"/>
                <a:gd name="T6" fmla="*/ 5 w 5"/>
                <a:gd name="T7" fmla="*/ 4 h 6"/>
                <a:gd name="T8" fmla="*/ 3 w 5"/>
                <a:gd name="T9" fmla="*/ 3 h 6"/>
                <a:gd name="T10" fmla="*/ 5 w 5"/>
                <a:gd name="T11" fmla="*/ 3 h 6"/>
                <a:gd name="T12" fmla="*/ 5 w 5"/>
                <a:gd name="T13" fmla="*/ 2 h 6"/>
                <a:gd name="T14" fmla="*/ 2 w 5"/>
                <a:gd name="T15" fmla="*/ 0 h 6"/>
                <a:gd name="T16" fmla="*/ 1 w 5"/>
                <a:gd name="T17" fmla="*/ 1 h 6"/>
                <a:gd name="T18" fmla="*/ 0 w 5"/>
                <a:gd name="T19" fmla="*/ 3 h 6"/>
                <a:gd name="T20" fmla="*/ 1 w 5"/>
                <a:gd name="T21" fmla="*/ 5 h 6"/>
                <a:gd name="T22" fmla="*/ 2 w 5"/>
                <a:gd name="T2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" h="6">
                  <a:moveTo>
                    <a:pt x="2" y="6"/>
                  </a:moveTo>
                  <a:cubicBezTo>
                    <a:pt x="2" y="6"/>
                    <a:pt x="2" y="6"/>
                    <a:pt x="2" y="6"/>
                  </a:cubicBezTo>
                  <a:cubicBezTo>
                    <a:pt x="3" y="6"/>
                    <a:pt x="4" y="6"/>
                    <a:pt x="4" y="5"/>
                  </a:cubicBezTo>
                  <a:cubicBezTo>
                    <a:pt x="4" y="4"/>
                    <a:pt x="5" y="4"/>
                    <a:pt x="5" y="4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5" y="3"/>
                    <a:pt x="5" y="2"/>
                    <a:pt x="5" y="2"/>
                  </a:cubicBezTo>
                  <a:cubicBezTo>
                    <a:pt x="5" y="0"/>
                    <a:pt x="3" y="0"/>
                    <a:pt x="2" y="0"/>
                  </a:cubicBezTo>
                  <a:cubicBezTo>
                    <a:pt x="2" y="1"/>
                    <a:pt x="1" y="1"/>
                    <a:pt x="1" y="1"/>
                  </a:cubicBezTo>
                  <a:cubicBezTo>
                    <a:pt x="1" y="2"/>
                    <a:pt x="0" y="2"/>
                    <a:pt x="0" y="3"/>
                  </a:cubicBezTo>
                  <a:cubicBezTo>
                    <a:pt x="0" y="4"/>
                    <a:pt x="0" y="4"/>
                    <a:pt x="1" y="5"/>
                  </a:cubicBezTo>
                  <a:cubicBezTo>
                    <a:pt x="1" y="6"/>
                    <a:pt x="2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3808" y="1691"/>
              <a:ext cx="53" cy="31"/>
            </a:xfrm>
            <a:custGeom>
              <a:avLst/>
              <a:gdLst>
                <a:gd name="T0" fmla="*/ 1 w 22"/>
                <a:gd name="T1" fmla="*/ 6 h 13"/>
                <a:gd name="T2" fmla="*/ 3 w 22"/>
                <a:gd name="T3" fmla="*/ 9 h 13"/>
                <a:gd name="T4" fmla="*/ 4 w 22"/>
                <a:gd name="T5" fmla="*/ 9 h 13"/>
                <a:gd name="T6" fmla="*/ 5 w 22"/>
                <a:gd name="T7" fmla="*/ 9 h 13"/>
                <a:gd name="T8" fmla="*/ 5 w 22"/>
                <a:gd name="T9" fmla="*/ 9 h 13"/>
                <a:gd name="T10" fmla="*/ 6 w 22"/>
                <a:gd name="T11" fmla="*/ 9 h 13"/>
                <a:gd name="T12" fmla="*/ 8 w 22"/>
                <a:gd name="T13" fmla="*/ 10 h 13"/>
                <a:gd name="T14" fmla="*/ 8 w 22"/>
                <a:gd name="T15" fmla="*/ 10 h 13"/>
                <a:gd name="T16" fmla="*/ 10 w 22"/>
                <a:gd name="T17" fmla="*/ 12 h 13"/>
                <a:gd name="T18" fmla="*/ 11 w 22"/>
                <a:gd name="T19" fmla="*/ 13 h 13"/>
                <a:gd name="T20" fmla="*/ 13 w 22"/>
                <a:gd name="T21" fmla="*/ 12 h 13"/>
                <a:gd name="T22" fmla="*/ 14 w 22"/>
                <a:gd name="T23" fmla="*/ 12 h 13"/>
                <a:gd name="T24" fmla="*/ 16 w 22"/>
                <a:gd name="T25" fmla="*/ 11 h 13"/>
                <a:gd name="T26" fmla="*/ 17 w 22"/>
                <a:gd name="T27" fmla="*/ 11 h 13"/>
                <a:gd name="T28" fmla="*/ 17 w 22"/>
                <a:gd name="T29" fmla="*/ 10 h 13"/>
                <a:gd name="T30" fmla="*/ 18 w 22"/>
                <a:gd name="T31" fmla="*/ 10 h 13"/>
                <a:gd name="T32" fmla="*/ 18 w 22"/>
                <a:gd name="T33" fmla="*/ 10 h 13"/>
                <a:gd name="T34" fmla="*/ 20 w 22"/>
                <a:gd name="T35" fmla="*/ 10 h 13"/>
                <a:gd name="T36" fmla="*/ 21 w 22"/>
                <a:gd name="T37" fmla="*/ 8 h 13"/>
                <a:gd name="T38" fmla="*/ 20 w 22"/>
                <a:gd name="T39" fmla="*/ 8 h 13"/>
                <a:gd name="T40" fmla="*/ 21 w 22"/>
                <a:gd name="T41" fmla="*/ 8 h 13"/>
                <a:gd name="T42" fmla="*/ 21 w 22"/>
                <a:gd name="T43" fmla="*/ 6 h 13"/>
                <a:gd name="T44" fmla="*/ 21 w 22"/>
                <a:gd name="T45" fmla="*/ 5 h 13"/>
                <a:gd name="T46" fmla="*/ 21 w 22"/>
                <a:gd name="T47" fmla="*/ 5 h 13"/>
                <a:gd name="T48" fmla="*/ 17 w 22"/>
                <a:gd name="T49" fmla="*/ 6 h 13"/>
                <a:gd name="T50" fmla="*/ 17 w 22"/>
                <a:gd name="T51" fmla="*/ 5 h 13"/>
                <a:gd name="T52" fmla="*/ 15 w 22"/>
                <a:gd name="T53" fmla="*/ 4 h 13"/>
                <a:gd name="T54" fmla="*/ 14 w 22"/>
                <a:gd name="T55" fmla="*/ 4 h 13"/>
                <a:gd name="T56" fmla="*/ 13 w 22"/>
                <a:gd name="T57" fmla="*/ 4 h 13"/>
                <a:gd name="T58" fmla="*/ 11 w 22"/>
                <a:gd name="T59" fmla="*/ 3 h 13"/>
                <a:gd name="T60" fmla="*/ 10 w 22"/>
                <a:gd name="T61" fmla="*/ 3 h 13"/>
                <a:gd name="T62" fmla="*/ 8 w 22"/>
                <a:gd name="T63" fmla="*/ 4 h 13"/>
                <a:gd name="T64" fmla="*/ 8 w 22"/>
                <a:gd name="T65" fmla="*/ 5 h 13"/>
                <a:gd name="T66" fmla="*/ 7 w 22"/>
                <a:gd name="T67" fmla="*/ 4 h 13"/>
                <a:gd name="T68" fmla="*/ 7 w 22"/>
                <a:gd name="T69" fmla="*/ 3 h 13"/>
                <a:gd name="T70" fmla="*/ 7 w 22"/>
                <a:gd name="T71" fmla="*/ 2 h 13"/>
                <a:gd name="T72" fmla="*/ 6 w 22"/>
                <a:gd name="T73" fmla="*/ 2 h 13"/>
                <a:gd name="T74" fmla="*/ 5 w 22"/>
                <a:gd name="T75" fmla="*/ 1 h 13"/>
                <a:gd name="T76" fmla="*/ 4 w 22"/>
                <a:gd name="T77" fmla="*/ 1 h 13"/>
                <a:gd name="T78" fmla="*/ 3 w 22"/>
                <a:gd name="T79" fmla="*/ 0 h 13"/>
                <a:gd name="T80" fmla="*/ 2 w 22"/>
                <a:gd name="T81" fmla="*/ 1 h 13"/>
                <a:gd name="T82" fmla="*/ 1 w 22"/>
                <a:gd name="T83" fmla="*/ 1 h 13"/>
                <a:gd name="T84" fmla="*/ 0 w 22"/>
                <a:gd name="T85" fmla="*/ 2 h 13"/>
                <a:gd name="T86" fmla="*/ 0 w 22"/>
                <a:gd name="T87" fmla="*/ 2 h 13"/>
                <a:gd name="T88" fmla="*/ 0 w 22"/>
                <a:gd name="T89" fmla="*/ 3 h 13"/>
                <a:gd name="T90" fmla="*/ 0 w 22"/>
                <a:gd name="T91" fmla="*/ 6 h 13"/>
                <a:gd name="T92" fmla="*/ 1 w 22"/>
                <a:gd name="T93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2" h="13">
                  <a:moveTo>
                    <a:pt x="1" y="6"/>
                  </a:moveTo>
                  <a:cubicBezTo>
                    <a:pt x="1" y="7"/>
                    <a:pt x="1" y="8"/>
                    <a:pt x="3" y="9"/>
                  </a:cubicBezTo>
                  <a:cubicBezTo>
                    <a:pt x="3" y="9"/>
                    <a:pt x="4" y="9"/>
                    <a:pt x="4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ubicBezTo>
                    <a:pt x="7" y="9"/>
                    <a:pt x="7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1"/>
                    <a:pt x="9" y="12"/>
                    <a:pt x="10" y="12"/>
                  </a:cubicBezTo>
                  <a:cubicBezTo>
                    <a:pt x="10" y="12"/>
                    <a:pt x="10" y="13"/>
                    <a:pt x="11" y="13"/>
                  </a:cubicBezTo>
                  <a:cubicBezTo>
                    <a:pt x="12" y="13"/>
                    <a:pt x="13" y="12"/>
                    <a:pt x="13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1"/>
                    <a:pt x="15" y="11"/>
                    <a:pt x="16" y="11"/>
                  </a:cubicBezTo>
                  <a:cubicBezTo>
                    <a:pt x="16" y="11"/>
                    <a:pt x="16" y="11"/>
                    <a:pt x="17" y="11"/>
                  </a:cubicBezTo>
                  <a:cubicBezTo>
                    <a:pt x="17" y="11"/>
                    <a:pt x="17" y="11"/>
                    <a:pt x="17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9" y="11"/>
                    <a:pt x="20" y="10"/>
                  </a:cubicBezTo>
                  <a:cubicBezTo>
                    <a:pt x="21" y="10"/>
                    <a:pt x="21" y="9"/>
                    <a:pt x="21" y="8"/>
                  </a:cubicBezTo>
                  <a:cubicBezTo>
                    <a:pt x="20" y="8"/>
                    <a:pt x="20" y="8"/>
                    <a:pt x="20" y="8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8"/>
                    <a:pt x="22" y="7"/>
                    <a:pt x="21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19" y="5"/>
                    <a:pt x="18" y="5"/>
                    <a:pt x="17" y="6"/>
                  </a:cubicBezTo>
                  <a:cubicBezTo>
                    <a:pt x="17" y="6"/>
                    <a:pt x="17" y="6"/>
                    <a:pt x="17" y="5"/>
                  </a:cubicBezTo>
                  <a:cubicBezTo>
                    <a:pt x="16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4" y="4"/>
                    <a:pt x="13" y="4"/>
                  </a:cubicBezTo>
                  <a:cubicBezTo>
                    <a:pt x="13" y="4"/>
                    <a:pt x="12" y="3"/>
                    <a:pt x="11" y="3"/>
                  </a:cubicBezTo>
                  <a:cubicBezTo>
                    <a:pt x="11" y="3"/>
                    <a:pt x="10" y="3"/>
                    <a:pt x="10" y="3"/>
                  </a:cubicBezTo>
                  <a:cubicBezTo>
                    <a:pt x="9" y="4"/>
                    <a:pt x="9" y="4"/>
                    <a:pt x="8" y="4"/>
                  </a:cubicBezTo>
                  <a:cubicBezTo>
                    <a:pt x="8" y="4"/>
                    <a:pt x="8" y="5"/>
                    <a:pt x="8" y="5"/>
                  </a:cubicBezTo>
                  <a:cubicBezTo>
                    <a:pt x="7" y="4"/>
                    <a:pt x="7" y="4"/>
                    <a:pt x="7" y="4"/>
                  </a:cubicBezTo>
                  <a:cubicBezTo>
                    <a:pt x="7" y="4"/>
                    <a:pt x="7" y="4"/>
                    <a:pt x="7" y="3"/>
                  </a:cubicBezTo>
                  <a:cubicBezTo>
                    <a:pt x="7" y="2"/>
                    <a:pt x="7" y="2"/>
                    <a:pt x="7" y="2"/>
                  </a:cubicBezTo>
                  <a:cubicBezTo>
                    <a:pt x="6" y="2"/>
                    <a:pt x="6" y="2"/>
                    <a:pt x="6" y="2"/>
                  </a:cubicBezTo>
                  <a:cubicBezTo>
                    <a:pt x="6" y="2"/>
                    <a:pt x="5" y="2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0"/>
                    <a:pt x="4" y="0"/>
                    <a:pt x="3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2" y="1"/>
                    <a:pt x="2" y="1"/>
                    <a:pt x="1" y="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4"/>
                    <a:pt x="0" y="5"/>
                    <a:pt x="0" y="6"/>
                  </a:cubicBezTo>
                  <a:cubicBezTo>
                    <a:pt x="0" y="6"/>
                    <a:pt x="0" y="6"/>
                    <a:pt x="1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2441" y="1234"/>
              <a:ext cx="43" cy="38"/>
            </a:xfrm>
            <a:custGeom>
              <a:avLst/>
              <a:gdLst>
                <a:gd name="T0" fmla="*/ 14 w 18"/>
                <a:gd name="T1" fmla="*/ 5 h 16"/>
                <a:gd name="T2" fmla="*/ 10 w 18"/>
                <a:gd name="T3" fmla="*/ 3 h 16"/>
                <a:gd name="T4" fmla="*/ 8 w 18"/>
                <a:gd name="T5" fmla="*/ 2 h 16"/>
                <a:gd name="T6" fmla="*/ 4 w 18"/>
                <a:gd name="T7" fmla="*/ 0 h 16"/>
                <a:gd name="T8" fmla="*/ 1 w 18"/>
                <a:gd name="T9" fmla="*/ 1 h 16"/>
                <a:gd name="T10" fmla="*/ 1 w 18"/>
                <a:gd name="T11" fmla="*/ 4 h 16"/>
                <a:gd name="T12" fmla="*/ 2 w 18"/>
                <a:gd name="T13" fmla="*/ 6 h 16"/>
                <a:gd name="T14" fmla="*/ 3 w 18"/>
                <a:gd name="T15" fmla="*/ 7 h 16"/>
                <a:gd name="T16" fmla="*/ 4 w 18"/>
                <a:gd name="T17" fmla="*/ 8 h 16"/>
                <a:gd name="T18" fmla="*/ 4 w 18"/>
                <a:gd name="T19" fmla="*/ 9 h 16"/>
                <a:gd name="T20" fmla="*/ 7 w 18"/>
                <a:gd name="T21" fmla="*/ 12 h 16"/>
                <a:gd name="T22" fmla="*/ 8 w 18"/>
                <a:gd name="T23" fmla="*/ 13 h 16"/>
                <a:gd name="T24" fmla="*/ 9 w 18"/>
                <a:gd name="T25" fmla="*/ 13 h 16"/>
                <a:gd name="T26" fmla="*/ 9 w 18"/>
                <a:gd name="T27" fmla="*/ 13 h 16"/>
                <a:gd name="T28" fmla="*/ 10 w 18"/>
                <a:gd name="T29" fmla="*/ 14 h 16"/>
                <a:gd name="T30" fmla="*/ 11 w 18"/>
                <a:gd name="T31" fmla="*/ 15 h 16"/>
                <a:gd name="T32" fmla="*/ 12 w 18"/>
                <a:gd name="T33" fmla="*/ 15 h 16"/>
                <a:gd name="T34" fmla="*/ 13 w 18"/>
                <a:gd name="T35" fmla="*/ 14 h 16"/>
                <a:gd name="T36" fmla="*/ 13 w 18"/>
                <a:gd name="T37" fmla="*/ 14 h 16"/>
                <a:gd name="T38" fmla="*/ 13 w 18"/>
                <a:gd name="T39" fmla="*/ 15 h 16"/>
                <a:gd name="T40" fmla="*/ 14 w 18"/>
                <a:gd name="T41" fmla="*/ 16 h 16"/>
                <a:gd name="T42" fmla="*/ 16 w 18"/>
                <a:gd name="T43" fmla="*/ 16 h 16"/>
                <a:gd name="T44" fmla="*/ 16 w 18"/>
                <a:gd name="T45" fmla="*/ 16 h 16"/>
                <a:gd name="T46" fmla="*/ 17 w 18"/>
                <a:gd name="T47" fmla="*/ 16 h 16"/>
                <a:gd name="T48" fmla="*/ 18 w 18"/>
                <a:gd name="T49" fmla="*/ 12 h 16"/>
                <a:gd name="T50" fmla="*/ 14 w 18"/>
                <a:gd name="T5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" h="16">
                  <a:moveTo>
                    <a:pt x="14" y="5"/>
                  </a:moveTo>
                  <a:cubicBezTo>
                    <a:pt x="13" y="4"/>
                    <a:pt x="12" y="4"/>
                    <a:pt x="10" y="3"/>
                  </a:cubicBezTo>
                  <a:cubicBezTo>
                    <a:pt x="9" y="3"/>
                    <a:pt x="9" y="3"/>
                    <a:pt x="8" y="2"/>
                  </a:cubicBezTo>
                  <a:cubicBezTo>
                    <a:pt x="8" y="1"/>
                    <a:pt x="6" y="0"/>
                    <a:pt x="4" y="0"/>
                  </a:cubicBezTo>
                  <a:cubicBezTo>
                    <a:pt x="3" y="0"/>
                    <a:pt x="2" y="0"/>
                    <a:pt x="1" y="1"/>
                  </a:cubicBezTo>
                  <a:cubicBezTo>
                    <a:pt x="1" y="2"/>
                    <a:pt x="0" y="3"/>
                    <a:pt x="1" y="4"/>
                  </a:cubicBezTo>
                  <a:cubicBezTo>
                    <a:pt x="1" y="5"/>
                    <a:pt x="2" y="5"/>
                    <a:pt x="2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8"/>
                    <a:pt x="4" y="8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11"/>
                    <a:pt x="6" y="12"/>
                    <a:pt x="7" y="12"/>
                  </a:cubicBezTo>
                  <a:cubicBezTo>
                    <a:pt x="7" y="12"/>
                    <a:pt x="7" y="12"/>
                    <a:pt x="8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9" y="13"/>
                    <a:pt x="10" y="14"/>
                    <a:pt x="10" y="14"/>
                  </a:cubicBezTo>
                  <a:cubicBezTo>
                    <a:pt x="10" y="14"/>
                    <a:pt x="10" y="15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5"/>
                    <a:pt x="13" y="16"/>
                    <a:pt x="14" y="16"/>
                  </a:cubicBezTo>
                  <a:cubicBezTo>
                    <a:pt x="14" y="16"/>
                    <a:pt x="15" y="16"/>
                    <a:pt x="16" y="16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6"/>
                    <a:pt x="17" y="16"/>
                    <a:pt x="17" y="16"/>
                  </a:cubicBezTo>
                  <a:cubicBezTo>
                    <a:pt x="18" y="15"/>
                    <a:pt x="18" y="13"/>
                    <a:pt x="18" y="12"/>
                  </a:cubicBezTo>
                  <a:cubicBezTo>
                    <a:pt x="17" y="9"/>
                    <a:pt x="16" y="7"/>
                    <a:pt x="1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1462" y="936"/>
              <a:ext cx="57" cy="71"/>
            </a:xfrm>
            <a:custGeom>
              <a:avLst/>
              <a:gdLst>
                <a:gd name="T0" fmla="*/ 1 w 24"/>
                <a:gd name="T1" fmla="*/ 25 h 30"/>
                <a:gd name="T2" fmla="*/ 2 w 24"/>
                <a:gd name="T3" fmla="*/ 29 h 30"/>
                <a:gd name="T4" fmla="*/ 2 w 24"/>
                <a:gd name="T5" fmla="*/ 28 h 30"/>
                <a:gd name="T6" fmla="*/ 3 w 24"/>
                <a:gd name="T7" fmla="*/ 29 h 30"/>
                <a:gd name="T8" fmla="*/ 3 w 24"/>
                <a:gd name="T9" fmla="*/ 29 h 30"/>
                <a:gd name="T10" fmla="*/ 6 w 24"/>
                <a:gd name="T11" fmla="*/ 28 h 30"/>
                <a:gd name="T12" fmla="*/ 6 w 24"/>
                <a:gd name="T13" fmla="*/ 26 h 30"/>
                <a:gd name="T14" fmla="*/ 6 w 24"/>
                <a:gd name="T15" fmla="*/ 25 h 30"/>
                <a:gd name="T16" fmla="*/ 6 w 24"/>
                <a:gd name="T17" fmla="*/ 22 h 30"/>
                <a:gd name="T18" fmla="*/ 7 w 24"/>
                <a:gd name="T19" fmla="*/ 21 h 30"/>
                <a:gd name="T20" fmla="*/ 8 w 24"/>
                <a:gd name="T21" fmla="*/ 18 h 30"/>
                <a:gd name="T22" fmla="*/ 9 w 24"/>
                <a:gd name="T23" fmla="*/ 18 h 30"/>
                <a:gd name="T24" fmla="*/ 12 w 24"/>
                <a:gd name="T25" fmla="*/ 17 h 30"/>
                <a:gd name="T26" fmla="*/ 12 w 24"/>
                <a:gd name="T27" fmla="*/ 15 h 30"/>
                <a:gd name="T28" fmla="*/ 14 w 24"/>
                <a:gd name="T29" fmla="*/ 14 h 30"/>
                <a:gd name="T30" fmla="*/ 13 w 24"/>
                <a:gd name="T31" fmla="*/ 13 h 30"/>
                <a:gd name="T32" fmla="*/ 16 w 24"/>
                <a:gd name="T33" fmla="*/ 10 h 30"/>
                <a:gd name="T34" fmla="*/ 18 w 24"/>
                <a:gd name="T35" fmla="*/ 10 h 30"/>
                <a:gd name="T36" fmla="*/ 19 w 24"/>
                <a:gd name="T37" fmla="*/ 8 h 30"/>
                <a:gd name="T38" fmla="*/ 23 w 24"/>
                <a:gd name="T39" fmla="*/ 7 h 30"/>
                <a:gd name="T40" fmla="*/ 21 w 24"/>
                <a:gd name="T41" fmla="*/ 3 h 30"/>
                <a:gd name="T42" fmla="*/ 20 w 24"/>
                <a:gd name="T43" fmla="*/ 4 h 30"/>
                <a:gd name="T44" fmla="*/ 17 w 24"/>
                <a:gd name="T45" fmla="*/ 3 h 30"/>
                <a:gd name="T46" fmla="*/ 16 w 24"/>
                <a:gd name="T47" fmla="*/ 3 h 30"/>
                <a:gd name="T48" fmla="*/ 13 w 24"/>
                <a:gd name="T49" fmla="*/ 0 h 30"/>
                <a:gd name="T50" fmla="*/ 11 w 24"/>
                <a:gd name="T51" fmla="*/ 2 h 30"/>
                <a:gd name="T52" fmla="*/ 7 w 24"/>
                <a:gd name="T53" fmla="*/ 7 h 30"/>
                <a:gd name="T54" fmla="*/ 6 w 24"/>
                <a:gd name="T55" fmla="*/ 8 h 30"/>
                <a:gd name="T56" fmla="*/ 5 w 24"/>
                <a:gd name="T57" fmla="*/ 11 h 30"/>
                <a:gd name="T58" fmla="*/ 5 w 24"/>
                <a:gd name="T59" fmla="*/ 14 h 30"/>
                <a:gd name="T60" fmla="*/ 2 w 24"/>
                <a:gd name="T61" fmla="*/ 14 h 30"/>
                <a:gd name="T62" fmla="*/ 3 w 24"/>
                <a:gd name="T63" fmla="*/ 20 h 30"/>
                <a:gd name="T64" fmla="*/ 2 w 24"/>
                <a:gd name="T65" fmla="*/ 23 h 30"/>
                <a:gd name="T66" fmla="*/ 1 w 24"/>
                <a:gd name="T67" fmla="*/ 24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30">
                  <a:moveTo>
                    <a:pt x="1" y="24"/>
                  </a:moveTo>
                  <a:cubicBezTo>
                    <a:pt x="1" y="25"/>
                    <a:pt x="1" y="25"/>
                    <a:pt x="1" y="25"/>
                  </a:cubicBezTo>
                  <a:cubicBezTo>
                    <a:pt x="0" y="25"/>
                    <a:pt x="0" y="26"/>
                    <a:pt x="0" y="27"/>
                  </a:cubicBezTo>
                  <a:cubicBezTo>
                    <a:pt x="0" y="28"/>
                    <a:pt x="1" y="29"/>
                    <a:pt x="2" y="29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2" y="29"/>
                    <a:pt x="2" y="29"/>
                  </a:cubicBezTo>
                  <a:cubicBezTo>
                    <a:pt x="3" y="29"/>
                    <a:pt x="3" y="29"/>
                    <a:pt x="3" y="29"/>
                  </a:cubicBezTo>
                  <a:cubicBezTo>
                    <a:pt x="3" y="29"/>
                    <a:pt x="3" y="30"/>
                    <a:pt x="4" y="30"/>
                  </a:cubicBezTo>
                  <a:cubicBezTo>
                    <a:pt x="5" y="30"/>
                    <a:pt x="6" y="29"/>
                    <a:pt x="6" y="28"/>
                  </a:cubicBezTo>
                  <a:cubicBezTo>
                    <a:pt x="6" y="27"/>
                    <a:pt x="6" y="27"/>
                    <a:pt x="6" y="26"/>
                  </a:cubicBezTo>
                  <a:cubicBezTo>
                    <a:pt x="6" y="26"/>
                    <a:pt x="6" y="26"/>
                    <a:pt x="6" y="26"/>
                  </a:cubicBezTo>
                  <a:cubicBezTo>
                    <a:pt x="5" y="26"/>
                    <a:pt x="5" y="26"/>
                    <a:pt x="6" y="2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6" y="25"/>
                    <a:pt x="6" y="25"/>
                    <a:pt x="6" y="24"/>
                  </a:cubicBezTo>
                  <a:cubicBezTo>
                    <a:pt x="6" y="24"/>
                    <a:pt x="6" y="23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2"/>
                    <a:pt x="7" y="22"/>
                    <a:pt x="7" y="21"/>
                  </a:cubicBezTo>
                  <a:cubicBezTo>
                    <a:pt x="8" y="20"/>
                    <a:pt x="8" y="19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10" y="19"/>
                    <a:pt x="10" y="19"/>
                  </a:cubicBezTo>
                  <a:cubicBezTo>
                    <a:pt x="11" y="19"/>
                    <a:pt x="12" y="18"/>
                    <a:pt x="12" y="17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12" y="16"/>
                    <a:pt x="12" y="16"/>
                    <a:pt x="12" y="15"/>
                  </a:cubicBezTo>
                  <a:cubicBezTo>
                    <a:pt x="12" y="15"/>
                    <a:pt x="12" y="15"/>
                    <a:pt x="12" y="14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3" y="13"/>
                    <a:pt x="13" y="12"/>
                    <a:pt x="14" y="12"/>
                  </a:cubicBezTo>
                  <a:cubicBezTo>
                    <a:pt x="14" y="12"/>
                    <a:pt x="15" y="11"/>
                    <a:pt x="16" y="10"/>
                  </a:cubicBezTo>
                  <a:cubicBezTo>
                    <a:pt x="17" y="10"/>
                    <a:pt x="17" y="10"/>
                    <a:pt x="17" y="10"/>
                  </a:cubicBezTo>
                  <a:cubicBezTo>
                    <a:pt x="17" y="10"/>
                    <a:pt x="18" y="10"/>
                    <a:pt x="18" y="10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20" y="8"/>
                    <a:pt x="21" y="8"/>
                  </a:cubicBezTo>
                  <a:cubicBezTo>
                    <a:pt x="21" y="8"/>
                    <a:pt x="22" y="7"/>
                    <a:pt x="23" y="7"/>
                  </a:cubicBezTo>
                  <a:cubicBezTo>
                    <a:pt x="23" y="6"/>
                    <a:pt x="24" y="5"/>
                    <a:pt x="23" y="4"/>
                  </a:cubicBezTo>
                  <a:cubicBezTo>
                    <a:pt x="23" y="4"/>
                    <a:pt x="22" y="3"/>
                    <a:pt x="21" y="3"/>
                  </a:cubicBezTo>
                  <a:cubicBezTo>
                    <a:pt x="21" y="3"/>
                    <a:pt x="20" y="3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3"/>
                    <a:pt x="18" y="3"/>
                    <a:pt x="18" y="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2"/>
                    <a:pt x="15" y="1"/>
                  </a:cubicBezTo>
                  <a:cubicBezTo>
                    <a:pt x="15" y="1"/>
                    <a:pt x="14" y="0"/>
                    <a:pt x="13" y="0"/>
                  </a:cubicBezTo>
                  <a:cubicBezTo>
                    <a:pt x="13" y="0"/>
                    <a:pt x="12" y="1"/>
                    <a:pt x="12" y="1"/>
                  </a:cubicBezTo>
                  <a:cubicBezTo>
                    <a:pt x="12" y="2"/>
                    <a:pt x="11" y="2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9" y="3"/>
                    <a:pt x="6" y="4"/>
                    <a:pt x="7" y="7"/>
                  </a:cubicBezTo>
                  <a:cubicBezTo>
                    <a:pt x="7" y="7"/>
                    <a:pt x="7" y="8"/>
                    <a:pt x="7" y="8"/>
                  </a:cubicBezTo>
                  <a:cubicBezTo>
                    <a:pt x="7" y="8"/>
                    <a:pt x="6" y="8"/>
                    <a:pt x="6" y="8"/>
                  </a:cubicBezTo>
                  <a:cubicBezTo>
                    <a:pt x="5" y="9"/>
                    <a:pt x="5" y="10"/>
                    <a:pt x="6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4" y="12"/>
                    <a:pt x="5" y="13"/>
                    <a:pt x="5" y="13"/>
                  </a:cubicBezTo>
                  <a:cubicBezTo>
                    <a:pt x="5" y="13"/>
                    <a:pt x="5" y="13"/>
                    <a:pt x="5" y="14"/>
                  </a:cubicBezTo>
                  <a:cubicBezTo>
                    <a:pt x="4" y="14"/>
                    <a:pt x="3" y="14"/>
                    <a:pt x="3" y="15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2" y="18"/>
                    <a:pt x="2" y="19"/>
                    <a:pt x="3" y="20"/>
                  </a:cubicBezTo>
                  <a:cubicBezTo>
                    <a:pt x="2" y="21"/>
                    <a:pt x="2" y="22"/>
                    <a:pt x="2" y="22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3"/>
                    <a:pt x="2" y="24"/>
                    <a:pt x="2" y="24"/>
                  </a:cubicBezTo>
                  <a:cubicBezTo>
                    <a:pt x="2" y="24"/>
                    <a:pt x="2" y="24"/>
                    <a:pt x="1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4" name="Freeform 113"/>
            <p:cNvSpPr>
              <a:spLocks/>
            </p:cNvSpPr>
            <p:nvPr/>
          </p:nvSpPr>
          <p:spPr bwMode="auto">
            <a:xfrm>
              <a:off x="6155" y="3786"/>
              <a:ext cx="23" cy="21"/>
            </a:xfrm>
            <a:custGeom>
              <a:avLst/>
              <a:gdLst>
                <a:gd name="T0" fmla="*/ 10 w 10"/>
                <a:gd name="T1" fmla="*/ 2 h 9"/>
                <a:gd name="T2" fmla="*/ 8 w 10"/>
                <a:gd name="T3" fmla="*/ 0 h 9"/>
                <a:gd name="T4" fmla="*/ 8 w 10"/>
                <a:gd name="T5" fmla="*/ 0 h 9"/>
                <a:gd name="T6" fmla="*/ 5 w 10"/>
                <a:gd name="T7" fmla="*/ 3 h 9"/>
                <a:gd name="T8" fmla="*/ 3 w 10"/>
                <a:gd name="T9" fmla="*/ 4 h 9"/>
                <a:gd name="T10" fmla="*/ 3 w 10"/>
                <a:gd name="T11" fmla="*/ 4 h 9"/>
                <a:gd name="T12" fmla="*/ 0 w 10"/>
                <a:gd name="T13" fmla="*/ 6 h 9"/>
                <a:gd name="T14" fmla="*/ 0 w 10"/>
                <a:gd name="T15" fmla="*/ 8 h 9"/>
                <a:gd name="T16" fmla="*/ 1 w 10"/>
                <a:gd name="T17" fmla="*/ 9 h 9"/>
                <a:gd name="T18" fmla="*/ 2 w 10"/>
                <a:gd name="T19" fmla="*/ 9 h 9"/>
                <a:gd name="T20" fmla="*/ 3 w 10"/>
                <a:gd name="T21" fmla="*/ 8 h 9"/>
                <a:gd name="T22" fmla="*/ 3 w 10"/>
                <a:gd name="T23" fmla="*/ 8 h 9"/>
                <a:gd name="T24" fmla="*/ 4 w 10"/>
                <a:gd name="T25" fmla="*/ 8 h 9"/>
                <a:gd name="T26" fmla="*/ 5 w 10"/>
                <a:gd name="T27" fmla="*/ 8 h 9"/>
                <a:gd name="T28" fmla="*/ 8 w 10"/>
                <a:gd name="T29" fmla="*/ 7 h 9"/>
                <a:gd name="T30" fmla="*/ 9 w 10"/>
                <a:gd name="T31" fmla="*/ 5 h 9"/>
                <a:gd name="T32" fmla="*/ 9 w 10"/>
                <a:gd name="T33" fmla="*/ 5 h 9"/>
                <a:gd name="T34" fmla="*/ 9 w 10"/>
                <a:gd name="T35" fmla="*/ 5 h 9"/>
                <a:gd name="T36" fmla="*/ 10 w 10"/>
                <a:gd name="T37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10" y="1"/>
                    <a:pt x="9" y="1"/>
                    <a:pt x="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6" y="0"/>
                    <a:pt x="5" y="2"/>
                    <a:pt x="5" y="3"/>
                  </a:cubicBezTo>
                  <a:cubicBezTo>
                    <a:pt x="4" y="4"/>
                    <a:pt x="4" y="4"/>
                    <a:pt x="3" y="4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2" y="5"/>
                    <a:pt x="1" y="5"/>
                    <a:pt x="0" y="6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0" y="9"/>
                    <a:pt x="1" y="9"/>
                  </a:cubicBezTo>
                  <a:cubicBezTo>
                    <a:pt x="1" y="9"/>
                    <a:pt x="1" y="9"/>
                    <a:pt x="2" y="9"/>
                  </a:cubicBezTo>
                  <a:cubicBezTo>
                    <a:pt x="2" y="9"/>
                    <a:pt x="3" y="9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8"/>
                    <a:pt x="8" y="8"/>
                    <a:pt x="8" y="7"/>
                  </a:cubicBezTo>
                  <a:cubicBezTo>
                    <a:pt x="9" y="7"/>
                    <a:pt x="9" y="6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10" y="4"/>
                    <a:pt x="10" y="3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1311" y="529"/>
              <a:ext cx="38" cy="33"/>
            </a:xfrm>
            <a:custGeom>
              <a:avLst/>
              <a:gdLst>
                <a:gd name="T0" fmla="*/ 4 w 16"/>
                <a:gd name="T1" fmla="*/ 8 h 14"/>
                <a:gd name="T2" fmla="*/ 6 w 16"/>
                <a:gd name="T3" fmla="*/ 8 h 14"/>
                <a:gd name="T4" fmla="*/ 8 w 16"/>
                <a:gd name="T5" fmla="*/ 8 h 14"/>
                <a:gd name="T6" fmla="*/ 8 w 16"/>
                <a:gd name="T7" fmla="*/ 10 h 14"/>
                <a:gd name="T8" fmla="*/ 9 w 16"/>
                <a:gd name="T9" fmla="*/ 12 h 14"/>
                <a:gd name="T10" fmla="*/ 12 w 16"/>
                <a:gd name="T11" fmla="*/ 14 h 14"/>
                <a:gd name="T12" fmla="*/ 15 w 16"/>
                <a:gd name="T13" fmla="*/ 13 h 14"/>
                <a:gd name="T14" fmla="*/ 15 w 16"/>
                <a:gd name="T15" fmla="*/ 8 h 14"/>
                <a:gd name="T16" fmla="*/ 14 w 16"/>
                <a:gd name="T17" fmla="*/ 8 h 14"/>
                <a:gd name="T18" fmla="*/ 14 w 16"/>
                <a:gd name="T19" fmla="*/ 6 h 14"/>
                <a:gd name="T20" fmla="*/ 14 w 16"/>
                <a:gd name="T21" fmla="*/ 4 h 14"/>
                <a:gd name="T22" fmla="*/ 13 w 16"/>
                <a:gd name="T23" fmla="*/ 4 h 14"/>
                <a:gd name="T24" fmla="*/ 12 w 16"/>
                <a:gd name="T25" fmla="*/ 3 h 14"/>
                <a:gd name="T26" fmla="*/ 11 w 16"/>
                <a:gd name="T27" fmla="*/ 3 h 14"/>
                <a:gd name="T28" fmla="*/ 11 w 16"/>
                <a:gd name="T29" fmla="*/ 3 h 14"/>
                <a:gd name="T30" fmla="*/ 10 w 16"/>
                <a:gd name="T31" fmla="*/ 2 h 14"/>
                <a:gd name="T32" fmla="*/ 7 w 16"/>
                <a:gd name="T33" fmla="*/ 0 h 14"/>
                <a:gd name="T34" fmla="*/ 1 w 16"/>
                <a:gd name="T35" fmla="*/ 2 h 14"/>
                <a:gd name="T36" fmla="*/ 0 w 16"/>
                <a:gd name="T37" fmla="*/ 5 h 14"/>
                <a:gd name="T38" fmla="*/ 4 w 16"/>
                <a:gd name="T39" fmla="*/ 8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" h="14">
                  <a:moveTo>
                    <a:pt x="4" y="8"/>
                  </a:moveTo>
                  <a:cubicBezTo>
                    <a:pt x="5" y="8"/>
                    <a:pt x="5" y="8"/>
                    <a:pt x="6" y="8"/>
                  </a:cubicBezTo>
                  <a:cubicBezTo>
                    <a:pt x="6" y="8"/>
                    <a:pt x="7" y="8"/>
                    <a:pt x="8" y="8"/>
                  </a:cubicBezTo>
                  <a:cubicBezTo>
                    <a:pt x="8" y="9"/>
                    <a:pt x="8" y="9"/>
                    <a:pt x="8" y="10"/>
                  </a:cubicBezTo>
                  <a:cubicBezTo>
                    <a:pt x="8" y="10"/>
                    <a:pt x="9" y="11"/>
                    <a:pt x="9" y="12"/>
                  </a:cubicBezTo>
                  <a:cubicBezTo>
                    <a:pt x="10" y="13"/>
                    <a:pt x="11" y="14"/>
                    <a:pt x="12" y="14"/>
                  </a:cubicBezTo>
                  <a:cubicBezTo>
                    <a:pt x="13" y="14"/>
                    <a:pt x="14" y="13"/>
                    <a:pt x="15" y="13"/>
                  </a:cubicBezTo>
                  <a:cubicBezTo>
                    <a:pt x="16" y="11"/>
                    <a:pt x="15" y="10"/>
                    <a:pt x="15" y="8"/>
                  </a:cubicBezTo>
                  <a:cubicBezTo>
                    <a:pt x="14" y="8"/>
                    <a:pt x="14" y="8"/>
                    <a:pt x="14" y="8"/>
                  </a:cubicBezTo>
                  <a:cubicBezTo>
                    <a:pt x="14" y="7"/>
                    <a:pt x="14" y="6"/>
                    <a:pt x="14" y="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3" y="4"/>
                    <a:pt x="13" y="4"/>
                  </a:cubicBezTo>
                  <a:cubicBezTo>
                    <a:pt x="13" y="4"/>
                    <a:pt x="13" y="3"/>
                    <a:pt x="12" y="3"/>
                  </a:cubicBezTo>
                  <a:cubicBezTo>
                    <a:pt x="12" y="3"/>
                    <a:pt x="11" y="3"/>
                    <a:pt x="11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3"/>
                    <a:pt x="10" y="2"/>
                    <a:pt x="10" y="2"/>
                  </a:cubicBezTo>
                  <a:cubicBezTo>
                    <a:pt x="10" y="2"/>
                    <a:pt x="9" y="0"/>
                    <a:pt x="7" y="0"/>
                  </a:cubicBezTo>
                  <a:cubicBezTo>
                    <a:pt x="5" y="0"/>
                    <a:pt x="2" y="1"/>
                    <a:pt x="1" y="2"/>
                  </a:cubicBezTo>
                  <a:cubicBezTo>
                    <a:pt x="0" y="3"/>
                    <a:pt x="0" y="4"/>
                    <a:pt x="0" y="5"/>
                  </a:cubicBezTo>
                  <a:cubicBezTo>
                    <a:pt x="1" y="7"/>
                    <a:pt x="2" y="8"/>
                    <a:pt x="4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6" name="Freeform 115"/>
            <p:cNvSpPr>
              <a:spLocks/>
            </p:cNvSpPr>
            <p:nvPr/>
          </p:nvSpPr>
          <p:spPr bwMode="auto">
            <a:xfrm>
              <a:off x="970" y="811"/>
              <a:ext cx="71" cy="30"/>
            </a:xfrm>
            <a:custGeom>
              <a:avLst/>
              <a:gdLst>
                <a:gd name="T0" fmla="*/ 27 w 30"/>
                <a:gd name="T1" fmla="*/ 0 h 13"/>
                <a:gd name="T2" fmla="*/ 24 w 30"/>
                <a:gd name="T3" fmla="*/ 0 h 13"/>
                <a:gd name="T4" fmla="*/ 23 w 30"/>
                <a:gd name="T5" fmla="*/ 2 h 13"/>
                <a:gd name="T6" fmla="*/ 22 w 30"/>
                <a:gd name="T7" fmla="*/ 3 h 13"/>
                <a:gd name="T8" fmla="*/ 23 w 30"/>
                <a:gd name="T9" fmla="*/ 4 h 13"/>
                <a:gd name="T10" fmla="*/ 23 w 30"/>
                <a:gd name="T11" fmla="*/ 4 h 13"/>
                <a:gd name="T12" fmla="*/ 22 w 30"/>
                <a:gd name="T13" fmla="*/ 3 h 13"/>
                <a:gd name="T14" fmla="*/ 20 w 30"/>
                <a:gd name="T15" fmla="*/ 4 h 13"/>
                <a:gd name="T16" fmla="*/ 19 w 30"/>
                <a:gd name="T17" fmla="*/ 5 h 13"/>
                <a:gd name="T18" fmla="*/ 18 w 30"/>
                <a:gd name="T19" fmla="*/ 6 h 13"/>
                <a:gd name="T20" fmla="*/ 17 w 30"/>
                <a:gd name="T21" fmla="*/ 6 h 13"/>
                <a:gd name="T22" fmla="*/ 15 w 30"/>
                <a:gd name="T23" fmla="*/ 6 h 13"/>
                <a:gd name="T24" fmla="*/ 15 w 30"/>
                <a:gd name="T25" fmla="*/ 6 h 13"/>
                <a:gd name="T26" fmla="*/ 14 w 30"/>
                <a:gd name="T27" fmla="*/ 3 h 13"/>
                <a:gd name="T28" fmla="*/ 10 w 30"/>
                <a:gd name="T29" fmla="*/ 3 h 13"/>
                <a:gd name="T30" fmla="*/ 6 w 30"/>
                <a:gd name="T31" fmla="*/ 5 h 13"/>
                <a:gd name="T32" fmla="*/ 3 w 30"/>
                <a:gd name="T33" fmla="*/ 6 h 13"/>
                <a:gd name="T34" fmla="*/ 2 w 30"/>
                <a:gd name="T35" fmla="*/ 7 h 13"/>
                <a:gd name="T36" fmla="*/ 0 w 30"/>
                <a:gd name="T37" fmla="*/ 9 h 13"/>
                <a:gd name="T38" fmla="*/ 1 w 30"/>
                <a:gd name="T39" fmla="*/ 12 h 13"/>
                <a:gd name="T40" fmla="*/ 3 w 30"/>
                <a:gd name="T41" fmla="*/ 13 h 13"/>
                <a:gd name="T42" fmla="*/ 5 w 30"/>
                <a:gd name="T43" fmla="*/ 12 h 13"/>
                <a:gd name="T44" fmla="*/ 6 w 30"/>
                <a:gd name="T45" fmla="*/ 11 h 13"/>
                <a:gd name="T46" fmla="*/ 8 w 30"/>
                <a:gd name="T47" fmla="*/ 10 h 13"/>
                <a:gd name="T48" fmla="*/ 13 w 30"/>
                <a:gd name="T49" fmla="*/ 8 h 13"/>
                <a:gd name="T50" fmla="*/ 13 w 30"/>
                <a:gd name="T51" fmla="*/ 8 h 13"/>
                <a:gd name="T52" fmla="*/ 15 w 30"/>
                <a:gd name="T53" fmla="*/ 10 h 13"/>
                <a:gd name="T54" fmla="*/ 17 w 30"/>
                <a:gd name="T55" fmla="*/ 11 h 13"/>
                <a:gd name="T56" fmla="*/ 19 w 30"/>
                <a:gd name="T57" fmla="*/ 11 h 13"/>
                <a:gd name="T58" fmla="*/ 19 w 30"/>
                <a:gd name="T59" fmla="*/ 11 h 13"/>
                <a:gd name="T60" fmla="*/ 21 w 30"/>
                <a:gd name="T61" fmla="*/ 10 h 13"/>
                <a:gd name="T62" fmla="*/ 22 w 30"/>
                <a:gd name="T63" fmla="*/ 10 h 13"/>
                <a:gd name="T64" fmla="*/ 22 w 30"/>
                <a:gd name="T65" fmla="*/ 10 h 13"/>
                <a:gd name="T66" fmla="*/ 26 w 30"/>
                <a:gd name="T67" fmla="*/ 9 h 13"/>
                <a:gd name="T68" fmla="*/ 26 w 30"/>
                <a:gd name="T69" fmla="*/ 8 h 13"/>
                <a:gd name="T70" fmla="*/ 27 w 30"/>
                <a:gd name="T71" fmla="*/ 8 h 13"/>
                <a:gd name="T72" fmla="*/ 28 w 30"/>
                <a:gd name="T73" fmla="*/ 7 h 13"/>
                <a:gd name="T74" fmla="*/ 30 w 30"/>
                <a:gd name="T75" fmla="*/ 6 h 13"/>
                <a:gd name="T76" fmla="*/ 30 w 30"/>
                <a:gd name="T77" fmla="*/ 6 h 13"/>
                <a:gd name="T78" fmla="*/ 30 w 30"/>
                <a:gd name="T79" fmla="*/ 4 h 13"/>
                <a:gd name="T80" fmla="*/ 30 w 30"/>
                <a:gd name="T81" fmla="*/ 2 h 13"/>
                <a:gd name="T82" fmla="*/ 27 w 30"/>
                <a:gd name="T83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0" h="13">
                  <a:moveTo>
                    <a:pt x="27" y="0"/>
                  </a:moveTo>
                  <a:cubicBezTo>
                    <a:pt x="26" y="0"/>
                    <a:pt x="25" y="0"/>
                    <a:pt x="24" y="0"/>
                  </a:cubicBezTo>
                  <a:cubicBezTo>
                    <a:pt x="23" y="1"/>
                    <a:pt x="23" y="1"/>
                    <a:pt x="23" y="2"/>
                  </a:cubicBezTo>
                  <a:cubicBezTo>
                    <a:pt x="23" y="2"/>
                    <a:pt x="22" y="2"/>
                    <a:pt x="22" y="3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3" y="4"/>
                    <a:pt x="23" y="4"/>
                    <a:pt x="23" y="4"/>
                  </a:cubicBezTo>
                  <a:cubicBezTo>
                    <a:pt x="22" y="3"/>
                    <a:pt x="22" y="3"/>
                    <a:pt x="22" y="3"/>
                  </a:cubicBezTo>
                  <a:cubicBezTo>
                    <a:pt x="21" y="3"/>
                    <a:pt x="20" y="4"/>
                    <a:pt x="20" y="4"/>
                  </a:cubicBezTo>
                  <a:cubicBezTo>
                    <a:pt x="19" y="4"/>
                    <a:pt x="19" y="5"/>
                    <a:pt x="19" y="5"/>
                  </a:cubicBezTo>
                  <a:cubicBezTo>
                    <a:pt x="19" y="5"/>
                    <a:pt x="18" y="5"/>
                    <a:pt x="18" y="6"/>
                  </a:cubicBezTo>
                  <a:cubicBezTo>
                    <a:pt x="18" y="6"/>
                    <a:pt x="18" y="6"/>
                    <a:pt x="17" y="6"/>
                  </a:cubicBezTo>
                  <a:cubicBezTo>
                    <a:pt x="16" y="6"/>
                    <a:pt x="16" y="6"/>
                    <a:pt x="15" y="6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15" y="5"/>
                    <a:pt x="15" y="4"/>
                    <a:pt x="14" y="3"/>
                  </a:cubicBezTo>
                  <a:cubicBezTo>
                    <a:pt x="13" y="2"/>
                    <a:pt x="11" y="3"/>
                    <a:pt x="10" y="3"/>
                  </a:cubicBezTo>
                  <a:cubicBezTo>
                    <a:pt x="9" y="4"/>
                    <a:pt x="7" y="4"/>
                    <a:pt x="6" y="5"/>
                  </a:cubicBezTo>
                  <a:cubicBezTo>
                    <a:pt x="5" y="5"/>
                    <a:pt x="4" y="6"/>
                    <a:pt x="3" y="6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2" y="7"/>
                    <a:pt x="0" y="7"/>
                    <a:pt x="0" y="9"/>
                  </a:cubicBezTo>
                  <a:cubicBezTo>
                    <a:pt x="0" y="10"/>
                    <a:pt x="0" y="12"/>
                    <a:pt x="1" y="12"/>
                  </a:cubicBezTo>
                  <a:cubicBezTo>
                    <a:pt x="2" y="13"/>
                    <a:pt x="2" y="13"/>
                    <a:pt x="3" y="13"/>
                  </a:cubicBezTo>
                  <a:cubicBezTo>
                    <a:pt x="4" y="13"/>
                    <a:pt x="5" y="12"/>
                    <a:pt x="5" y="12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7" y="11"/>
                    <a:pt x="7" y="10"/>
                    <a:pt x="8" y="10"/>
                  </a:cubicBezTo>
                  <a:cubicBezTo>
                    <a:pt x="9" y="9"/>
                    <a:pt x="11" y="8"/>
                    <a:pt x="13" y="8"/>
                  </a:cubicBezTo>
                  <a:cubicBezTo>
                    <a:pt x="13" y="8"/>
                    <a:pt x="13" y="8"/>
                    <a:pt x="13" y="8"/>
                  </a:cubicBezTo>
                  <a:cubicBezTo>
                    <a:pt x="13" y="9"/>
                    <a:pt x="14" y="10"/>
                    <a:pt x="15" y="10"/>
                  </a:cubicBezTo>
                  <a:cubicBezTo>
                    <a:pt x="15" y="11"/>
                    <a:pt x="16" y="11"/>
                    <a:pt x="17" y="11"/>
                  </a:cubicBezTo>
                  <a:cubicBezTo>
                    <a:pt x="17" y="11"/>
                    <a:pt x="18" y="11"/>
                    <a:pt x="19" y="11"/>
                  </a:cubicBezTo>
                  <a:cubicBezTo>
                    <a:pt x="19" y="11"/>
                    <a:pt x="19" y="11"/>
                    <a:pt x="19" y="11"/>
                  </a:cubicBezTo>
                  <a:cubicBezTo>
                    <a:pt x="20" y="11"/>
                    <a:pt x="20" y="10"/>
                    <a:pt x="21" y="10"/>
                  </a:cubicBezTo>
                  <a:cubicBezTo>
                    <a:pt x="21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4" y="10"/>
                    <a:pt x="25" y="10"/>
                    <a:pt x="26" y="9"/>
                  </a:cubicBezTo>
                  <a:cubicBezTo>
                    <a:pt x="26" y="9"/>
                    <a:pt x="26" y="9"/>
                    <a:pt x="26" y="8"/>
                  </a:cubicBezTo>
                  <a:cubicBezTo>
                    <a:pt x="27" y="8"/>
                    <a:pt x="27" y="8"/>
                    <a:pt x="27" y="8"/>
                  </a:cubicBezTo>
                  <a:cubicBezTo>
                    <a:pt x="27" y="8"/>
                    <a:pt x="28" y="7"/>
                    <a:pt x="28" y="7"/>
                  </a:cubicBezTo>
                  <a:cubicBezTo>
                    <a:pt x="29" y="6"/>
                    <a:pt x="29" y="6"/>
                    <a:pt x="30" y="6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30" y="4"/>
                    <a:pt x="30" y="4"/>
                    <a:pt x="30" y="4"/>
                  </a:cubicBezTo>
                  <a:cubicBezTo>
                    <a:pt x="30" y="4"/>
                    <a:pt x="30" y="3"/>
                    <a:pt x="30" y="2"/>
                  </a:cubicBezTo>
                  <a:cubicBezTo>
                    <a:pt x="29" y="1"/>
                    <a:pt x="28" y="0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7" name="Freeform 116"/>
            <p:cNvSpPr>
              <a:spLocks/>
            </p:cNvSpPr>
            <p:nvPr/>
          </p:nvSpPr>
          <p:spPr bwMode="auto">
            <a:xfrm>
              <a:off x="1368" y="737"/>
              <a:ext cx="28" cy="22"/>
            </a:xfrm>
            <a:custGeom>
              <a:avLst/>
              <a:gdLst>
                <a:gd name="T0" fmla="*/ 9 w 12"/>
                <a:gd name="T1" fmla="*/ 9 h 9"/>
                <a:gd name="T2" fmla="*/ 10 w 12"/>
                <a:gd name="T3" fmla="*/ 8 h 9"/>
                <a:gd name="T4" fmla="*/ 11 w 12"/>
                <a:gd name="T5" fmla="*/ 6 h 9"/>
                <a:gd name="T6" fmla="*/ 11 w 12"/>
                <a:gd name="T7" fmla="*/ 6 h 9"/>
                <a:gd name="T8" fmla="*/ 11 w 12"/>
                <a:gd name="T9" fmla="*/ 5 h 9"/>
                <a:gd name="T10" fmla="*/ 10 w 12"/>
                <a:gd name="T11" fmla="*/ 3 h 9"/>
                <a:gd name="T12" fmla="*/ 10 w 12"/>
                <a:gd name="T13" fmla="*/ 2 h 9"/>
                <a:gd name="T14" fmla="*/ 9 w 12"/>
                <a:gd name="T15" fmla="*/ 2 h 9"/>
                <a:gd name="T16" fmla="*/ 9 w 12"/>
                <a:gd name="T17" fmla="*/ 1 h 9"/>
                <a:gd name="T18" fmla="*/ 7 w 12"/>
                <a:gd name="T19" fmla="*/ 1 h 9"/>
                <a:gd name="T20" fmla="*/ 5 w 12"/>
                <a:gd name="T21" fmla="*/ 1 h 9"/>
                <a:gd name="T22" fmla="*/ 4 w 12"/>
                <a:gd name="T23" fmla="*/ 1 h 9"/>
                <a:gd name="T24" fmla="*/ 2 w 12"/>
                <a:gd name="T25" fmla="*/ 2 h 9"/>
                <a:gd name="T26" fmla="*/ 2 w 12"/>
                <a:gd name="T27" fmla="*/ 2 h 9"/>
                <a:gd name="T28" fmla="*/ 2 w 12"/>
                <a:gd name="T29" fmla="*/ 3 h 9"/>
                <a:gd name="T30" fmla="*/ 1 w 12"/>
                <a:gd name="T31" fmla="*/ 4 h 9"/>
                <a:gd name="T32" fmla="*/ 0 w 12"/>
                <a:gd name="T33" fmla="*/ 5 h 9"/>
                <a:gd name="T34" fmla="*/ 0 w 12"/>
                <a:gd name="T35" fmla="*/ 6 h 9"/>
                <a:gd name="T36" fmla="*/ 1 w 12"/>
                <a:gd name="T37" fmla="*/ 9 h 9"/>
                <a:gd name="T38" fmla="*/ 2 w 12"/>
                <a:gd name="T39" fmla="*/ 9 h 9"/>
                <a:gd name="T40" fmla="*/ 4 w 12"/>
                <a:gd name="T41" fmla="*/ 9 h 9"/>
                <a:gd name="T42" fmla="*/ 4 w 12"/>
                <a:gd name="T43" fmla="*/ 9 h 9"/>
                <a:gd name="T44" fmla="*/ 4 w 12"/>
                <a:gd name="T45" fmla="*/ 9 h 9"/>
                <a:gd name="T46" fmla="*/ 5 w 12"/>
                <a:gd name="T47" fmla="*/ 8 h 9"/>
                <a:gd name="T48" fmla="*/ 5 w 12"/>
                <a:gd name="T49" fmla="*/ 8 h 9"/>
                <a:gd name="T50" fmla="*/ 6 w 12"/>
                <a:gd name="T51" fmla="*/ 9 h 9"/>
                <a:gd name="T52" fmla="*/ 8 w 12"/>
                <a:gd name="T53" fmla="*/ 9 h 9"/>
                <a:gd name="T54" fmla="*/ 7 w 12"/>
                <a:gd name="T55" fmla="*/ 8 h 9"/>
                <a:gd name="T56" fmla="*/ 8 w 12"/>
                <a:gd name="T57" fmla="*/ 9 h 9"/>
                <a:gd name="T58" fmla="*/ 9 w 12"/>
                <a:gd name="T5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2" h="9">
                  <a:moveTo>
                    <a:pt x="9" y="9"/>
                  </a:moveTo>
                  <a:cubicBezTo>
                    <a:pt x="9" y="9"/>
                    <a:pt x="10" y="8"/>
                    <a:pt x="10" y="8"/>
                  </a:cubicBezTo>
                  <a:cubicBezTo>
                    <a:pt x="11" y="7"/>
                    <a:pt x="11" y="7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1" y="5"/>
                    <a:pt x="11" y="5"/>
                    <a:pt x="11" y="5"/>
                  </a:cubicBezTo>
                  <a:cubicBezTo>
                    <a:pt x="12" y="4"/>
                    <a:pt x="12" y="3"/>
                    <a:pt x="10" y="3"/>
                  </a:cubicBezTo>
                  <a:cubicBezTo>
                    <a:pt x="10" y="3"/>
                    <a:pt x="10" y="2"/>
                    <a:pt x="10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1"/>
                    <a:pt x="9" y="1"/>
                  </a:cubicBezTo>
                  <a:cubicBezTo>
                    <a:pt x="8" y="1"/>
                    <a:pt x="7" y="0"/>
                    <a:pt x="7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ubicBezTo>
                    <a:pt x="4" y="1"/>
                    <a:pt x="3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3"/>
                  </a:cubicBezTo>
                  <a:cubicBezTo>
                    <a:pt x="1" y="3"/>
                    <a:pt x="1" y="3"/>
                    <a:pt x="1" y="4"/>
                  </a:cubicBezTo>
                  <a:cubicBezTo>
                    <a:pt x="0" y="4"/>
                    <a:pt x="0" y="4"/>
                    <a:pt x="0" y="5"/>
                  </a:cubicBezTo>
                  <a:cubicBezTo>
                    <a:pt x="0" y="5"/>
                    <a:pt x="0" y="6"/>
                    <a:pt x="0" y="6"/>
                  </a:cubicBezTo>
                  <a:cubicBezTo>
                    <a:pt x="0" y="7"/>
                    <a:pt x="0" y="8"/>
                    <a:pt x="1" y="9"/>
                  </a:cubicBezTo>
                  <a:cubicBezTo>
                    <a:pt x="1" y="9"/>
                    <a:pt x="2" y="9"/>
                    <a:pt x="2" y="9"/>
                  </a:cubicBezTo>
                  <a:cubicBezTo>
                    <a:pt x="3" y="9"/>
                    <a:pt x="3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6" y="9"/>
                    <a:pt x="7" y="9"/>
                    <a:pt x="8" y="9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9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8" name="Freeform 117"/>
            <p:cNvSpPr>
              <a:spLocks noEditPoints="1"/>
            </p:cNvSpPr>
            <p:nvPr/>
          </p:nvSpPr>
          <p:spPr bwMode="auto">
            <a:xfrm>
              <a:off x="2718" y="387"/>
              <a:ext cx="45" cy="40"/>
            </a:xfrm>
            <a:custGeom>
              <a:avLst/>
              <a:gdLst>
                <a:gd name="T0" fmla="*/ 1 w 19"/>
                <a:gd name="T1" fmla="*/ 13 h 17"/>
                <a:gd name="T2" fmla="*/ 1 w 19"/>
                <a:gd name="T3" fmla="*/ 14 h 17"/>
                <a:gd name="T4" fmla="*/ 1 w 19"/>
                <a:gd name="T5" fmla="*/ 17 h 17"/>
                <a:gd name="T6" fmla="*/ 3 w 19"/>
                <a:gd name="T7" fmla="*/ 17 h 17"/>
                <a:gd name="T8" fmla="*/ 4 w 19"/>
                <a:gd name="T9" fmla="*/ 17 h 17"/>
                <a:gd name="T10" fmla="*/ 5 w 19"/>
                <a:gd name="T11" fmla="*/ 17 h 17"/>
                <a:gd name="T12" fmla="*/ 7 w 19"/>
                <a:gd name="T13" fmla="*/ 17 h 17"/>
                <a:gd name="T14" fmla="*/ 9 w 19"/>
                <a:gd name="T15" fmla="*/ 17 h 17"/>
                <a:gd name="T16" fmla="*/ 9 w 19"/>
                <a:gd name="T17" fmla="*/ 17 h 17"/>
                <a:gd name="T18" fmla="*/ 11 w 19"/>
                <a:gd name="T19" fmla="*/ 16 h 17"/>
                <a:gd name="T20" fmla="*/ 12 w 19"/>
                <a:gd name="T21" fmla="*/ 16 h 17"/>
                <a:gd name="T22" fmla="*/ 14 w 19"/>
                <a:gd name="T23" fmla="*/ 13 h 17"/>
                <a:gd name="T24" fmla="*/ 14 w 19"/>
                <a:gd name="T25" fmla="*/ 13 h 17"/>
                <a:gd name="T26" fmla="*/ 14 w 19"/>
                <a:gd name="T27" fmla="*/ 13 h 17"/>
                <a:gd name="T28" fmla="*/ 14 w 19"/>
                <a:gd name="T29" fmla="*/ 13 h 17"/>
                <a:gd name="T30" fmla="*/ 18 w 19"/>
                <a:gd name="T31" fmla="*/ 12 h 17"/>
                <a:gd name="T32" fmla="*/ 18 w 19"/>
                <a:gd name="T33" fmla="*/ 9 h 17"/>
                <a:gd name="T34" fmla="*/ 18 w 19"/>
                <a:gd name="T35" fmla="*/ 8 h 17"/>
                <a:gd name="T36" fmla="*/ 18 w 19"/>
                <a:gd name="T37" fmla="*/ 8 h 17"/>
                <a:gd name="T38" fmla="*/ 18 w 19"/>
                <a:gd name="T39" fmla="*/ 7 h 17"/>
                <a:gd name="T40" fmla="*/ 18 w 19"/>
                <a:gd name="T41" fmla="*/ 5 h 17"/>
                <a:gd name="T42" fmla="*/ 17 w 19"/>
                <a:gd name="T43" fmla="*/ 3 h 17"/>
                <a:gd name="T44" fmla="*/ 16 w 19"/>
                <a:gd name="T45" fmla="*/ 3 h 17"/>
                <a:gd name="T46" fmla="*/ 14 w 19"/>
                <a:gd name="T47" fmla="*/ 0 h 17"/>
                <a:gd name="T48" fmla="*/ 11 w 19"/>
                <a:gd name="T49" fmla="*/ 0 h 17"/>
                <a:gd name="T50" fmla="*/ 10 w 19"/>
                <a:gd name="T51" fmla="*/ 0 h 17"/>
                <a:gd name="T52" fmla="*/ 9 w 19"/>
                <a:gd name="T53" fmla="*/ 2 h 17"/>
                <a:gd name="T54" fmla="*/ 9 w 19"/>
                <a:gd name="T55" fmla="*/ 3 h 17"/>
                <a:gd name="T56" fmla="*/ 8 w 19"/>
                <a:gd name="T57" fmla="*/ 3 h 17"/>
                <a:gd name="T58" fmla="*/ 7 w 19"/>
                <a:gd name="T59" fmla="*/ 4 h 17"/>
                <a:gd name="T60" fmla="*/ 5 w 19"/>
                <a:gd name="T61" fmla="*/ 6 h 17"/>
                <a:gd name="T62" fmla="*/ 5 w 19"/>
                <a:gd name="T63" fmla="*/ 7 h 17"/>
                <a:gd name="T64" fmla="*/ 5 w 19"/>
                <a:gd name="T65" fmla="*/ 10 h 17"/>
                <a:gd name="T66" fmla="*/ 5 w 19"/>
                <a:gd name="T67" fmla="*/ 11 h 17"/>
                <a:gd name="T68" fmla="*/ 4 w 19"/>
                <a:gd name="T69" fmla="*/ 10 h 17"/>
                <a:gd name="T70" fmla="*/ 1 w 19"/>
                <a:gd name="T71" fmla="*/ 13 h 17"/>
                <a:gd name="T72" fmla="*/ 14 w 19"/>
                <a:gd name="T73" fmla="*/ 13 h 17"/>
                <a:gd name="T74" fmla="*/ 14 w 19"/>
                <a:gd name="T75" fmla="*/ 11 h 17"/>
                <a:gd name="T76" fmla="*/ 14 w 19"/>
                <a:gd name="T77" fmla="*/ 12 h 17"/>
                <a:gd name="T78" fmla="*/ 14 w 19"/>
                <a:gd name="T79" fmla="*/ 13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9" h="17">
                  <a:moveTo>
                    <a:pt x="1" y="13"/>
                  </a:moveTo>
                  <a:cubicBezTo>
                    <a:pt x="1" y="13"/>
                    <a:pt x="1" y="14"/>
                    <a:pt x="1" y="14"/>
                  </a:cubicBezTo>
                  <a:cubicBezTo>
                    <a:pt x="0" y="15"/>
                    <a:pt x="1" y="16"/>
                    <a:pt x="1" y="17"/>
                  </a:cubicBezTo>
                  <a:cubicBezTo>
                    <a:pt x="1" y="17"/>
                    <a:pt x="2" y="17"/>
                    <a:pt x="3" y="17"/>
                  </a:cubicBezTo>
                  <a:cubicBezTo>
                    <a:pt x="3" y="17"/>
                    <a:pt x="4" y="17"/>
                    <a:pt x="4" y="17"/>
                  </a:cubicBezTo>
                  <a:cubicBezTo>
                    <a:pt x="5" y="17"/>
                    <a:pt x="5" y="17"/>
                    <a:pt x="5" y="17"/>
                  </a:cubicBezTo>
                  <a:cubicBezTo>
                    <a:pt x="5" y="17"/>
                    <a:pt x="6" y="17"/>
                    <a:pt x="7" y="17"/>
                  </a:cubicBezTo>
                  <a:cubicBezTo>
                    <a:pt x="7" y="17"/>
                    <a:pt x="8" y="17"/>
                    <a:pt x="9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7"/>
                    <a:pt x="10" y="17"/>
                    <a:pt x="11" y="16"/>
                  </a:cubicBezTo>
                  <a:cubicBezTo>
                    <a:pt x="11" y="16"/>
                    <a:pt x="11" y="16"/>
                    <a:pt x="12" y="16"/>
                  </a:cubicBezTo>
                  <a:cubicBezTo>
                    <a:pt x="13" y="15"/>
                    <a:pt x="14" y="15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5" y="13"/>
                    <a:pt x="17" y="13"/>
                    <a:pt x="18" y="12"/>
                  </a:cubicBezTo>
                  <a:cubicBezTo>
                    <a:pt x="19" y="12"/>
                    <a:pt x="19" y="10"/>
                    <a:pt x="18" y="9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8" y="8"/>
                    <a:pt x="18" y="7"/>
                    <a:pt x="18" y="7"/>
                  </a:cubicBezTo>
                  <a:cubicBezTo>
                    <a:pt x="18" y="6"/>
                    <a:pt x="18" y="6"/>
                    <a:pt x="18" y="5"/>
                  </a:cubicBezTo>
                  <a:cubicBezTo>
                    <a:pt x="18" y="5"/>
                    <a:pt x="17" y="4"/>
                    <a:pt x="17" y="3"/>
                  </a:cubicBezTo>
                  <a:cubicBezTo>
                    <a:pt x="16" y="3"/>
                    <a:pt x="16" y="3"/>
                    <a:pt x="16" y="3"/>
                  </a:cubicBezTo>
                  <a:cubicBezTo>
                    <a:pt x="16" y="2"/>
                    <a:pt x="15" y="1"/>
                    <a:pt x="14" y="0"/>
                  </a:cubicBezTo>
                  <a:cubicBezTo>
                    <a:pt x="13" y="0"/>
                    <a:pt x="12" y="0"/>
                    <a:pt x="11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9" y="1"/>
                    <a:pt x="9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9" y="3"/>
                    <a:pt x="9" y="3"/>
                    <a:pt x="8" y="3"/>
                  </a:cubicBezTo>
                  <a:cubicBezTo>
                    <a:pt x="8" y="3"/>
                    <a:pt x="7" y="3"/>
                    <a:pt x="7" y="4"/>
                  </a:cubicBezTo>
                  <a:cubicBezTo>
                    <a:pt x="6" y="4"/>
                    <a:pt x="5" y="5"/>
                    <a:pt x="5" y="6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4" y="8"/>
                    <a:pt x="4" y="9"/>
                    <a:pt x="5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0"/>
                    <a:pt x="4" y="10"/>
                    <a:pt x="4" y="10"/>
                  </a:cubicBezTo>
                  <a:cubicBezTo>
                    <a:pt x="2" y="10"/>
                    <a:pt x="1" y="11"/>
                    <a:pt x="1" y="13"/>
                  </a:cubicBezTo>
                  <a:close/>
                  <a:moveTo>
                    <a:pt x="14" y="13"/>
                  </a:moveTo>
                  <a:cubicBezTo>
                    <a:pt x="14" y="11"/>
                    <a:pt x="14" y="11"/>
                    <a:pt x="14" y="11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4" y="13"/>
                    <a:pt x="14" y="13"/>
                    <a:pt x="1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19" name="Freeform 118"/>
            <p:cNvSpPr>
              <a:spLocks noEditPoints="1"/>
            </p:cNvSpPr>
            <p:nvPr/>
          </p:nvSpPr>
          <p:spPr bwMode="auto">
            <a:xfrm>
              <a:off x="2475" y="512"/>
              <a:ext cx="104" cy="81"/>
            </a:xfrm>
            <a:custGeom>
              <a:avLst/>
              <a:gdLst>
                <a:gd name="T0" fmla="*/ 34 w 44"/>
                <a:gd name="T1" fmla="*/ 12 h 34"/>
                <a:gd name="T2" fmla="*/ 38 w 44"/>
                <a:gd name="T3" fmla="*/ 9 h 34"/>
                <a:gd name="T4" fmla="*/ 38 w 44"/>
                <a:gd name="T5" fmla="*/ 9 h 34"/>
                <a:gd name="T6" fmla="*/ 43 w 44"/>
                <a:gd name="T7" fmla="*/ 5 h 34"/>
                <a:gd name="T8" fmla="*/ 40 w 44"/>
                <a:gd name="T9" fmla="*/ 3 h 34"/>
                <a:gd name="T10" fmla="*/ 38 w 44"/>
                <a:gd name="T11" fmla="*/ 3 h 34"/>
                <a:gd name="T12" fmla="*/ 36 w 44"/>
                <a:gd name="T13" fmla="*/ 3 h 34"/>
                <a:gd name="T14" fmla="*/ 34 w 44"/>
                <a:gd name="T15" fmla="*/ 3 h 34"/>
                <a:gd name="T16" fmla="*/ 32 w 44"/>
                <a:gd name="T17" fmla="*/ 2 h 34"/>
                <a:gd name="T18" fmla="*/ 28 w 44"/>
                <a:gd name="T19" fmla="*/ 0 h 34"/>
                <a:gd name="T20" fmla="*/ 22 w 44"/>
                <a:gd name="T21" fmla="*/ 2 h 34"/>
                <a:gd name="T22" fmla="*/ 18 w 44"/>
                <a:gd name="T23" fmla="*/ 5 h 34"/>
                <a:gd name="T24" fmla="*/ 19 w 44"/>
                <a:gd name="T25" fmla="*/ 9 h 34"/>
                <a:gd name="T26" fmla="*/ 18 w 44"/>
                <a:gd name="T27" fmla="*/ 11 h 34"/>
                <a:gd name="T28" fmla="*/ 14 w 44"/>
                <a:gd name="T29" fmla="*/ 13 h 34"/>
                <a:gd name="T30" fmla="*/ 13 w 44"/>
                <a:gd name="T31" fmla="*/ 15 h 34"/>
                <a:gd name="T32" fmla="*/ 12 w 44"/>
                <a:gd name="T33" fmla="*/ 14 h 34"/>
                <a:gd name="T34" fmla="*/ 10 w 44"/>
                <a:gd name="T35" fmla="*/ 14 h 34"/>
                <a:gd name="T36" fmla="*/ 10 w 44"/>
                <a:gd name="T37" fmla="*/ 13 h 34"/>
                <a:gd name="T38" fmla="*/ 7 w 44"/>
                <a:gd name="T39" fmla="*/ 9 h 34"/>
                <a:gd name="T40" fmla="*/ 2 w 44"/>
                <a:gd name="T41" fmla="*/ 11 h 34"/>
                <a:gd name="T42" fmla="*/ 1 w 44"/>
                <a:gd name="T43" fmla="*/ 17 h 34"/>
                <a:gd name="T44" fmla="*/ 2 w 44"/>
                <a:gd name="T45" fmla="*/ 20 h 34"/>
                <a:gd name="T46" fmla="*/ 3 w 44"/>
                <a:gd name="T47" fmla="*/ 21 h 34"/>
                <a:gd name="T48" fmla="*/ 2 w 44"/>
                <a:gd name="T49" fmla="*/ 24 h 34"/>
                <a:gd name="T50" fmla="*/ 3 w 44"/>
                <a:gd name="T51" fmla="*/ 27 h 34"/>
                <a:gd name="T52" fmla="*/ 1 w 44"/>
                <a:gd name="T53" fmla="*/ 29 h 34"/>
                <a:gd name="T54" fmla="*/ 0 w 44"/>
                <a:gd name="T55" fmla="*/ 32 h 34"/>
                <a:gd name="T56" fmla="*/ 3 w 44"/>
                <a:gd name="T57" fmla="*/ 34 h 34"/>
                <a:gd name="T58" fmla="*/ 6 w 44"/>
                <a:gd name="T59" fmla="*/ 33 h 34"/>
                <a:gd name="T60" fmla="*/ 7 w 44"/>
                <a:gd name="T61" fmla="*/ 32 h 34"/>
                <a:gd name="T62" fmla="*/ 10 w 44"/>
                <a:gd name="T63" fmla="*/ 30 h 34"/>
                <a:gd name="T64" fmla="*/ 14 w 44"/>
                <a:gd name="T65" fmla="*/ 31 h 34"/>
                <a:gd name="T66" fmla="*/ 16 w 44"/>
                <a:gd name="T67" fmla="*/ 31 h 34"/>
                <a:gd name="T68" fmla="*/ 17 w 44"/>
                <a:gd name="T69" fmla="*/ 30 h 34"/>
                <a:gd name="T70" fmla="*/ 21 w 44"/>
                <a:gd name="T71" fmla="*/ 29 h 34"/>
                <a:gd name="T72" fmla="*/ 22 w 44"/>
                <a:gd name="T73" fmla="*/ 27 h 34"/>
                <a:gd name="T74" fmla="*/ 25 w 44"/>
                <a:gd name="T75" fmla="*/ 25 h 34"/>
                <a:gd name="T76" fmla="*/ 26 w 44"/>
                <a:gd name="T77" fmla="*/ 24 h 34"/>
                <a:gd name="T78" fmla="*/ 29 w 44"/>
                <a:gd name="T79" fmla="*/ 22 h 34"/>
                <a:gd name="T80" fmla="*/ 28 w 44"/>
                <a:gd name="T81" fmla="*/ 21 h 34"/>
                <a:gd name="T82" fmla="*/ 30 w 44"/>
                <a:gd name="T83" fmla="*/ 21 h 34"/>
                <a:gd name="T84" fmla="*/ 31 w 44"/>
                <a:gd name="T85" fmla="*/ 18 h 34"/>
                <a:gd name="T86" fmla="*/ 32 w 44"/>
                <a:gd name="T87" fmla="*/ 17 h 34"/>
                <a:gd name="T88" fmla="*/ 31 w 44"/>
                <a:gd name="T89" fmla="*/ 13 h 34"/>
                <a:gd name="T90" fmla="*/ 34 w 44"/>
                <a:gd name="T91" fmla="*/ 12 h 34"/>
                <a:gd name="T92" fmla="*/ 22 w 44"/>
                <a:gd name="T93" fmla="*/ 9 h 34"/>
                <a:gd name="T94" fmla="*/ 22 w 44"/>
                <a:gd name="T95" fmla="*/ 9 h 34"/>
                <a:gd name="T96" fmla="*/ 21 w 44"/>
                <a:gd name="T97" fmla="*/ 9 h 34"/>
                <a:gd name="T98" fmla="*/ 21 w 44"/>
                <a:gd name="T99" fmla="*/ 9 h 34"/>
                <a:gd name="T100" fmla="*/ 3 w 44"/>
                <a:gd name="T101" fmla="*/ 33 h 34"/>
                <a:gd name="T102" fmla="*/ 3 w 44"/>
                <a:gd name="T103" fmla="*/ 33 h 34"/>
                <a:gd name="T104" fmla="*/ 3 w 44"/>
                <a:gd name="T105" fmla="*/ 3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4" h="34">
                  <a:moveTo>
                    <a:pt x="34" y="12"/>
                  </a:moveTo>
                  <a:cubicBezTo>
                    <a:pt x="34" y="12"/>
                    <a:pt x="34" y="12"/>
                    <a:pt x="34" y="12"/>
                  </a:cubicBezTo>
                  <a:cubicBezTo>
                    <a:pt x="35" y="12"/>
                    <a:pt x="36" y="12"/>
                    <a:pt x="37" y="11"/>
                  </a:cubicBezTo>
                  <a:cubicBezTo>
                    <a:pt x="37" y="11"/>
                    <a:pt x="37" y="10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38" y="9"/>
                    <a:pt x="38" y="9"/>
                    <a:pt x="38" y="9"/>
                  </a:cubicBezTo>
                  <a:cubicBezTo>
                    <a:pt x="40" y="9"/>
                    <a:pt x="42" y="9"/>
                    <a:pt x="43" y="8"/>
                  </a:cubicBezTo>
                  <a:cubicBezTo>
                    <a:pt x="43" y="7"/>
                    <a:pt x="44" y="6"/>
                    <a:pt x="43" y="5"/>
                  </a:cubicBezTo>
                  <a:cubicBezTo>
                    <a:pt x="43" y="5"/>
                    <a:pt x="43" y="4"/>
                    <a:pt x="42" y="4"/>
                  </a:cubicBezTo>
                  <a:cubicBezTo>
                    <a:pt x="42" y="3"/>
                    <a:pt x="41" y="3"/>
                    <a:pt x="40" y="3"/>
                  </a:cubicBezTo>
                  <a:cubicBezTo>
                    <a:pt x="39" y="3"/>
                    <a:pt x="39" y="3"/>
                    <a:pt x="39" y="3"/>
                  </a:cubicBezTo>
                  <a:cubicBezTo>
                    <a:pt x="39" y="3"/>
                    <a:pt x="39" y="3"/>
                    <a:pt x="38" y="3"/>
                  </a:cubicBezTo>
                  <a:cubicBezTo>
                    <a:pt x="38" y="3"/>
                    <a:pt x="37" y="3"/>
                    <a:pt x="36" y="3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3"/>
                    <a:pt x="34" y="3"/>
                    <a:pt x="34" y="3"/>
                  </a:cubicBezTo>
                  <a:cubicBezTo>
                    <a:pt x="34" y="3"/>
                    <a:pt x="34" y="3"/>
                    <a:pt x="33" y="2"/>
                  </a:cubicBezTo>
                  <a:cubicBezTo>
                    <a:pt x="33" y="2"/>
                    <a:pt x="33" y="2"/>
                    <a:pt x="32" y="2"/>
                  </a:cubicBezTo>
                  <a:cubicBezTo>
                    <a:pt x="31" y="1"/>
                    <a:pt x="30" y="2"/>
                    <a:pt x="29" y="1"/>
                  </a:cubicBezTo>
                  <a:cubicBezTo>
                    <a:pt x="29" y="1"/>
                    <a:pt x="28" y="1"/>
                    <a:pt x="28" y="0"/>
                  </a:cubicBezTo>
                  <a:cubicBezTo>
                    <a:pt x="27" y="0"/>
                    <a:pt x="26" y="0"/>
                    <a:pt x="24" y="0"/>
                  </a:cubicBezTo>
                  <a:cubicBezTo>
                    <a:pt x="23" y="1"/>
                    <a:pt x="22" y="1"/>
                    <a:pt x="22" y="2"/>
                  </a:cubicBezTo>
                  <a:cubicBezTo>
                    <a:pt x="21" y="3"/>
                    <a:pt x="21" y="4"/>
                    <a:pt x="21" y="4"/>
                  </a:cubicBezTo>
                  <a:cubicBezTo>
                    <a:pt x="20" y="4"/>
                    <a:pt x="19" y="4"/>
                    <a:pt x="18" y="5"/>
                  </a:cubicBezTo>
                  <a:cubicBezTo>
                    <a:pt x="18" y="5"/>
                    <a:pt x="17" y="6"/>
                    <a:pt x="18" y="8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19" y="9"/>
                    <a:pt x="18" y="10"/>
                    <a:pt x="18" y="10"/>
                  </a:cubicBezTo>
                  <a:cubicBezTo>
                    <a:pt x="18" y="10"/>
                    <a:pt x="18" y="11"/>
                    <a:pt x="18" y="11"/>
                  </a:cubicBezTo>
                  <a:cubicBezTo>
                    <a:pt x="17" y="11"/>
                    <a:pt x="16" y="11"/>
                    <a:pt x="16" y="12"/>
                  </a:cubicBezTo>
                  <a:cubicBezTo>
                    <a:pt x="15" y="12"/>
                    <a:pt x="14" y="12"/>
                    <a:pt x="14" y="13"/>
                  </a:cubicBezTo>
                  <a:cubicBezTo>
                    <a:pt x="14" y="14"/>
                    <a:pt x="14" y="14"/>
                    <a:pt x="14" y="15"/>
                  </a:cubicBezTo>
                  <a:cubicBezTo>
                    <a:pt x="14" y="15"/>
                    <a:pt x="14" y="15"/>
                    <a:pt x="13" y="15"/>
                  </a:cubicBezTo>
                  <a:cubicBezTo>
                    <a:pt x="13" y="14"/>
                    <a:pt x="13" y="14"/>
                    <a:pt x="12" y="14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1" y="14"/>
                    <a:pt x="11" y="14"/>
                    <a:pt x="10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0" y="14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1"/>
                    <a:pt x="10" y="11"/>
                  </a:cubicBezTo>
                  <a:cubicBezTo>
                    <a:pt x="10" y="10"/>
                    <a:pt x="10" y="9"/>
                    <a:pt x="7" y="9"/>
                  </a:cubicBezTo>
                  <a:cubicBezTo>
                    <a:pt x="7" y="9"/>
                    <a:pt x="6" y="9"/>
                    <a:pt x="5" y="9"/>
                  </a:cubicBezTo>
                  <a:cubicBezTo>
                    <a:pt x="4" y="9"/>
                    <a:pt x="3" y="10"/>
                    <a:pt x="2" y="11"/>
                  </a:cubicBezTo>
                  <a:cubicBezTo>
                    <a:pt x="1" y="13"/>
                    <a:pt x="1" y="14"/>
                    <a:pt x="1" y="15"/>
                  </a:cubicBezTo>
                  <a:cubicBezTo>
                    <a:pt x="1" y="16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9"/>
                    <a:pt x="1" y="20"/>
                    <a:pt x="2" y="20"/>
                  </a:cubicBezTo>
                  <a:cubicBezTo>
                    <a:pt x="3" y="20"/>
                    <a:pt x="3" y="2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21"/>
                    <a:pt x="3" y="22"/>
                    <a:pt x="3" y="23"/>
                  </a:cubicBezTo>
                  <a:cubicBezTo>
                    <a:pt x="3" y="23"/>
                    <a:pt x="3" y="23"/>
                    <a:pt x="2" y="24"/>
                  </a:cubicBezTo>
                  <a:cubicBezTo>
                    <a:pt x="2" y="25"/>
                    <a:pt x="2" y="26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2" y="27"/>
                    <a:pt x="2" y="28"/>
                  </a:cubicBezTo>
                  <a:cubicBezTo>
                    <a:pt x="2" y="28"/>
                    <a:pt x="1" y="28"/>
                    <a:pt x="1" y="29"/>
                  </a:cubicBezTo>
                  <a:cubicBezTo>
                    <a:pt x="1" y="29"/>
                    <a:pt x="0" y="30"/>
                    <a:pt x="0" y="31"/>
                  </a:cubicBezTo>
                  <a:cubicBezTo>
                    <a:pt x="0" y="31"/>
                    <a:pt x="0" y="31"/>
                    <a:pt x="0" y="32"/>
                  </a:cubicBezTo>
                  <a:cubicBezTo>
                    <a:pt x="1" y="32"/>
                    <a:pt x="1" y="32"/>
                    <a:pt x="1" y="33"/>
                  </a:cubicBezTo>
                  <a:cubicBezTo>
                    <a:pt x="2" y="34"/>
                    <a:pt x="2" y="34"/>
                    <a:pt x="3" y="34"/>
                  </a:cubicBezTo>
                  <a:cubicBezTo>
                    <a:pt x="3" y="34"/>
                    <a:pt x="4" y="34"/>
                    <a:pt x="4" y="34"/>
                  </a:cubicBezTo>
                  <a:cubicBezTo>
                    <a:pt x="5" y="34"/>
                    <a:pt x="5" y="33"/>
                    <a:pt x="6" y="33"/>
                  </a:cubicBezTo>
                  <a:cubicBezTo>
                    <a:pt x="6" y="33"/>
                    <a:pt x="6" y="32"/>
                    <a:pt x="6" y="32"/>
                  </a:cubicBezTo>
                  <a:cubicBezTo>
                    <a:pt x="6" y="32"/>
                    <a:pt x="6" y="32"/>
                    <a:pt x="7" y="32"/>
                  </a:cubicBezTo>
                  <a:cubicBezTo>
                    <a:pt x="7" y="32"/>
                    <a:pt x="7" y="32"/>
                    <a:pt x="7" y="32"/>
                  </a:cubicBezTo>
                  <a:cubicBezTo>
                    <a:pt x="8" y="32"/>
                    <a:pt x="9" y="31"/>
                    <a:pt x="10" y="30"/>
                  </a:cubicBezTo>
                  <a:cubicBezTo>
                    <a:pt x="10" y="31"/>
                    <a:pt x="10" y="31"/>
                    <a:pt x="11" y="31"/>
                  </a:cubicBezTo>
                  <a:cubicBezTo>
                    <a:pt x="12" y="31"/>
                    <a:pt x="13" y="31"/>
                    <a:pt x="14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1"/>
                    <a:pt x="16" y="31"/>
                  </a:cubicBezTo>
                  <a:cubicBezTo>
                    <a:pt x="16" y="30"/>
                    <a:pt x="16" y="30"/>
                    <a:pt x="17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18" y="31"/>
                    <a:pt x="19" y="31"/>
                    <a:pt x="20" y="31"/>
                  </a:cubicBezTo>
                  <a:cubicBezTo>
                    <a:pt x="21" y="30"/>
                    <a:pt x="21" y="29"/>
                    <a:pt x="21" y="29"/>
                  </a:cubicBezTo>
                  <a:cubicBezTo>
                    <a:pt x="22" y="29"/>
                    <a:pt x="22" y="28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3" y="27"/>
                    <a:pt x="23" y="27"/>
                    <a:pt x="24" y="26"/>
                  </a:cubicBezTo>
                  <a:cubicBezTo>
                    <a:pt x="25" y="26"/>
                    <a:pt x="25" y="25"/>
                    <a:pt x="25" y="25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8" y="24"/>
                    <a:pt x="28" y="23"/>
                  </a:cubicBezTo>
                  <a:cubicBezTo>
                    <a:pt x="29" y="23"/>
                    <a:pt x="29" y="22"/>
                    <a:pt x="29" y="22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28" y="21"/>
                    <a:pt x="28" y="21"/>
                    <a:pt x="28" y="21"/>
                  </a:cubicBezTo>
                  <a:cubicBezTo>
                    <a:pt x="30" y="22"/>
                    <a:pt x="30" y="22"/>
                    <a:pt x="30" y="2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31" y="21"/>
                    <a:pt x="31" y="20"/>
                  </a:cubicBezTo>
                  <a:cubicBezTo>
                    <a:pt x="31" y="20"/>
                    <a:pt x="31" y="19"/>
                    <a:pt x="31" y="18"/>
                  </a:cubicBezTo>
                  <a:cubicBezTo>
                    <a:pt x="31" y="18"/>
                    <a:pt x="31" y="18"/>
                    <a:pt x="31" y="18"/>
                  </a:cubicBezTo>
                  <a:cubicBezTo>
                    <a:pt x="31" y="18"/>
                    <a:pt x="32" y="17"/>
                    <a:pt x="32" y="17"/>
                  </a:cubicBezTo>
                  <a:cubicBezTo>
                    <a:pt x="32" y="17"/>
                    <a:pt x="33" y="16"/>
                    <a:pt x="33" y="15"/>
                  </a:cubicBezTo>
                  <a:cubicBezTo>
                    <a:pt x="32" y="14"/>
                    <a:pt x="32" y="13"/>
                    <a:pt x="31" y="13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32" y="13"/>
                    <a:pt x="33" y="12"/>
                    <a:pt x="34" y="12"/>
                  </a:cubicBezTo>
                  <a:close/>
                  <a:moveTo>
                    <a:pt x="22" y="9"/>
                  </a:move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ubicBezTo>
                    <a:pt x="22" y="9"/>
                    <a:pt x="22" y="9"/>
                    <a:pt x="22" y="9"/>
                  </a:cubicBezTo>
                  <a:close/>
                  <a:moveTo>
                    <a:pt x="21" y="9"/>
                  </a:moveTo>
                  <a:cubicBezTo>
                    <a:pt x="21" y="9"/>
                    <a:pt x="21" y="9"/>
                    <a:pt x="21" y="9"/>
                  </a:cubicBezTo>
                  <a:cubicBezTo>
                    <a:pt x="21" y="8"/>
                    <a:pt x="21" y="8"/>
                    <a:pt x="21" y="8"/>
                  </a:cubicBezTo>
                  <a:lnTo>
                    <a:pt x="21" y="9"/>
                  </a:lnTo>
                  <a:close/>
                  <a:moveTo>
                    <a:pt x="3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lose/>
                  <a:moveTo>
                    <a:pt x="3" y="33"/>
                  </a:moveTo>
                  <a:cubicBezTo>
                    <a:pt x="3" y="33"/>
                    <a:pt x="3" y="33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0" name="Freeform 119"/>
            <p:cNvSpPr>
              <a:spLocks/>
            </p:cNvSpPr>
            <p:nvPr/>
          </p:nvSpPr>
          <p:spPr bwMode="auto">
            <a:xfrm>
              <a:off x="2404" y="846"/>
              <a:ext cx="47" cy="40"/>
            </a:xfrm>
            <a:custGeom>
              <a:avLst/>
              <a:gdLst>
                <a:gd name="T0" fmla="*/ 10 w 20"/>
                <a:gd name="T1" fmla="*/ 10 h 17"/>
                <a:gd name="T2" fmla="*/ 12 w 20"/>
                <a:gd name="T3" fmla="*/ 9 h 17"/>
                <a:gd name="T4" fmla="*/ 12 w 20"/>
                <a:gd name="T5" fmla="*/ 9 h 17"/>
                <a:gd name="T6" fmla="*/ 19 w 20"/>
                <a:gd name="T7" fmla="*/ 5 h 17"/>
                <a:gd name="T8" fmla="*/ 20 w 20"/>
                <a:gd name="T9" fmla="*/ 2 h 17"/>
                <a:gd name="T10" fmla="*/ 19 w 20"/>
                <a:gd name="T11" fmla="*/ 0 h 17"/>
                <a:gd name="T12" fmla="*/ 14 w 20"/>
                <a:gd name="T13" fmla="*/ 1 h 17"/>
                <a:gd name="T14" fmla="*/ 12 w 20"/>
                <a:gd name="T15" fmla="*/ 1 h 17"/>
                <a:gd name="T16" fmla="*/ 10 w 20"/>
                <a:gd name="T17" fmla="*/ 0 h 17"/>
                <a:gd name="T18" fmla="*/ 8 w 20"/>
                <a:gd name="T19" fmla="*/ 1 h 17"/>
                <a:gd name="T20" fmla="*/ 8 w 20"/>
                <a:gd name="T21" fmla="*/ 2 h 17"/>
                <a:gd name="T22" fmla="*/ 7 w 20"/>
                <a:gd name="T23" fmla="*/ 3 h 17"/>
                <a:gd name="T24" fmla="*/ 6 w 20"/>
                <a:gd name="T25" fmla="*/ 4 h 17"/>
                <a:gd name="T26" fmla="*/ 5 w 20"/>
                <a:gd name="T27" fmla="*/ 4 h 17"/>
                <a:gd name="T28" fmla="*/ 4 w 20"/>
                <a:gd name="T29" fmla="*/ 6 h 17"/>
                <a:gd name="T30" fmla="*/ 3 w 20"/>
                <a:gd name="T31" fmla="*/ 6 h 17"/>
                <a:gd name="T32" fmla="*/ 3 w 20"/>
                <a:gd name="T33" fmla="*/ 7 h 17"/>
                <a:gd name="T34" fmla="*/ 3 w 20"/>
                <a:gd name="T35" fmla="*/ 7 h 17"/>
                <a:gd name="T36" fmla="*/ 2 w 20"/>
                <a:gd name="T37" fmla="*/ 8 h 17"/>
                <a:gd name="T38" fmla="*/ 2 w 20"/>
                <a:gd name="T39" fmla="*/ 8 h 17"/>
                <a:gd name="T40" fmla="*/ 1 w 20"/>
                <a:gd name="T41" fmla="*/ 9 h 17"/>
                <a:gd name="T42" fmla="*/ 0 w 20"/>
                <a:gd name="T43" fmla="*/ 11 h 17"/>
                <a:gd name="T44" fmla="*/ 0 w 20"/>
                <a:gd name="T45" fmla="*/ 17 h 17"/>
                <a:gd name="T46" fmla="*/ 3 w 20"/>
                <a:gd name="T47" fmla="*/ 12 h 17"/>
                <a:gd name="T48" fmla="*/ 3 w 20"/>
                <a:gd name="T49" fmla="*/ 12 h 17"/>
                <a:gd name="T50" fmla="*/ 3 w 20"/>
                <a:gd name="T51" fmla="*/ 11 h 17"/>
                <a:gd name="T52" fmla="*/ 4 w 20"/>
                <a:gd name="T53" fmla="*/ 11 h 17"/>
                <a:gd name="T54" fmla="*/ 4 w 20"/>
                <a:gd name="T55" fmla="*/ 11 h 17"/>
                <a:gd name="T56" fmla="*/ 5 w 20"/>
                <a:gd name="T57" fmla="*/ 11 h 17"/>
                <a:gd name="T58" fmla="*/ 6 w 20"/>
                <a:gd name="T59" fmla="*/ 12 h 17"/>
                <a:gd name="T60" fmla="*/ 8 w 20"/>
                <a:gd name="T61" fmla="*/ 11 h 17"/>
                <a:gd name="T62" fmla="*/ 9 w 20"/>
                <a:gd name="T63" fmla="*/ 10 h 17"/>
                <a:gd name="T64" fmla="*/ 9 w 20"/>
                <a:gd name="T65" fmla="*/ 9 h 17"/>
                <a:gd name="T66" fmla="*/ 9 w 20"/>
                <a:gd name="T67" fmla="*/ 9 h 17"/>
                <a:gd name="T68" fmla="*/ 10 w 20"/>
                <a:gd name="T69" fmla="*/ 1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0" h="17">
                  <a:moveTo>
                    <a:pt x="10" y="10"/>
                  </a:moveTo>
                  <a:cubicBezTo>
                    <a:pt x="10" y="10"/>
                    <a:pt x="11" y="10"/>
                    <a:pt x="12" y="9"/>
                  </a:cubicBezTo>
                  <a:cubicBezTo>
                    <a:pt x="12" y="9"/>
                    <a:pt x="12" y="9"/>
                    <a:pt x="12" y="9"/>
                  </a:cubicBezTo>
                  <a:cubicBezTo>
                    <a:pt x="16" y="9"/>
                    <a:pt x="18" y="7"/>
                    <a:pt x="19" y="5"/>
                  </a:cubicBezTo>
                  <a:cubicBezTo>
                    <a:pt x="20" y="4"/>
                    <a:pt x="20" y="3"/>
                    <a:pt x="20" y="2"/>
                  </a:cubicBezTo>
                  <a:cubicBezTo>
                    <a:pt x="20" y="1"/>
                    <a:pt x="19" y="0"/>
                    <a:pt x="19" y="0"/>
                  </a:cubicBezTo>
                  <a:cubicBezTo>
                    <a:pt x="17" y="0"/>
                    <a:pt x="15" y="0"/>
                    <a:pt x="14" y="1"/>
                  </a:cubicBezTo>
                  <a:cubicBezTo>
                    <a:pt x="13" y="1"/>
                    <a:pt x="13" y="1"/>
                    <a:pt x="12" y="1"/>
                  </a:cubicBezTo>
                  <a:cubicBezTo>
                    <a:pt x="12" y="0"/>
                    <a:pt x="11" y="0"/>
                    <a:pt x="10" y="0"/>
                  </a:cubicBezTo>
                  <a:cubicBezTo>
                    <a:pt x="10" y="0"/>
                    <a:pt x="9" y="0"/>
                    <a:pt x="8" y="1"/>
                  </a:cubicBezTo>
                  <a:cubicBezTo>
                    <a:pt x="8" y="1"/>
                    <a:pt x="8" y="2"/>
                    <a:pt x="8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7" y="3"/>
                    <a:pt x="6" y="3"/>
                    <a:pt x="6" y="4"/>
                  </a:cubicBezTo>
                  <a:cubicBezTo>
                    <a:pt x="6" y="4"/>
                    <a:pt x="5" y="4"/>
                    <a:pt x="5" y="4"/>
                  </a:cubicBezTo>
                  <a:cubicBezTo>
                    <a:pt x="4" y="5"/>
                    <a:pt x="4" y="5"/>
                    <a:pt x="4" y="6"/>
                  </a:cubicBezTo>
                  <a:cubicBezTo>
                    <a:pt x="4" y="6"/>
                    <a:pt x="4" y="6"/>
                    <a:pt x="3" y="6"/>
                  </a:cubicBezTo>
                  <a:cubicBezTo>
                    <a:pt x="3" y="6"/>
                    <a:pt x="3" y="7"/>
                    <a:pt x="3" y="7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2" y="8"/>
                    <a:pt x="2" y="8"/>
                    <a:pt x="2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0"/>
                    <a:pt x="0" y="11"/>
                    <a:pt x="0" y="11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5" y="12"/>
                    <a:pt x="6" y="12"/>
                    <a:pt x="6" y="12"/>
                  </a:cubicBezTo>
                  <a:cubicBezTo>
                    <a:pt x="7" y="12"/>
                    <a:pt x="7" y="12"/>
                    <a:pt x="8" y="11"/>
                  </a:cubicBezTo>
                  <a:cubicBezTo>
                    <a:pt x="9" y="11"/>
                    <a:pt x="9" y="11"/>
                    <a:pt x="9" y="1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10" y="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1" name="Freeform 120"/>
            <p:cNvSpPr>
              <a:spLocks noEditPoints="1"/>
            </p:cNvSpPr>
            <p:nvPr/>
          </p:nvSpPr>
          <p:spPr bwMode="auto">
            <a:xfrm>
              <a:off x="2382" y="370"/>
              <a:ext cx="190" cy="102"/>
            </a:xfrm>
            <a:custGeom>
              <a:avLst/>
              <a:gdLst>
                <a:gd name="T0" fmla="*/ 8 w 80"/>
                <a:gd name="T1" fmla="*/ 13 h 43"/>
                <a:gd name="T2" fmla="*/ 13 w 80"/>
                <a:gd name="T3" fmla="*/ 15 h 43"/>
                <a:gd name="T4" fmla="*/ 20 w 80"/>
                <a:gd name="T5" fmla="*/ 16 h 43"/>
                <a:gd name="T6" fmla="*/ 23 w 80"/>
                <a:gd name="T7" fmla="*/ 17 h 43"/>
                <a:gd name="T8" fmla="*/ 28 w 80"/>
                <a:gd name="T9" fmla="*/ 13 h 43"/>
                <a:gd name="T10" fmla="*/ 31 w 80"/>
                <a:gd name="T11" fmla="*/ 12 h 43"/>
                <a:gd name="T12" fmla="*/ 31 w 80"/>
                <a:gd name="T13" fmla="*/ 19 h 43"/>
                <a:gd name="T14" fmla="*/ 24 w 80"/>
                <a:gd name="T15" fmla="*/ 19 h 43"/>
                <a:gd name="T16" fmla="*/ 17 w 80"/>
                <a:gd name="T17" fmla="*/ 23 h 43"/>
                <a:gd name="T18" fmla="*/ 16 w 80"/>
                <a:gd name="T19" fmla="*/ 29 h 43"/>
                <a:gd name="T20" fmla="*/ 21 w 80"/>
                <a:gd name="T21" fmla="*/ 32 h 43"/>
                <a:gd name="T22" fmla="*/ 27 w 80"/>
                <a:gd name="T23" fmla="*/ 31 h 43"/>
                <a:gd name="T24" fmla="*/ 34 w 80"/>
                <a:gd name="T25" fmla="*/ 33 h 43"/>
                <a:gd name="T26" fmla="*/ 36 w 80"/>
                <a:gd name="T27" fmla="*/ 34 h 43"/>
                <a:gd name="T28" fmla="*/ 33 w 80"/>
                <a:gd name="T29" fmla="*/ 34 h 43"/>
                <a:gd name="T30" fmla="*/ 29 w 80"/>
                <a:gd name="T31" fmla="*/ 33 h 43"/>
                <a:gd name="T32" fmla="*/ 24 w 80"/>
                <a:gd name="T33" fmla="*/ 34 h 43"/>
                <a:gd name="T34" fmla="*/ 21 w 80"/>
                <a:gd name="T35" fmla="*/ 34 h 43"/>
                <a:gd name="T36" fmla="*/ 28 w 80"/>
                <a:gd name="T37" fmla="*/ 42 h 43"/>
                <a:gd name="T38" fmla="*/ 34 w 80"/>
                <a:gd name="T39" fmla="*/ 42 h 43"/>
                <a:gd name="T40" fmla="*/ 37 w 80"/>
                <a:gd name="T41" fmla="*/ 41 h 43"/>
                <a:gd name="T42" fmla="*/ 43 w 80"/>
                <a:gd name="T43" fmla="*/ 41 h 43"/>
                <a:gd name="T44" fmla="*/ 47 w 80"/>
                <a:gd name="T45" fmla="*/ 41 h 43"/>
                <a:gd name="T46" fmla="*/ 51 w 80"/>
                <a:gd name="T47" fmla="*/ 42 h 43"/>
                <a:gd name="T48" fmla="*/ 55 w 80"/>
                <a:gd name="T49" fmla="*/ 43 h 43"/>
                <a:gd name="T50" fmla="*/ 58 w 80"/>
                <a:gd name="T51" fmla="*/ 42 h 43"/>
                <a:gd name="T52" fmla="*/ 63 w 80"/>
                <a:gd name="T53" fmla="*/ 41 h 43"/>
                <a:gd name="T54" fmla="*/ 68 w 80"/>
                <a:gd name="T55" fmla="*/ 38 h 43"/>
                <a:gd name="T56" fmla="*/ 73 w 80"/>
                <a:gd name="T57" fmla="*/ 37 h 43"/>
                <a:gd name="T58" fmla="*/ 74 w 80"/>
                <a:gd name="T59" fmla="*/ 28 h 43"/>
                <a:gd name="T60" fmla="*/ 72 w 80"/>
                <a:gd name="T61" fmla="*/ 28 h 43"/>
                <a:gd name="T62" fmla="*/ 77 w 80"/>
                <a:gd name="T63" fmla="*/ 23 h 43"/>
                <a:gd name="T64" fmla="*/ 73 w 80"/>
                <a:gd name="T65" fmla="*/ 18 h 43"/>
                <a:gd name="T66" fmla="*/ 66 w 80"/>
                <a:gd name="T67" fmla="*/ 20 h 43"/>
                <a:gd name="T68" fmla="*/ 62 w 80"/>
                <a:gd name="T69" fmla="*/ 24 h 43"/>
                <a:gd name="T70" fmla="*/ 57 w 80"/>
                <a:gd name="T71" fmla="*/ 26 h 43"/>
                <a:gd name="T72" fmla="*/ 58 w 80"/>
                <a:gd name="T73" fmla="*/ 32 h 43"/>
                <a:gd name="T74" fmla="*/ 56 w 80"/>
                <a:gd name="T75" fmla="*/ 33 h 43"/>
                <a:gd name="T76" fmla="*/ 51 w 80"/>
                <a:gd name="T77" fmla="*/ 30 h 43"/>
                <a:gd name="T78" fmla="*/ 50 w 80"/>
                <a:gd name="T79" fmla="*/ 25 h 43"/>
                <a:gd name="T80" fmla="*/ 51 w 80"/>
                <a:gd name="T81" fmla="*/ 19 h 43"/>
                <a:gd name="T82" fmla="*/ 47 w 80"/>
                <a:gd name="T83" fmla="*/ 13 h 43"/>
                <a:gd name="T84" fmla="*/ 51 w 80"/>
                <a:gd name="T85" fmla="*/ 11 h 43"/>
                <a:gd name="T86" fmla="*/ 58 w 80"/>
                <a:gd name="T87" fmla="*/ 7 h 43"/>
                <a:gd name="T88" fmla="*/ 53 w 80"/>
                <a:gd name="T89" fmla="*/ 3 h 43"/>
                <a:gd name="T90" fmla="*/ 45 w 80"/>
                <a:gd name="T91" fmla="*/ 1 h 43"/>
                <a:gd name="T92" fmla="*/ 36 w 80"/>
                <a:gd name="T93" fmla="*/ 1 h 43"/>
                <a:gd name="T94" fmla="*/ 22 w 80"/>
                <a:gd name="T95" fmla="*/ 5 h 43"/>
                <a:gd name="T96" fmla="*/ 5 w 80"/>
                <a:gd name="T97" fmla="*/ 8 h 43"/>
                <a:gd name="T98" fmla="*/ 38 w 80"/>
                <a:gd name="T99" fmla="*/ 34 h 43"/>
                <a:gd name="T100" fmla="*/ 37 w 80"/>
                <a:gd name="T101" fmla="*/ 15 h 43"/>
                <a:gd name="T102" fmla="*/ 40 w 80"/>
                <a:gd name="T103" fmla="*/ 15 h 43"/>
                <a:gd name="T104" fmla="*/ 37 w 80"/>
                <a:gd name="T105" fmla="*/ 15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0" h="43">
                  <a:moveTo>
                    <a:pt x="3" y="9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6" y="11"/>
                    <a:pt x="6" y="11"/>
                    <a:pt x="6" y="11"/>
                  </a:cubicBezTo>
                  <a:cubicBezTo>
                    <a:pt x="6" y="12"/>
                    <a:pt x="7" y="12"/>
                    <a:pt x="8" y="13"/>
                  </a:cubicBezTo>
                  <a:cubicBezTo>
                    <a:pt x="8" y="13"/>
                    <a:pt x="8" y="13"/>
                    <a:pt x="9" y="13"/>
                  </a:cubicBezTo>
                  <a:cubicBezTo>
                    <a:pt x="9" y="13"/>
                    <a:pt x="9" y="13"/>
                    <a:pt x="9" y="14"/>
                  </a:cubicBezTo>
                  <a:cubicBezTo>
                    <a:pt x="9" y="14"/>
                    <a:pt x="9" y="14"/>
                    <a:pt x="10" y="15"/>
                  </a:cubicBezTo>
                  <a:cubicBezTo>
                    <a:pt x="11" y="15"/>
                    <a:pt x="12" y="15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6"/>
                    <a:pt x="13" y="16"/>
                    <a:pt x="14" y="17"/>
                  </a:cubicBezTo>
                  <a:cubicBezTo>
                    <a:pt x="15" y="17"/>
                    <a:pt x="15" y="17"/>
                    <a:pt x="17" y="17"/>
                  </a:cubicBezTo>
                  <a:cubicBezTo>
                    <a:pt x="18" y="17"/>
                    <a:pt x="19" y="17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7"/>
                    <a:pt x="21" y="17"/>
                    <a:pt x="21" y="17"/>
                  </a:cubicBezTo>
                  <a:cubicBezTo>
                    <a:pt x="22" y="17"/>
                    <a:pt x="22" y="17"/>
                    <a:pt x="23" y="17"/>
                  </a:cubicBezTo>
                  <a:cubicBezTo>
                    <a:pt x="23" y="17"/>
                    <a:pt x="24" y="16"/>
                    <a:pt x="24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4"/>
                    <a:pt x="26" y="14"/>
                  </a:cubicBezTo>
                  <a:cubicBezTo>
                    <a:pt x="27" y="14"/>
                    <a:pt x="27" y="14"/>
                    <a:pt x="28" y="13"/>
                  </a:cubicBezTo>
                  <a:cubicBezTo>
                    <a:pt x="29" y="13"/>
                    <a:pt x="30" y="12"/>
                    <a:pt x="31" y="12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0" y="14"/>
                    <a:pt x="31" y="15"/>
                    <a:pt x="32" y="16"/>
                  </a:cubicBezTo>
                  <a:cubicBezTo>
                    <a:pt x="32" y="16"/>
                    <a:pt x="32" y="16"/>
                    <a:pt x="32" y="16"/>
                  </a:cubicBezTo>
                  <a:cubicBezTo>
                    <a:pt x="31" y="16"/>
                    <a:pt x="30" y="17"/>
                    <a:pt x="30" y="18"/>
                  </a:cubicBezTo>
                  <a:cubicBezTo>
                    <a:pt x="30" y="19"/>
                    <a:pt x="31" y="19"/>
                    <a:pt x="31" y="19"/>
                  </a:cubicBezTo>
                  <a:cubicBezTo>
                    <a:pt x="31" y="19"/>
                    <a:pt x="31" y="19"/>
                    <a:pt x="30" y="19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29" y="19"/>
                    <a:pt x="28" y="19"/>
                    <a:pt x="28" y="19"/>
                  </a:cubicBezTo>
                  <a:cubicBezTo>
                    <a:pt x="27" y="19"/>
                    <a:pt x="25" y="19"/>
                    <a:pt x="24" y="19"/>
                  </a:cubicBezTo>
                  <a:cubicBezTo>
                    <a:pt x="23" y="20"/>
                    <a:pt x="22" y="21"/>
                    <a:pt x="22" y="21"/>
                  </a:cubicBezTo>
                  <a:cubicBezTo>
                    <a:pt x="22" y="22"/>
                    <a:pt x="22" y="22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0" y="23"/>
                    <a:pt x="18" y="23"/>
                    <a:pt x="17" y="23"/>
                  </a:cubicBezTo>
                  <a:cubicBezTo>
                    <a:pt x="16" y="23"/>
                    <a:pt x="14" y="24"/>
                    <a:pt x="14" y="25"/>
                  </a:cubicBezTo>
                  <a:cubicBezTo>
                    <a:pt x="13" y="26"/>
                    <a:pt x="13" y="27"/>
                    <a:pt x="14" y="27"/>
                  </a:cubicBezTo>
                  <a:cubicBezTo>
                    <a:pt x="14" y="28"/>
                    <a:pt x="15" y="28"/>
                    <a:pt x="15" y="28"/>
                  </a:cubicBezTo>
                  <a:cubicBezTo>
                    <a:pt x="15" y="29"/>
                    <a:pt x="16" y="29"/>
                    <a:pt x="16" y="29"/>
                  </a:cubicBezTo>
                  <a:cubicBezTo>
                    <a:pt x="16" y="29"/>
                    <a:pt x="16" y="29"/>
                    <a:pt x="16" y="29"/>
                  </a:cubicBezTo>
                  <a:cubicBezTo>
                    <a:pt x="16" y="30"/>
                    <a:pt x="17" y="30"/>
                    <a:pt x="17" y="31"/>
                  </a:cubicBezTo>
                  <a:cubicBezTo>
                    <a:pt x="18" y="31"/>
                    <a:pt x="20" y="31"/>
                    <a:pt x="20" y="30"/>
                  </a:cubicBezTo>
                  <a:cubicBezTo>
                    <a:pt x="20" y="31"/>
                    <a:pt x="21" y="32"/>
                    <a:pt x="21" y="32"/>
                  </a:cubicBezTo>
                  <a:cubicBezTo>
                    <a:pt x="21" y="32"/>
                    <a:pt x="22" y="33"/>
                    <a:pt x="23" y="33"/>
                  </a:cubicBezTo>
                  <a:cubicBezTo>
                    <a:pt x="23" y="33"/>
                    <a:pt x="24" y="33"/>
                    <a:pt x="24" y="32"/>
                  </a:cubicBezTo>
                  <a:cubicBezTo>
                    <a:pt x="25" y="32"/>
                    <a:pt x="25" y="32"/>
                    <a:pt x="25" y="32"/>
                  </a:cubicBezTo>
                  <a:cubicBezTo>
                    <a:pt x="26" y="32"/>
                    <a:pt x="27" y="31"/>
                    <a:pt x="27" y="31"/>
                  </a:cubicBezTo>
                  <a:cubicBezTo>
                    <a:pt x="28" y="31"/>
                    <a:pt x="28" y="31"/>
                    <a:pt x="29" y="31"/>
                  </a:cubicBezTo>
                  <a:cubicBezTo>
                    <a:pt x="29" y="31"/>
                    <a:pt x="30" y="31"/>
                    <a:pt x="31" y="30"/>
                  </a:cubicBezTo>
                  <a:cubicBezTo>
                    <a:pt x="30" y="31"/>
                    <a:pt x="30" y="32"/>
                    <a:pt x="31" y="33"/>
                  </a:cubicBezTo>
                  <a:cubicBezTo>
                    <a:pt x="32" y="33"/>
                    <a:pt x="33" y="33"/>
                    <a:pt x="34" y="33"/>
                  </a:cubicBezTo>
                  <a:cubicBezTo>
                    <a:pt x="34" y="33"/>
                    <a:pt x="35" y="33"/>
                    <a:pt x="35" y="33"/>
                  </a:cubicBezTo>
                  <a:cubicBezTo>
                    <a:pt x="35" y="33"/>
                    <a:pt x="35" y="33"/>
                    <a:pt x="36" y="33"/>
                  </a:cubicBezTo>
                  <a:cubicBezTo>
                    <a:pt x="36" y="33"/>
                    <a:pt x="36" y="34"/>
                    <a:pt x="37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35" y="34"/>
                    <a:pt x="35" y="34"/>
                    <a:pt x="34" y="34"/>
                  </a:cubicBezTo>
                  <a:cubicBezTo>
                    <a:pt x="34" y="34"/>
                    <a:pt x="33" y="34"/>
                    <a:pt x="33" y="34"/>
                  </a:cubicBezTo>
                  <a:cubicBezTo>
                    <a:pt x="33" y="34"/>
                    <a:pt x="33" y="34"/>
                    <a:pt x="33" y="34"/>
                  </a:cubicBezTo>
                  <a:cubicBezTo>
                    <a:pt x="32" y="34"/>
                    <a:pt x="32" y="33"/>
                    <a:pt x="31" y="33"/>
                  </a:cubicBezTo>
                  <a:cubicBezTo>
                    <a:pt x="31" y="33"/>
                    <a:pt x="30" y="33"/>
                    <a:pt x="30" y="33"/>
                  </a:cubicBezTo>
                  <a:cubicBezTo>
                    <a:pt x="30" y="33"/>
                    <a:pt x="29" y="33"/>
                    <a:pt x="29" y="33"/>
                  </a:cubicBezTo>
                  <a:cubicBezTo>
                    <a:pt x="29" y="33"/>
                    <a:pt x="29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6" y="33"/>
                    <a:pt x="26" y="33"/>
                    <a:pt x="25" y="33"/>
                  </a:cubicBezTo>
                  <a:cubicBezTo>
                    <a:pt x="25" y="34"/>
                    <a:pt x="25" y="34"/>
                    <a:pt x="24" y="34"/>
                  </a:cubicBezTo>
                  <a:cubicBezTo>
                    <a:pt x="24" y="34"/>
                    <a:pt x="24" y="34"/>
                    <a:pt x="24" y="34"/>
                  </a:cubicBezTo>
                  <a:cubicBezTo>
                    <a:pt x="24" y="34"/>
                    <a:pt x="23" y="34"/>
                    <a:pt x="23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1" y="34"/>
                    <a:pt x="21" y="34"/>
                  </a:cubicBezTo>
                  <a:cubicBezTo>
                    <a:pt x="19" y="34"/>
                    <a:pt x="18" y="37"/>
                    <a:pt x="18" y="39"/>
                  </a:cubicBezTo>
                  <a:cubicBezTo>
                    <a:pt x="18" y="41"/>
                    <a:pt x="20" y="43"/>
                    <a:pt x="23" y="43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5" y="42"/>
                    <a:pt x="27" y="42"/>
                    <a:pt x="28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30" y="42"/>
                    <a:pt x="30" y="43"/>
                  </a:cubicBezTo>
                  <a:cubicBezTo>
                    <a:pt x="31" y="43"/>
                    <a:pt x="32" y="43"/>
                    <a:pt x="33" y="43"/>
                  </a:cubicBezTo>
                  <a:cubicBezTo>
                    <a:pt x="33" y="43"/>
                    <a:pt x="34" y="43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5" y="42"/>
                    <a:pt x="35" y="42"/>
                    <a:pt x="36" y="42"/>
                  </a:cubicBezTo>
                  <a:cubicBezTo>
                    <a:pt x="36" y="42"/>
                    <a:pt x="36" y="41"/>
                    <a:pt x="36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7" y="42"/>
                    <a:pt x="37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9" y="42"/>
                    <a:pt x="39" y="42"/>
                    <a:pt x="40" y="42"/>
                  </a:cubicBezTo>
                  <a:cubicBezTo>
                    <a:pt x="42" y="41"/>
                    <a:pt x="42" y="41"/>
                    <a:pt x="43" y="41"/>
                  </a:cubicBezTo>
                  <a:cubicBezTo>
                    <a:pt x="43" y="42"/>
                    <a:pt x="43" y="42"/>
                    <a:pt x="44" y="42"/>
                  </a:cubicBezTo>
                  <a:cubicBezTo>
                    <a:pt x="44" y="42"/>
                    <a:pt x="45" y="42"/>
                    <a:pt x="46" y="41"/>
                  </a:cubicBezTo>
                  <a:cubicBezTo>
                    <a:pt x="46" y="41"/>
                    <a:pt x="46" y="41"/>
                    <a:pt x="47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9" y="42"/>
                    <a:pt x="50" y="42"/>
                    <a:pt x="51" y="42"/>
                  </a:cubicBezTo>
                  <a:cubicBezTo>
                    <a:pt x="51" y="42"/>
                    <a:pt x="51" y="42"/>
                    <a:pt x="51" y="42"/>
                  </a:cubicBezTo>
                  <a:cubicBezTo>
                    <a:pt x="51" y="43"/>
                    <a:pt x="52" y="43"/>
                    <a:pt x="52" y="43"/>
                  </a:cubicBezTo>
                  <a:cubicBezTo>
                    <a:pt x="53" y="43"/>
                    <a:pt x="53" y="43"/>
                    <a:pt x="54" y="43"/>
                  </a:cubicBezTo>
                  <a:cubicBezTo>
                    <a:pt x="54" y="43"/>
                    <a:pt x="55" y="43"/>
                    <a:pt x="55" y="43"/>
                  </a:cubicBezTo>
                  <a:cubicBezTo>
                    <a:pt x="55" y="43"/>
                    <a:pt x="55" y="43"/>
                    <a:pt x="56" y="43"/>
                  </a:cubicBezTo>
                  <a:cubicBezTo>
                    <a:pt x="56" y="43"/>
                    <a:pt x="56" y="43"/>
                    <a:pt x="56" y="43"/>
                  </a:cubicBezTo>
                  <a:cubicBezTo>
                    <a:pt x="57" y="43"/>
                    <a:pt x="57" y="43"/>
                    <a:pt x="58" y="43"/>
                  </a:cubicBezTo>
                  <a:cubicBezTo>
                    <a:pt x="58" y="43"/>
                    <a:pt x="58" y="43"/>
                    <a:pt x="58" y="42"/>
                  </a:cubicBezTo>
                  <a:cubicBezTo>
                    <a:pt x="59" y="42"/>
                    <a:pt x="59" y="42"/>
                    <a:pt x="59" y="42"/>
                  </a:cubicBezTo>
                  <a:cubicBezTo>
                    <a:pt x="60" y="43"/>
                    <a:pt x="61" y="43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4" y="41"/>
                    <a:pt x="64" y="42"/>
                    <a:pt x="64" y="42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1"/>
                    <a:pt x="66" y="41"/>
                    <a:pt x="66" y="41"/>
                  </a:cubicBezTo>
                  <a:cubicBezTo>
                    <a:pt x="67" y="40"/>
                    <a:pt x="68" y="39"/>
                    <a:pt x="68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70" y="38"/>
                    <a:pt x="70" y="38"/>
                  </a:cubicBezTo>
                  <a:cubicBezTo>
                    <a:pt x="71" y="38"/>
                    <a:pt x="71" y="37"/>
                    <a:pt x="72" y="37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5" y="36"/>
                    <a:pt x="78" y="35"/>
                    <a:pt x="79" y="32"/>
                  </a:cubicBezTo>
                  <a:cubicBezTo>
                    <a:pt x="80" y="31"/>
                    <a:pt x="79" y="30"/>
                    <a:pt x="79" y="29"/>
                  </a:cubicBezTo>
                  <a:cubicBezTo>
                    <a:pt x="78" y="28"/>
                    <a:pt x="76" y="28"/>
                    <a:pt x="75" y="28"/>
                  </a:cubicBezTo>
                  <a:cubicBezTo>
                    <a:pt x="75" y="28"/>
                    <a:pt x="74" y="28"/>
                    <a:pt x="74" y="28"/>
                  </a:cubicBezTo>
                  <a:cubicBezTo>
                    <a:pt x="73" y="28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29"/>
                  </a:cubicBezTo>
                  <a:cubicBezTo>
                    <a:pt x="72" y="29"/>
                    <a:pt x="72" y="28"/>
                    <a:pt x="72" y="28"/>
                  </a:cubicBezTo>
                  <a:cubicBezTo>
                    <a:pt x="73" y="27"/>
                    <a:pt x="73" y="27"/>
                    <a:pt x="74" y="26"/>
                  </a:cubicBezTo>
                  <a:cubicBezTo>
                    <a:pt x="74" y="26"/>
                    <a:pt x="74" y="26"/>
                    <a:pt x="75" y="26"/>
                  </a:cubicBezTo>
                  <a:cubicBezTo>
                    <a:pt x="75" y="25"/>
                    <a:pt x="76" y="24"/>
                    <a:pt x="77" y="23"/>
                  </a:cubicBezTo>
                  <a:cubicBezTo>
                    <a:pt x="77" y="23"/>
                    <a:pt x="77" y="23"/>
                    <a:pt x="77" y="23"/>
                  </a:cubicBezTo>
                  <a:cubicBezTo>
                    <a:pt x="78" y="22"/>
                    <a:pt x="79" y="22"/>
                    <a:pt x="79" y="20"/>
                  </a:cubicBezTo>
                  <a:cubicBezTo>
                    <a:pt x="79" y="20"/>
                    <a:pt x="79" y="19"/>
                    <a:pt x="79" y="18"/>
                  </a:cubicBezTo>
                  <a:cubicBezTo>
                    <a:pt x="78" y="18"/>
                    <a:pt x="77" y="17"/>
                    <a:pt x="76" y="17"/>
                  </a:cubicBezTo>
                  <a:cubicBezTo>
                    <a:pt x="75" y="17"/>
                    <a:pt x="74" y="18"/>
                    <a:pt x="73" y="18"/>
                  </a:cubicBezTo>
                  <a:cubicBezTo>
                    <a:pt x="73" y="18"/>
                    <a:pt x="72" y="19"/>
                    <a:pt x="71" y="19"/>
                  </a:cubicBezTo>
                  <a:cubicBezTo>
                    <a:pt x="71" y="19"/>
                    <a:pt x="70" y="20"/>
                    <a:pt x="70" y="20"/>
                  </a:cubicBezTo>
                  <a:cubicBezTo>
                    <a:pt x="69" y="20"/>
                    <a:pt x="68" y="20"/>
                    <a:pt x="66" y="20"/>
                  </a:cubicBezTo>
                  <a:cubicBezTo>
                    <a:pt x="66" y="20"/>
                    <a:pt x="66" y="20"/>
                    <a:pt x="66" y="20"/>
                  </a:cubicBezTo>
                  <a:cubicBezTo>
                    <a:pt x="66" y="20"/>
                    <a:pt x="65" y="20"/>
                    <a:pt x="65" y="20"/>
                  </a:cubicBezTo>
                  <a:cubicBezTo>
                    <a:pt x="64" y="20"/>
                    <a:pt x="63" y="20"/>
                    <a:pt x="62" y="21"/>
                  </a:cubicBezTo>
                  <a:cubicBezTo>
                    <a:pt x="62" y="22"/>
                    <a:pt x="62" y="22"/>
                    <a:pt x="62" y="23"/>
                  </a:cubicBezTo>
                  <a:cubicBezTo>
                    <a:pt x="62" y="23"/>
                    <a:pt x="62" y="24"/>
                    <a:pt x="62" y="24"/>
                  </a:cubicBezTo>
                  <a:cubicBezTo>
                    <a:pt x="62" y="25"/>
                    <a:pt x="62" y="26"/>
                    <a:pt x="62" y="26"/>
                  </a:cubicBezTo>
                  <a:cubicBezTo>
                    <a:pt x="62" y="26"/>
                    <a:pt x="62" y="27"/>
                    <a:pt x="61" y="27"/>
                  </a:cubicBezTo>
                  <a:cubicBezTo>
                    <a:pt x="61" y="27"/>
                    <a:pt x="60" y="27"/>
                    <a:pt x="59" y="26"/>
                  </a:cubicBezTo>
                  <a:cubicBezTo>
                    <a:pt x="59" y="26"/>
                    <a:pt x="58" y="26"/>
                    <a:pt x="57" y="26"/>
                  </a:cubicBezTo>
                  <a:cubicBezTo>
                    <a:pt x="55" y="26"/>
                    <a:pt x="55" y="27"/>
                    <a:pt x="54" y="28"/>
                  </a:cubicBezTo>
                  <a:cubicBezTo>
                    <a:pt x="54" y="28"/>
                    <a:pt x="54" y="29"/>
                    <a:pt x="54" y="30"/>
                  </a:cubicBezTo>
                  <a:cubicBezTo>
                    <a:pt x="54" y="30"/>
                    <a:pt x="55" y="31"/>
                    <a:pt x="56" y="31"/>
                  </a:cubicBezTo>
                  <a:cubicBezTo>
                    <a:pt x="57" y="31"/>
                    <a:pt x="57" y="31"/>
                    <a:pt x="58" y="32"/>
                  </a:cubicBezTo>
                  <a:cubicBezTo>
                    <a:pt x="58" y="32"/>
                    <a:pt x="58" y="32"/>
                    <a:pt x="57" y="32"/>
                  </a:cubicBezTo>
                  <a:cubicBezTo>
                    <a:pt x="57" y="32"/>
                    <a:pt x="57" y="32"/>
                    <a:pt x="57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5" y="32"/>
                    <a:pt x="55" y="32"/>
                    <a:pt x="55" y="32"/>
                  </a:cubicBezTo>
                  <a:cubicBezTo>
                    <a:pt x="55" y="32"/>
                    <a:pt x="54" y="31"/>
                    <a:pt x="52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0"/>
                  </a:cubicBezTo>
                  <a:cubicBezTo>
                    <a:pt x="50" y="30"/>
                    <a:pt x="50" y="29"/>
                    <a:pt x="49" y="29"/>
                  </a:cubicBezTo>
                  <a:cubicBezTo>
                    <a:pt x="49" y="28"/>
                    <a:pt x="49" y="28"/>
                    <a:pt x="49" y="27"/>
                  </a:cubicBezTo>
                  <a:cubicBezTo>
                    <a:pt x="49" y="27"/>
                    <a:pt x="49" y="27"/>
                    <a:pt x="49" y="26"/>
                  </a:cubicBezTo>
                  <a:cubicBezTo>
                    <a:pt x="49" y="26"/>
                    <a:pt x="50" y="26"/>
                    <a:pt x="50" y="25"/>
                  </a:cubicBezTo>
                  <a:cubicBezTo>
                    <a:pt x="51" y="25"/>
                    <a:pt x="51" y="24"/>
                    <a:pt x="51" y="23"/>
                  </a:cubicBezTo>
                  <a:cubicBezTo>
                    <a:pt x="51" y="23"/>
                    <a:pt x="51" y="23"/>
                    <a:pt x="51" y="22"/>
                  </a:cubicBezTo>
                  <a:cubicBezTo>
                    <a:pt x="52" y="21"/>
                    <a:pt x="52" y="20"/>
                    <a:pt x="52" y="20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7"/>
                    <a:pt x="51" y="17"/>
                    <a:pt x="50" y="16"/>
                  </a:cubicBezTo>
                  <a:cubicBezTo>
                    <a:pt x="50" y="16"/>
                    <a:pt x="50" y="16"/>
                    <a:pt x="50" y="15"/>
                  </a:cubicBezTo>
                  <a:cubicBezTo>
                    <a:pt x="50" y="15"/>
                    <a:pt x="49" y="14"/>
                    <a:pt x="48" y="14"/>
                  </a:cubicBezTo>
                  <a:cubicBezTo>
                    <a:pt x="48" y="13"/>
                    <a:pt x="47" y="13"/>
                    <a:pt x="47" y="13"/>
                  </a:cubicBezTo>
                  <a:cubicBezTo>
                    <a:pt x="47" y="13"/>
                    <a:pt x="48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49" y="12"/>
                    <a:pt x="49" y="12"/>
                    <a:pt x="49" y="12"/>
                  </a:cubicBezTo>
                  <a:cubicBezTo>
                    <a:pt x="50" y="12"/>
                    <a:pt x="51" y="11"/>
                    <a:pt x="51" y="11"/>
                  </a:cubicBezTo>
                  <a:cubicBezTo>
                    <a:pt x="51" y="10"/>
                    <a:pt x="52" y="10"/>
                    <a:pt x="52" y="9"/>
                  </a:cubicBezTo>
                  <a:cubicBezTo>
                    <a:pt x="53" y="9"/>
                    <a:pt x="53" y="9"/>
                    <a:pt x="54" y="9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5" y="9"/>
                    <a:pt x="57" y="9"/>
                    <a:pt x="58" y="7"/>
                  </a:cubicBezTo>
                  <a:cubicBezTo>
                    <a:pt x="59" y="6"/>
                    <a:pt x="59" y="4"/>
                    <a:pt x="59" y="3"/>
                  </a:cubicBezTo>
                  <a:cubicBezTo>
                    <a:pt x="58" y="1"/>
                    <a:pt x="57" y="1"/>
                    <a:pt x="56" y="1"/>
                  </a:cubicBezTo>
                  <a:cubicBezTo>
                    <a:pt x="55" y="1"/>
                    <a:pt x="54" y="2"/>
                    <a:pt x="54" y="3"/>
                  </a:cubicBezTo>
                  <a:cubicBezTo>
                    <a:pt x="54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2" y="2"/>
                    <a:pt x="52" y="1"/>
                    <a:pt x="50" y="0"/>
                  </a:cubicBezTo>
                  <a:cubicBezTo>
                    <a:pt x="49" y="0"/>
                    <a:pt x="47" y="0"/>
                    <a:pt x="45" y="1"/>
                  </a:cubicBezTo>
                  <a:cubicBezTo>
                    <a:pt x="44" y="1"/>
                    <a:pt x="44" y="1"/>
                    <a:pt x="43" y="1"/>
                  </a:cubicBezTo>
                  <a:cubicBezTo>
                    <a:pt x="42" y="1"/>
                    <a:pt x="41" y="1"/>
                    <a:pt x="40" y="1"/>
                  </a:cubicBezTo>
                  <a:cubicBezTo>
                    <a:pt x="39" y="1"/>
                    <a:pt x="39" y="1"/>
                    <a:pt x="39" y="1"/>
                  </a:cubicBezTo>
                  <a:cubicBezTo>
                    <a:pt x="38" y="1"/>
                    <a:pt x="37" y="1"/>
                    <a:pt x="36" y="1"/>
                  </a:cubicBezTo>
                  <a:cubicBezTo>
                    <a:pt x="35" y="1"/>
                    <a:pt x="35" y="1"/>
                    <a:pt x="35" y="1"/>
                  </a:cubicBezTo>
                  <a:cubicBezTo>
                    <a:pt x="33" y="1"/>
                    <a:pt x="31" y="1"/>
                    <a:pt x="29" y="2"/>
                  </a:cubicBezTo>
                  <a:cubicBezTo>
                    <a:pt x="28" y="2"/>
                    <a:pt x="28" y="3"/>
                    <a:pt x="27" y="3"/>
                  </a:cubicBezTo>
                  <a:cubicBezTo>
                    <a:pt x="25" y="4"/>
                    <a:pt x="24" y="4"/>
                    <a:pt x="22" y="5"/>
                  </a:cubicBezTo>
                  <a:cubicBezTo>
                    <a:pt x="19" y="5"/>
                    <a:pt x="17" y="6"/>
                    <a:pt x="15" y="6"/>
                  </a:cubicBezTo>
                  <a:cubicBezTo>
                    <a:pt x="14" y="6"/>
                    <a:pt x="14" y="6"/>
                    <a:pt x="13" y="6"/>
                  </a:cubicBezTo>
                  <a:cubicBezTo>
                    <a:pt x="11" y="6"/>
                    <a:pt x="9" y="6"/>
                    <a:pt x="7" y="7"/>
                  </a:cubicBezTo>
                  <a:cubicBezTo>
                    <a:pt x="6" y="7"/>
                    <a:pt x="6" y="7"/>
                    <a:pt x="5" y="8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9"/>
                    <a:pt x="3" y="9"/>
                    <a:pt x="3" y="9"/>
                  </a:cubicBezTo>
                  <a:close/>
                  <a:moveTo>
                    <a:pt x="38" y="34"/>
                  </a:moveTo>
                  <a:cubicBezTo>
                    <a:pt x="38" y="35"/>
                    <a:pt x="38" y="35"/>
                    <a:pt x="38" y="35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4"/>
                    <a:pt x="38" y="34"/>
                    <a:pt x="38" y="34"/>
                  </a:cubicBezTo>
                  <a:close/>
                  <a:moveTo>
                    <a:pt x="37" y="15"/>
                  </a:moveTo>
                  <a:cubicBezTo>
                    <a:pt x="37" y="14"/>
                    <a:pt x="38" y="14"/>
                    <a:pt x="38" y="14"/>
                  </a:cubicBezTo>
                  <a:cubicBezTo>
                    <a:pt x="39" y="14"/>
                    <a:pt x="40" y="14"/>
                    <a:pt x="41" y="14"/>
                  </a:cubicBezTo>
                  <a:cubicBezTo>
                    <a:pt x="41" y="14"/>
                    <a:pt x="41" y="14"/>
                    <a:pt x="41" y="14"/>
                  </a:cubicBezTo>
                  <a:cubicBezTo>
                    <a:pt x="40" y="14"/>
                    <a:pt x="40" y="15"/>
                    <a:pt x="40" y="15"/>
                  </a:cubicBezTo>
                  <a:cubicBezTo>
                    <a:pt x="39" y="16"/>
                    <a:pt x="39" y="17"/>
                    <a:pt x="40" y="18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7" y="16"/>
                    <a:pt x="37" y="15"/>
                    <a:pt x="36" y="15"/>
                  </a:cubicBezTo>
                  <a:cubicBezTo>
                    <a:pt x="36" y="15"/>
                    <a:pt x="37" y="15"/>
                    <a:pt x="37" y="15"/>
                  </a:cubicBezTo>
                  <a:close/>
                  <a:moveTo>
                    <a:pt x="70" y="31"/>
                  </a:moveTo>
                  <a:cubicBezTo>
                    <a:pt x="70" y="31"/>
                    <a:pt x="70" y="31"/>
                    <a:pt x="70" y="31"/>
                  </a:cubicBezTo>
                  <a:cubicBezTo>
                    <a:pt x="70" y="31"/>
                    <a:pt x="70" y="31"/>
                    <a:pt x="70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2" name="Freeform 121"/>
            <p:cNvSpPr>
              <a:spLocks noEditPoints="1"/>
            </p:cNvSpPr>
            <p:nvPr/>
          </p:nvSpPr>
          <p:spPr bwMode="auto">
            <a:xfrm>
              <a:off x="2543" y="370"/>
              <a:ext cx="57" cy="31"/>
            </a:xfrm>
            <a:custGeom>
              <a:avLst/>
              <a:gdLst>
                <a:gd name="T0" fmla="*/ 3 w 24"/>
                <a:gd name="T1" fmla="*/ 13 h 13"/>
                <a:gd name="T2" fmla="*/ 3 w 24"/>
                <a:gd name="T3" fmla="*/ 13 h 13"/>
                <a:gd name="T4" fmla="*/ 6 w 24"/>
                <a:gd name="T5" fmla="*/ 13 h 13"/>
                <a:gd name="T6" fmla="*/ 7 w 24"/>
                <a:gd name="T7" fmla="*/ 12 h 13"/>
                <a:gd name="T8" fmla="*/ 8 w 24"/>
                <a:gd name="T9" fmla="*/ 12 h 13"/>
                <a:gd name="T10" fmla="*/ 11 w 24"/>
                <a:gd name="T11" fmla="*/ 13 h 13"/>
                <a:gd name="T12" fmla="*/ 12 w 24"/>
                <a:gd name="T13" fmla="*/ 13 h 13"/>
                <a:gd name="T14" fmla="*/ 13 w 24"/>
                <a:gd name="T15" fmla="*/ 13 h 13"/>
                <a:gd name="T16" fmla="*/ 16 w 24"/>
                <a:gd name="T17" fmla="*/ 11 h 13"/>
                <a:gd name="T18" fmla="*/ 16 w 24"/>
                <a:gd name="T19" fmla="*/ 11 h 13"/>
                <a:gd name="T20" fmla="*/ 18 w 24"/>
                <a:gd name="T21" fmla="*/ 9 h 13"/>
                <a:gd name="T22" fmla="*/ 18 w 24"/>
                <a:gd name="T23" fmla="*/ 9 h 13"/>
                <a:gd name="T24" fmla="*/ 19 w 24"/>
                <a:gd name="T25" fmla="*/ 9 h 13"/>
                <a:gd name="T26" fmla="*/ 23 w 24"/>
                <a:gd name="T27" fmla="*/ 8 h 13"/>
                <a:gd name="T28" fmla="*/ 24 w 24"/>
                <a:gd name="T29" fmla="*/ 6 h 13"/>
                <a:gd name="T30" fmla="*/ 23 w 24"/>
                <a:gd name="T31" fmla="*/ 4 h 13"/>
                <a:gd name="T32" fmla="*/ 20 w 24"/>
                <a:gd name="T33" fmla="*/ 4 h 13"/>
                <a:gd name="T34" fmla="*/ 19 w 24"/>
                <a:gd name="T35" fmla="*/ 4 h 13"/>
                <a:gd name="T36" fmla="*/ 18 w 24"/>
                <a:gd name="T37" fmla="*/ 3 h 13"/>
                <a:gd name="T38" fmla="*/ 16 w 24"/>
                <a:gd name="T39" fmla="*/ 1 h 13"/>
                <a:gd name="T40" fmla="*/ 9 w 24"/>
                <a:gd name="T41" fmla="*/ 1 h 13"/>
                <a:gd name="T42" fmla="*/ 7 w 24"/>
                <a:gd name="T43" fmla="*/ 2 h 13"/>
                <a:gd name="T44" fmla="*/ 7 w 24"/>
                <a:gd name="T45" fmla="*/ 3 h 13"/>
                <a:gd name="T46" fmla="*/ 5 w 24"/>
                <a:gd name="T47" fmla="*/ 4 h 13"/>
                <a:gd name="T48" fmla="*/ 4 w 24"/>
                <a:gd name="T49" fmla="*/ 4 h 13"/>
                <a:gd name="T50" fmla="*/ 2 w 24"/>
                <a:gd name="T51" fmla="*/ 8 h 13"/>
                <a:gd name="T52" fmla="*/ 1 w 24"/>
                <a:gd name="T53" fmla="*/ 9 h 13"/>
                <a:gd name="T54" fmla="*/ 0 w 24"/>
                <a:gd name="T55" fmla="*/ 10 h 13"/>
                <a:gd name="T56" fmla="*/ 0 w 24"/>
                <a:gd name="T57" fmla="*/ 12 h 13"/>
                <a:gd name="T58" fmla="*/ 3 w 24"/>
                <a:gd name="T59" fmla="*/ 13 h 13"/>
                <a:gd name="T60" fmla="*/ 19 w 24"/>
                <a:gd name="T61" fmla="*/ 8 h 13"/>
                <a:gd name="T62" fmla="*/ 19 w 24"/>
                <a:gd name="T63" fmla="*/ 8 h 13"/>
                <a:gd name="T64" fmla="*/ 19 w 24"/>
                <a:gd name="T65" fmla="*/ 8 h 13"/>
                <a:gd name="T66" fmla="*/ 19 w 24"/>
                <a:gd name="T67" fmla="*/ 8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" h="13">
                  <a:moveTo>
                    <a:pt x="3" y="13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5" y="13"/>
                    <a:pt x="6" y="13"/>
                  </a:cubicBezTo>
                  <a:cubicBezTo>
                    <a:pt x="6" y="13"/>
                    <a:pt x="7" y="13"/>
                    <a:pt x="7" y="12"/>
                  </a:cubicBezTo>
                  <a:cubicBezTo>
                    <a:pt x="7" y="12"/>
                    <a:pt x="8" y="12"/>
                    <a:pt x="8" y="12"/>
                  </a:cubicBezTo>
                  <a:cubicBezTo>
                    <a:pt x="9" y="12"/>
                    <a:pt x="10" y="12"/>
                    <a:pt x="11" y="13"/>
                  </a:cubicBezTo>
                  <a:cubicBezTo>
                    <a:pt x="11" y="13"/>
                    <a:pt x="12" y="13"/>
                    <a:pt x="12" y="1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14" y="13"/>
                    <a:pt x="15" y="12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7" y="11"/>
                    <a:pt x="18" y="10"/>
                    <a:pt x="18" y="9"/>
                  </a:cubicBezTo>
                  <a:cubicBezTo>
                    <a:pt x="18" y="9"/>
                    <a:pt x="18" y="9"/>
                    <a:pt x="18" y="9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20" y="9"/>
                    <a:pt x="22" y="9"/>
                    <a:pt x="23" y="8"/>
                  </a:cubicBezTo>
                  <a:cubicBezTo>
                    <a:pt x="24" y="8"/>
                    <a:pt x="24" y="7"/>
                    <a:pt x="24" y="6"/>
                  </a:cubicBezTo>
                  <a:cubicBezTo>
                    <a:pt x="24" y="5"/>
                    <a:pt x="24" y="5"/>
                    <a:pt x="23" y="4"/>
                  </a:cubicBezTo>
                  <a:cubicBezTo>
                    <a:pt x="22" y="4"/>
                    <a:pt x="21" y="4"/>
                    <a:pt x="20" y="4"/>
                  </a:cubicBezTo>
                  <a:cubicBezTo>
                    <a:pt x="20" y="4"/>
                    <a:pt x="19" y="4"/>
                    <a:pt x="19" y="4"/>
                  </a:cubicBezTo>
                  <a:cubicBezTo>
                    <a:pt x="19" y="4"/>
                    <a:pt x="18" y="4"/>
                    <a:pt x="18" y="3"/>
                  </a:cubicBezTo>
                  <a:cubicBezTo>
                    <a:pt x="17" y="2"/>
                    <a:pt x="17" y="2"/>
                    <a:pt x="16" y="1"/>
                  </a:cubicBezTo>
                  <a:cubicBezTo>
                    <a:pt x="14" y="0"/>
                    <a:pt x="11" y="0"/>
                    <a:pt x="9" y="1"/>
                  </a:cubicBezTo>
                  <a:cubicBezTo>
                    <a:pt x="8" y="1"/>
                    <a:pt x="8" y="2"/>
                    <a:pt x="7" y="2"/>
                  </a:cubicBezTo>
                  <a:cubicBezTo>
                    <a:pt x="7" y="3"/>
                    <a:pt x="7" y="3"/>
                    <a:pt x="7" y="3"/>
                  </a:cubicBezTo>
                  <a:cubicBezTo>
                    <a:pt x="6" y="3"/>
                    <a:pt x="5" y="4"/>
                    <a:pt x="5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3" y="5"/>
                    <a:pt x="2" y="6"/>
                    <a:pt x="2" y="8"/>
                  </a:cubicBezTo>
                  <a:cubicBezTo>
                    <a:pt x="2" y="9"/>
                    <a:pt x="2" y="9"/>
                    <a:pt x="1" y="9"/>
                  </a:cubicBezTo>
                  <a:cubicBezTo>
                    <a:pt x="1" y="9"/>
                    <a:pt x="0" y="10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0" y="12"/>
                    <a:pt x="1" y="13"/>
                    <a:pt x="3" y="13"/>
                  </a:cubicBezTo>
                  <a:close/>
                  <a:moveTo>
                    <a:pt x="19" y="8"/>
                  </a:move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ubicBezTo>
                    <a:pt x="19" y="8"/>
                    <a:pt x="19" y="8"/>
                    <a:pt x="19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3" name="Freeform 122"/>
            <p:cNvSpPr>
              <a:spLocks/>
            </p:cNvSpPr>
            <p:nvPr/>
          </p:nvSpPr>
          <p:spPr bwMode="auto">
            <a:xfrm>
              <a:off x="2581" y="356"/>
              <a:ext cx="47" cy="26"/>
            </a:xfrm>
            <a:custGeom>
              <a:avLst/>
              <a:gdLst>
                <a:gd name="T0" fmla="*/ 2 w 20"/>
                <a:gd name="T1" fmla="*/ 6 h 11"/>
                <a:gd name="T2" fmla="*/ 4 w 20"/>
                <a:gd name="T3" fmla="*/ 6 h 11"/>
                <a:gd name="T4" fmla="*/ 4 w 20"/>
                <a:gd name="T5" fmla="*/ 6 h 11"/>
                <a:gd name="T6" fmla="*/ 5 w 20"/>
                <a:gd name="T7" fmla="*/ 7 h 11"/>
                <a:gd name="T8" fmla="*/ 6 w 20"/>
                <a:gd name="T9" fmla="*/ 8 h 11"/>
                <a:gd name="T10" fmla="*/ 9 w 20"/>
                <a:gd name="T11" fmla="*/ 9 h 11"/>
                <a:gd name="T12" fmla="*/ 9 w 20"/>
                <a:gd name="T13" fmla="*/ 9 h 11"/>
                <a:gd name="T14" fmla="*/ 10 w 20"/>
                <a:gd name="T15" fmla="*/ 9 h 11"/>
                <a:gd name="T16" fmla="*/ 13 w 20"/>
                <a:gd name="T17" fmla="*/ 11 h 11"/>
                <a:gd name="T18" fmla="*/ 14 w 20"/>
                <a:gd name="T19" fmla="*/ 11 h 11"/>
                <a:gd name="T20" fmla="*/ 20 w 20"/>
                <a:gd name="T21" fmla="*/ 3 h 11"/>
                <a:gd name="T22" fmla="*/ 16 w 20"/>
                <a:gd name="T23" fmla="*/ 0 h 11"/>
                <a:gd name="T24" fmla="*/ 15 w 20"/>
                <a:gd name="T25" fmla="*/ 0 h 11"/>
                <a:gd name="T26" fmla="*/ 13 w 20"/>
                <a:gd name="T27" fmla="*/ 1 h 11"/>
                <a:gd name="T28" fmla="*/ 11 w 20"/>
                <a:gd name="T29" fmla="*/ 2 h 11"/>
                <a:gd name="T30" fmla="*/ 10 w 20"/>
                <a:gd name="T31" fmla="*/ 1 h 11"/>
                <a:gd name="T32" fmla="*/ 8 w 20"/>
                <a:gd name="T33" fmla="*/ 1 h 11"/>
                <a:gd name="T34" fmla="*/ 7 w 20"/>
                <a:gd name="T35" fmla="*/ 1 h 11"/>
                <a:gd name="T36" fmla="*/ 3 w 20"/>
                <a:gd name="T37" fmla="*/ 2 h 11"/>
                <a:gd name="T38" fmla="*/ 0 w 20"/>
                <a:gd name="T39" fmla="*/ 4 h 11"/>
                <a:gd name="T40" fmla="*/ 0 w 20"/>
                <a:gd name="T41" fmla="*/ 6 h 11"/>
                <a:gd name="T42" fmla="*/ 2 w 20"/>
                <a:gd name="T43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0" h="11">
                  <a:moveTo>
                    <a:pt x="2" y="6"/>
                  </a:moveTo>
                  <a:cubicBezTo>
                    <a:pt x="3" y="6"/>
                    <a:pt x="3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5" y="7"/>
                  </a:cubicBezTo>
                  <a:cubicBezTo>
                    <a:pt x="5" y="7"/>
                    <a:pt x="5" y="8"/>
                    <a:pt x="6" y="8"/>
                  </a:cubicBezTo>
                  <a:cubicBezTo>
                    <a:pt x="7" y="9"/>
                    <a:pt x="8" y="9"/>
                    <a:pt x="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1" y="10"/>
                    <a:pt x="11" y="11"/>
                    <a:pt x="13" y="11"/>
                  </a:cubicBezTo>
                  <a:cubicBezTo>
                    <a:pt x="13" y="11"/>
                    <a:pt x="14" y="11"/>
                    <a:pt x="14" y="11"/>
                  </a:cubicBezTo>
                  <a:cubicBezTo>
                    <a:pt x="18" y="9"/>
                    <a:pt x="20" y="6"/>
                    <a:pt x="20" y="3"/>
                  </a:cubicBezTo>
                  <a:cubicBezTo>
                    <a:pt x="19" y="1"/>
                    <a:pt x="18" y="0"/>
                    <a:pt x="16" y="0"/>
                  </a:cubicBezTo>
                  <a:cubicBezTo>
                    <a:pt x="16" y="0"/>
                    <a:pt x="15" y="0"/>
                    <a:pt x="15" y="0"/>
                  </a:cubicBezTo>
                  <a:cubicBezTo>
                    <a:pt x="14" y="0"/>
                    <a:pt x="13" y="0"/>
                    <a:pt x="13" y="1"/>
                  </a:cubicBezTo>
                  <a:cubicBezTo>
                    <a:pt x="12" y="1"/>
                    <a:pt x="12" y="1"/>
                    <a:pt x="11" y="2"/>
                  </a:cubicBezTo>
                  <a:cubicBezTo>
                    <a:pt x="11" y="2"/>
                    <a:pt x="10" y="1"/>
                    <a:pt x="10" y="1"/>
                  </a:cubicBezTo>
                  <a:cubicBezTo>
                    <a:pt x="9" y="1"/>
                    <a:pt x="8" y="1"/>
                    <a:pt x="8" y="1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6" y="1"/>
                    <a:pt x="5" y="1"/>
                    <a:pt x="3" y="2"/>
                  </a:cubicBezTo>
                  <a:cubicBezTo>
                    <a:pt x="2" y="2"/>
                    <a:pt x="1" y="3"/>
                    <a:pt x="0" y="4"/>
                  </a:cubicBezTo>
                  <a:cubicBezTo>
                    <a:pt x="0" y="5"/>
                    <a:pt x="0" y="5"/>
                    <a:pt x="0" y="6"/>
                  </a:cubicBezTo>
                  <a:cubicBezTo>
                    <a:pt x="1" y="6"/>
                    <a:pt x="1" y="6"/>
                    <a:pt x="2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4" name="Freeform 123"/>
            <p:cNvSpPr>
              <a:spLocks noEditPoints="1"/>
            </p:cNvSpPr>
            <p:nvPr/>
          </p:nvSpPr>
          <p:spPr bwMode="auto">
            <a:xfrm>
              <a:off x="1041" y="396"/>
              <a:ext cx="1772" cy="3598"/>
            </a:xfrm>
            <a:custGeom>
              <a:avLst/>
              <a:gdLst>
                <a:gd name="T0" fmla="*/ 650 w 749"/>
                <a:gd name="T1" fmla="*/ 105 h 1520"/>
                <a:gd name="T2" fmla="*/ 633 w 749"/>
                <a:gd name="T3" fmla="*/ 92 h 1520"/>
                <a:gd name="T4" fmla="*/ 597 w 749"/>
                <a:gd name="T5" fmla="*/ 112 h 1520"/>
                <a:gd name="T6" fmla="*/ 537 w 749"/>
                <a:gd name="T7" fmla="*/ 98 h 1520"/>
                <a:gd name="T8" fmla="*/ 573 w 749"/>
                <a:gd name="T9" fmla="*/ 62 h 1520"/>
                <a:gd name="T10" fmla="*/ 526 w 749"/>
                <a:gd name="T11" fmla="*/ 73 h 1520"/>
                <a:gd name="T12" fmla="*/ 493 w 749"/>
                <a:gd name="T13" fmla="*/ 92 h 1520"/>
                <a:gd name="T14" fmla="*/ 390 w 749"/>
                <a:gd name="T15" fmla="*/ 59 h 1520"/>
                <a:gd name="T16" fmla="*/ 242 w 749"/>
                <a:gd name="T17" fmla="*/ 10 h 1520"/>
                <a:gd name="T18" fmla="*/ 184 w 749"/>
                <a:gd name="T19" fmla="*/ 62 h 1520"/>
                <a:gd name="T20" fmla="*/ 79 w 749"/>
                <a:gd name="T21" fmla="*/ 153 h 1520"/>
                <a:gd name="T22" fmla="*/ 81 w 749"/>
                <a:gd name="T23" fmla="*/ 164 h 1520"/>
                <a:gd name="T24" fmla="*/ 198 w 749"/>
                <a:gd name="T25" fmla="*/ 129 h 1520"/>
                <a:gd name="T26" fmla="*/ 210 w 749"/>
                <a:gd name="T27" fmla="*/ 210 h 1520"/>
                <a:gd name="T28" fmla="*/ 179 w 749"/>
                <a:gd name="T29" fmla="*/ 282 h 1520"/>
                <a:gd name="T30" fmla="*/ 191 w 749"/>
                <a:gd name="T31" fmla="*/ 317 h 1520"/>
                <a:gd name="T32" fmla="*/ 116 w 749"/>
                <a:gd name="T33" fmla="*/ 395 h 1520"/>
                <a:gd name="T34" fmla="*/ 106 w 749"/>
                <a:gd name="T35" fmla="*/ 501 h 1520"/>
                <a:gd name="T36" fmla="*/ 113 w 749"/>
                <a:gd name="T37" fmla="*/ 630 h 1520"/>
                <a:gd name="T38" fmla="*/ 125 w 749"/>
                <a:gd name="T39" fmla="*/ 569 h 1520"/>
                <a:gd name="T40" fmla="*/ 168 w 749"/>
                <a:gd name="T41" fmla="*/ 706 h 1520"/>
                <a:gd name="T42" fmla="*/ 271 w 749"/>
                <a:gd name="T43" fmla="*/ 783 h 1520"/>
                <a:gd name="T44" fmla="*/ 332 w 749"/>
                <a:gd name="T45" fmla="*/ 856 h 1520"/>
                <a:gd name="T46" fmla="*/ 334 w 749"/>
                <a:gd name="T47" fmla="*/ 1022 h 1520"/>
                <a:gd name="T48" fmla="*/ 436 w 749"/>
                <a:gd name="T49" fmla="*/ 1217 h 1520"/>
                <a:gd name="T50" fmla="*/ 490 w 749"/>
                <a:gd name="T51" fmla="*/ 1373 h 1520"/>
                <a:gd name="T52" fmla="*/ 547 w 749"/>
                <a:gd name="T53" fmla="*/ 1478 h 1520"/>
                <a:gd name="T54" fmla="*/ 629 w 749"/>
                <a:gd name="T55" fmla="*/ 1508 h 1520"/>
                <a:gd name="T56" fmla="*/ 556 w 749"/>
                <a:gd name="T57" fmla="*/ 1364 h 1520"/>
                <a:gd name="T58" fmla="*/ 599 w 749"/>
                <a:gd name="T59" fmla="*/ 1261 h 1520"/>
                <a:gd name="T60" fmla="*/ 659 w 749"/>
                <a:gd name="T61" fmla="*/ 1116 h 1520"/>
                <a:gd name="T62" fmla="*/ 670 w 749"/>
                <a:gd name="T63" fmla="*/ 955 h 1520"/>
                <a:gd name="T64" fmla="*/ 558 w 749"/>
                <a:gd name="T65" fmla="*/ 888 h 1520"/>
                <a:gd name="T66" fmla="*/ 464 w 749"/>
                <a:gd name="T67" fmla="*/ 787 h 1520"/>
                <a:gd name="T68" fmla="*/ 383 w 749"/>
                <a:gd name="T69" fmla="*/ 772 h 1520"/>
                <a:gd name="T70" fmla="*/ 293 w 749"/>
                <a:gd name="T71" fmla="*/ 782 h 1520"/>
                <a:gd name="T72" fmla="*/ 278 w 749"/>
                <a:gd name="T73" fmla="*/ 680 h 1520"/>
                <a:gd name="T74" fmla="*/ 210 w 749"/>
                <a:gd name="T75" fmla="*/ 635 h 1520"/>
                <a:gd name="T76" fmla="*/ 302 w 749"/>
                <a:gd name="T77" fmla="*/ 572 h 1520"/>
                <a:gd name="T78" fmla="*/ 362 w 749"/>
                <a:gd name="T79" fmla="*/ 607 h 1520"/>
                <a:gd name="T80" fmla="*/ 434 w 749"/>
                <a:gd name="T81" fmla="*/ 505 h 1520"/>
                <a:gd name="T82" fmla="*/ 530 w 749"/>
                <a:gd name="T83" fmla="*/ 417 h 1520"/>
                <a:gd name="T84" fmla="*/ 597 w 749"/>
                <a:gd name="T85" fmla="*/ 393 h 1520"/>
                <a:gd name="T86" fmla="*/ 589 w 749"/>
                <a:gd name="T87" fmla="*/ 353 h 1520"/>
                <a:gd name="T88" fmla="*/ 637 w 749"/>
                <a:gd name="T89" fmla="*/ 397 h 1520"/>
                <a:gd name="T90" fmla="*/ 671 w 749"/>
                <a:gd name="T91" fmla="*/ 305 h 1520"/>
                <a:gd name="T92" fmla="*/ 634 w 749"/>
                <a:gd name="T93" fmla="*/ 249 h 1520"/>
                <a:gd name="T94" fmla="*/ 563 w 749"/>
                <a:gd name="T95" fmla="*/ 272 h 1520"/>
                <a:gd name="T96" fmla="*/ 491 w 749"/>
                <a:gd name="T97" fmla="*/ 251 h 1520"/>
                <a:gd name="T98" fmla="*/ 566 w 749"/>
                <a:gd name="T99" fmla="*/ 175 h 1520"/>
                <a:gd name="T100" fmla="*/ 613 w 749"/>
                <a:gd name="T101" fmla="*/ 149 h 1520"/>
                <a:gd name="T102" fmla="*/ 690 w 749"/>
                <a:gd name="T103" fmla="*/ 134 h 1520"/>
                <a:gd name="T104" fmla="*/ 686 w 749"/>
                <a:gd name="T105" fmla="*/ 213 h 1520"/>
                <a:gd name="T106" fmla="*/ 733 w 749"/>
                <a:gd name="T107" fmla="*/ 150 h 1520"/>
                <a:gd name="T108" fmla="*/ 715 w 749"/>
                <a:gd name="T109" fmla="*/ 91 h 1520"/>
                <a:gd name="T110" fmla="*/ 619 w 749"/>
                <a:gd name="T111" fmla="*/ 105 h 1520"/>
                <a:gd name="T112" fmla="*/ 238 w 749"/>
                <a:gd name="T113" fmla="*/ 180 h 1520"/>
                <a:gd name="T114" fmla="*/ 434 w 749"/>
                <a:gd name="T115" fmla="*/ 387 h 1520"/>
                <a:gd name="T116" fmla="*/ 437 w 749"/>
                <a:gd name="T117" fmla="*/ 351 h 1520"/>
                <a:gd name="T118" fmla="*/ 212 w 749"/>
                <a:gd name="T119" fmla="*/ 203 h 1520"/>
                <a:gd name="T120" fmla="*/ 581 w 749"/>
                <a:gd name="T121" fmla="*/ 1486 h 1520"/>
                <a:gd name="T122" fmla="*/ 720 w 749"/>
                <a:gd name="T123" fmla="*/ 80 h 1520"/>
                <a:gd name="T124" fmla="*/ 468 w 749"/>
                <a:gd name="T125" fmla="*/ 789 h 15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49" h="1520">
                  <a:moveTo>
                    <a:pt x="747" y="122"/>
                  </a:moveTo>
                  <a:cubicBezTo>
                    <a:pt x="748" y="122"/>
                    <a:pt x="748" y="122"/>
                    <a:pt x="748" y="122"/>
                  </a:cubicBezTo>
                  <a:cubicBezTo>
                    <a:pt x="749" y="120"/>
                    <a:pt x="748" y="119"/>
                    <a:pt x="747" y="118"/>
                  </a:cubicBezTo>
                  <a:cubicBezTo>
                    <a:pt x="747" y="118"/>
                    <a:pt x="747" y="117"/>
                    <a:pt x="747" y="117"/>
                  </a:cubicBezTo>
                  <a:cubicBezTo>
                    <a:pt x="748" y="115"/>
                    <a:pt x="748" y="115"/>
                    <a:pt x="748" y="115"/>
                  </a:cubicBezTo>
                  <a:cubicBezTo>
                    <a:pt x="746" y="115"/>
                    <a:pt x="746" y="115"/>
                    <a:pt x="746" y="115"/>
                  </a:cubicBezTo>
                  <a:cubicBezTo>
                    <a:pt x="745" y="115"/>
                    <a:pt x="745" y="114"/>
                    <a:pt x="745" y="114"/>
                  </a:cubicBezTo>
                  <a:cubicBezTo>
                    <a:pt x="744" y="114"/>
                    <a:pt x="744" y="114"/>
                    <a:pt x="744" y="114"/>
                  </a:cubicBezTo>
                  <a:cubicBezTo>
                    <a:pt x="744" y="113"/>
                    <a:pt x="744" y="113"/>
                    <a:pt x="744" y="113"/>
                  </a:cubicBezTo>
                  <a:cubicBezTo>
                    <a:pt x="744" y="113"/>
                    <a:pt x="745" y="111"/>
                    <a:pt x="744" y="110"/>
                  </a:cubicBezTo>
                  <a:cubicBezTo>
                    <a:pt x="744" y="110"/>
                    <a:pt x="744" y="110"/>
                    <a:pt x="743" y="110"/>
                  </a:cubicBezTo>
                  <a:cubicBezTo>
                    <a:pt x="744" y="109"/>
                    <a:pt x="744" y="108"/>
                    <a:pt x="744" y="107"/>
                  </a:cubicBezTo>
                  <a:cubicBezTo>
                    <a:pt x="744" y="104"/>
                    <a:pt x="743" y="103"/>
                    <a:pt x="741" y="103"/>
                  </a:cubicBezTo>
                  <a:cubicBezTo>
                    <a:pt x="741" y="103"/>
                    <a:pt x="741" y="103"/>
                    <a:pt x="741" y="103"/>
                  </a:cubicBezTo>
                  <a:cubicBezTo>
                    <a:pt x="739" y="103"/>
                    <a:pt x="738" y="104"/>
                    <a:pt x="737" y="104"/>
                  </a:cubicBezTo>
                  <a:cubicBezTo>
                    <a:pt x="736" y="105"/>
                    <a:pt x="736" y="105"/>
                    <a:pt x="736" y="105"/>
                  </a:cubicBezTo>
                  <a:cubicBezTo>
                    <a:pt x="735" y="106"/>
                    <a:pt x="734" y="106"/>
                    <a:pt x="733" y="106"/>
                  </a:cubicBezTo>
                  <a:cubicBezTo>
                    <a:pt x="733" y="106"/>
                    <a:pt x="733" y="106"/>
                    <a:pt x="733" y="106"/>
                  </a:cubicBezTo>
                  <a:cubicBezTo>
                    <a:pt x="733" y="106"/>
                    <a:pt x="733" y="106"/>
                    <a:pt x="733" y="106"/>
                  </a:cubicBezTo>
                  <a:cubicBezTo>
                    <a:pt x="733" y="105"/>
                    <a:pt x="733" y="105"/>
                    <a:pt x="733" y="105"/>
                  </a:cubicBezTo>
                  <a:cubicBezTo>
                    <a:pt x="735" y="104"/>
                    <a:pt x="736" y="103"/>
                    <a:pt x="736" y="102"/>
                  </a:cubicBezTo>
                  <a:cubicBezTo>
                    <a:pt x="736" y="101"/>
                    <a:pt x="736" y="101"/>
                    <a:pt x="735" y="100"/>
                  </a:cubicBezTo>
                  <a:cubicBezTo>
                    <a:pt x="735" y="100"/>
                    <a:pt x="735" y="100"/>
                    <a:pt x="735" y="100"/>
                  </a:cubicBezTo>
                  <a:cubicBezTo>
                    <a:pt x="735" y="100"/>
                    <a:pt x="735" y="100"/>
                    <a:pt x="735" y="100"/>
                  </a:cubicBezTo>
                  <a:cubicBezTo>
                    <a:pt x="736" y="99"/>
                    <a:pt x="736" y="98"/>
                    <a:pt x="735" y="97"/>
                  </a:cubicBezTo>
                  <a:cubicBezTo>
                    <a:pt x="735" y="97"/>
                    <a:pt x="735" y="97"/>
                    <a:pt x="734" y="97"/>
                  </a:cubicBezTo>
                  <a:cubicBezTo>
                    <a:pt x="734" y="97"/>
                    <a:pt x="735" y="97"/>
                    <a:pt x="735" y="97"/>
                  </a:cubicBezTo>
                  <a:cubicBezTo>
                    <a:pt x="735" y="96"/>
                    <a:pt x="736" y="95"/>
                    <a:pt x="737" y="94"/>
                  </a:cubicBezTo>
                  <a:cubicBezTo>
                    <a:pt x="737" y="93"/>
                    <a:pt x="738" y="91"/>
                    <a:pt x="737" y="90"/>
                  </a:cubicBezTo>
                  <a:cubicBezTo>
                    <a:pt x="736" y="89"/>
                    <a:pt x="734" y="90"/>
                    <a:pt x="734" y="90"/>
                  </a:cubicBezTo>
                  <a:cubicBezTo>
                    <a:pt x="733" y="90"/>
                    <a:pt x="733" y="90"/>
                    <a:pt x="733" y="90"/>
                  </a:cubicBezTo>
                  <a:cubicBezTo>
                    <a:pt x="733" y="90"/>
                    <a:pt x="733" y="90"/>
                    <a:pt x="733" y="90"/>
                  </a:cubicBezTo>
                  <a:cubicBezTo>
                    <a:pt x="733" y="89"/>
                    <a:pt x="733" y="89"/>
                    <a:pt x="733" y="89"/>
                  </a:cubicBezTo>
                  <a:cubicBezTo>
                    <a:pt x="732" y="89"/>
                    <a:pt x="732" y="89"/>
                    <a:pt x="732" y="88"/>
                  </a:cubicBezTo>
                  <a:cubicBezTo>
                    <a:pt x="732" y="88"/>
                    <a:pt x="732" y="88"/>
                    <a:pt x="732" y="88"/>
                  </a:cubicBezTo>
                  <a:cubicBezTo>
                    <a:pt x="732" y="88"/>
                    <a:pt x="732" y="88"/>
                    <a:pt x="733" y="88"/>
                  </a:cubicBezTo>
                  <a:cubicBezTo>
                    <a:pt x="733" y="88"/>
                    <a:pt x="734" y="89"/>
                    <a:pt x="735" y="89"/>
                  </a:cubicBezTo>
                  <a:cubicBezTo>
                    <a:pt x="736" y="89"/>
                    <a:pt x="737" y="88"/>
                    <a:pt x="737" y="88"/>
                  </a:cubicBezTo>
                  <a:cubicBezTo>
                    <a:pt x="738" y="87"/>
                    <a:pt x="738" y="86"/>
                    <a:pt x="738" y="85"/>
                  </a:cubicBezTo>
                  <a:cubicBezTo>
                    <a:pt x="738" y="85"/>
                    <a:pt x="737" y="85"/>
                    <a:pt x="737" y="84"/>
                  </a:cubicBezTo>
                  <a:cubicBezTo>
                    <a:pt x="737" y="84"/>
                    <a:pt x="737" y="84"/>
                    <a:pt x="737" y="84"/>
                  </a:cubicBezTo>
                  <a:cubicBezTo>
                    <a:pt x="737" y="83"/>
                    <a:pt x="737" y="83"/>
                    <a:pt x="738" y="82"/>
                  </a:cubicBezTo>
                  <a:cubicBezTo>
                    <a:pt x="738" y="81"/>
                    <a:pt x="738" y="81"/>
                    <a:pt x="738" y="81"/>
                  </a:cubicBezTo>
                  <a:cubicBezTo>
                    <a:pt x="739" y="80"/>
                    <a:pt x="739" y="79"/>
                    <a:pt x="738" y="77"/>
                  </a:cubicBezTo>
                  <a:cubicBezTo>
                    <a:pt x="738" y="76"/>
                    <a:pt x="736" y="76"/>
                    <a:pt x="735" y="75"/>
                  </a:cubicBezTo>
                  <a:cubicBezTo>
                    <a:pt x="735" y="75"/>
                    <a:pt x="734" y="75"/>
                    <a:pt x="734" y="75"/>
                  </a:cubicBezTo>
                  <a:cubicBezTo>
                    <a:pt x="733" y="75"/>
                    <a:pt x="733" y="75"/>
                    <a:pt x="733" y="75"/>
                  </a:cubicBezTo>
                  <a:cubicBezTo>
                    <a:pt x="733" y="75"/>
                    <a:pt x="732" y="75"/>
                    <a:pt x="732" y="75"/>
                  </a:cubicBezTo>
                  <a:cubicBezTo>
                    <a:pt x="731" y="75"/>
                    <a:pt x="731" y="75"/>
                    <a:pt x="730" y="74"/>
                  </a:cubicBezTo>
                  <a:cubicBezTo>
                    <a:pt x="730" y="74"/>
                    <a:pt x="730" y="74"/>
                    <a:pt x="730" y="74"/>
                  </a:cubicBezTo>
                  <a:cubicBezTo>
                    <a:pt x="729" y="73"/>
                    <a:pt x="728" y="73"/>
                    <a:pt x="728" y="72"/>
                  </a:cubicBezTo>
                  <a:cubicBezTo>
                    <a:pt x="725" y="71"/>
                    <a:pt x="724" y="72"/>
                    <a:pt x="723" y="73"/>
                  </a:cubicBezTo>
                  <a:cubicBezTo>
                    <a:pt x="723" y="73"/>
                    <a:pt x="723" y="73"/>
                    <a:pt x="723" y="73"/>
                  </a:cubicBezTo>
                  <a:cubicBezTo>
                    <a:pt x="723" y="73"/>
                    <a:pt x="722" y="74"/>
                    <a:pt x="722" y="74"/>
                  </a:cubicBezTo>
                  <a:cubicBezTo>
                    <a:pt x="722" y="72"/>
                    <a:pt x="721" y="71"/>
                    <a:pt x="720" y="71"/>
                  </a:cubicBezTo>
                  <a:cubicBezTo>
                    <a:pt x="719" y="70"/>
                    <a:pt x="719" y="70"/>
                    <a:pt x="716" y="70"/>
                  </a:cubicBezTo>
                  <a:cubicBezTo>
                    <a:pt x="715" y="70"/>
                    <a:pt x="715" y="70"/>
                    <a:pt x="715" y="70"/>
                  </a:cubicBezTo>
                  <a:cubicBezTo>
                    <a:pt x="715" y="70"/>
                    <a:pt x="714" y="70"/>
                    <a:pt x="714" y="70"/>
                  </a:cubicBezTo>
                  <a:cubicBezTo>
                    <a:pt x="713" y="70"/>
                    <a:pt x="713" y="70"/>
                    <a:pt x="713" y="70"/>
                  </a:cubicBezTo>
                  <a:cubicBezTo>
                    <a:pt x="713" y="70"/>
                    <a:pt x="712" y="70"/>
                    <a:pt x="712" y="70"/>
                  </a:cubicBezTo>
                  <a:cubicBezTo>
                    <a:pt x="712" y="70"/>
                    <a:pt x="712" y="70"/>
                    <a:pt x="712" y="70"/>
                  </a:cubicBezTo>
                  <a:cubicBezTo>
                    <a:pt x="711" y="70"/>
                    <a:pt x="711" y="70"/>
                    <a:pt x="711" y="70"/>
                  </a:cubicBezTo>
                  <a:cubicBezTo>
                    <a:pt x="711" y="70"/>
                    <a:pt x="711" y="70"/>
                    <a:pt x="711" y="70"/>
                  </a:cubicBezTo>
                  <a:cubicBezTo>
                    <a:pt x="710" y="70"/>
                    <a:pt x="708" y="70"/>
                    <a:pt x="707" y="72"/>
                  </a:cubicBezTo>
                  <a:cubicBezTo>
                    <a:pt x="707" y="72"/>
                    <a:pt x="707" y="72"/>
                    <a:pt x="706" y="71"/>
                  </a:cubicBezTo>
                  <a:cubicBezTo>
                    <a:pt x="705" y="71"/>
                    <a:pt x="704" y="71"/>
                    <a:pt x="704" y="72"/>
                  </a:cubicBezTo>
                  <a:cubicBezTo>
                    <a:pt x="703" y="72"/>
                    <a:pt x="703" y="72"/>
                    <a:pt x="703" y="72"/>
                  </a:cubicBezTo>
                  <a:cubicBezTo>
                    <a:pt x="703" y="72"/>
                    <a:pt x="703" y="72"/>
                    <a:pt x="703" y="72"/>
                  </a:cubicBezTo>
                  <a:cubicBezTo>
                    <a:pt x="702" y="72"/>
                    <a:pt x="701" y="72"/>
                    <a:pt x="701" y="71"/>
                  </a:cubicBezTo>
                  <a:cubicBezTo>
                    <a:pt x="702" y="71"/>
                    <a:pt x="702" y="71"/>
                    <a:pt x="703" y="71"/>
                  </a:cubicBezTo>
                  <a:cubicBezTo>
                    <a:pt x="703" y="71"/>
                    <a:pt x="703" y="71"/>
                    <a:pt x="703" y="71"/>
                  </a:cubicBezTo>
                  <a:cubicBezTo>
                    <a:pt x="704" y="71"/>
                    <a:pt x="706" y="71"/>
                    <a:pt x="707" y="70"/>
                  </a:cubicBezTo>
                  <a:cubicBezTo>
                    <a:pt x="708" y="69"/>
                    <a:pt x="708" y="69"/>
                    <a:pt x="708" y="68"/>
                  </a:cubicBezTo>
                  <a:cubicBezTo>
                    <a:pt x="708" y="66"/>
                    <a:pt x="706" y="66"/>
                    <a:pt x="705" y="66"/>
                  </a:cubicBezTo>
                  <a:cubicBezTo>
                    <a:pt x="704" y="65"/>
                    <a:pt x="703" y="65"/>
                    <a:pt x="702" y="65"/>
                  </a:cubicBezTo>
                  <a:cubicBezTo>
                    <a:pt x="701" y="65"/>
                    <a:pt x="701" y="65"/>
                    <a:pt x="701" y="65"/>
                  </a:cubicBezTo>
                  <a:cubicBezTo>
                    <a:pt x="700" y="64"/>
                    <a:pt x="699" y="64"/>
                    <a:pt x="697" y="64"/>
                  </a:cubicBezTo>
                  <a:cubicBezTo>
                    <a:pt x="697" y="64"/>
                    <a:pt x="697" y="64"/>
                    <a:pt x="697" y="64"/>
                  </a:cubicBezTo>
                  <a:cubicBezTo>
                    <a:pt x="695" y="64"/>
                    <a:pt x="694" y="64"/>
                    <a:pt x="692" y="65"/>
                  </a:cubicBezTo>
                  <a:cubicBezTo>
                    <a:pt x="692" y="65"/>
                    <a:pt x="691" y="65"/>
                    <a:pt x="690" y="66"/>
                  </a:cubicBezTo>
                  <a:cubicBezTo>
                    <a:pt x="690" y="66"/>
                    <a:pt x="689" y="66"/>
                    <a:pt x="689" y="66"/>
                  </a:cubicBezTo>
                  <a:cubicBezTo>
                    <a:pt x="688" y="67"/>
                    <a:pt x="687" y="67"/>
                    <a:pt x="686" y="67"/>
                  </a:cubicBezTo>
                  <a:cubicBezTo>
                    <a:pt x="685" y="67"/>
                    <a:pt x="685" y="67"/>
                    <a:pt x="684" y="68"/>
                  </a:cubicBezTo>
                  <a:cubicBezTo>
                    <a:pt x="684" y="68"/>
                    <a:pt x="684" y="68"/>
                    <a:pt x="684" y="68"/>
                  </a:cubicBezTo>
                  <a:cubicBezTo>
                    <a:pt x="683" y="68"/>
                    <a:pt x="683" y="68"/>
                    <a:pt x="683" y="68"/>
                  </a:cubicBezTo>
                  <a:cubicBezTo>
                    <a:pt x="683" y="69"/>
                    <a:pt x="683" y="69"/>
                    <a:pt x="683" y="69"/>
                  </a:cubicBezTo>
                  <a:cubicBezTo>
                    <a:pt x="683" y="68"/>
                    <a:pt x="683" y="68"/>
                    <a:pt x="683" y="68"/>
                  </a:cubicBezTo>
                  <a:cubicBezTo>
                    <a:pt x="682" y="67"/>
                    <a:pt x="682" y="67"/>
                    <a:pt x="681" y="68"/>
                  </a:cubicBezTo>
                  <a:cubicBezTo>
                    <a:pt x="681" y="68"/>
                    <a:pt x="680" y="68"/>
                    <a:pt x="680" y="68"/>
                  </a:cubicBezTo>
                  <a:cubicBezTo>
                    <a:pt x="680" y="68"/>
                    <a:pt x="679" y="69"/>
                    <a:pt x="679" y="69"/>
                  </a:cubicBezTo>
                  <a:cubicBezTo>
                    <a:pt x="679" y="69"/>
                    <a:pt x="679" y="69"/>
                    <a:pt x="679" y="69"/>
                  </a:cubicBezTo>
                  <a:cubicBezTo>
                    <a:pt x="679" y="69"/>
                    <a:pt x="678" y="69"/>
                    <a:pt x="678" y="69"/>
                  </a:cubicBezTo>
                  <a:cubicBezTo>
                    <a:pt x="677" y="69"/>
                    <a:pt x="677" y="70"/>
                    <a:pt x="676" y="70"/>
                  </a:cubicBezTo>
                  <a:cubicBezTo>
                    <a:pt x="676" y="70"/>
                    <a:pt x="676" y="70"/>
                    <a:pt x="676" y="70"/>
                  </a:cubicBezTo>
                  <a:cubicBezTo>
                    <a:pt x="675" y="71"/>
                    <a:pt x="675" y="71"/>
                    <a:pt x="674" y="72"/>
                  </a:cubicBezTo>
                  <a:cubicBezTo>
                    <a:pt x="674" y="72"/>
                    <a:pt x="674" y="72"/>
                    <a:pt x="674" y="72"/>
                  </a:cubicBezTo>
                  <a:cubicBezTo>
                    <a:pt x="673" y="73"/>
                    <a:pt x="673" y="73"/>
                    <a:pt x="673" y="73"/>
                  </a:cubicBezTo>
                  <a:cubicBezTo>
                    <a:pt x="673" y="73"/>
                    <a:pt x="672" y="73"/>
                    <a:pt x="672" y="74"/>
                  </a:cubicBezTo>
                  <a:cubicBezTo>
                    <a:pt x="671" y="74"/>
                    <a:pt x="670" y="75"/>
                    <a:pt x="669" y="75"/>
                  </a:cubicBezTo>
                  <a:cubicBezTo>
                    <a:pt x="668" y="76"/>
                    <a:pt x="668" y="76"/>
                    <a:pt x="667" y="76"/>
                  </a:cubicBezTo>
                  <a:cubicBezTo>
                    <a:pt x="667" y="77"/>
                    <a:pt x="667" y="77"/>
                    <a:pt x="666" y="77"/>
                  </a:cubicBezTo>
                  <a:cubicBezTo>
                    <a:pt x="666" y="77"/>
                    <a:pt x="666" y="77"/>
                    <a:pt x="666" y="77"/>
                  </a:cubicBezTo>
                  <a:cubicBezTo>
                    <a:pt x="666" y="77"/>
                    <a:pt x="665" y="77"/>
                    <a:pt x="664" y="77"/>
                  </a:cubicBezTo>
                  <a:cubicBezTo>
                    <a:pt x="663" y="78"/>
                    <a:pt x="663" y="79"/>
                    <a:pt x="663" y="80"/>
                  </a:cubicBezTo>
                  <a:cubicBezTo>
                    <a:pt x="662" y="81"/>
                    <a:pt x="661" y="81"/>
                    <a:pt x="660" y="81"/>
                  </a:cubicBezTo>
                  <a:cubicBezTo>
                    <a:pt x="660" y="81"/>
                    <a:pt x="659" y="81"/>
                    <a:pt x="659" y="81"/>
                  </a:cubicBezTo>
                  <a:cubicBezTo>
                    <a:pt x="657" y="81"/>
                    <a:pt x="656" y="83"/>
                    <a:pt x="657" y="84"/>
                  </a:cubicBezTo>
                  <a:cubicBezTo>
                    <a:pt x="657" y="84"/>
                    <a:pt x="657" y="84"/>
                    <a:pt x="656" y="84"/>
                  </a:cubicBezTo>
                  <a:cubicBezTo>
                    <a:pt x="656" y="84"/>
                    <a:pt x="656" y="85"/>
                    <a:pt x="656" y="85"/>
                  </a:cubicBezTo>
                  <a:cubicBezTo>
                    <a:pt x="655" y="85"/>
                    <a:pt x="655" y="85"/>
                    <a:pt x="654" y="86"/>
                  </a:cubicBezTo>
                  <a:cubicBezTo>
                    <a:pt x="654" y="86"/>
                    <a:pt x="654" y="87"/>
                    <a:pt x="654" y="87"/>
                  </a:cubicBezTo>
                  <a:cubicBezTo>
                    <a:pt x="654" y="87"/>
                    <a:pt x="654" y="87"/>
                    <a:pt x="654" y="87"/>
                  </a:cubicBezTo>
                  <a:cubicBezTo>
                    <a:pt x="653" y="88"/>
                    <a:pt x="653" y="88"/>
                    <a:pt x="653" y="90"/>
                  </a:cubicBezTo>
                  <a:cubicBezTo>
                    <a:pt x="653" y="91"/>
                    <a:pt x="653" y="91"/>
                    <a:pt x="654" y="92"/>
                  </a:cubicBezTo>
                  <a:cubicBezTo>
                    <a:pt x="653" y="91"/>
                    <a:pt x="652" y="91"/>
                    <a:pt x="651" y="92"/>
                  </a:cubicBezTo>
                  <a:cubicBezTo>
                    <a:pt x="651" y="92"/>
                    <a:pt x="650" y="93"/>
                    <a:pt x="650" y="93"/>
                  </a:cubicBezTo>
                  <a:cubicBezTo>
                    <a:pt x="650" y="93"/>
                    <a:pt x="650" y="94"/>
                    <a:pt x="650" y="94"/>
                  </a:cubicBezTo>
                  <a:cubicBezTo>
                    <a:pt x="650" y="94"/>
                    <a:pt x="650" y="94"/>
                    <a:pt x="650" y="94"/>
                  </a:cubicBezTo>
                  <a:cubicBezTo>
                    <a:pt x="650" y="94"/>
                    <a:pt x="650" y="94"/>
                    <a:pt x="650" y="94"/>
                  </a:cubicBezTo>
                  <a:cubicBezTo>
                    <a:pt x="649" y="94"/>
                    <a:pt x="649" y="94"/>
                    <a:pt x="649" y="94"/>
                  </a:cubicBezTo>
                  <a:cubicBezTo>
                    <a:pt x="648" y="94"/>
                    <a:pt x="647" y="95"/>
                    <a:pt x="647" y="95"/>
                  </a:cubicBezTo>
                  <a:cubicBezTo>
                    <a:pt x="648" y="96"/>
                    <a:pt x="648" y="96"/>
                    <a:pt x="648" y="96"/>
                  </a:cubicBezTo>
                  <a:cubicBezTo>
                    <a:pt x="648" y="96"/>
                    <a:pt x="648" y="96"/>
                    <a:pt x="648" y="96"/>
                  </a:cubicBezTo>
                  <a:cubicBezTo>
                    <a:pt x="646" y="96"/>
                    <a:pt x="646" y="96"/>
                    <a:pt x="646" y="96"/>
                  </a:cubicBezTo>
                  <a:cubicBezTo>
                    <a:pt x="646" y="96"/>
                    <a:pt x="646" y="96"/>
                    <a:pt x="646" y="96"/>
                  </a:cubicBezTo>
                  <a:cubicBezTo>
                    <a:pt x="645" y="96"/>
                    <a:pt x="645" y="97"/>
                    <a:pt x="645" y="97"/>
                  </a:cubicBezTo>
                  <a:cubicBezTo>
                    <a:pt x="644" y="99"/>
                    <a:pt x="644" y="100"/>
                    <a:pt x="645" y="101"/>
                  </a:cubicBezTo>
                  <a:cubicBezTo>
                    <a:pt x="645" y="101"/>
                    <a:pt x="645" y="101"/>
                    <a:pt x="645" y="101"/>
                  </a:cubicBezTo>
                  <a:cubicBezTo>
                    <a:pt x="645" y="101"/>
                    <a:pt x="645" y="101"/>
                    <a:pt x="645" y="101"/>
                  </a:cubicBezTo>
                  <a:cubicBezTo>
                    <a:pt x="644" y="102"/>
                    <a:pt x="644" y="102"/>
                    <a:pt x="644" y="103"/>
                  </a:cubicBezTo>
                  <a:cubicBezTo>
                    <a:pt x="645" y="104"/>
                    <a:pt x="645" y="104"/>
                    <a:pt x="646" y="104"/>
                  </a:cubicBezTo>
                  <a:cubicBezTo>
                    <a:pt x="647" y="104"/>
                    <a:pt x="647" y="104"/>
                    <a:pt x="648" y="104"/>
                  </a:cubicBezTo>
                  <a:cubicBezTo>
                    <a:pt x="648" y="104"/>
                    <a:pt x="648" y="104"/>
                    <a:pt x="649" y="104"/>
                  </a:cubicBezTo>
                  <a:cubicBezTo>
                    <a:pt x="649" y="104"/>
                    <a:pt x="649" y="104"/>
                    <a:pt x="649" y="105"/>
                  </a:cubicBezTo>
                  <a:cubicBezTo>
                    <a:pt x="650" y="105"/>
                    <a:pt x="650" y="105"/>
                    <a:pt x="650" y="105"/>
                  </a:cubicBezTo>
                  <a:cubicBezTo>
                    <a:pt x="651" y="106"/>
                    <a:pt x="653" y="106"/>
                    <a:pt x="654" y="105"/>
                  </a:cubicBezTo>
                  <a:cubicBezTo>
                    <a:pt x="654" y="105"/>
                    <a:pt x="654" y="105"/>
                    <a:pt x="654" y="105"/>
                  </a:cubicBezTo>
                  <a:cubicBezTo>
                    <a:pt x="654" y="105"/>
                    <a:pt x="654" y="105"/>
                    <a:pt x="654" y="105"/>
                  </a:cubicBezTo>
                  <a:cubicBezTo>
                    <a:pt x="654" y="105"/>
                    <a:pt x="654" y="105"/>
                    <a:pt x="654" y="106"/>
                  </a:cubicBezTo>
                  <a:cubicBezTo>
                    <a:pt x="654" y="107"/>
                    <a:pt x="654" y="107"/>
                    <a:pt x="655" y="108"/>
                  </a:cubicBezTo>
                  <a:cubicBezTo>
                    <a:pt x="655" y="108"/>
                    <a:pt x="655" y="108"/>
                    <a:pt x="655" y="109"/>
                  </a:cubicBezTo>
                  <a:cubicBezTo>
                    <a:pt x="655" y="109"/>
                    <a:pt x="655" y="109"/>
                    <a:pt x="655" y="109"/>
                  </a:cubicBezTo>
                  <a:cubicBezTo>
                    <a:pt x="657" y="109"/>
                    <a:pt x="657" y="109"/>
                    <a:pt x="657" y="109"/>
                  </a:cubicBezTo>
                  <a:cubicBezTo>
                    <a:pt x="657" y="109"/>
                    <a:pt x="657" y="109"/>
                    <a:pt x="657" y="109"/>
                  </a:cubicBezTo>
                  <a:cubicBezTo>
                    <a:pt x="656" y="110"/>
                    <a:pt x="656" y="110"/>
                    <a:pt x="656" y="110"/>
                  </a:cubicBezTo>
                  <a:cubicBezTo>
                    <a:pt x="656" y="110"/>
                    <a:pt x="656" y="110"/>
                    <a:pt x="656" y="110"/>
                  </a:cubicBezTo>
                  <a:cubicBezTo>
                    <a:pt x="656" y="110"/>
                    <a:pt x="655" y="110"/>
                    <a:pt x="655" y="111"/>
                  </a:cubicBezTo>
                  <a:cubicBezTo>
                    <a:pt x="654" y="111"/>
                    <a:pt x="654" y="111"/>
                    <a:pt x="653" y="112"/>
                  </a:cubicBezTo>
                  <a:cubicBezTo>
                    <a:pt x="653" y="112"/>
                    <a:pt x="653" y="112"/>
                    <a:pt x="653" y="112"/>
                  </a:cubicBezTo>
                  <a:cubicBezTo>
                    <a:pt x="652" y="113"/>
                    <a:pt x="651" y="113"/>
                    <a:pt x="650" y="114"/>
                  </a:cubicBezTo>
                  <a:cubicBezTo>
                    <a:pt x="650" y="114"/>
                    <a:pt x="650" y="114"/>
                    <a:pt x="649" y="115"/>
                  </a:cubicBezTo>
                  <a:cubicBezTo>
                    <a:pt x="649" y="115"/>
                    <a:pt x="649" y="115"/>
                    <a:pt x="648" y="115"/>
                  </a:cubicBezTo>
                  <a:cubicBezTo>
                    <a:pt x="648" y="116"/>
                    <a:pt x="648" y="116"/>
                    <a:pt x="648" y="116"/>
                  </a:cubicBezTo>
                  <a:cubicBezTo>
                    <a:pt x="648" y="116"/>
                    <a:pt x="648" y="116"/>
                    <a:pt x="648" y="116"/>
                  </a:cubicBezTo>
                  <a:cubicBezTo>
                    <a:pt x="647" y="117"/>
                    <a:pt x="647" y="117"/>
                    <a:pt x="647" y="118"/>
                  </a:cubicBezTo>
                  <a:cubicBezTo>
                    <a:pt x="647" y="118"/>
                    <a:pt x="647" y="118"/>
                    <a:pt x="646" y="118"/>
                  </a:cubicBezTo>
                  <a:cubicBezTo>
                    <a:pt x="646" y="119"/>
                    <a:pt x="646" y="119"/>
                    <a:pt x="647" y="121"/>
                  </a:cubicBezTo>
                  <a:cubicBezTo>
                    <a:pt x="647" y="121"/>
                    <a:pt x="647" y="121"/>
                    <a:pt x="647" y="121"/>
                  </a:cubicBezTo>
                  <a:cubicBezTo>
                    <a:pt x="647" y="121"/>
                    <a:pt x="647" y="121"/>
                    <a:pt x="647" y="121"/>
                  </a:cubicBezTo>
                  <a:cubicBezTo>
                    <a:pt x="647" y="122"/>
                    <a:pt x="647" y="122"/>
                    <a:pt x="647" y="122"/>
                  </a:cubicBezTo>
                  <a:cubicBezTo>
                    <a:pt x="646" y="121"/>
                    <a:pt x="646" y="121"/>
                    <a:pt x="646" y="121"/>
                  </a:cubicBezTo>
                  <a:cubicBezTo>
                    <a:pt x="646" y="121"/>
                    <a:pt x="645" y="121"/>
                    <a:pt x="645" y="121"/>
                  </a:cubicBezTo>
                  <a:cubicBezTo>
                    <a:pt x="644" y="121"/>
                    <a:pt x="644" y="122"/>
                    <a:pt x="644" y="122"/>
                  </a:cubicBezTo>
                  <a:cubicBezTo>
                    <a:pt x="644" y="122"/>
                    <a:pt x="642" y="121"/>
                    <a:pt x="641" y="122"/>
                  </a:cubicBezTo>
                  <a:cubicBezTo>
                    <a:pt x="641" y="122"/>
                    <a:pt x="641" y="122"/>
                    <a:pt x="640" y="123"/>
                  </a:cubicBezTo>
                  <a:cubicBezTo>
                    <a:pt x="640" y="123"/>
                    <a:pt x="640" y="123"/>
                    <a:pt x="640" y="123"/>
                  </a:cubicBezTo>
                  <a:cubicBezTo>
                    <a:pt x="639" y="123"/>
                    <a:pt x="639" y="124"/>
                    <a:pt x="639" y="124"/>
                  </a:cubicBezTo>
                  <a:cubicBezTo>
                    <a:pt x="638" y="125"/>
                    <a:pt x="638" y="125"/>
                    <a:pt x="638" y="126"/>
                  </a:cubicBezTo>
                  <a:cubicBezTo>
                    <a:pt x="638" y="126"/>
                    <a:pt x="637" y="126"/>
                    <a:pt x="637" y="127"/>
                  </a:cubicBezTo>
                  <a:cubicBezTo>
                    <a:pt x="637" y="127"/>
                    <a:pt x="637" y="127"/>
                    <a:pt x="637" y="127"/>
                  </a:cubicBezTo>
                  <a:cubicBezTo>
                    <a:pt x="636" y="127"/>
                    <a:pt x="636" y="127"/>
                    <a:pt x="636" y="127"/>
                  </a:cubicBezTo>
                  <a:cubicBezTo>
                    <a:pt x="636" y="127"/>
                    <a:pt x="636" y="127"/>
                    <a:pt x="636" y="128"/>
                  </a:cubicBezTo>
                  <a:cubicBezTo>
                    <a:pt x="635" y="128"/>
                    <a:pt x="635" y="128"/>
                    <a:pt x="635" y="128"/>
                  </a:cubicBezTo>
                  <a:cubicBezTo>
                    <a:pt x="635" y="128"/>
                    <a:pt x="634" y="128"/>
                    <a:pt x="634" y="129"/>
                  </a:cubicBezTo>
                  <a:cubicBezTo>
                    <a:pt x="634" y="129"/>
                    <a:pt x="634" y="129"/>
                    <a:pt x="634" y="129"/>
                  </a:cubicBezTo>
                  <a:cubicBezTo>
                    <a:pt x="634" y="129"/>
                    <a:pt x="633" y="129"/>
                    <a:pt x="633" y="129"/>
                  </a:cubicBezTo>
                  <a:cubicBezTo>
                    <a:pt x="633" y="130"/>
                    <a:pt x="633" y="130"/>
                    <a:pt x="633" y="130"/>
                  </a:cubicBezTo>
                  <a:cubicBezTo>
                    <a:pt x="632" y="130"/>
                    <a:pt x="631" y="131"/>
                    <a:pt x="630" y="131"/>
                  </a:cubicBezTo>
                  <a:cubicBezTo>
                    <a:pt x="630" y="132"/>
                    <a:pt x="629" y="132"/>
                    <a:pt x="628" y="133"/>
                  </a:cubicBezTo>
                  <a:cubicBezTo>
                    <a:pt x="628" y="133"/>
                    <a:pt x="628" y="133"/>
                    <a:pt x="628" y="133"/>
                  </a:cubicBezTo>
                  <a:cubicBezTo>
                    <a:pt x="628" y="133"/>
                    <a:pt x="627" y="134"/>
                    <a:pt x="627" y="134"/>
                  </a:cubicBezTo>
                  <a:cubicBezTo>
                    <a:pt x="627" y="134"/>
                    <a:pt x="626" y="135"/>
                    <a:pt x="625" y="135"/>
                  </a:cubicBezTo>
                  <a:cubicBezTo>
                    <a:pt x="625" y="135"/>
                    <a:pt x="625" y="135"/>
                    <a:pt x="625" y="135"/>
                  </a:cubicBezTo>
                  <a:cubicBezTo>
                    <a:pt x="625" y="135"/>
                    <a:pt x="625" y="135"/>
                    <a:pt x="625" y="135"/>
                  </a:cubicBezTo>
                  <a:cubicBezTo>
                    <a:pt x="624" y="135"/>
                    <a:pt x="624" y="135"/>
                    <a:pt x="624" y="135"/>
                  </a:cubicBezTo>
                  <a:cubicBezTo>
                    <a:pt x="624" y="135"/>
                    <a:pt x="624" y="135"/>
                    <a:pt x="624" y="135"/>
                  </a:cubicBezTo>
                  <a:cubicBezTo>
                    <a:pt x="623" y="135"/>
                    <a:pt x="622" y="135"/>
                    <a:pt x="621" y="136"/>
                  </a:cubicBezTo>
                  <a:cubicBezTo>
                    <a:pt x="620" y="136"/>
                    <a:pt x="620" y="137"/>
                    <a:pt x="620" y="137"/>
                  </a:cubicBezTo>
                  <a:cubicBezTo>
                    <a:pt x="619" y="137"/>
                    <a:pt x="619" y="137"/>
                    <a:pt x="619" y="136"/>
                  </a:cubicBezTo>
                  <a:cubicBezTo>
                    <a:pt x="618" y="136"/>
                    <a:pt x="617" y="136"/>
                    <a:pt x="617" y="136"/>
                  </a:cubicBezTo>
                  <a:cubicBezTo>
                    <a:pt x="616" y="136"/>
                    <a:pt x="616" y="137"/>
                    <a:pt x="615" y="137"/>
                  </a:cubicBezTo>
                  <a:cubicBezTo>
                    <a:pt x="615" y="137"/>
                    <a:pt x="615" y="137"/>
                    <a:pt x="615" y="137"/>
                  </a:cubicBezTo>
                  <a:cubicBezTo>
                    <a:pt x="615" y="137"/>
                    <a:pt x="615" y="137"/>
                    <a:pt x="615" y="137"/>
                  </a:cubicBezTo>
                  <a:cubicBezTo>
                    <a:pt x="614" y="137"/>
                    <a:pt x="614" y="137"/>
                    <a:pt x="614" y="137"/>
                  </a:cubicBezTo>
                  <a:cubicBezTo>
                    <a:pt x="614" y="137"/>
                    <a:pt x="614" y="137"/>
                    <a:pt x="614" y="137"/>
                  </a:cubicBezTo>
                  <a:cubicBezTo>
                    <a:pt x="614" y="137"/>
                    <a:pt x="614" y="137"/>
                    <a:pt x="614" y="136"/>
                  </a:cubicBezTo>
                  <a:cubicBezTo>
                    <a:pt x="614" y="136"/>
                    <a:pt x="614" y="136"/>
                    <a:pt x="614" y="136"/>
                  </a:cubicBezTo>
                  <a:cubicBezTo>
                    <a:pt x="614" y="136"/>
                    <a:pt x="614" y="135"/>
                    <a:pt x="615" y="135"/>
                  </a:cubicBezTo>
                  <a:cubicBezTo>
                    <a:pt x="615" y="134"/>
                    <a:pt x="615" y="134"/>
                    <a:pt x="615" y="134"/>
                  </a:cubicBezTo>
                  <a:cubicBezTo>
                    <a:pt x="615" y="134"/>
                    <a:pt x="615" y="133"/>
                    <a:pt x="615" y="133"/>
                  </a:cubicBezTo>
                  <a:cubicBezTo>
                    <a:pt x="615" y="132"/>
                    <a:pt x="615" y="132"/>
                    <a:pt x="615" y="132"/>
                  </a:cubicBezTo>
                  <a:cubicBezTo>
                    <a:pt x="615" y="131"/>
                    <a:pt x="615" y="131"/>
                    <a:pt x="615" y="131"/>
                  </a:cubicBezTo>
                  <a:cubicBezTo>
                    <a:pt x="616" y="132"/>
                    <a:pt x="616" y="132"/>
                    <a:pt x="616" y="132"/>
                  </a:cubicBezTo>
                  <a:cubicBezTo>
                    <a:pt x="616" y="131"/>
                    <a:pt x="617" y="131"/>
                    <a:pt x="617" y="130"/>
                  </a:cubicBezTo>
                  <a:cubicBezTo>
                    <a:pt x="618" y="130"/>
                    <a:pt x="619" y="129"/>
                    <a:pt x="620" y="128"/>
                  </a:cubicBezTo>
                  <a:cubicBezTo>
                    <a:pt x="620" y="128"/>
                    <a:pt x="621" y="129"/>
                    <a:pt x="621" y="129"/>
                  </a:cubicBezTo>
                  <a:cubicBezTo>
                    <a:pt x="622" y="129"/>
                    <a:pt x="622" y="129"/>
                    <a:pt x="623" y="129"/>
                  </a:cubicBezTo>
                  <a:cubicBezTo>
                    <a:pt x="623" y="128"/>
                    <a:pt x="624" y="128"/>
                    <a:pt x="624" y="127"/>
                  </a:cubicBezTo>
                  <a:cubicBezTo>
                    <a:pt x="624" y="127"/>
                    <a:pt x="624" y="127"/>
                    <a:pt x="624" y="127"/>
                  </a:cubicBezTo>
                  <a:cubicBezTo>
                    <a:pt x="625" y="126"/>
                    <a:pt x="626" y="126"/>
                    <a:pt x="626" y="125"/>
                  </a:cubicBezTo>
                  <a:cubicBezTo>
                    <a:pt x="627" y="125"/>
                    <a:pt x="627" y="125"/>
                    <a:pt x="627" y="125"/>
                  </a:cubicBezTo>
                  <a:cubicBezTo>
                    <a:pt x="627" y="124"/>
                    <a:pt x="627" y="124"/>
                    <a:pt x="628" y="124"/>
                  </a:cubicBezTo>
                  <a:cubicBezTo>
                    <a:pt x="628" y="123"/>
                    <a:pt x="628" y="123"/>
                    <a:pt x="629" y="123"/>
                  </a:cubicBezTo>
                  <a:cubicBezTo>
                    <a:pt x="629" y="122"/>
                    <a:pt x="629" y="122"/>
                    <a:pt x="629" y="122"/>
                  </a:cubicBezTo>
                  <a:cubicBezTo>
                    <a:pt x="629" y="122"/>
                    <a:pt x="630" y="122"/>
                    <a:pt x="630" y="122"/>
                  </a:cubicBezTo>
                  <a:cubicBezTo>
                    <a:pt x="630" y="121"/>
                    <a:pt x="630" y="120"/>
                    <a:pt x="630" y="120"/>
                  </a:cubicBezTo>
                  <a:cubicBezTo>
                    <a:pt x="630" y="119"/>
                    <a:pt x="631" y="119"/>
                    <a:pt x="631" y="119"/>
                  </a:cubicBezTo>
                  <a:cubicBezTo>
                    <a:pt x="631" y="118"/>
                    <a:pt x="631" y="118"/>
                    <a:pt x="631" y="118"/>
                  </a:cubicBezTo>
                  <a:cubicBezTo>
                    <a:pt x="631" y="118"/>
                    <a:pt x="631" y="117"/>
                    <a:pt x="631" y="117"/>
                  </a:cubicBezTo>
                  <a:cubicBezTo>
                    <a:pt x="632" y="116"/>
                    <a:pt x="632" y="115"/>
                    <a:pt x="632" y="114"/>
                  </a:cubicBezTo>
                  <a:cubicBezTo>
                    <a:pt x="632" y="114"/>
                    <a:pt x="631" y="112"/>
                    <a:pt x="629" y="112"/>
                  </a:cubicBezTo>
                  <a:cubicBezTo>
                    <a:pt x="628" y="112"/>
                    <a:pt x="627" y="113"/>
                    <a:pt x="627" y="113"/>
                  </a:cubicBezTo>
                  <a:cubicBezTo>
                    <a:pt x="626" y="113"/>
                    <a:pt x="626" y="114"/>
                    <a:pt x="625" y="114"/>
                  </a:cubicBezTo>
                  <a:cubicBezTo>
                    <a:pt x="625" y="114"/>
                    <a:pt x="625" y="114"/>
                    <a:pt x="625" y="114"/>
                  </a:cubicBezTo>
                  <a:cubicBezTo>
                    <a:pt x="625" y="114"/>
                    <a:pt x="625" y="115"/>
                    <a:pt x="624" y="115"/>
                  </a:cubicBezTo>
                  <a:cubicBezTo>
                    <a:pt x="624" y="115"/>
                    <a:pt x="624" y="115"/>
                    <a:pt x="624" y="115"/>
                  </a:cubicBezTo>
                  <a:cubicBezTo>
                    <a:pt x="622" y="116"/>
                    <a:pt x="622" y="117"/>
                    <a:pt x="622" y="117"/>
                  </a:cubicBezTo>
                  <a:cubicBezTo>
                    <a:pt x="622" y="118"/>
                    <a:pt x="622" y="118"/>
                    <a:pt x="621" y="118"/>
                  </a:cubicBezTo>
                  <a:cubicBezTo>
                    <a:pt x="621" y="118"/>
                    <a:pt x="621" y="118"/>
                    <a:pt x="621" y="118"/>
                  </a:cubicBezTo>
                  <a:cubicBezTo>
                    <a:pt x="621" y="119"/>
                    <a:pt x="621" y="119"/>
                    <a:pt x="620" y="119"/>
                  </a:cubicBezTo>
                  <a:cubicBezTo>
                    <a:pt x="620" y="119"/>
                    <a:pt x="619" y="119"/>
                    <a:pt x="619" y="119"/>
                  </a:cubicBezTo>
                  <a:cubicBezTo>
                    <a:pt x="618" y="120"/>
                    <a:pt x="618" y="120"/>
                    <a:pt x="617" y="120"/>
                  </a:cubicBezTo>
                  <a:cubicBezTo>
                    <a:pt x="617" y="121"/>
                    <a:pt x="617" y="121"/>
                    <a:pt x="617" y="121"/>
                  </a:cubicBezTo>
                  <a:cubicBezTo>
                    <a:pt x="617" y="121"/>
                    <a:pt x="617" y="121"/>
                    <a:pt x="616" y="121"/>
                  </a:cubicBezTo>
                  <a:cubicBezTo>
                    <a:pt x="617" y="120"/>
                    <a:pt x="617" y="120"/>
                    <a:pt x="617" y="120"/>
                  </a:cubicBezTo>
                  <a:cubicBezTo>
                    <a:pt x="618" y="119"/>
                    <a:pt x="618" y="119"/>
                    <a:pt x="618" y="119"/>
                  </a:cubicBezTo>
                  <a:cubicBezTo>
                    <a:pt x="619" y="118"/>
                    <a:pt x="620" y="117"/>
                    <a:pt x="620" y="115"/>
                  </a:cubicBezTo>
                  <a:cubicBezTo>
                    <a:pt x="620" y="114"/>
                    <a:pt x="620" y="113"/>
                    <a:pt x="620" y="113"/>
                  </a:cubicBezTo>
                  <a:cubicBezTo>
                    <a:pt x="619" y="112"/>
                    <a:pt x="619" y="112"/>
                    <a:pt x="619" y="112"/>
                  </a:cubicBezTo>
                  <a:cubicBezTo>
                    <a:pt x="619" y="112"/>
                    <a:pt x="619" y="112"/>
                    <a:pt x="619" y="112"/>
                  </a:cubicBezTo>
                  <a:cubicBezTo>
                    <a:pt x="621" y="113"/>
                    <a:pt x="623" y="113"/>
                    <a:pt x="624" y="112"/>
                  </a:cubicBezTo>
                  <a:cubicBezTo>
                    <a:pt x="624" y="111"/>
                    <a:pt x="624" y="110"/>
                    <a:pt x="624" y="109"/>
                  </a:cubicBezTo>
                  <a:cubicBezTo>
                    <a:pt x="623" y="108"/>
                    <a:pt x="622" y="108"/>
                    <a:pt x="622" y="108"/>
                  </a:cubicBezTo>
                  <a:cubicBezTo>
                    <a:pt x="621" y="107"/>
                    <a:pt x="620" y="107"/>
                    <a:pt x="620" y="107"/>
                  </a:cubicBezTo>
                  <a:cubicBezTo>
                    <a:pt x="619" y="107"/>
                    <a:pt x="619" y="107"/>
                    <a:pt x="619" y="107"/>
                  </a:cubicBezTo>
                  <a:cubicBezTo>
                    <a:pt x="619" y="106"/>
                    <a:pt x="619" y="106"/>
                    <a:pt x="619" y="106"/>
                  </a:cubicBezTo>
                  <a:cubicBezTo>
                    <a:pt x="619" y="106"/>
                    <a:pt x="619" y="106"/>
                    <a:pt x="619" y="106"/>
                  </a:cubicBezTo>
                  <a:cubicBezTo>
                    <a:pt x="620" y="106"/>
                    <a:pt x="620" y="106"/>
                    <a:pt x="621" y="105"/>
                  </a:cubicBezTo>
                  <a:cubicBezTo>
                    <a:pt x="621" y="105"/>
                    <a:pt x="621" y="105"/>
                    <a:pt x="621" y="105"/>
                  </a:cubicBezTo>
                  <a:cubicBezTo>
                    <a:pt x="621" y="105"/>
                    <a:pt x="622" y="105"/>
                    <a:pt x="622" y="105"/>
                  </a:cubicBezTo>
                  <a:cubicBezTo>
                    <a:pt x="622" y="105"/>
                    <a:pt x="623" y="105"/>
                    <a:pt x="623" y="105"/>
                  </a:cubicBezTo>
                  <a:cubicBezTo>
                    <a:pt x="623" y="105"/>
                    <a:pt x="623" y="105"/>
                    <a:pt x="623" y="105"/>
                  </a:cubicBezTo>
                  <a:cubicBezTo>
                    <a:pt x="624" y="105"/>
                    <a:pt x="625" y="105"/>
                    <a:pt x="625" y="104"/>
                  </a:cubicBezTo>
                  <a:cubicBezTo>
                    <a:pt x="626" y="104"/>
                    <a:pt x="626" y="104"/>
                    <a:pt x="626" y="103"/>
                  </a:cubicBezTo>
                  <a:cubicBezTo>
                    <a:pt x="626" y="103"/>
                    <a:pt x="627" y="104"/>
                    <a:pt x="627" y="104"/>
                  </a:cubicBezTo>
                  <a:cubicBezTo>
                    <a:pt x="628" y="104"/>
                    <a:pt x="628" y="104"/>
                    <a:pt x="629" y="104"/>
                  </a:cubicBezTo>
                  <a:cubicBezTo>
                    <a:pt x="629" y="104"/>
                    <a:pt x="629" y="104"/>
                    <a:pt x="629" y="104"/>
                  </a:cubicBezTo>
                  <a:cubicBezTo>
                    <a:pt x="629" y="104"/>
                    <a:pt x="630" y="104"/>
                    <a:pt x="630" y="104"/>
                  </a:cubicBezTo>
                  <a:cubicBezTo>
                    <a:pt x="631" y="104"/>
                    <a:pt x="631" y="103"/>
                    <a:pt x="631" y="101"/>
                  </a:cubicBezTo>
                  <a:cubicBezTo>
                    <a:pt x="631" y="101"/>
                    <a:pt x="631" y="100"/>
                    <a:pt x="631" y="100"/>
                  </a:cubicBezTo>
                  <a:cubicBezTo>
                    <a:pt x="630" y="99"/>
                    <a:pt x="630" y="99"/>
                    <a:pt x="630" y="99"/>
                  </a:cubicBezTo>
                  <a:cubicBezTo>
                    <a:pt x="630" y="99"/>
                    <a:pt x="630" y="99"/>
                    <a:pt x="630" y="99"/>
                  </a:cubicBezTo>
                  <a:cubicBezTo>
                    <a:pt x="630" y="98"/>
                    <a:pt x="630" y="98"/>
                    <a:pt x="631" y="98"/>
                  </a:cubicBezTo>
                  <a:cubicBezTo>
                    <a:pt x="630" y="97"/>
                    <a:pt x="630" y="97"/>
                    <a:pt x="630" y="97"/>
                  </a:cubicBezTo>
                  <a:cubicBezTo>
                    <a:pt x="630" y="97"/>
                    <a:pt x="630" y="97"/>
                    <a:pt x="630" y="97"/>
                  </a:cubicBezTo>
                  <a:cubicBezTo>
                    <a:pt x="631" y="97"/>
                    <a:pt x="631" y="97"/>
                    <a:pt x="631" y="97"/>
                  </a:cubicBezTo>
                  <a:cubicBezTo>
                    <a:pt x="631" y="97"/>
                    <a:pt x="631" y="96"/>
                    <a:pt x="632" y="96"/>
                  </a:cubicBezTo>
                  <a:cubicBezTo>
                    <a:pt x="632" y="95"/>
                    <a:pt x="632" y="94"/>
                    <a:pt x="632" y="94"/>
                  </a:cubicBezTo>
                  <a:cubicBezTo>
                    <a:pt x="632" y="93"/>
                    <a:pt x="632" y="93"/>
                    <a:pt x="632" y="93"/>
                  </a:cubicBezTo>
                  <a:cubicBezTo>
                    <a:pt x="633" y="93"/>
                    <a:pt x="633" y="92"/>
                    <a:pt x="633" y="92"/>
                  </a:cubicBezTo>
                  <a:cubicBezTo>
                    <a:pt x="633" y="91"/>
                    <a:pt x="634" y="91"/>
                    <a:pt x="634" y="91"/>
                  </a:cubicBezTo>
                  <a:cubicBezTo>
                    <a:pt x="635" y="90"/>
                    <a:pt x="635" y="90"/>
                    <a:pt x="636" y="90"/>
                  </a:cubicBezTo>
                  <a:cubicBezTo>
                    <a:pt x="637" y="89"/>
                    <a:pt x="638" y="87"/>
                    <a:pt x="638" y="86"/>
                  </a:cubicBezTo>
                  <a:cubicBezTo>
                    <a:pt x="638" y="85"/>
                    <a:pt x="638" y="84"/>
                    <a:pt x="638" y="84"/>
                  </a:cubicBezTo>
                  <a:cubicBezTo>
                    <a:pt x="638" y="83"/>
                    <a:pt x="639" y="83"/>
                    <a:pt x="639" y="82"/>
                  </a:cubicBezTo>
                  <a:cubicBezTo>
                    <a:pt x="638" y="81"/>
                    <a:pt x="638" y="81"/>
                    <a:pt x="638" y="80"/>
                  </a:cubicBezTo>
                  <a:cubicBezTo>
                    <a:pt x="638" y="81"/>
                    <a:pt x="639" y="81"/>
                    <a:pt x="639" y="81"/>
                  </a:cubicBezTo>
                  <a:cubicBezTo>
                    <a:pt x="640" y="81"/>
                    <a:pt x="640" y="81"/>
                    <a:pt x="640" y="81"/>
                  </a:cubicBezTo>
                  <a:cubicBezTo>
                    <a:pt x="641" y="81"/>
                    <a:pt x="641" y="81"/>
                    <a:pt x="642" y="81"/>
                  </a:cubicBezTo>
                  <a:cubicBezTo>
                    <a:pt x="642" y="80"/>
                    <a:pt x="642" y="79"/>
                    <a:pt x="642" y="78"/>
                  </a:cubicBezTo>
                  <a:cubicBezTo>
                    <a:pt x="642" y="78"/>
                    <a:pt x="642" y="78"/>
                    <a:pt x="642" y="78"/>
                  </a:cubicBezTo>
                  <a:cubicBezTo>
                    <a:pt x="642" y="78"/>
                    <a:pt x="642" y="78"/>
                    <a:pt x="642" y="78"/>
                  </a:cubicBezTo>
                  <a:cubicBezTo>
                    <a:pt x="643" y="78"/>
                    <a:pt x="643" y="78"/>
                    <a:pt x="643" y="78"/>
                  </a:cubicBezTo>
                  <a:cubicBezTo>
                    <a:pt x="643" y="78"/>
                    <a:pt x="643" y="78"/>
                    <a:pt x="644" y="78"/>
                  </a:cubicBezTo>
                  <a:cubicBezTo>
                    <a:pt x="645" y="78"/>
                    <a:pt x="646" y="78"/>
                    <a:pt x="647" y="77"/>
                  </a:cubicBezTo>
                  <a:cubicBezTo>
                    <a:pt x="647" y="77"/>
                    <a:pt x="647" y="77"/>
                    <a:pt x="648" y="77"/>
                  </a:cubicBezTo>
                  <a:cubicBezTo>
                    <a:pt x="648" y="76"/>
                    <a:pt x="649" y="76"/>
                    <a:pt x="650" y="75"/>
                  </a:cubicBezTo>
                  <a:cubicBezTo>
                    <a:pt x="650" y="75"/>
                    <a:pt x="652" y="74"/>
                    <a:pt x="652" y="73"/>
                  </a:cubicBezTo>
                  <a:cubicBezTo>
                    <a:pt x="653" y="72"/>
                    <a:pt x="653" y="71"/>
                    <a:pt x="653" y="70"/>
                  </a:cubicBezTo>
                  <a:cubicBezTo>
                    <a:pt x="653" y="70"/>
                    <a:pt x="653" y="70"/>
                    <a:pt x="653" y="70"/>
                  </a:cubicBezTo>
                  <a:cubicBezTo>
                    <a:pt x="653" y="70"/>
                    <a:pt x="654" y="71"/>
                    <a:pt x="654" y="71"/>
                  </a:cubicBezTo>
                  <a:cubicBezTo>
                    <a:pt x="654" y="71"/>
                    <a:pt x="655" y="71"/>
                    <a:pt x="656" y="71"/>
                  </a:cubicBezTo>
                  <a:cubicBezTo>
                    <a:pt x="656" y="71"/>
                    <a:pt x="656" y="71"/>
                    <a:pt x="657" y="71"/>
                  </a:cubicBezTo>
                  <a:cubicBezTo>
                    <a:pt x="657" y="71"/>
                    <a:pt x="657" y="71"/>
                    <a:pt x="657" y="71"/>
                  </a:cubicBezTo>
                  <a:cubicBezTo>
                    <a:pt x="657" y="72"/>
                    <a:pt x="657" y="74"/>
                    <a:pt x="660" y="74"/>
                  </a:cubicBezTo>
                  <a:cubicBezTo>
                    <a:pt x="661" y="74"/>
                    <a:pt x="661" y="73"/>
                    <a:pt x="662" y="73"/>
                  </a:cubicBezTo>
                  <a:cubicBezTo>
                    <a:pt x="662" y="73"/>
                    <a:pt x="663" y="72"/>
                    <a:pt x="663" y="72"/>
                  </a:cubicBezTo>
                  <a:cubicBezTo>
                    <a:pt x="664" y="72"/>
                    <a:pt x="664" y="72"/>
                    <a:pt x="664" y="72"/>
                  </a:cubicBezTo>
                  <a:cubicBezTo>
                    <a:pt x="665" y="72"/>
                    <a:pt x="665" y="71"/>
                    <a:pt x="665" y="71"/>
                  </a:cubicBezTo>
                  <a:cubicBezTo>
                    <a:pt x="666" y="71"/>
                    <a:pt x="666" y="71"/>
                    <a:pt x="666" y="71"/>
                  </a:cubicBezTo>
                  <a:cubicBezTo>
                    <a:pt x="667" y="71"/>
                    <a:pt x="667" y="71"/>
                    <a:pt x="668" y="70"/>
                  </a:cubicBezTo>
                  <a:cubicBezTo>
                    <a:pt x="668" y="70"/>
                    <a:pt x="669" y="69"/>
                    <a:pt x="669" y="69"/>
                  </a:cubicBezTo>
                  <a:cubicBezTo>
                    <a:pt x="669" y="69"/>
                    <a:pt x="669" y="69"/>
                    <a:pt x="669" y="69"/>
                  </a:cubicBezTo>
                  <a:cubicBezTo>
                    <a:pt x="669" y="69"/>
                    <a:pt x="669" y="69"/>
                    <a:pt x="669" y="69"/>
                  </a:cubicBezTo>
                  <a:cubicBezTo>
                    <a:pt x="671" y="69"/>
                    <a:pt x="673" y="68"/>
                    <a:pt x="674" y="67"/>
                  </a:cubicBezTo>
                  <a:cubicBezTo>
                    <a:pt x="675" y="67"/>
                    <a:pt x="675" y="67"/>
                    <a:pt x="675" y="67"/>
                  </a:cubicBezTo>
                  <a:cubicBezTo>
                    <a:pt x="676" y="66"/>
                    <a:pt x="676" y="66"/>
                    <a:pt x="677" y="66"/>
                  </a:cubicBezTo>
                  <a:cubicBezTo>
                    <a:pt x="677" y="66"/>
                    <a:pt x="678" y="66"/>
                    <a:pt x="679" y="65"/>
                  </a:cubicBezTo>
                  <a:cubicBezTo>
                    <a:pt x="679" y="65"/>
                    <a:pt x="679" y="65"/>
                    <a:pt x="680" y="64"/>
                  </a:cubicBezTo>
                  <a:cubicBezTo>
                    <a:pt x="680" y="64"/>
                    <a:pt x="680" y="64"/>
                    <a:pt x="680" y="64"/>
                  </a:cubicBezTo>
                  <a:cubicBezTo>
                    <a:pt x="681" y="63"/>
                    <a:pt x="683" y="63"/>
                    <a:pt x="683" y="61"/>
                  </a:cubicBezTo>
                  <a:cubicBezTo>
                    <a:pt x="683" y="61"/>
                    <a:pt x="683" y="60"/>
                    <a:pt x="682" y="59"/>
                  </a:cubicBezTo>
                  <a:cubicBezTo>
                    <a:pt x="682" y="59"/>
                    <a:pt x="681" y="58"/>
                    <a:pt x="681" y="58"/>
                  </a:cubicBezTo>
                  <a:cubicBezTo>
                    <a:pt x="680" y="58"/>
                    <a:pt x="680" y="58"/>
                    <a:pt x="680" y="58"/>
                  </a:cubicBezTo>
                  <a:cubicBezTo>
                    <a:pt x="680" y="58"/>
                    <a:pt x="680" y="58"/>
                    <a:pt x="680" y="58"/>
                  </a:cubicBezTo>
                  <a:cubicBezTo>
                    <a:pt x="679" y="57"/>
                    <a:pt x="678" y="56"/>
                    <a:pt x="676" y="57"/>
                  </a:cubicBezTo>
                  <a:cubicBezTo>
                    <a:pt x="676" y="57"/>
                    <a:pt x="676" y="57"/>
                    <a:pt x="676" y="57"/>
                  </a:cubicBezTo>
                  <a:cubicBezTo>
                    <a:pt x="676" y="56"/>
                    <a:pt x="676" y="56"/>
                    <a:pt x="674" y="55"/>
                  </a:cubicBezTo>
                  <a:cubicBezTo>
                    <a:pt x="674" y="55"/>
                    <a:pt x="673" y="55"/>
                    <a:pt x="672" y="54"/>
                  </a:cubicBezTo>
                  <a:cubicBezTo>
                    <a:pt x="672" y="54"/>
                    <a:pt x="672" y="54"/>
                    <a:pt x="672" y="54"/>
                  </a:cubicBezTo>
                  <a:cubicBezTo>
                    <a:pt x="671" y="54"/>
                    <a:pt x="669" y="54"/>
                    <a:pt x="669" y="54"/>
                  </a:cubicBezTo>
                  <a:cubicBezTo>
                    <a:pt x="669" y="54"/>
                    <a:pt x="668" y="54"/>
                    <a:pt x="668" y="55"/>
                  </a:cubicBezTo>
                  <a:cubicBezTo>
                    <a:pt x="668" y="54"/>
                    <a:pt x="668" y="54"/>
                    <a:pt x="667" y="54"/>
                  </a:cubicBezTo>
                  <a:cubicBezTo>
                    <a:pt x="666" y="54"/>
                    <a:pt x="666" y="54"/>
                    <a:pt x="666" y="54"/>
                  </a:cubicBezTo>
                  <a:cubicBezTo>
                    <a:pt x="666" y="54"/>
                    <a:pt x="665" y="54"/>
                    <a:pt x="665" y="53"/>
                  </a:cubicBezTo>
                  <a:cubicBezTo>
                    <a:pt x="664" y="53"/>
                    <a:pt x="663" y="53"/>
                    <a:pt x="663" y="53"/>
                  </a:cubicBezTo>
                  <a:cubicBezTo>
                    <a:pt x="661" y="54"/>
                    <a:pt x="660" y="55"/>
                    <a:pt x="659" y="56"/>
                  </a:cubicBezTo>
                  <a:cubicBezTo>
                    <a:pt x="659" y="56"/>
                    <a:pt x="659" y="56"/>
                    <a:pt x="659" y="57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58" y="56"/>
                    <a:pt x="657" y="56"/>
                    <a:pt x="656" y="56"/>
                  </a:cubicBezTo>
                  <a:cubicBezTo>
                    <a:pt x="655" y="57"/>
                    <a:pt x="654" y="57"/>
                    <a:pt x="654" y="58"/>
                  </a:cubicBezTo>
                  <a:cubicBezTo>
                    <a:pt x="654" y="58"/>
                    <a:pt x="653" y="58"/>
                    <a:pt x="653" y="58"/>
                  </a:cubicBezTo>
                  <a:cubicBezTo>
                    <a:pt x="653" y="59"/>
                    <a:pt x="653" y="59"/>
                    <a:pt x="653" y="59"/>
                  </a:cubicBezTo>
                  <a:cubicBezTo>
                    <a:pt x="653" y="59"/>
                    <a:pt x="653" y="59"/>
                    <a:pt x="653" y="59"/>
                  </a:cubicBezTo>
                  <a:cubicBezTo>
                    <a:pt x="653" y="59"/>
                    <a:pt x="652" y="59"/>
                    <a:pt x="652" y="59"/>
                  </a:cubicBezTo>
                  <a:cubicBezTo>
                    <a:pt x="652" y="59"/>
                    <a:pt x="652" y="60"/>
                    <a:pt x="651" y="60"/>
                  </a:cubicBezTo>
                  <a:cubicBezTo>
                    <a:pt x="651" y="60"/>
                    <a:pt x="650" y="61"/>
                    <a:pt x="649" y="61"/>
                  </a:cubicBezTo>
                  <a:cubicBezTo>
                    <a:pt x="649" y="62"/>
                    <a:pt x="649" y="62"/>
                    <a:pt x="648" y="62"/>
                  </a:cubicBezTo>
                  <a:cubicBezTo>
                    <a:pt x="648" y="62"/>
                    <a:pt x="648" y="62"/>
                    <a:pt x="648" y="62"/>
                  </a:cubicBezTo>
                  <a:cubicBezTo>
                    <a:pt x="648" y="62"/>
                    <a:pt x="648" y="62"/>
                    <a:pt x="648" y="62"/>
                  </a:cubicBezTo>
                  <a:cubicBezTo>
                    <a:pt x="647" y="62"/>
                    <a:pt x="646" y="62"/>
                    <a:pt x="646" y="63"/>
                  </a:cubicBezTo>
                  <a:cubicBezTo>
                    <a:pt x="645" y="63"/>
                    <a:pt x="645" y="63"/>
                    <a:pt x="645" y="64"/>
                  </a:cubicBezTo>
                  <a:cubicBezTo>
                    <a:pt x="645" y="64"/>
                    <a:pt x="644" y="64"/>
                    <a:pt x="644" y="64"/>
                  </a:cubicBezTo>
                  <a:cubicBezTo>
                    <a:pt x="644" y="65"/>
                    <a:pt x="644" y="65"/>
                    <a:pt x="643" y="65"/>
                  </a:cubicBezTo>
                  <a:cubicBezTo>
                    <a:pt x="642" y="65"/>
                    <a:pt x="641" y="66"/>
                    <a:pt x="641" y="68"/>
                  </a:cubicBezTo>
                  <a:cubicBezTo>
                    <a:pt x="641" y="68"/>
                    <a:pt x="641" y="68"/>
                    <a:pt x="641" y="68"/>
                  </a:cubicBezTo>
                  <a:cubicBezTo>
                    <a:pt x="640" y="69"/>
                    <a:pt x="640" y="70"/>
                    <a:pt x="640" y="71"/>
                  </a:cubicBezTo>
                  <a:cubicBezTo>
                    <a:pt x="640" y="71"/>
                    <a:pt x="640" y="71"/>
                    <a:pt x="640" y="71"/>
                  </a:cubicBezTo>
                  <a:cubicBezTo>
                    <a:pt x="640" y="72"/>
                    <a:pt x="639" y="72"/>
                    <a:pt x="639" y="72"/>
                  </a:cubicBezTo>
                  <a:cubicBezTo>
                    <a:pt x="639" y="72"/>
                    <a:pt x="638" y="72"/>
                    <a:pt x="638" y="72"/>
                  </a:cubicBezTo>
                  <a:cubicBezTo>
                    <a:pt x="637" y="72"/>
                    <a:pt x="636" y="73"/>
                    <a:pt x="636" y="75"/>
                  </a:cubicBezTo>
                  <a:cubicBezTo>
                    <a:pt x="635" y="75"/>
                    <a:pt x="635" y="75"/>
                    <a:pt x="634" y="76"/>
                  </a:cubicBezTo>
                  <a:cubicBezTo>
                    <a:pt x="634" y="76"/>
                    <a:pt x="634" y="77"/>
                    <a:pt x="634" y="77"/>
                  </a:cubicBezTo>
                  <a:cubicBezTo>
                    <a:pt x="634" y="77"/>
                    <a:pt x="633" y="77"/>
                    <a:pt x="633" y="78"/>
                  </a:cubicBezTo>
                  <a:cubicBezTo>
                    <a:pt x="633" y="78"/>
                    <a:pt x="632" y="78"/>
                    <a:pt x="632" y="78"/>
                  </a:cubicBezTo>
                  <a:cubicBezTo>
                    <a:pt x="632" y="78"/>
                    <a:pt x="632" y="79"/>
                    <a:pt x="632" y="79"/>
                  </a:cubicBezTo>
                  <a:cubicBezTo>
                    <a:pt x="631" y="79"/>
                    <a:pt x="631" y="79"/>
                    <a:pt x="630" y="79"/>
                  </a:cubicBezTo>
                  <a:cubicBezTo>
                    <a:pt x="630" y="80"/>
                    <a:pt x="629" y="80"/>
                    <a:pt x="628" y="80"/>
                  </a:cubicBezTo>
                  <a:cubicBezTo>
                    <a:pt x="628" y="80"/>
                    <a:pt x="627" y="80"/>
                    <a:pt x="626" y="80"/>
                  </a:cubicBezTo>
                  <a:cubicBezTo>
                    <a:pt x="626" y="81"/>
                    <a:pt x="625" y="81"/>
                    <a:pt x="625" y="82"/>
                  </a:cubicBezTo>
                  <a:cubicBezTo>
                    <a:pt x="625" y="82"/>
                    <a:pt x="625" y="82"/>
                    <a:pt x="624" y="82"/>
                  </a:cubicBezTo>
                  <a:cubicBezTo>
                    <a:pt x="624" y="82"/>
                    <a:pt x="624" y="82"/>
                    <a:pt x="624" y="82"/>
                  </a:cubicBezTo>
                  <a:cubicBezTo>
                    <a:pt x="623" y="82"/>
                    <a:pt x="623" y="82"/>
                    <a:pt x="623" y="82"/>
                  </a:cubicBezTo>
                  <a:cubicBezTo>
                    <a:pt x="623" y="82"/>
                    <a:pt x="622" y="82"/>
                    <a:pt x="622" y="82"/>
                  </a:cubicBezTo>
                  <a:cubicBezTo>
                    <a:pt x="622" y="82"/>
                    <a:pt x="622" y="82"/>
                    <a:pt x="622" y="82"/>
                  </a:cubicBezTo>
                  <a:cubicBezTo>
                    <a:pt x="621" y="82"/>
                    <a:pt x="620" y="82"/>
                    <a:pt x="619" y="83"/>
                  </a:cubicBezTo>
                  <a:cubicBezTo>
                    <a:pt x="619" y="83"/>
                    <a:pt x="618" y="84"/>
                    <a:pt x="618" y="84"/>
                  </a:cubicBezTo>
                  <a:cubicBezTo>
                    <a:pt x="618" y="84"/>
                    <a:pt x="618" y="84"/>
                    <a:pt x="618" y="84"/>
                  </a:cubicBezTo>
                  <a:cubicBezTo>
                    <a:pt x="617" y="85"/>
                    <a:pt x="617" y="85"/>
                    <a:pt x="616" y="85"/>
                  </a:cubicBezTo>
                  <a:cubicBezTo>
                    <a:pt x="616" y="86"/>
                    <a:pt x="615" y="86"/>
                    <a:pt x="615" y="86"/>
                  </a:cubicBezTo>
                  <a:cubicBezTo>
                    <a:pt x="615" y="86"/>
                    <a:pt x="615" y="86"/>
                    <a:pt x="615" y="86"/>
                  </a:cubicBezTo>
                  <a:cubicBezTo>
                    <a:pt x="614" y="86"/>
                    <a:pt x="613" y="87"/>
                    <a:pt x="613" y="87"/>
                  </a:cubicBezTo>
                  <a:cubicBezTo>
                    <a:pt x="613" y="88"/>
                    <a:pt x="612" y="88"/>
                    <a:pt x="612" y="88"/>
                  </a:cubicBezTo>
                  <a:cubicBezTo>
                    <a:pt x="611" y="90"/>
                    <a:pt x="611" y="91"/>
                    <a:pt x="612" y="91"/>
                  </a:cubicBezTo>
                  <a:cubicBezTo>
                    <a:pt x="612" y="92"/>
                    <a:pt x="611" y="92"/>
                    <a:pt x="611" y="92"/>
                  </a:cubicBezTo>
                  <a:cubicBezTo>
                    <a:pt x="611" y="92"/>
                    <a:pt x="611" y="92"/>
                    <a:pt x="611" y="91"/>
                  </a:cubicBezTo>
                  <a:cubicBezTo>
                    <a:pt x="611" y="91"/>
                    <a:pt x="611" y="91"/>
                    <a:pt x="610" y="91"/>
                  </a:cubicBezTo>
                  <a:cubicBezTo>
                    <a:pt x="610" y="91"/>
                    <a:pt x="609" y="91"/>
                    <a:pt x="608" y="91"/>
                  </a:cubicBezTo>
                  <a:cubicBezTo>
                    <a:pt x="607" y="91"/>
                    <a:pt x="607" y="92"/>
                    <a:pt x="606" y="92"/>
                  </a:cubicBezTo>
                  <a:cubicBezTo>
                    <a:pt x="605" y="93"/>
                    <a:pt x="604" y="94"/>
                    <a:pt x="604" y="94"/>
                  </a:cubicBezTo>
                  <a:cubicBezTo>
                    <a:pt x="603" y="95"/>
                    <a:pt x="602" y="96"/>
                    <a:pt x="602" y="98"/>
                  </a:cubicBezTo>
                  <a:cubicBezTo>
                    <a:pt x="602" y="98"/>
                    <a:pt x="602" y="98"/>
                    <a:pt x="602" y="98"/>
                  </a:cubicBezTo>
                  <a:cubicBezTo>
                    <a:pt x="601" y="99"/>
                    <a:pt x="601" y="100"/>
                    <a:pt x="601" y="102"/>
                  </a:cubicBezTo>
                  <a:cubicBezTo>
                    <a:pt x="601" y="102"/>
                    <a:pt x="602" y="103"/>
                    <a:pt x="602" y="103"/>
                  </a:cubicBezTo>
                  <a:cubicBezTo>
                    <a:pt x="602" y="104"/>
                    <a:pt x="603" y="104"/>
                    <a:pt x="603" y="105"/>
                  </a:cubicBezTo>
                  <a:cubicBezTo>
                    <a:pt x="604" y="105"/>
                    <a:pt x="604" y="105"/>
                    <a:pt x="605" y="105"/>
                  </a:cubicBezTo>
                  <a:cubicBezTo>
                    <a:pt x="605" y="105"/>
                    <a:pt x="605" y="105"/>
                    <a:pt x="606" y="105"/>
                  </a:cubicBezTo>
                  <a:cubicBezTo>
                    <a:pt x="606" y="105"/>
                    <a:pt x="606" y="105"/>
                    <a:pt x="606" y="105"/>
                  </a:cubicBezTo>
                  <a:cubicBezTo>
                    <a:pt x="606" y="106"/>
                    <a:pt x="606" y="106"/>
                    <a:pt x="606" y="106"/>
                  </a:cubicBezTo>
                  <a:cubicBezTo>
                    <a:pt x="606" y="106"/>
                    <a:pt x="606" y="106"/>
                    <a:pt x="606" y="107"/>
                  </a:cubicBezTo>
                  <a:cubicBezTo>
                    <a:pt x="606" y="107"/>
                    <a:pt x="605" y="107"/>
                    <a:pt x="605" y="107"/>
                  </a:cubicBezTo>
                  <a:cubicBezTo>
                    <a:pt x="605" y="107"/>
                    <a:pt x="604" y="107"/>
                    <a:pt x="604" y="107"/>
                  </a:cubicBezTo>
                  <a:cubicBezTo>
                    <a:pt x="604" y="107"/>
                    <a:pt x="604" y="107"/>
                    <a:pt x="604" y="107"/>
                  </a:cubicBezTo>
                  <a:cubicBezTo>
                    <a:pt x="603" y="107"/>
                    <a:pt x="603" y="107"/>
                    <a:pt x="603" y="107"/>
                  </a:cubicBezTo>
                  <a:cubicBezTo>
                    <a:pt x="603" y="107"/>
                    <a:pt x="602" y="107"/>
                    <a:pt x="602" y="107"/>
                  </a:cubicBezTo>
                  <a:cubicBezTo>
                    <a:pt x="601" y="108"/>
                    <a:pt x="600" y="108"/>
                    <a:pt x="600" y="109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600" y="110"/>
                    <a:pt x="600" y="110"/>
                    <a:pt x="600" y="110"/>
                  </a:cubicBezTo>
                  <a:cubicBezTo>
                    <a:pt x="599" y="110"/>
                    <a:pt x="599" y="111"/>
                    <a:pt x="599" y="111"/>
                  </a:cubicBezTo>
                  <a:cubicBezTo>
                    <a:pt x="598" y="111"/>
                    <a:pt x="598" y="111"/>
                    <a:pt x="598" y="112"/>
                  </a:cubicBezTo>
                  <a:cubicBezTo>
                    <a:pt x="599" y="113"/>
                    <a:pt x="599" y="113"/>
                    <a:pt x="599" y="113"/>
                  </a:cubicBezTo>
                  <a:cubicBezTo>
                    <a:pt x="598" y="112"/>
                    <a:pt x="598" y="112"/>
                    <a:pt x="598" y="112"/>
                  </a:cubicBezTo>
                  <a:cubicBezTo>
                    <a:pt x="597" y="112"/>
                    <a:pt x="597" y="112"/>
                    <a:pt x="597" y="112"/>
                  </a:cubicBezTo>
                  <a:cubicBezTo>
                    <a:pt x="597" y="112"/>
                    <a:pt x="597" y="112"/>
                    <a:pt x="597" y="112"/>
                  </a:cubicBezTo>
                  <a:cubicBezTo>
                    <a:pt x="597" y="112"/>
                    <a:pt x="596" y="112"/>
                    <a:pt x="596" y="112"/>
                  </a:cubicBezTo>
                  <a:cubicBezTo>
                    <a:pt x="595" y="112"/>
                    <a:pt x="594" y="112"/>
                    <a:pt x="594" y="113"/>
                  </a:cubicBezTo>
                  <a:cubicBezTo>
                    <a:pt x="594" y="114"/>
                    <a:pt x="594" y="115"/>
                    <a:pt x="595" y="115"/>
                  </a:cubicBezTo>
                  <a:cubicBezTo>
                    <a:pt x="595" y="116"/>
                    <a:pt x="596" y="116"/>
                    <a:pt x="597" y="116"/>
                  </a:cubicBezTo>
                  <a:cubicBezTo>
                    <a:pt x="597" y="116"/>
                    <a:pt x="597" y="116"/>
                    <a:pt x="597" y="117"/>
                  </a:cubicBezTo>
                  <a:cubicBezTo>
                    <a:pt x="596" y="117"/>
                    <a:pt x="596" y="117"/>
                    <a:pt x="596" y="117"/>
                  </a:cubicBezTo>
                  <a:cubicBezTo>
                    <a:pt x="596" y="117"/>
                    <a:pt x="596" y="117"/>
                    <a:pt x="596" y="117"/>
                  </a:cubicBezTo>
                  <a:cubicBezTo>
                    <a:pt x="595" y="117"/>
                    <a:pt x="595" y="117"/>
                    <a:pt x="595" y="117"/>
                  </a:cubicBezTo>
                  <a:cubicBezTo>
                    <a:pt x="594" y="117"/>
                    <a:pt x="594" y="117"/>
                    <a:pt x="593" y="117"/>
                  </a:cubicBezTo>
                  <a:cubicBezTo>
                    <a:pt x="593" y="118"/>
                    <a:pt x="593" y="118"/>
                    <a:pt x="593" y="118"/>
                  </a:cubicBezTo>
                  <a:cubicBezTo>
                    <a:pt x="593" y="118"/>
                    <a:pt x="593" y="118"/>
                    <a:pt x="593" y="118"/>
                  </a:cubicBezTo>
                  <a:cubicBezTo>
                    <a:pt x="593" y="117"/>
                    <a:pt x="593" y="117"/>
                    <a:pt x="593" y="117"/>
                  </a:cubicBezTo>
                  <a:cubicBezTo>
                    <a:pt x="592" y="117"/>
                    <a:pt x="591" y="117"/>
                    <a:pt x="591" y="118"/>
                  </a:cubicBezTo>
                  <a:cubicBezTo>
                    <a:pt x="590" y="118"/>
                    <a:pt x="590" y="119"/>
                    <a:pt x="590" y="119"/>
                  </a:cubicBezTo>
                  <a:cubicBezTo>
                    <a:pt x="589" y="119"/>
                    <a:pt x="589" y="119"/>
                    <a:pt x="589" y="120"/>
                  </a:cubicBezTo>
                  <a:cubicBezTo>
                    <a:pt x="589" y="120"/>
                    <a:pt x="589" y="120"/>
                    <a:pt x="589" y="120"/>
                  </a:cubicBezTo>
                  <a:cubicBezTo>
                    <a:pt x="588" y="120"/>
                    <a:pt x="588" y="120"/>
                    <a:pt x="588" y="120"/>
                  </a:cubicBezTo>
                  <a:cubicBezTo>
                    <a:pt x="588" y="120"/>
                    <a:pt x="587" y="120"/>
                    <a:pt x="586" y="120"/>
                  </a:cubicBezTo>
                  <a:cubicBezTo>
                    <a:pt x="586" y="120"/>
                    <a:pt x="586" y="120"/>
                    <a:pt x="586" y="120"/>
                  </a:cubicBezTo>
                  <a:cubicBezTo>
                    <a:pt x="586" y="120"/>
                    <a:pt x="585" y="120"/>
                    <a:pt x="585" y="120"/>
                  </a:cubicBezTo>
                  <a:cubicBezTo>
                    <a:pt x="584" y="120"/>
                    <a:pt x="583" y="120"/>
                    <a:pt x="583" y="120"/>
                  </a:cubicBezTo>
                  <a:cubicBezTo>
                    <a:pt x="583" y="120"/>
                    <a:pt x="583" y="120"/>
                    <a:pt x="583" y="120"/>
                  </a:cubicBezTo>
                  <a:cubicBezTo>
                    <a:pt x="582" y="120"/>
                    <a:pt x="582" y="120"/>
                    <a:pt x="581" y="120"/>
                  </a:cubicBezTo>
                  <a:cubicBezTo>
                    <a:pt x="582" y="120"/>
                    <a:pt x="582" y="119"/>
                    <a:pt x="582" y="119"/>
                  </a:cubicBezTo>
                  <a:cubicBezTo>
                    <a:pt x="581" y="118"/>
                    <a:pt x="581" y="118"/>
                    <a:pt x="580" y="117"/>
                  </a:cubicBezTo>
                  <a:cubicBezTo>
                    <a:pt x="580" y="117"/>
                    <a:pt x="579" y="117"/>
                    <a:pt x="579" y="117"/>
                  </a:cubicBezTo>
                  <a:cubicBezTo>
                    <a:pt x="579" y="117"/>
                    <a:pt x="579" y="116"/>
                    <a:pt x="579" y="116"/>
                  </a:cubicBezTo>
                  <a:cubicBezTo>
                    <a:pt x="578" y="115"/>
                    <a:pt x="578" y="114"/>
                    <a:pt x="577" y="114"/>
                  </a:cubicBezTo>
                  <a:cubicBezTo>
                    <a:pt x="577" y="114"/>
                    <a:pt x="577" y="114"/>
                    <a:pt x="577" y="113"/>
                  </a:cubicBezTo>
                  <a:cubicBezTo>
                    <a:pt x="577" y="114"/>
                    <a:pt x="577" y="114"/>
                    <a:pt x="577" y="114"/>
                  </a:cubicBezTo>
                  <a:cubicBezTo>
                    <a:pt x="578" y="114"/>
                    <a:pt x="578" y="114"/>
                    <a:pt x="578" y="114"/>
                  </a:cubicBezTo>
                  <a:cubicBezTo>
                    <a:pt x="578" y="114"/>
                    <a:pt x="578" y="114"/>
                    <a:pt x="578" y="114"/>
                  </a:cubicBezTo>
                  <a:cubicBezTo>
                    <a:pt x="578" y="114"/>
                    <a:pt x="578" y="114"/>
                    <a:pt x="579" y="115"/>
                  </a:cubicBezTo>
                  <a:cubicBezTo>
                    <a:pt x="579" y="115"/>
                    <a:pt x="579" y="115"/>
                    <a:pt x="579" y="115"/>
                  </a:cubicBezTo>
                  <a:cubicBezTo>
                    <a:pt x="580" y="115"/>
                    <a:pt x="580" y="116"/>
                    <a:pt x="581" y="116"/>
                  </a:cubicBezTo>
                  <a:cubicBezTo>
                    <a:pt x="581" y="116"/>
                    <a:pt x="581" y="116"/>
                    <a:pt x="581" y="116"/>
                  </a:cubicBezTo>
                  <a:cubicBezTo>
                    <a:pt x="582" y="116"/>
                    <a:pt x="583" y="115"/>
                    <a:pt x="583" y="115"/>
                  </a:cubicBezTo>
                  <a:cubicBezTo>
                    <a:pt x="583" y="115"/>
                    <a:pt x="583" y="115"/>
                    <a:pt x="583" y="115"/>
                  </a:cubicBezTo>
                  <a:cubicBezTo>
                    <a:pt x="583" y="115"/>
                    <a:pt x="584" y="115"/>
                    <a:pt x="584" y="115"/>
                  </a:cubicBezTo>
                  <a:cubicBezTo>
                    <a:pt x="586" y="115"/>
                    <a:pt x="587" y="115"/>
                    <a:pt x="588" y="114"/>
                  </a:cubicBezTo>
                  <a:cubicBezTo>
                    <a:pt x="588" y="114"/>
                    <a:pt x="588" y="114"/>
                    <a:pt x="588" y="114"/>
                  </a:cubicBezTo>
                  <a:cubicBezTo>
                    <a:pt x="588" y="114"/>
                    <a:pt x="588" y="114"/>
                    <a:pt x="588" y="114"/>
                  </a:cubicBezTo>
                  <a:cubicBezTo>
                    <a:pt x="589" y="114"/>
                    <a:pt x="589" y="115"/>
                    <a:pt x="590" y="115"/>
                  </a:cubicBezTo>
                  <a:cubicBezTo>
                    <a:pt x="591" y="115"/>
                    <a:pt x="591" y="115"/>
                    <a:pt x="591" y="115"/>
                  </a:cubicBezTo>
                  <a:cubicBezTo>
                    <a:pt x="592" y="115"/>
                    <a:pt x="592" y="114"/>
                    <a:pt x="593" y="114"/>
                  </a:cubicBezTo>
                  <a:cubicBezTo>
                    <a:pt x="592" y="113"/>
                    <a:pt x="592" y="113"/>
                    <a:pt x="592" y="113"/>
                  </a:cubicBezTo>
                  <a:cubicBezTo>
                    <a:pt x="593" y="114"/>
                    <a:pt x="593" y="114"/>
                    <a:pt x="593" y="114"/>
                  </a:cubicBezTo>
                  <a:cubicBezTo>
                    <a:pt x="593" y="113"/>
                    <a:pt x="594" y="113"/>
                    <a:pt x="594" y="111"/>
                  </a:cubicBezTo>
                  <a:cubicBezTo>
                    <a:pt x="594" y="111"/>
                    <a:pt x="593" y="110"/>
                    <a:pt x="593" y="110"/>
                  </a:cubicBezTo>
                  <a:cubicBezTo>
                    <a:pt x="593" y="109"/>
                    <a:pt x="593" y="109"/>
                    <a:pt x="593" y="109"/>
                  </a:cubicBezTo>
                  <a:cubicBezTo>
                    <a:pt x="593" y="108"/>
                    <a:pt x="593" y="108"/>
                    <a:pt x="593" y="107"/>
                  </a:cubicBezTo>
                  <a:cubicBezTo>
                    <a:pt x="593" y="107"/>
                    <a:pt x="593" y="107"/>
                    <a:pt x="592" y="107"/>
                  </a:cubicBezTo>
                  <a:cubicBezTo>
                    <a:pt x="592" y="107"/>
                    <a:pt x="592" y="106"/>
                    <a:pt x="592" y="106"/>
                  </a:cubicBezTo>
                  <a:cubicBezTo>
                    <a:pt x="592" y="106"/>
                    <a:pt x="593" y="105"/>
                    <a:pt x="593" y="104"/>
                  </a:cubicBezTo>
                  <a:cubicBezTo>
                    <a:pt x="593" y="104"/>
                    <a:pt x="593" y="104"/>
                    <a:pt x="593" y="104"/>
                  </a:cubicBezTo>
                  <a:cubicBezTo>
                    <a:pt x="593" y="104"/>
                    <a:pt x="593" y="103"/>
                    <a:pt x="593" y="103"/>
                  </a:cubicBezTo>
                  <a:cubicBezTo>
                    <a:pt x="593" y="101"/>
                    <a:pt x="594" y="100"/>
                    <a:pt x="593" y="98"/>
                  </a:cubicBezTo>
                  <a:cubicBezTo>
                    <a:pt x="593" y="96"/>
                    <a:pt x="591" y="96"/>
                    <a:pt x="591" y="96"/>
                  </a:cubicBezTo>
                  <a:cubicBezTo>
                    <a:pt x="590" y="96"/>
                    <a:pt x="590" y="96"/>
                    <a:pt x="590" y="96"/>
                  </a:cubicBezTo>
                  <a:cubicBezTo>
                    <a:pt x="589" y="96"/>
                    <a:pt x="589" y="97"/>
                    <a:pt x="588" y="98"/>
                  </a:cubicBezTo>
                  <a:cubicBezTo>
                    <a:pt x="588" y="99"/>
                    <a:pt x="588" y="99"/>
                    <a:pt x="588" y="99"/>
                  </a:cubicBezTo>
                  <a:cubicBezTo>
                    <a:pt x="587" y="99"/>
                    <a:pt x="587" y="99"/>
                    <a:pt x="587" y="100"/>
                  </a:cubicBezTo>
                  <a:cubicBezTo>
                    <a:pt x="587" y="100"/>
                    <a:pt x="587" y="100"/>
                    <a:pt x="586" y="100"/>
                  </a:cubicBezTo>
                  <a:cubicBezTo>
                    <a:pt x="586" y="100"/>
                    <a:pt x="585" y="99"/>
                    <a:pt x="584" y="99"/>
                  </a:cubicBezTo>
                  <a:cubicBezTo>
                    <a:pt x="584" y="99"/>
                    <a:pt x="584" y="99"/>
                    <a:pt x="584" y="99"/>
                  </a:cubicBezTo>
                  <a:cubicBezTo>
                    <a:pt x="583" y="99"/>
                    <a:pt x="582" y="101"/>
                    <a:pt x="582" y="101"/>
                  </a:cubicBezTo>
                  <a:cubicBezTo>
                    <a:pt x="582" y="102"/>
                    <a:pt x="582" y="102"/>
                    <a:pt x="582" y="102"/>
                  </a:cubicBezTo>
                  <a:cubicBezTo>
                    <a:pt x="582" y="102"/>
                    <a:pt x="582" y="102"/>
                    <a:pt x="582" y="102"/>
                  </a:cubicBezTo>
                  <a:cubicBezTo>
                    <a:pt x="582" y="102"/>
                    <a:pt x="581" y="102"/>
                    <a:pt x="581" y="102"/>
                  </a:cubicBezTo>
                  <a:cubicBezTo>
                    <a:pt x="581" y="102"/>
                    <a:pt x="580" y="102"/>
                    <a:pt x="580" y="102"/>
                  </a:cubicBezTo>
                  <a:cubicBezTo>
                    <a:pt x="579" y="102"/>
                    <a:pt x="578" y="102"/>
                    <a:pt x="577" y="103"/>
                  </a:cubicBezTo>
                  <a:cubicBezTo>
                    <a:pt x="577" y="103"/>
                    <a:pt x="577" y="103"/>
                    <a:pt x="577" y="103"/>
                  </a:cubicBezTo>
                  <a:cubicBezTo>
                    <a:pt x="577" y="103"/>
                    <a:pt x="576" y="103"/>
                    <a:pt x="576" y="103"/>
                  </a:cubicBezTo>
                  <a:cubicBezTo>
                    <a:pt x="575" y="103"/>
                    <a:pt x="574" y="103"/>
                    <a:pt x="573" y="104"/>
                  </a:cubicBezTo>
                  <a:cubicBezTo>
                    <a:pt x="572" y="104"/>
                    <a:pt x="572" y="105"/>
                    <a:pt x="572" y="106"/>
                  </a:cubicBezTo>
                  <a:cubicBezTo>
                    <a:pt x="572" y="107"/>
                    <a:pt x="572" y="107"/>
                    <a:pt x="573" y="108"/>
                  </a:cubicBezTo>
                  <a:cubicBezTo>
                    <a:pt x="573" y="108"/>
                    <a:pt x="573" y="108"/>
                    <a:pt x="573" y="108"/>
                  </a:cubicBezTo>
                  <a:cubicBezTo>
                    <a:pt x="573" y="108"/>
                    <a:pt x="573" y="109"/>
                    <a:pt x="573" y="110"/>
                  </a:cubicBezTo>
                  <a:cubicBezTo>
                    <a:pt x="574" y="110"/>
                    <a:pt x="574" y="110"/>
                    <a:pt x="575" y="110"/>
                  </a:cubicBezTo>
                  <a:cubicBezTo>
                    <a:pt x="575" y="111"/>
                    <a:pt x="575" y="111"/>
                    <a:pt x="575" y="111"/>
                  </a:cubicBezTo>
                  <a:cubicBezTo>
                    <a:pt x="575" y="111"/>
                    <a:pt x="575" y="111"/>
                    <a:pt x="575" y="111"/>
                  </a:cubicBezTo>
                  <a:cubicBezTo>
                    <a:pt x="575" y="111"/>
                    <a:pt x="575" y="111"/>
                    <a:pt x="575" y="111"/>
                  </a:cubicBezTo>
                  <a:cubicBezTo>
                    <a:pt x="574" y="111"/>
                    <a:pt x="573" y="112"/>
                    <a:pt x="573" y="113"/>
                  </a:cubicBezTo>
                  <a:cubicBezTo>
                    <a:pt x="573" y="113"/>
                    <a:pt x="572" y="113"/>
                    <a:pt x="573" y="113"/>
                  </a:cubicBezTo>
                  <a:cubicBezTo>
                    <a:pt x="573" y="113"/>
                    <a:pt x="573" y="113"/>
                    <a:pt x="573" y="113"/>
                  </a:cubicBezTo>
                  <a:cubicBezTo>
                    <a:pt x="572" y="113"/>
                    <a:pt x="572" y="113"/>
                    <a:pt x="572" y="113"/>
                  </a:cubicBezTo>
                  <a:cubicBezTo>
                    <a:pt x="571" y="113"/>
                    <a:pt x="571" y="113"/>
                    <a:pt x="571" y="113"/>
                  </a:cubicBezTo>
                  <a:cubicBezTo>
                    <a:pt x="571" y="112"/>
                    <a:pt x="570" y="112"/>
                    <a:pt x="569" y="112"/>
                  </a:cubicBezTo>
                  <a:cubicBezTo>
                    <a:pt x="569" y="112"/>
                    <a:pt x="569" y="112"/>
                    <a:pt x="569" y="112"/>
                  </a:cubicBezTo>
                  <a:cubicBezTo>
                    <a:pt x="568" y="112"/>
                    <a:pt x="568" y="113"/>
                    <a:pt x="568" y="113"/>
                  </a:cubicBezTo>
                  <a:cubicBezTo>
                    <a:pt x="567" y="114"/>
                    <a:pt x="567" y="114"/>
                    <a:pt x="567" y="114"/>
                  </a:cubicBezTo>
                  <a:cubicBezTo>
                    <a:pt x="567" y="114"/>
                    <a:pt x="567" y="115"/>
                    <a:pt x="567" y="115"/>
                  </a:cubicBezTo>
                  <a:cubicBezTo>
                    <a:pt x="567" y="115"/>
                    <a:pt x="567" y="115"/>
                    <a:pt x="567" y="115"/>
                  </a:cubicBezTo>
                  <a:cubicBezTo>
                    <a:pt x="566" y="115"/>
                    <a:pt x="566" y="116"/>
                    <a:pt x="566" y="116"/>
                  </a:cubicBezTo>
                  <a:cubicBezTo>
                    <a:pt x="566" y="116"/>
                    <a:pt x="566" y="116"/>
                    <a:pt x="565" y="117"/>
                  </a:cubicBezTo>
                  <a:cubicBezTo>
                    <a:pt x="565" y="116"/>
                    <a:pt x="565" y="116"/>
                    <a:pt x="565" y="116"/>
                  </a:cubicBezTo>
                  <a:cubicBezTo>
                    <a:pt x="564" y="116"/>
                    <a:pt x="564" y="116"/>
                    <a:pt x="564" y="116"/>
                  </a:cubicBezTo>
                  <a:cubicBezTo>
                    <a:pt x="564" y="116"/>
                    <a:pt x="562" y="116"/>
                    <a:pt x="562" y="118"/>
                  </a:cubicBezTo>
                  <a:cubicBezTo>
                    <a:pt x="562" y="118"/>
                    <a:pt x="562" y="119"/>
                    <a:pt x="562" y="119"/>
                  </a:cubicBezTo>
                  <a:cubicBezTo>
                    <a:pt x="562" y="120"/>
                    <a:pt x="562" y="120"/>
                    <a:pt x="561" y="120"/>
                  </a:cubicBezTo>
                  <a:cubicBezTo>
                    <a:pt x="561" y="120"/>
                    <a:pt x="561" y="120"/>
                    <a:pt x="561" y="120"/>
                  </a:cubicBezTo>
                  <a:cubicBezTo>
                    <a:pt x="561" y="120"/>
                    <a:pt x="560" y="120"/>
                    <a:pt x="560" y="120"/>
                  </a:cubicBezTo>
                  <a:cubicBezTo>
                    <a:pt x="559" y="120"/>
                    <a:pt x="559" y="120"/>
                    <a:pt x="559" y="120"/>
                  </a:cubicBezTo>
                  <a:cubicBezTo>
                    <a:pt x="559" y="120"/>
                    <a:pt x="558" y="120"/>
                    <a:pt x="558" y="120"/>
                  </a:cubicBezTo>
                  <a:cubicBezTo>
                    <a:pt x="557" y="120"/>
                    <a:pt x="557" y="120"/>
                    <a:pt x="557" y="120"/>
                  </a:cubicBezTo>
                  <a:cubicBezTo>
                    <a:pt x="557" y="120"/>
                    <a:pt x="557" y="120"/>
                    <a:pt x="556" y="120"/>
                  </a:cubicBezTo>
                  <a:cubicBezTo>
                    <a:pt x="556" y="120"/>
                    <a:pt x="556" y="120"/>
                    <a:pt x="556" y="120"/>
                  </a:cubicBezTo>
                  <a:cubicBezTo>
                    <a:pt x="555" y="120"/>
                    <a:pt x="555" y="120"/>
                    <a:pt x="555" y="120"/>
                  </a:cubicBezTo>
                  <a:cubicBezTo>
                    <a:pt x="554" y="120"/>
                    <a:pt x="554" y="119"/>
                    <a:pt x="553" y="119"/>
                  </a:cubicBezTo>
                  <a:cubicBezTo>
                    <a:pt x="552" y="119"/>
                    <a:pt x="552" y="119"/>
                    <a:pt x="552" y="119"/>
                  </a:cubicBezTo>
                  <a:cubicBezTo>
                    <a:pt x="552" y="119"/>
                    <a:pt x="551" y="119"/>
                    <a:pt x="551" y="119"/>
                  </a:cubicBezTo>
                  <a:cubicBezTo>
                    <a:pt x="551" y="119"/>
                    <a:pt x="551" y="119"/>
                    <a:pt x="551" y="119"/>
                  </a:cubicBezTo>
                  <a:cubicBezTo>
                    <a:pt x="550" y="118"/>
                    <a:pt x="550" y="118"/>
                    <a:pt x="548" y="118"/>
                  </a:cubicBezTo>
                  <a:cubicBezTo>
                    <a:pt x="548" y="118"/>
                    <a:pt x="548" y="118"/>
                    <a:pt x="548" y="118"/>
                  </a:cubicBezTo>
                  <a:cubicBezTo>
                    <a:pt x="547" y="118"/>
                    <a:pt x="547" y="118"/>
                    <a:pt x="547" y="118"/>
                  </a:cubicBezTo>
                  <a:cubicBezTo>
                    <a:pt x="547" y="118"/>
                    <a:pt x="547" y="118"/>
                    <a:pt x="547" y="118"/>
                  </a:cubicBezTo>
                  <a:cubicBezTo>
                    <a:pt x="547" y="117"/>
                    <a:pt x="547" y="116"/>
                    <a:pt x="546" y="115"/>
                  </a:cubicBezTo>
                  <a:cubicBezTo>
                    <a:pt x="546" y="115"/>
                    <a:pt x="546" y="115"/>
                    <a:pt x="545" y="114"/>
                  </a:cubicBezTo>
                  <a:cubicBezTo>
                    <a:pt x="545" y="114"/>
                    <a:pt x="545" y="114"/>
                    <a:pt x="545" y="114"/>
                  </a:cubicBezTo>
                  <a:cubicBezTo>
                    <a:pt x="545" y="113"/>
                    <a:pt x="545" y="113"/>
                    <a:pt x="544" y="112"/>
                  </a:cubicBezTo>
                  <a:cubicBezTo>
                    <a:pt x="544" y="112"/>
                    <a:pt x="544" y="112"/>
                    <a:pt x="544" y="112"/>
                  </a:cubicBezTo>
                  <a:cubicBezTo>
                    <a:pt x="544" y="111"/>
                    <a:pt x="544" y="110"/>
                    <a:pt x="543" y="109"/>
                  </a:cubicBezTo>
                  <a:cubicBezTo>
                    <a:pt x="543" y="109"/>
                    <a:pt x="542" y="109"/>
                    <a:pt x="541" y="109"/>
                  </a:cubicBezTo>
                  <a:cubicBezTo>
                    <a:pt x="541" y="109"/>
                    <a:pt x="541" y="109"/>
                    <a:pt x="541" y="109"/>
                  </a:cubicBezTo>
                  <a:cubicBezTo>
                    <a:pt x="540" y="109"/>
                    <a:pt x="540" y="110"/>
                    <a:pt x="540" y="110"/>
                  </a:cubicBezTo>
                  <a:cubicBezTo>
                    <a:pt x="539" y="110"/>
                    <a:pt x="539" y="110"/>
                    <a:pt x="539" y="110"/>
                  </a:cubicBezTo>
                  <a:cubicBezTo>
                    <a:pt x="539" y="110"/>
                    <a:pt x="539" y="111"/>
                    <a:pt x="538" y="111"/>
                  </a:cubicBezTo>
                  <a:cubicBezTo>
                    <a:pt x="538" y="110"/>
                    <a:pt x="538" y="110"/>
                    <a:pt x="539" y="109"/>
                  </a:cubicBezTo>
                  <a:cubicBezTo>
                    <a:pt x="539" y="108"/>
                    <a:pt x="539" y="108"/>
                    <a:pt x="539" y="107"/>
                  </a:cubicBezTo>
                  <a:cubicBezTo>
                    <a:pt x="538" y="106"/>
                    <a:pt x="538" y="106"/>
                    <a:pt x="538" y="106"/>
                  </a:cubicBezTo>
                  <a:cubicBezTo>
                    <a:pt x="538" y="106"/>
                    <a:pt x="538" y="105"/>
                    <a:pt x="538" y="105"/>
                  </a:cubicBezTo>
                  <a:cubicBezTo>
                    <a:pt x="538" y="105"/>
                    <a:pt x="539" y="104"/>
                    <a:pt x="539" y="104"/>
                  </a:cubicBezTo>
                  <a:cubicBezTo>
                    <a:pt x="539" y="103"/>
                    <a:pt x="540" y="102"/>
                    <a:pt x="540" y="100"/>
                  </a:cubicBezTo>
                  <a:cubicBezTo>
                    <a:pt x="539" y="99"/>
                    <a:pt x="538" y="98"/>
                    <a:pt x="537" y="98"/>
                  </a:cubicBezTo>
                  <a:cubicBezTo>
                    <a:pt x="536" y="98"/>
                    <a:pt x="535" y="99"/>
                    <a:pt x="534" y="99"/>
                  </a:cubicBezTo>
                  <a:cubicBezTo>
                    <a:pt x="533" y="99"/>
                    <a:pt x="533" y="99"/>
                    <a:pt x="532" y="99"/>
                  </a:cubicBezTo>
                  <a:cubicBezTo>
                    <a:pt x="532" y="99"/>
                    <a:pt x="531" y="99"/>
                    <a:pt x="531" y="99"/>
                  </a:cubicBezTo>
                  <a:cubicBezTo>
                    <a:pt x="529" y="100"/>
                    <a:pt x="529" y="100"/>
                    <a:pt x="529" y="100"/>
                  </a:cubicBezTo>
                  <a:cubicBezTo>
                    <a:pt x="528" y="100"/>
                    <a:pt x="527" y="100"/>
                    <a:pt x="527" y="100"/>
                  </a:cubicBezTo>
                  <a:cubicBezTo>
                    <a:pt x="526" y="99"/>
                    <a:pt x="526" y="99"/>
                    <a:pt x="526" y="99"/>
                  </a:cubicBezTo>
                  <a:cubicBezTo>
                    <a:pt x="525" y="99"/>
                    <a:pt x="525" y="99"/>
                    <a:pt x="525" y="99"/>
                  </a:cubicBezTo>
                  <a:cubicBezTo>
                    <a:pt x="524" y="99"/>
                    <a:pt x="524" y="99"/>
                    <a:pt x="524" y="99"/>
                  </a:cubicBezTo>
                  <a:cubicBezTo>
                    <a:pt x="525" y="99"/>
                    <a:pt x="525" y="98"/>
                    <a:pt x="526" y="98"/>
                  </a:cubicBezTo>
                  <a:cubicBezTo>
                    <a:pt x="526" y="98"/>
                    <a:pt x="526" y="98"/>
                    <a:pt x="526" y="98"/>
                  </a:cubicBezTo>
                  <a:cubicBezTo>
                    <a:pt x="527" y="98"/>
                    <a:pt x="527" y="98"/>
                    <a:pt x="527" y="98"/>
                  </a:cubicBezTo>
                  <a:cubicBezTo>
                    <a:pt x="528" y="98"/>
                    <a:pt x="528" y="98"/>
                    <a:pt x="528" y="98"/>
                  </a:cubicBezTo>
                  <a:cubicBezTo>
                    <a:pt x="529" y="98"/>
                    <a:pt x="529" y="98"/>
                    <a:pt x="529" y="98"/>
                  </a:cubicBezTo>
                  <a:cubicBezTo>
                    <a:pt x="529" y="98"/>
                    <a:pt x="529" y="98"/>
                    <a:pt x="529" y="98"/>
                  </a:cubicBezTo>
                  <a:cubicBezTo>
                    <a:pt x="530" y="98"/>
                    <a:pt x="531" y="98"/>
                    <a:pt x="531" y="98"/>
                  </a:cubicBezTo>
                  <a:cubicBezTo>
                    <a:pt x="533" y="98"/>
                    <a:pt x="534" y="98"/>
                    <a:pt x="536" y="98"/>
                  </a:cubicBezTo>
                  <a:cubicBezTo>
                    <a:pt x="537" y="98"/>
                    <a:pt x="539" y="97"/>
                    <a:pt x="541" y="96"/>
                  </a:cubicBezTo>
                  <a:cubicBezTo>
                    <a:pt x="542" y="96"/>
                    <a:pt x="542" y="95"/>
                    <a:pt x="543" y="94"/>
                  </a:cubicBezTo>
                  <a:cubicBezTo>
                    <a:pt x="543" y="94"/>
                    <a:pt x="543" y="94"/>
                    <a:pt x="543" y="94"/>
                  </a:cubicBezTo>
                  <a:cubicBezTo>
                    <a:pt x="543" y="94"/>
                    <a:pt x="543" y="93"/>
                    <a:pt x="543" y="93"/>
                  </a:cubicBezTo>
                  <a:cubicBezTo>
                    <a:pt x="543" y="93"/>
                    <a:pt x="543" y="94"/>
                    <a:pt x="543" y="94"/>
                  </a:cubicBezTo>
                  <a:cubicBezTo>
                    <a:pt x="543" y="94"/>
                    <a:pt x="544" y="94"/>
                    <a:pt x="544" y="94"/>
                  </a:cubicBezTo>
                  <a:cubicBezTo>
                    <a:pt x="543" y="95"/>
                    <a:pt x="543" y="96"/>
                    <a:pt x="543" y="96"/>
                  </a:cubicBezTo>
                  <a:cubicBezTo>
                    <a:pt x="543" y="97"/>
                    <a:pt x="544" y="98"/>
                    <a:pt x="545" y="99"/>
                  </a:cubicBezTo>
                  <a:cubicBezTo>
                    <a:pt x="545" y="99"/>
                    <a:pt x="545" y="99"/>
                    <a:pt x="545" y="99"/>
                  </a:cubicBezTo>
                  <a:cubicBezTo>
                    <a:pt x="545" y="99"/>
                    <a:pt x="545" y="100"/>
                    <a:pt x="545" y="101"/>
                  </a:cubicBezTo>
                  <a:cubicBezTo>
                    <a:pt x="545" y="102"/>
                    <a:pt x="545" y="103"/>
                    <a:pt x="547" y="103"/>
                  </a:cubicBezTo>
                  <a:cubicBezTo>
                    <a:pt x="548" y="103"/>
                    <a:pt x="548" y="103"/>
                    <a:pt x="549" y="103"/>
                  </a:cubicBezTo>
                  <a:cubicBezTo>
                    <a:pt x="549" y="103"/>
                    <a:pt x="549" y="103"/>
                    <a:pt x="550" y="103"/>
                  </a:cubicBezTo>
                  <a:cubicBezTo>
                    <a:pt x="550" y="103"/>
                    <a:pt x="550" y="103"/>
                    <a:pt x="550" y="103"/>
                  </a:cubicBezTo>
                  <a:cubicBezTo>
                    <a:pt x="551" y="103"/>
                    <a:pt x="551" y="104"/>
                    <a:pt x="552" y="104"/>
                  </a:cubicBezTo>
                  <a:cubicBezTo>
                    <a:pt x="553" y="104"/>
                    <a:pt x="553" y="104"/>
                    <a:pt x="554" y="104"/>
                  </a:cubicBezTo>
                  <a:cubicBezTo>
                    <a:pt x="555" y="104"/>
                    <a:pt x="557" y="104"/>
                    <a:pt x="558" y="104"/>
                  </a:cubicBezTo>
                  <a:cubicBezTo>
                    <a:pt x="558" y="103"/>
                    <a:pt x="558" y="103"/>
                    <a:pt x="558" y="103"/>
                  </a:cubicBezTo>
                  <a:cubicBezTo>
                    <a:pt x="558" y="104"/>
                    <a:pt x="558" y="104"/>
                    <a:pt x="558" y="104"/>
                  </a:cubicBezTo>
                  <a:cubicBezTo>
                    <a:pt x="559" y="104"/>
                    <a:pt x="559" y="103"/>
                    <a:pt x="560" y="103"/>
                  </a:cubicBezTo>
                  <a:cubicBezTo>
                    <a:pt x="560" y="103"/>
                    <a:pt x="561" y="103"/>
                    <a:pt x="561" y="103"/>
                  </a:cubicBezTo>
                  <a:cubicBezTo>
                    <a:pt x="561" y="103"/>
                    <a:pt x="561" y="103"/>
                    <a:pt x="561" y="103"/>
                  </a:cubicBezTo>
                  <a:cubicBezTo>
                    <a:pt x="562" y="103"/>
                    <a:pt x="564" y="103"/>
                    <a:pt x="565" y="102"/>
                  </a:cubicBezTo>
                  <a:cubicBezTo>
                    <a:pt x="565" y="102"/>
                    <a:pt x="565" y="101"/>
                    <a:pt x="566" y="101"/>
                  </a:cubicBezTo>
                  <a:cubicBezTo>
                    <a:pt x="566" y="100"/>
                    <a:pt x="566" y="100"/>
                    <a:pt x="566" y="100"/>
                  </a:cubicBezTo>
                  <a:cubicBezTo>
                    <a:pt x="566" y="100"/>
                    <a:pt x="566" y="100"/>
                    <a:pt x="566" y="100"/>
                  </a:cubicBezTo>
                  <a:cubicBezTo>
                    <a:pt x="567" y="99"/>
                    <a:pt x="568" y="99"/>
                    <a:pt x="568" y="98"/>
                  </a:cubicBezTo>
                  <a:cubicBezTo>
                    <a:pt x="568" y="97"/>
                    <a:pt x="568" y="97"/>
                    <a:pt x="567" y="96"/>
                  </a:cubicBezTo>
                  <a:cubicBezTo>
                    <a:pt x="567" y="96"/>
                    <a:pt x="567" y="96"/>
                    <a:pt x="567" y="96"/>
                  </a:cubicBezTo>
                  <a:cubicBezTo>
                    <a:pt x="567" y="95"/>
                    <a:pt x="567" y="95"/>
                    <a:pt x="568" y="95"/>
                  </a:cubicBezTo>
                  <a:cubicBezTo>
                    <a:pt x="568" y="95"/>
                    <a:pt x="568" y="94"/>
                    <a:pt x="568" y="94"/>
                  </a:cubicBezTo>
                  <a:cubicBezTo>
                    <a:pt x="568" y="94"/>
                    <a:pt x="568" y="94"/>
                    <a:pt x="569" y="94"/>
                  </a:cubicBezTo>
                  <a:cubicBezTo>
                    <a:pt x="569" y="94"/>
                    <a:pt x="569" y="94"/>
                    <a:pt x="569" y="94"/>
                  </a:cubicBezTo>
                  <a:cubicBezTo>
                    <a:pt x="569" y="94"/>
                    <a:pt x="569" y="94"/>
                    <a:pt x="569" y="94"/>
                  </a:cubicBezTo>
                  <a:cubicBezTo>
                    <a:pt x="570" y="94"/>
                    <a:pt x="570" y="94"/>
                    <a:pt x="570" y="94"/>
                  </a:cubicBezTo>
                  <a:cubicBezTo>
                    <a:pt x="570" y="94"/>
                    <a:pt x="571" y="94"/>
                    <a:pt x="571" y="94"/>
                  </a:cubicBezTo>
                  <a:cubicBezTo>
                    <a:pt x="571" y="95"/>
                    <a:pt x="571" y="96"/>
                    <a:pt x="572" y="96"/>
                  </a:cubicBezTo>
                  <a:cubicBezTo>
                    <a:pt x="573" y="97"/>
                    <a:pt x="573" y="97"/>
                    <a:pt x="574" y="96"/>
                  </a:cubicBezTo>
                  <a:cubicBezTo>
                    <a:pt x="574" y="97"/>
                    <a:pt x="574" y="97"/>
                    <a:pt x="574" y="98"/>
                  </a:cubicBezTo>
                  <a:cubicBezTo>
                    <a:pt x="575" y="98"/>
                    <a:pt x="575" y="98"/>
                    <a:pt x="575" y="98"/>
                  </a:cubicBezTo>
                  <a:cubicBezTo>
                    <a:pt x="576" y="98"/>
                    <a:pt x="576" y="98"/>
                    <a:pt x="576" y="98"/>
                  </a:cubicBezTo>
                  <a:cubicBezTo>
                    <a:pt x="577" y="98"/>
                    <a:pt x="577" y="97"/>
                    <a:pt x="578" y="96"/>
                  </a:cubicBezTo>
                  <a:cubicBezTo>
                    <a:pt x="578" y="96"/>
                    <a:pt x="578" y="96"/>
                    <a:pt x="578" y="96"/>
                  </a:cubicBezTo>
                  <a:cubicBezTo>
                    <a:pt x="579" y="95"/>
                    <a:pt x="580" y="95"/>
                    <a:pt x="581" y="94"/>
                  </a:cubicBezTo>
                  <a:cubicBezTo>
                    <a:pt x="582" y="94"/>
                    <a:pt x="582" y="94"/>
                    <a:pt x="582" y="94"/>
                  </a:cubicBezTo>
                  <a:cubicBezTo>
                    <a:pt x="583" y="93"/>
                    <a:pt x="583" y="92"/>
                    <a:pt x="583" y="91"/>
                  </a:cubicBezTo>
                  <a:cubicBezTo>
                    <a:pt x="583" y="91"/>
                    <a:pt x="583" y="90"/>
                    <a:pt x="583" y="89"/>
                  </a:cubicBezTo>
                  <a:cubicBezTo>
                    <a:pt x="582" y="89"/>
                    <a:pt x="582" y="89"/>
                    <a:pt x="582" y="89"/>
                  </a:cubicBezTo>
                  <a:cubicBezTo>
                    <a:pt x="582" y="89"/>
                    <a:pt x="582" y="89"/>
                    <a:pt x="582" y="89"/>
                  </a:cubicBezTo>
                  <a:cubicBezTo>
                    <a:pt x="583" y="87"/>
                    <a:pt x="583" y="87"/>
                    <a:pt x="583" y="87"/>
                  </a:cubicBezTo>
                  <a:cubicBezTo>
                    <a:pt x="582" y="87"/>
                    <a:pt x="582" y="87"/>
                    <a:pt x="582" y="87"/>
                  </a:cubicBezTo>
                  <a:cubicBezTo>
                    <a:pt x="581" y="86"/>
                    <a:pt x="581" y="86"/>
                    <a:pt x="580" y="85"/>
                  </a:cubicBezTo>
                  <a:cubicBezTo>
                    <a:pt x="580" y="85"/>
                    <a:pt x="580" y="85"/>
                    <a:pt x="580" y="85"/>
                  </a:cubicBezTo>
                  <a:cubicBezTo>
                    <a:pt x="580" y="84"/>
                    <a:pt x="580" y="84"/>
                    <a:pt x="579" y="83"/>
                  </a:cubicBezTo>
                  <a:cubicBezTo>
                    <a:pt x="579" y="83"/>
                    <a:pt x="578" y="82"/>
                    <a:pt x="577" y="82"/>
                  </a:cubicBezTo>
                  <a:cubicBezTo>
                    <a:pt x="577" y="82"/>
                    <a:pt x="577" y="82"/>
                    <a:pt x="577" y="82"/>
                  </a:cubicBezTo>
                  <a:cubicBezTo>
                    <a:pt x="578" y="81"/>
                    <a:pt x="578" y="81"/>
                    <a:pt x="578" y="80"/>
                  </a:cubicBezTo>
                  <a:cubicBezTo>
                    <a:pt x="579" y="79"/>
                    <a:pt x="579" y="78"/>
                    <a:pt x="579" y="77"/>
                  </a:cubicBezTo>
                  <a:cubicBezTo>
                    <a:pt x="579" y="76"/>
                    <a:pt x="579" y="75"/>
                    <a:pt x="580" y="75"/>
                  </a:cubicBezTo>
                  <a:cubicBezTo>
                    <a:pt x="580" y="75"/>
                    <a:pt x="581" y="75"/>
                    <a:pt x="581" y="75"/>
                  </a:cubicBezTo>
                  <a:cubicBezTo>
                    <a:pt x="582" y="75"/>
                    <a:pt x="583" y="75"/>
                    <a:pt x="584" y="73"/>
                  </a:cubicBezTo>
                  <a:cubicBezTo>
                    <a:pt x="585" y="73"/>
                    <a:pt x="585" y="73"/>
                    <a:pt x="585" y="73"/>
                  </a:cubicBezTo>
                  <a:cubicBezTo>
                    <a:pt x="585" y="72"/>
                    <a:pt x="585" y="72"/>
                    <a:pt x="586" y="71"/>
                  </a:cubicBezTo>
                  <a:cubicBezTo>
                    <a:pt x="586" y="71"/>
                    <a:pt x="586" y="71"/>
                    <a:pt x="586" y="71"/>
                  </a:cubicBezTo>
                  <a:cubicBezTo>
                    <a:pt x="586" y="70"/>
                    <a:pt x="586" y="70"/>
                    <a:pt x="587" y="70"/>
                  </a:cubicBezTo>
                  <a:cubicBezTo>
                    <a:pt x="587" y="70"/>
                    <a:pt x="588" y="70"/>
                    <a:pt x="588" y="70"/>
                  </a:cubicBezTo>
                  <a:cubicBezTo>
                    <a:pt x="589" y="69"/>
                    <a:pt x="590" y="68"/>
                    <a:pt x="590" y="67"/>
                  </a:cubicBezTo>
                  <a:cubicBezTo>
                    <a:pt x="590" y="66"/>
                    <a:pt x="590" y="66"/>
                    <a:pt x="590" y="66"/>
                  </a:cubicBezTo>
                  <a:cubicBezTo>
                    <a:pt x="590" y="66"/>
                    <a:pt x="590" y="66"/>
                    <a:pt x="590" y="66"/>
                  </a:cubicBezTo>
                  <a:cubicBezTo>
                    <a:pt x="591" y="65"/>
                    <a:pt x="592" y="65"/>
                    <a:pt x="592" y="64"/>
                  </a:cubicBezTo>
                  <a:cubicBezTo>
                    <a:pt x="592" y="63"/>
                    <a:pt x="592" y="63"/>
                    <a:pt x="592" y="62"/>
                  </a:cubicBezTo>
                  <a:cubicBezTo>
                    <a:pt x="593" y="62"/>
                    <a:pt x="593" y="62"/>
                    <a:pt x="593" y="62"/>
                  </a:cubicBezTo>
                  <a:cubicBezTo>
                    <a:pt x="595" y="61"/>
                    <a:pt x="595" y="61"/>
                    <a:pt x="595" y="59"/>
                  </a:cubicBezTo>
                  <a:cubicBezTo>
                    <a:pt x="595" y="59"/>
                    <a:pt x="595" y="59"/>
                    <a:pt x="595" y="59"/>
                  </a:cubicBezTo>
                  <a:cubicBezTo>
                    <a:pt x="595" y="59"/>
                    <a:pt x="595" y="59"/>
                    <a:pt x="595" y="59"/>
                  </a:cubicBezTo>
                  <a:cubicBezTo>
                    <a:pt x="596" y="59"/>
                    <a:pt x="596" y="59"/>
                    <a:pt x="597" y="58"/>
                  </a:cubicBezTo>
                  <a:cubicBezTo>
                    <a:pt x="598" y="58"/>
                    <a:pt x="598" y="57"/>
                    <a:pt x="598" y="56"/>
                  </a:cubicBezTo>
                  <a:cubicBezTo>
                    <a:pt x="599" y="57"/>
                    <a:pt x="599" y="57"/>
                    <a:pt x="600" y="57"/>
                  </a:cubicBezTo>
                  <a:cubicBezTo>
                    <a:pt x="600" y="57"/>
                    <a:pt x="601" y="57"/>
                    <a:pt x="601" y="57"/>
                  </a:cubicBezTo>
                  <a:cubicBezTo>
                    <a:pt x="601" y="56"/>
                    <a:pt x="601" y="56"/>
                    <a:pt x="602" y="56"/>
                  </a:cubicBezTo>
                  <a:cubicBezTo>
                    <a:pt x="602" y="56"/>
                    <a:pt x="602" y="56"/>
                    <a:pt x="603" y="56"/>
                  </a:cubicBezTo>
                  <a:cubicBezTo>
                    <a:pt x="603" y="56"/>
                    <a:pt x="603" y="56"/>
                    <a:pt x="604" y="56"/>
                  </a:cubicBezTo>
                  <a:cubicBezTo>
                    <a:pt x="604" y="55"/>
                    <a:pt x="604" y="55"/>
                    <a:pt x="605" y="55"/>
                  </a:cubicBezTo>
                  <a:cubicBezTo>
                    <a:pt x="605" y="55"/>
                    <a:pt x="605" y="55"/>
                    <a:pt x="606" y="55"/>
                  </a:cubicBezTo>
                  <a:cubicBezTo>
                    <a:pt x="606" y="54"/>
                    <a:pt x="606" y="54"/>
                    <a:pt x="606" y="54"/>
                  </a:cubicBezTo>
                  <a:cubicBezTo>
                    <a:pt x="607" y="54"/>
                    <a:pt x="607" y="54"/>
                    <a:pt x="607" y="54"/>
                  </a:cubicBezTo>
                  <a:cubicBezTo>
                    <a:pt x="607" y="54"/>
                    <a:pt x="608" y="53"/>
                    <a:pt x="608" y="53"/>
                  </a:cubicBezTo>
                  <a:cubicBezTo>
                    <a:pt x="609" y="53"/>
                    <a:pt x="609" y="53"/>
                    <a:pt x="609" y="53"/>
                  </a:cubicBezTo>
                  <a:cubicBezTo>
                    <a:pt x="609" y="52"/>
                    <a:pt x="610" y="52"/>
                    <a:pt x="610" y="52"/>
                  </a:cubicBezTo>
                  <a:cubicBezTo>
                    <a:pt x="611" y="52"/>
                    <a:pt x="612" y="51"/>
                    <a:pt x="612" y="50"/>
                  </a:cubicBezTo>
                  <a:cubicBezTo>
                    <a:pt x="613" y="49"/>
                    <a:pt x="614" y="48"/>
                    <a:pt x="613" y="47"/>
                  </a:cubicBezTo>
                  <a:cubicBezTo>
                    <a:pt x="613" y="46"/>
                    <a:pt x="612" y="45"/>
                    <a:pt x="610" y="45"/>
                  </a:cubicBezTo>
                  <a:cubicBezTo>
                    <a:pt x="610" y="45"/>
                    <a:pt x="610" y="45"/>
                    <a:pt x="610" y="45"/>
                  </a:cubicBezTo>
                  <a:cubicBezTo>
                    <a:pt x="609" y="45"/>
                    <a:pt x="609" y="45"/>
                    <a:pt x="609" y="45"/>
                  </a:cubicBezTo>
                  <a:cubicBezTo>
                    <a:pt x="609" y="45"/>
                    <a:pt x="609" y="45"/>
                    <a:pt x="609" y="45"/>
                  </a:cubicBezTo>
                  <a:cubicBezTo>
                    <a:pt x="608" y="45"/>
                    <a:pt x="608" y="45"/>
                    <a:pt x="608" y="45"/>
                  </a:cubicBezTo>
                  <a:cubicBezTo>
                    <a:pt x="608" y="44"/>
                    <a:pt x="607" y="44"/>
                    <a:pt x="607" y="43"/>
                  </a:cubicBezTo>
                  <a:cubicBezTo>
                    <a:pt x="606" y="43"/>
                    <a:pt x="604" y="44"/>
                    <a:pt x="604" y="44"/>
                  </a:cubicBezTo>
                  <a:cubicBezTo>
                    <a:pt x="603" y="44"/>
                    <a:pt x="603" y="44"/>
                    <a:pt x="603" y="44"/>
                  </a:cubicBezTo>
                  <a:cubicBezTo>
                    <a:pt x="603" y="45"/>
                    <a:pt x="602" y="45"/>
                    <a:pt x="602" y="45"/>
                  </a:cubicBezTo>
                  <a:cubicBezTo>
                    <a:pt x="602" y="45"/>
                    <a:pt x="601" y="45"/>
                    <a:pt x="600" y="45"/>
                  </a:cubicBezTo>
                  <a:cubicBezTo>
                    <a:pt x="599" y="46"/>
                    <a:pt x="599" y="48"/>
                    <a:pt x="599" y="49"/>
                  </a:cubicBezTo>
                  <a:cubicBezTo>
                    <a:pt x="599" y="49"/>
                    <a:pt x="599" y="49"/>
                    <a:pt x="599" y="50"/>
                  </a:cubicBezTo>
                  <a:cubicBezTo>
                    <a:pt x="599" y="50"/>
                    <a:pt x="599" y="50"/>
                    <a:pt x="599" y="50"/>
                  </a:cubicBezTo>
                  <a:cubicBezTo>
                    <a:pt x="598" y="49"/>
                    <a:pt x="597" y="48"/>
                    <a:pt x="596" y="48"/>
                  </a:cubicBezTo>
                  <a:cubicBezTo>
                    <a:pt x="595" y="48"/>
                    <a:pt x="595" y="48"/>
                    <a:pt x="595" y="48"/>
                  </a:cubicBezTo>
                  <a:cubicBezTo>
                    <a:pt x="594" y="48"/>
                    <a:pt x="594" y="47"/>
                    <a:pt x="594" y="47"/>
                  </a:cubicBezTo>
                  <a:cubicBezTo>
                    <a:pt x="593" y="46"/>
                    <a:pt x="591" y="46"/>
                    <a:pt x="590" y="47"/>
                  </a:cubicBezTo>
                  <a:cubicBezTo>
                    <a:pt x="590" y="47"/>
                    <a:pt x="589" y="48"/>
                    <a:pt x="589" y="48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9" y="48"/>
                    <a:pt x="589" y="48"/>
                    <a:pt x="589" y="48"/>
                  </a:cubicBezTo>
                  <a:cubicBezTo>
                    <a:pt x="588" y="48"/>
                    <a:pt x="587" y="48"/>
                    <a:pt x="587" y="49"/>
                  </a:cubicBezTo>
                  <a:cubicBezTo>
                    <a:pt x="586" y="49"/>
                    <a:pt x="585" y="50"/>
                    <a:pt x="585" y="51"/>
                  </a:cubicBezTo>
                  <a:cubicBezTo>
                    <a:pt x="585" y="52"/>
                    <a:pt x="585" y="52"/>
                    <a:pt x="585" y="52"/>
                  </a:cubicBezTo>
                  <a:cubicBezTo>
                    <a:pt x="584" y="53"/>
                    <a:pt x="584" y="53"/>
                    <a:pt x="583" y="53"/>
                  </a:cubicBezTo>
                  <a:cubicBezTo>
                    <a:pt x="581" y="54"/>
                    <a:pt x="580" y="55"/>
                    <a:pt x="579" y="57"/>
                  </a:cubicBezTo>
                  <a:cubicBezTo>
                    <a:pt x="579" y="57"/>
                    <a:pt x="579" y="57"/>
                    <a:pt x="579" y="57"/>
                  </a:cubicBezTo>
                  <a:cubicBezTo>
                    <a:pt x="579" y="59"/>
                    <a:pt x="579" y="59"/>
                    <a:pt x="578" y="59"/>
                  </a:cubicBezTo>
                  <a:cubicBezTo>
                    <a:pt x="575" y="59"/>
                    <a:pt x="574" y="61"/>
                    <a:pt x="573" y="62"/>
                  </a:cubicBezTo>
                  <a:cubicBezTo>
                    <a:pt x="572" y="64"/>
                    <a:pt x="571" y="65"/>
                    <a:pt x="570" y="65"/>
                  </a:cubicBezTo>
                  <a:cubicBezTo>
                    <a:pt x="570" y="65"/>
                    <a:pt x="570" y="65"/>
                    <a:pt x="569" y="65"/>
                  </a:cubicBezTo>
                  <a:cubicBezTo>
                    <a:pt x="570" y="64"/>
                    <a:pt x="571" y="63"/>
                    <a:pt x="571" y="62"/>
                  </a:cubicBezTo>
                  <a:cubicBezTo>
                    <a:pt x="571" y="62"/>
                    <a:pt x="571" y="61"/>
                    <a:pt x="571" y="61"/>
                  </a:cubicBezTo>
                  <a:cubicBezTo>
                    <a:pt x="571" y="60"/>
                    <a:pt x="572" y="60"/>
                    <a:pt x="573" y="60"/>
                  </a:cubicBezTo>
                  <a:cubicBezTo>
                    <a:pt x="574" y="59"/>
                    <a:pt x="575" y="59"/>
                    <a:pt x="576" y="59"/>
                  </a:cubicBezTo>
                  <a:cubicBezTo>
                    <a:pt x="577" y="57"/>
                    <a:pt x="578" y="54"/>
                    <a:pt x="578" y="52"/>
                  </a:cubicBezTo>
                  <a:cubicBezTo>
                    <a:pt x="578" y="51"/>
                    <a:pt x="578" y="51"/>
                    <a:pt x="578" y="51"/>
                  </a:cubicBezTo>
                  <a:cubicBezTo>
                    <a:pt x="578" y="50"/>
                    <a:pt x="577" y="47"/>
                    <a:pt x="576" y="46"/>
                  </a:cubicBezTo>
                  <a:cubicBezTo>
                    <a:pt x="575" y="46"/>
                    <a:pt x="575" y="46"/>
                    <a:pt x="575" y="46"/>
                  </a:cubicBezTo>
                  <a:cubicBezTo>
                    <a:pt x="574" y="46"/>
                    <a:pt x="573" y="46"/>
                    <a:pt x="572" y="48"/>
                  </a:cubicBezTo>
                  <a:cubicBezTo>
                    <a:pt x="572" y="49"/>
                    <a:pt x="572" y="50"/>
                    <a:pt x="573" y="51"/>
                  </a:cubicBezTo>
                  <a:cubicBezTo>
                    <a:pt x="573" y="51"/>
                    <a:pt x="573" y="51"/>
                    <a:pt x="573" y="51"/>
                  </a:cubicBezTo>
                  <a:cubicBezTo>
                    <a:pt x="569" y="51"/>
                    <a:pt x="569" y="51"/>
                    <a:pt x="569" y="51"/>
                  </a:cubicBezTo>
                  <a:cubicBezTo>
                    <a:pt x="571" y="52"/>
                    <a:pt x="571" y="52"/>
                    <a:pt x="571" y="52"/>
                  </a:cubicBezTo>
                  <a:cubicBezTo>
                    <a:pt x="570" y="52"/>
                    <a:pt x="570" y="52"/>
                    <a:pt x="570" y="52"/>
                  </a:cubicBezTo>
                  <a:cubicBezTo>
                    <a:pt x="570" y="52"/>
                    <a:pt x="569" y="52"/>
                    <a:pt x="569" y="52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68" y="52"/>
                    <a:pt x="568" y="52"/>
                    <a:pt x="568" y="52"/>
                  </a:cubicBezTo>
                  <a:cubicBezTo>
                    <a:pt x="568" y="51"/>
                    <a:pt x="568" y="51"/>
                    <a:pt x="568" y="50"/>
                  </a:cubicBezTo>
                  <a:cubicBezTo>
                    <a:pt x="568" y="48"/>
                    <a:pt x="567" y="47"/>
                    <a:pt x="566" y="46"/>
                  </a:cubicBezTo>
                  <a:cubicBezTo>
                    <a:pt x="566" y="46"/>
                    <a:pt x="566" y="46"/>
                    <a:pt x="565" y="46"/>
                  </a:cubicBezTo>
                  <a:cubicBezTo>
                    <a:pt x="565" y="45"/>
                    <a:pt x="564" y="44"/>
                    <a:pt x="563" y="44"/>
                  </a:cubicBezTo>
                  <a:cubicBezTo>
                    <a:pt x="562" y="44"/>
                    <a:pt x="561" y="45"/>
                    <a:pt x="561" y="45"/>
                  </a:cubicBezTo>
                  <a:cubicBezTo>
                    <a:pt x="560" y="45"/>
                    <a:pt x="560" y="45"/>
                    <a:pt x="560" y="45"/>
                  </a:cubicBezTo>
                  <a:cubicBezTo>
                    <a:pt x="560" y="45"/>
                    <a:pt x="560" y="45"/>
                    <a:pt x="560" y="45"/>
                  </a:cubicBezTo>
                  <a:cubicBezTo>
                    <a:pt x="560" y="45"/>
                    <a:pt x="560" y="45"/>
                    <a:pt x="561" y="44"/>
                  </a:cubicBezTo>
                  <a:cubicBezTo>
                    <a:pt x="562" y="43"/>
                    <a:pt x="563" y="42"/>
                    <a:pt x="563" y="40"/>
                  </a:cubicBezTo>
                  <a:cubicBezTo>
                    <a:pt x="563" y="39"/>
                    <a:pt x="562" y="38"/>
                    <a:pt x="561" y="38"/>
                  </a:cubicBezTo>
                  <a:cubicBezTo>
                    <a:pt x="562" y="37"/>
                    <a:pt x="562" y="35"/>
                    <a:pt x="563" y="34"/>
                  </a:cubicBezTo>
                  <a:cubicBezTo>
                    <a:pt x="563" y="33"/>
                    <a:pt x="563" y="33"/>
                    <a:pt x="563" y="33"/>
                  </a:cubicBezTo>
                  <a:cubicBezTo>
                    <a:pt x="563" y="32"/>
                    <a:pt x="563" y="32"/>
                    <a:pt x="563" y="31"/>
                  </a:cubicBezTo>
                  <a:cubicBezTo>
                    <a:pt x="564" y="30"/>
                    <a:pt x="565" y="28"/>
                    <a:pt x="564" y="26"/>
                  </a:cubicBezTo>
                  <a:cubicBezTo>
                    <a:pt x="563" y="24"/>
                    <a:pt x="561" y="24"/>
                    <a:pt x="560" y="24"/>
                  </a:cubicBezTo>
                  <a:cubicBezTo>
                    <a:pt x="559" y="24"/>
                    <a:pt x="558" y="24"/>
                    <a:pt x="557" y="24"/>
                  </a:cubicBezTo>
                  <a:cubicBezTo>
                    <a:pt x="557" y="23"/>
                    <a:pt x="557" y="23"/>
                    <a:pt x="557" y="23"/>
                  </a:cubicBezTo>
                  <a:cubicBezTo>
                    <a:pt x="556" y="23"/>
                    <a:pt x="556" y="23"/>
                    <a:pt x="556" y="23"/>
                  </a:cubicBezTo>
                  <a:cubicBezTo>
                    <a:pt x="556" y="22"/>
                    <a:pt x="555" y="22"/>
                    <a:pt x="555" y="21"/>
                  </a:cubicBezTo>
                  <a:cubicBezTo>
                    <a:pt x="554" y="21"/>
                    <a:pt x="554" y="21"/>
                    <a:pt x="554" y="20"/>
                  </a:cubicBezTo>
                  <a:cubicBezTo>
                    <a:pt x="554" y="20"/>
                    <a:pt x="554" y="20"/>
                    <a:pt x="554" y="20"/>
                  </a:cubicBezTo>
                  <a:cubicBezTo>
                    <a:pt x="553" y="19"/>
                    <a:pt x="553" y="17"/>
                    <a:pt x="550" y="17"/>
                  </a:cubicBezTo>
                  <a:cubicBezTo>
                    <a:pt x="550" y="17"/>
                    <a:pt x="550" y="17"/>
                    <a:pt x="550" y="17"/>
                  </a:cubicBezTo>
                  <a:cubicBezTo>
                    <a:pt x="549" y="17"/>
                    <a:pt x="548" y="17"/>
                    <a:pt x="547" y="17"/>
                  </a:cubicBezTo>
                  <a:cubicBezTo>
                    <a:pt x="547" y="18"/>
                    <a:pt x="546" y="18"/>
                    <a:pt x="546" y="18"/>
                  </a:cubicBezTo>
                  <a:cubicBezTo>
                    <a:pt x="545" y="18"/>
                    <a:pt x="545" y="18"/>
                    <a:pt x="545" y="18"/>
                  </a:cubicBezTo>
                  <a:cubicBezTo>
                    <a:pt x="542" y="18"/>
                    <a:pt x="541" y="18"/>
                    <a:pt x="539" y="17"/>
                  </a:cubicBezTo>
                  <a:cubicBezTo>
                    <a:pt x="540" y="16"/>
                    <a:pt x="540" y="16"/>
                    <a:pt x="540" y="16"/>
                  </a:cubicBezTo>
                  <a:cubicBezTo>
                    <a:pt x="537" y="16"/>
                    <a:pt x="537" y="16"/>
                    <a:pt x="537" y="16"/>
                  </a:cubicBezTo>
                  <a:cubicBezTo>
                    <a:pt x="536" y="16"/>
                    <a:pt x="536" y="16"/>
                    <a:pt x="535" y="15"/>
                  </a:cubicBezTo>
                  <a:cubicBezTo>
                    <a:pt x="535" y="15"/>
                    <a:pt x="534" y="15"/>
                    <a:pt x="533" y="15"/>
                  </a:cubicBezTo>
                  <a:cubicBezTo>
                    <a:pt x="531" y="15"/>
                    <a:pt x="530" y="17"/>
                    <a:pt x="530" y="17"/>
                  </a:cubicBezTo>
                  <a:cubicBezTo>
                    <a:pt x="530" y="18"/>
                    <a:pt x="530" y="18"/>
                    <a:pt x="530" y="18"/>
                  </a:cubicBezTo>
                  <a:cubicBezTo>
                    <a:pt x="529" y="19"/>
                    <a:pt x="528" y="20"/>
                    <a:pt x="527" y="22"/>
                  </a:cubicBezTo>
                  <a:cubicBezTo>
                    <a:pt x="527" y="22"/>
                    <a:pt x="526" y="23"/>
                    <a:pt x="526" y="23"/>
                  </a:cubicBezTo>
                  <a:cubicBezTo>
                    <a:pt x="525" y="25"/>
                    <a:pt x="523" y="26"/>
                    <a:pt x="521" y="26"/>
                  </a:cubicBezTo>
                  <a:cubicBezTo>
                    <a:pt x="520" y="26"/>
                    <a:pt x="520" y="26"/>
                    <a:pt x="520" y="26"/>
                  </a:cubicBezTo>
                  <a:cubicBezTo>
                    <a:pt x="519" y="26"/>
                    <a:pt x="518" y="26"/>
                    <a:pt x="517" y="27"/>
                  </a:cubicBezTo>
                  <a:cubicBezTo>
                    <a:pt x="517" y="27"/>
                    <a:pt x="516" y="27"/>
                    <a:pt x="516" y="27"/>
                  </a:cubicBezTo>
                  <a:cubicBezTo>
                    <a:pt x="515" y="28"/>
                    <a:pt x="515" y="28"/>
                    <a:pt x="514" y="28"/>
                  </a:cubicBezTo>
                  <a:cubicBezTo>
                    <a:pt x="513" y="29"/>
                    <a:pt x="512" y="29"/>
                    <a:pt x="511" y="29"/>
                  </a:cubicBezTo>
                  <a:cubicBezTo>
                    <a:pt x="511" y="29"/>
                    <a:pt x="511" y="29"/>
                    <a:pt x="511" y="29"/>
                  </a:cubicBezTo>
                  <a:cubicBezTo>
                    <a:pt x="510" y="28"/>
                    <a:pt x="509" y="28"/>
                    <a:pt x="508" y="29"/>
                  </a:cubicBezTo>
                  <a:cubicBezTo>
                    <a:pt x="508" y="29"/>
                    <a:pt x="507" y="30"/>
                    <a:pt x="507" y="30"/>
                  </a:cubicBezTo>
                  <a:cubicBezTo>
                    <a:pt x="507" y="30"/>
                    <a:pt x="505" y="30"/>
                    <a:pt x="505" y="31"/>
                  </a:cubicBezTo>
                  <a:cubicBezTo>
                    <a:pt x="504" y="31"/>
                    <a:pt x="504" y="32"/>
                    <a:pt x="504" y="32"/>
                  </a:cubicBezTo>
                  <a:cubicBezTo>
                    <a:pt x="504" y="33"/>
                    <a:pt x="503" y="33"/>
                    <a:pt x="503" y="34"/>
                  </a:cubicBezTo>
                  <a:cubicBezTo>
                    <a:pt x="503" y="34"/>
                    <a:pt x="503" y="33"/>
                    <a:pt x="502" y="33"/>
                  </a:cubicBezTo>
                  <a:cubicBezTo>
                    <a:pt x="502" y="33"/>
                    <a:pt x="502" y="33"/>
                    <a:pt x="501" y="33"/>
                  </a:cubicBezTo>
                  <a:cubicBezTo>
                    <a:pt x="500" y="33"/>
                    <a:pt x="498" y="34"/>
                    <a:pt x="496" y="35"/>
                  </a:cubicBezTo>
                  <a:cubicBezTo>
                    <a:pt x="496" y="35"/>
                    <a:pt x="496" y="35"/>
                    <a:pt x="496" y="35"/>
                  </a:cubicBezTo>
                  <a:cubicBezTo>
                    <a:pt x="496" y="35"/>
                    <a:pt x="495" y="36"/>
                    <a:pt x="495" y="36"/>
                  </a:cubicBezTo>
                  <a:cubicBezTo>
                    <a:pt x="495" y="36"/>
                    <a:pt x="495" y="36"/>
                    <a:pt x="494" y="36"/>
                  </a:cubicBezTo>
                  <a:cubicBezTo>
                    <a:pt x="493" y="36"/>
                    <a:pt x="493" y="36"/>
                    <a:pt x="493" y="36"/>
                  </a:cubicBezTo>
                  <a:cubicBezTo>
                    <a:pt x="493" y="36"/>
                    <a:pt x="492" y="36"/>
                    <a:pt x="492" y="36"/>
                  </a:cubicBezTo>
                  <a:cubicBezTo>
                    <a:pt x="491" y="37"/>
                    <a:pt x="491" y="37"/>
                    <a:pt x="490" y="37"/>
                  </a:cubicBezTo>
                  <a:cubicBezTo>
                    <a:pt x="490" y="38"/>
                    <a:pt x="490" y="38"/>
                    <a:pt x="490" y="38"/>
                  </a:cubicBezTo>
                  <a:cubicBezTo>
                    <a:pt x="490" y="38"/>
                    <a:pt x="490" y="38"/>
                    <a:pt x="490" y="38"/>
                  </a:cubicBezTo>
                  <a:cubicBezTo>
                    <a:pt x="489" y="38"/>
                    <a:pt x="489" y="37"/>
                    <a:pt x="488" y="37"/>
                  </a:cubicBezTo>
                  <a:cubicBezTo>
                    <a:pt x="488" y="37"/>
                    <a:pt x="488" y="37"/>
                    <a:pt x="488" y="38"/>
                  </a:cubicBezTo>
                  <a:cubicBezTo>
                    <a:pt x="487" y="38"/>
                    <a:pt x="487" y="38"/>
                    <a:pt x="487" y="38"/>
                  </a:cubicBezTo>
                  <a:cubicBezTo>
                    <a:pt x="487" y="39"/>
                    <a:pt x="487" y="39"/>
                    <a:pt x="487" y="39"/>
                  </a:cubicBezTo>
                  <a:cubicBezTo>
                    <a:pt x="487" y="41"/>
                    <a:pt x="489" y="42"/>
                    <a:pt x="490" y="42"/>
                  </a:cubicBezTo>
                  <a:cubicBezTo>
                    <a:pt x="490" y="43"/>
                    <a:pt x="490" y="43"/>
                    <a:pt x="490" y="44"/>
                  </a:cubicBezTo>
                  <a:cubicBezTo>
                    <a:pt x="490" y="44"/>
                    <a:pt x="490" y="45"/>
                    <a:pt x="490" y="46"/>
                  </a:cubicBezTo>
                  <a:cubicBezTo>
                    <a:pt x="490" y="47"/>
                    <a:pt x="490" y="48"/>
                    <a:pt x="489" y="48"/>
                  </a:cubicBezTo>
                  <a:cubicBezTo>
                    <a:pt x="489" y="48"/>
                    <a:pt x="488" y="48"/>
                    <a:pt x="488" y="49"/>
                  </a:cubicBezTo>
                  <a:cubicBezTo>
                    <a:pt x="487" y="49"/>
                    <a:pt x="484" y="50"/>
                    <a:pt x="485" y="53"/>
                  </a:cubicBezTo>
                  <a:cubicBezTo>
                    <a:pt x="485" y="54"/>
                    <a:pt x="485" y="54"/>
                    <a:pt x="485" y="54"/>
                  </a:cubicBezTo>
                  <a:cubicBezTo>
                    <a:pt x="486" y="54"/>
                    <a:pt x="486" y="54"/>
                    <a:pt x="486" y="54"/>
                  </a:cubicBezTo>
                  <a:cubicBezTo>
                    <a:pt x="487" y="54"/>
                    <a:pt x="487" y="54"/>
                    <a:pt x="488" y="54"/>
                  </a:cubicBezTo>
                  <a:cubicBezTo>
                    <a:pt x="489" y="54"/>
                    <a:pt x="490" y="54"/>
                    <a:pt x="490" y="54"/>
                  </a:cubicBezTo>
                  <a:cubicBezTo>
                    <a:pt x="492" y="54"/>
                    <a:pt x="493" y="54"/>
                    <a:pt x="494" y="54"/>
                  </a:cubicBezTo>
                  <a:cubicBezTo>
                    <a:pt x="494" y="54"/>
                    <a:pt x="494" y="54"/>
                    <a:pt x="495" y="54"/>
                  </a:cubicBezTo>
                  <a:cubicBezTo>
                    <a:pt x="495" y="54"/>
                    <a:pt x="495" y="54"/>
                    <a:pt x="496" y="54"/>
                  </a:cubicBezTo>
                  <a:cubicBezTo>
                    <a:pt x="496" y="54"/>
                    <a:pt x="497" y="55"/>
                    <a:pt x="497" y="55"/>
                  </a:cubicBezTo>
                  <a:cubicBezTo>
                    <a:pt x="498" y="55"/>
                    <a:pt x="498" y="54"/>
                    <a:pt x="499" y="54"/>
                  </a:cubicBezTo>
                  <a:cubicBezTo>
                    <a:pt x="499" y="54"/>
                    <a:pt x="500" y="53"/>
                    <a:pt x="500" y="53"/>
                  </a:cubicBezTo>
                  <a:cubicBezTo>
                    <a:pt x="500" y="54"/>
                    <a:pt x="500" y="54"/>
                    <a:pt x="500" y="54"/>
                  </a:cubicBezTo>
                  <a:cubicBezTo>
                    <a:pt x="502" y="54"/>
                    <a:pt x="502" y="54"/>
                    <a:pt x="502" y="54"/>
                  </a:cubicBezTo>
                  <a:cubicBezTo>
                    <a:pt x="504" y="54"/>
                    <a:pt x="508" y="54"/>
                    <a:pt x="510" y="51"/>
                  </a:cubicBezTo>
                  <a:cubicBezTo>
                    <a:pt x="511" y="50"/>
                    <a:pt x="513" y="49"/>
                    <a:pt x="515" y="49"/>
                  </a:cubicBezTo>
                  <a:cubicBezTo>
                    <a:pt x="515" y="49"/>
                    <a:pt x="515" y="49"/>
                    <a:pt x="515" y="49"/>
                  </a:cubicBezTo>
                  <a:cubicBezTo>
                    <a:pt x="517" y="49"/>
                    <a:pt x="518" y="48"/>
                    <a:pt x="519" y="47"/>
                  </a:cubicBezTo>
                  <a:cubicBezTo>
                    <a:pt x="519" y="47"/>
                    <a:pt x="519" y="47"/>
                    <a:pt x="520" y="47"/>
                  </a:cubicBezTo>
                  <a:cubicBezTo>
                    <a:pt x="520" y="47"/>
                    <a:pt x="521" y="48"/>
                    <a:pt x="522" y="48"/>
                  </a:cubicBezTo>
                  <a:cubicBezTo>
                    <a:pt x="522" y="48"/>
                    <a:pt x="522" y="48"/>
                    <a:pt x="522" y="48"/>
                  </a:cubicBezTo>
                  <a:cubicBezTo>
                    <a:pt x="521" y="48"/>
                    <a:pt x="521" y="49"/>
                    <a:pt x="520" y="49"/>
                  </a:cubicBezTo>
                  <a:cubicBezTo>
                    <a:pt x="520" y="49"/>
                    <a:pt x="520" y="49"/>
                    <a:pt x="519" y="49"/>
                  </a:cubicBezTo>
                  <a:cubicBezTo>
                    <a:pt x="519" y="50"/>
                    <a:pt x="519" y="50"/>
                    <a:pt x="519" y="50"/>
                  </a:cubicBezTo>
                  <a:cubicBezTo>
                    <a:pt x="519" y="50"/>
                    <a:pt x="519" y="50"/>
                    <a:pt x="519" y="50"/>
                  </a:cubicBezTo>
                  <a:cubicBezTo>
                    <a:pt x="519" y="49"/>
                    <a:pt x="519" y="49"/>
                    <a:pt x="519" y="49"/>
                  </a:cubicBezTo>
                  <a:cubicBezTo>
                    <a:pt x="519" y="49"/>
                    <a:pt x="518" y="49"/>
                    <a:pt x="518" y="49"/>
                  </a:cubicBezTo>
                  <a:cubicBezTo>
                    <a:pt x="516" y="49"/>
                    <a:pt x="515" y="50"/>
                    <a:pt x="515" y="52"/>
                  </a:cubicBezTo>
                  <a:cubicBezTo>
                    <a:pt x="515" y="52"/>
                    <a:pt x="515" y="54"/>
                    <a:pt x="517" y="54"/>
                  </a:cubicBezTo>
                  <a:cubicBezTo>
                    <a:pt x="516" y="54"/>
                    <a:pt x="516" y="55"/>
                    <a:pt x="516" y="56"/>
                  </a:cubicBezTo>
                  <a:cubicBezTo>
                    <a:pt x="516" y="56"/>
                    <a:pt x="516" y="57"/>
                    <a:pt x="516" y="57"/>
                  </a:cubicBezTo>
                  <a:cubicBezTo>
                    <a:pt x="517" y="58"/>
                    <a:pt x="517" y="58"/>
                    <a:pt x="517" y="58"/>
                  </a:cubicBezTo>
                  <a:cubicBezTo>
                    <a:pt x="517" y="58"/>
                    <a:pt x="517" y="58"/>
                    <a:pt x="517" y="58"/>
                  </a:cubicBezTo>
                  <a:cubicBezTo>
                    <a:pt x="516" y="58"/>
                    <a:pt x="516" y="58"/>
                    <a:pt x="516" y="58"/>
                  </a:cubicBezTo>
                  <a:cubicBezTo>
                    <a:pt x="516" y="58"/>
                    <a:pt x="515" y="58"/>
                    <a:pt x="514" y="58"/>
                  </a:cubicBezTo>
                  <a:cubicBezTo>
                    <a:pt x="514" y="59"/>
                    <a:pt x="513" y="59"/>
                    <a:pt x="513" y="59"/>
                  </a:cubicBezTo>
                  <a:cubicBezTo>
                    <a:pt x="512" y="59"/>
                    <a:pt x="511" y="59"/>
                    <a:pt x="510" y="60"/>
                  </a:cubicBezTo>
                  <a:cubicBezTo>
                    <a:pt x="509" y="60"/>
                    <a:pt x="509" y="60"/>
                    <a:pt x="508" y="61"/>
                  </a:cubicBezTo>
                  <a:cubicBezTo>
                    <a:pt x="508" y="61"/>
                    <a:pt x="508" y="62"/>
                    <a:pt x="508" y="62"/>
                  </a:cubicBezTo>
                  <a:cubicBezTo>
                    <a:pt x="507" y="65"/>
                    <a:pt x="510" y="66"/>
                    <a:pt x="511" y="67"/>
                  </a:cubicBezTo>
                  <a:cubicBezTo>
                    <a:pt x="512" y="67"/>
                    <a:pt x="512" y="67"/>
                    <a:pt x="512" y="67"/>
                  </a:cubicBezTo>
                  <a:cubicBezTo>
                    <a:pt x="513" y="67"/>
                    <a:pt x="514" y="68"/>
                    <a:pt x="514" y="69"/>
                  </a:cubicBezTo>
                  <a:cubicBezTo>
                    <a:pt x="515" y="69"/>
                    <a:pt x="516" y="70"/>
                    <a:pt x="517" y="71"/>
                  </a:cubicBezTo>
                  <a:cubicBezTo>
                    <a:pt x="518" y="71"/>
                    <a:pt x="519" y="71"/>
                    <a:pt x="519" y="71"/>
                  </a:cubicBezTo>
                  <a:cubicBezTo>
                    <a:pt x="520" y="71"/>
                    <a:pt x="520" y="71"/>
                    <a:pt x="521" y="71"/>
                  </a:cubicBezTo>
                  <a:cubicBezTo>
                    <a:pt x="521" y="71"/>
                    <a:pt x="522" y="71"/>
                    <a:pt x="523" y="71"/>
                  </a:cubicBezTo>
                  <a:cubicBezTo>
                    <a:pt x="524" y="71"/>
                    <a:pt x="524" y="72"/>
                    <a:pt x="525" y="72"/>
                  </a:cubicBezTo>
                  <a:cubicBezTo>
                    <a:pt x="525" y="72"/>
                    <a:pt x="525" y="72"/>
                    <a:pt x="525" y="72"/>
                  </a:cubicBezTo>
                  <a:cubicBezTo>
                    <a:pt x="526" y="72"/>
                    <a:pt x="526" y="72"/>
                    <a:pt x="526" y="73"/>
                  </a:cubicBezTo>
                  <a:cubicBezTo>
                    <a:pt x="527" y="73"/>
                    <a:pt x="527" y="73"/>
                    <a:pt x="527" y="73"/>
                  </a:cubicBezTo>
                  <a:cubicBezTo>
                    <a:pt x="527" y="73"/>
                    <a:pt x="528" y="73"/>
                    <a:pt x="528" y="74"/>
                  </a:cubicBezTo>
                  <a:cubicBezTo>
                    <a:pt x="528" y="74"/>
                    <a:pt x="528" y="74"/>
                    <a:pt x="529" y="74"/>
                  </a:cubicBezTo>
                  <a:cubicBezTo>
                    <a:pt x="529" y="74"/>
                    <a:pt x="529" y="74"/>
                    <a:pt x="529" y="74"/>
                  </a:cubicBezTo>
                  <a:cubicBezTo>
                    <a:pt x="529" y="74"/>
                    <a:pt x="528" y="75"/>
                    <a:pt x="528" y="75"/>
                  </a:cubicBezTo>
                  <a:cubicBezTo>
                    <a:pt x="528" y="75"/>
                    <a:pt x="528" y="75"/>
                    <a:pt x="527" y="75"/>
                  </a:cubicBezTo>
                  <a:cubicBezTo>
                    <a:pt x="527" y="75"/>
                    <a:pt x="527" y="75"/>
                    <a:pt x="527" y="74"/>
                  </a:cubicBezTo>
                  <a:cubicBezTo>
                    <a:pt x="526" y="74"/>
                    <a:pt x="525" y="73"/>
                    <a:pt x="524" y="73"/>
                  </a:cubicBezTo>
                  <a:cubicBezTo>
                    <a:pt x="524" y="73"/>
                    <a:pt x="524" y="73"/>
                    <a:pt x="524" y="73"/>
                  </a:cubicBezTo>
                  <a:cubicBezTo>
                    <a:pt x="523" y="73"/>
                    <a:pt x="523" y="73"/>
                    <a:pt x="522" y="74"/>
                  </a:cubicBezTo>
                  <a:cubicBezTo>
                    <a:pt x="521" y="74"/>
                    <a:pt x="521" y="73"/>
                    <a:pt x="521" y="73"/>
                  </a:cubicBezTo>
                  <a:cubicBezTo>
                    <a:pt x="520" y="73"/>
                    <a:pt x="519" y="73"/>
                    <a:pt x="519" y="73"/>
                  </a:cubicBezTo>
                  <a:cubicBezTo>
                    <a:pt x="518" y="72"/>
                    <a:pt x="516" y="71"/>
                    <a:pt x="514" y="71"/>
                  </a:cubicBezTo>
                  <a:cubicBezTo>
                    <a:pt x="513" y="72"/>
                    <a:pt x="513" y="72"/>
                    <a:pt x="512" y="72"/>
                  </a:cubicBezTo>
                  <a:cubicBezTo>
                    <a:pt x="511" y="72"/>
                    <a:pt x="511" y="72"/>
                    <a:pt x="510" y="72"/>
                  </a:cubicBezTo>
                  <a:cubicBezTo>
                    <a:pt x="510" y="72"/>
                    <a:pt x="510" y="72"/>
                    <a:pt x="509" y="72"/>
                  </a:cubicBezTo>
                  <a:cubicBezTo>
                    <a:pt x="508" y="73"/>
                    <a:pt x="508" y="73"/>
                    <a:pt x="508" y="73"/>
                  </a:cubicBezTo>
                  <a:cubicBezTo>
                    <a:pt x="509" y="72"/>
                    <a:pt x="509" y="72"/>
                    <a:pt x="509" y="72"/>
                  </a:cubicBezTo>
                  <a:cubicBezTo>
                    <a:pt x="508" y="71"/>
                    <a:pt x="506" y="70"/>
                    <a:pt x="504" y="70"/>
                  </a:cubicBezTo>
                  <a:cubicBezTo>
                    <a:pt x="504" y="70"/>
                    <a:pt x="504" y="70"/>
                    <a:pt x="504" y="70"/>
                  </a:cubicBezTo>
                  <a:cubicBezTo>
                    <a:pt x="504" y="70"/>
                    <a:pt x="503" y="70"/>
                    <a:pt x="503" y="70"/>
                  </a:cubicBezTo>
                  <a:cubicBezTo>
                    <a:pt x="503" y="70"/>
                    <a:pt x="503" y="70"/>
                    <a:pt x="502" y="70"/>
                  </a:cubicBezTo>
                  <a:cubicBezTo>
                    <a:pt x="501" y="70"/>
                    <a:pt x="500" y="70"/>
                    <a:pt x="499" y="71"/>
                  </a:cubicBezTo>
                  <a:cubicBezTo>
                    <a:pt x="498" y="71"/>
                    <a:pt x="497" y="72"/>
                    <a:pt x="497" y="72"/>
                  </a:cubicBezTo>
                  <a:cubicBezTo>
                    <a:pt x="496" y="73"/>
                    <a:pt x="496" y="74"/>
                    <a:pt x="496" y="74"/>
                  </a:cubicBezTo>
                  <a:cubicBezTo>
                    <a:pt x="496" y="74"/>
                    <a:pt x="496" y="74"/>
                    <a:pt x="496" y="75"/>
                  </a:cubicBezTo>
                  <a:cubicBezTo>
                    <a:pt x="496" y="75"/>
                    <a:pt x="496" y="75"/>
                    <a:pt x="496" y="75"/>
                  </a:cubicBezTo>
                  <a:cubicBezTo>
                    <a:pt x="496" y="75"/>
                    <a:pt x="495" y="75"/>
                    <a:pt x="495" y="76"/>
                  </a:cubicBezTo>
                  <a:cubicBezTo>
                    <a:pt x="494" y="77"/>
                    <a:pt x="494" y="78"/>
                    <a:pt x="495" y="78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5" y="79"/>
                    <a:pt x="495" y="79"/>
                    <a:pt x="495" y="79"/>
                  </a:cubicBezTo>
                  <a:cubicBezTo>
                    <a:pt x="494" y="80"/>
                    <a:pt x="494" y="81"/>
                    <a:pt x="494" y="82"/>
                  </a:cubicBezTo>
                  <a:cubicBezTo>
                    <a:pt x="494" y="83"/>
                    <a:pt x="495" y="83"/>
                    <a:pt x="496" y="84"/>
                  </a:cubicBezTo>
                  <a:cubicBezTo>
                    <a:pt x="496" y="84"/>
                    <a:pt x="496" y="84"/>
                    <a:pt x="496" y="84"/>
                  </a:cubicBezTo>
                  <a:cubicBezTo>
                    <a:pt x="497" y="84"/>
                    <a:pt x="498" y="84"/>
                    <a:pt x="498" y="84"/>
                  </a:cubicBezTo>
                  <a:cubicBezTo>
                    <a:pt x="498" y="84"/>
                    <a:pt x="499" y="84"/>
                    <a:pt x="498" y="84"/>
                  </a:cubicBezTo>
                  <a:cubicBezTo>
                    <a:pt x="499" y="84"/>
                    <a:pt x="499" y="84"/>
                    <a:pt x="499" y="84"/>
                  </a:cubicBezTo>
                  <a:cubicBezTo>
                    <a:pt x="499" y="85"/>
                    <a:pt x="499" y="85"/>
                    <a:pt x="500" y="86"/>
                  </a:cubicBezTo>
                  <a:cubicBezTo>
                    <a:pt x="500" y="86"/>
                    <a:pt x="501" y="86"/>
                    <a:pt x="502" y="87"/>
                  </a:cubicBezTo>
                  <a:cubicBezTo>
                    <a:pt x="502" y="87"/>
                    <a:pt x="501" y="88"/>
                    <a:pt x="498" y="91"/>
                  </a:cubicBezTo>
                  <a:cubicBezTo>
                    <a:pt x="497" y="91"/>
                    <a:pt x="497" y="91"/>
                    <a:pt x="497" y="91"/>
                  </a:cubicBezTo>
                  <a:cubicBezTo>
                    <a:pt x="497" y="92"/>
                    <a:pt x="495" y="93"/>
                    <a:pt x="495" y="94"/>
                  </a:cubicBezTo>
                  <a:cubicBezTo>
                    <a:pt x="495" y="94"/>
                    <a:pt x="496" y="95"/>
                    <a:pt x="497" y="96"/>
                  </a:cubicBezTo>
                  <a:cubicBezTo>
                    <a:pt x="498" y="97"/>
                    <a:pt x="500" y="97"/>
                    <a:pt x="501" y="97"/>
                  </a:cubicBezTo>
                  <a:cubicBezTo>
                    <a:pt x="504" y="97"/>
                    <a:pt x="504" y="97"/>
                    <a:pt x="504" y="97"/>
                  </a:cubicBezTo>
                  <a:cubicBezTo>
                    <a:pt x="505" y="98"/>
                    <a:pt x="506" y="98"/>
                    <a:pt x="507" y="98"/>
                  </a:cubicBezTo>
                  <a:cubicBezTo>
                    <a:pt x="508" y="98"/>
                    <a:pt x="509" y="98"/>
                    <a:pt x="511" y="99"/>
                  </a:cubicBezTo>
                  <a:cubicBezTo>
                    <a:pt x="513" y="99"/>
                    <a:pt x="515" y="100"/>
                    <a:pt x="516" y="100"/>
                  </a:cubicBezTo>
                  <a:cubicBezTo>
                    <a:pt x="517" y="100"/>
                    <a:pt x="518" y="100"/>
                    <a:pt x="519" y="100"/>
                  </a:cubicBezTo>
                  <a:cubicBezTo>
                    <a:pt x="519" y="100"/>
                    <a:pt x="519" y="100"/>
                    <a:pt x="518" y="100"/>
                  </a:cubicBezTo>
                  <a:cubicBezTo>
                    <a:pt x="518" y="100"/>
                    <a:pt x="518" y="100"/>
                    <a:pt x="518" y="100"/>
                  </a:cubicBezTo>
                  <a:cubicBezTo>
                    <a:pt x="517" y="100"/>
                    <a:pt x="517" y="100"/>
                    <a:pt x="516" y="100"/>
                  </a:cubicBezTo>
                  <a:cubicBezTo>
                    <a:pt x="516" y="100"/>
                    <a:pt x="515" y="101"/>
                    <a:pt x="515" y="101"/>
                  </a:cubicBezTo>
                  <a:cubicBezTo>
                    <a:pt x="515" y="101"/>
                    <a:pt x="514" y="102"/>
                    <a:pt x="514" y="102"/>
                  </a:cubicBezTo>
                  <a:cubicBezTo>
                    <a:pt x="515" y="103"/>
                    <a:pt x="515" y="104"/>
                    <a:pt x="516" y="104"/>
                  </a:cubicBezTo>
                  <a:cubicBezTo>
                    <a:pt x="516" y="104"/>
                    <a:pt x="516" y="104"/>
                    <a:pt x="516" y="105"/>
                  </a:cubicBezTo>
                  <a:cubicBezTo>
                    <a:pt x="516" y="105"/>
                    <a:pt x="517" y="106"/>
                    <a:pt x="518" y="106"/>
                  </a:cubicBezTo>
                  <a:cubicBezTo>
                    <a:pt x="517" y="106"/>
                    <a:pt x="516" y="107"/>
                    <a:pt x="516" y="107"/>
                  </a:cubicBezTo>
                  <a:cubicBezTo>
                    <a:pt x="515" y="107"/>
                    <a:pt x="515" y="107"/>
                    <a:pt x="515" y="107"/>
                  </a:cubicBezTo>
                  <a:cubicBezTo>
                    <a:pt x="515" y="107"/>
                    <a:pt x="515" y="107"/>
                    <a:pt x="515" y="108"/>
                  </a:cubicBezTo>
                  <a:cubicBezTo>
                    <a:pt x="515" y="108"/>
                    <a:pt x="514" y="108"/>
                    <a:pt x="514" y="108"/>
                  </a:cubicBezTo>
                  <a:cubicBezTo>
                    <a:pt x="514" y="108"/>
                    <a:pt x="514" y="108"/>
                    <a:pt x="514" y="108"/>
                  </a:cubicBezTo>
                  <a:cubicBezTo>
                    <a:pt x="513" y="108"/>
                    <a:pt x="513" y="108"/>
                    <a:pt x="512" y="108"/>
                  </a:cubicBezTo>
                  <a:cubicBezTo>
                    <a:pt x="511" y="109"/>
                    <a:pt x="511" y="109"/>
                    <a:pt x="511" y="110"/>
                  </a:cubicBezTo>
                  <a:cubicBezTo>
                    <a:pt x="510" y="111"/>
                    <a:pt x="510" y="112"/>
                    <a:pt x="510" y="112"/>
                  </a:cubicBezTo>
                  <a:cubicBezTo>
                    <a:pt x="510" y="112"/>
                    <a:pt x="510" y="113"/>
                    <a:pt x="510" y="113"/>
                  </a:cubicBezTo>
                  <a:cubicBezTo>
                    <a:pt x="510" y="114"/>
                    <a:pt x="510" y="114"/>
                    <a:pt x="510" y="114"/>
                  </a:cubicBezTo>
                  <a:cubicBezTo>
                    <a:pt x="509" y="114"/>
                    <a:pt x="509" y="114"/>
                    <a:pt x="509" y="114"/>
                  </a:cubicBezTo>
                  <a:cubicBezTo>
                    <a:pt x="508" y="115"/>
                    <a:pt x="508" y="116"/>
                    <a:pt x="507" y="117"/>
                  </a:cubicBezTo>
                  <a:cubicBezTo>
                    <a:pt x="507" y="118"/>
                    <a:pt x="507" y="119"/>
                    <a:pt x="506" y="119"/>
                  </a:cubicBezTo>
                  <a:cubicBezTo>
                    <a:pt x="506" y="119"/>
                    <a:pt x="506" y="120"/>
                    <a:pt x="506" y="120"/>
                  </a:cubicBezTo>
                  <a:cubicBezTo>
                    <a:pt x="505" y="120"/>
                    <a:pt x="505" y="119"/>
                    <a:pt x="505" y="119"/>
                  </a:cubicBezTo>
                  <a:cubicBezTo>
                    <a:pt x="505" y="119"/>
                    <a:pt x="505" y="119"/>
                    <a:pt x="505" y="119"/>
                  </a:cubicBezTo>
                  <a:cubicBezTo>
                    <a:pt x="506" y="118"/>
                    <a:pt x="506" y="117"/>
                    <a:pt x="507" y="117"/>
                  </a:cubicBezTo>
                  <a:cubicBezTo>
                    <a:pt x="507" y="117"/>
                    <a:pt x="507" y="116"/>
                    <a:pt x="507" y="116"/>
                  </a:cubicBezTo>
                  <a:cubicBezTo>
                    <a:pt x="507" y="116"/>
                    <a:pt x="507" y="116"/>
                    <a:pt x="507" y="116"/>
                  </a:cubicBezTo>
                  <a:cubicBezTo>
                    <a:pt x="508" y="116"/>
                    <a:pt x="508" y="115"/>
                    <a:pt x="508" y="115"/>
                  </a:cubicBezTo>
                  <a:cubicBezTo>
                    <a:pt x="508" y="115"/>
                    <a:pt x="508" y="115"/>
                    <a:pt x="509" y="114"/>
                  </a:cubicBezTo>
                  <a:cubicBezTo>
                    <a:pt x="509" y="114"/>
                    <a:pt x="509" y="113"/>
                    <a:pt x="508" y="113"/>
                  </a:cubicBezTo>
                  <a:cubicBezTo>
                    <a:pt x="508" y="113"/>
                    <a:pt x="508" y="112"/>
                    <a:pt x="508" y="112"/>
                  </a:cubicBezTo>
                  <a:cubicBezTo>
                    <a:pt x="508" y="112"/>
                    <a:pt x="508" y="112"/>
                    <a:pt x="508" y="112"/>
                  </a:cubicBezTo>
                  <a:cubicBezTo>
                    <a:pt x="508" y="112"/>
                    <a:pt x="508" y="111"/>
                    <a:pt x="508" y="111"/>
                  </a:cubicBezTo>
                  <a:cubicBezTo>
                    <a:pt x="508" y="111"/>
                    <a:pt x="508" y="111"/>
                    <a:pt x="508" y="111"/>
                  </a:cubicBezTo>
                  <a:cubicBezTo>
                    <a:pt x="508" y="110"/>
                    <a:pt x="508" y="110"/>
                    <a:pt x="508" y="110"/>
                  </a:cubicBezTo>
                  <a:cubicBezTo>
                    <a:pt x="508" y="109"/>
                    <a:pt x="508" y="108"/>
                    <a:pt x="508" y="108"/>
                  </a:cubicBezTo>
                  <a:cubicBezTo>
                    <a:pt x="507" y="107"/>
                    <a:pt x="507" y="107"/>
                    <a:pt x="507" y="107"/>
                  </a:cubicBezTo>
                  <a:cubicBezTo>
                    <a:pt x="507" y="107"/>
                    <a:pt x="507" y="107"/>
                    <a:pt x="507" y="107"/>
                  </a:cubicBezTo>
                  <a:cubicBezTo>
                    <a:pt x="507" y="107"/>
                    <a:pt x="507" y="107"/>
                    <a:pt x="507" y="106"/>
                  </a:cubicBezTo>
                  <a:cubicBezTo>
                    <a:pt x="507" y="106"/>
                    <a:pt x="507" y="106"/>
                    <a:pt x="507" y="105"/>
                  </a:cubicBezTo>
                  <a:cubicBezTo>
                    <a:pt x="507" y="105"/>
                    <a:pt x="506" y="104"/>
                    <a:pt x="506" y="104"/>
                  </a:cubicBezTo>
                  <a:cubicBezTo>
                    <a:pt x="506" y="104"/>
                    <a:pt x="506" y="104"/>
                    <a:pt x="506" y="104"/>
                  </a:cubicBezTo>
                  <a:cubicBezTo>
                    <a:pt x="505" y="104"/>
                    <a:pt x="505" y="103"/>
                    <a:pt x="505" y="103"/>
                  </a:cubicBezTo>
                  <a:cubicBezTo>
                    <a:pt x="504" y="103"/>
                    <a:pt x="503" y="103"/>
                    <a:pt x="503" y="103"/>
                  </a:cubicBezTo>
                  <a:cubicBezTo>
                    <a:pt x="502" y="103"/>
                    <a:pt x="501" y="103"/>
                    <a:pt x="501" y="103"/>
                  </a:cubicBezTo>
                  <a:cubicBezTo>
                    <a:pt x="500" y="103"/>
                    <a:pt x="500" y="104"/>
                    <a:pt x="500" y="104"/>
                  </a:cubicBezTo>
                  <a:cubicBezTo>
                    <a:pt x="500" y="104"/>
                    <a:pt x="500" y="104"/>
                    <a:pt x="500" y="104"/>
                  </a:cubicBezTo>
                  <a:cubicBezTo>
                    <a:pt x="500" y="104"/>
                    <a:pt x="499" y="104"/>
                    <a:pt x="499" y="104"/>
                  </a:cubicBezTo>
                  <a:cubicBezTo>
                    <a:pt x="498" y="103"/>
                    <a:pt x="497" y="103"/>
                    <a:pt x="496" y="103"/>
                  </a:cubicBezTo>
                  <a:cubicBezTo>
                    <a:pt x="496" y="103"/>
                    <a:pt x="496" y="103"/>
                    <a:pt x="496" y="103"/>
                  </a:cubicBezTo>
                  <a:cubicBezTo>
                    <a:pt x="496" y="103"/>
                    <a:pt x="496" y="103"/>
                    <a:pt x="496" y="103"/>
                  </a:cubicBezTo>
                  <a:cubicBezTo>
                    <a:pt x="495" y="103"/>
                    <a:pt x="495" y="103"/>
                    <a:pt x="495" y="103"/>
                  </a:cubicBezTo>
                  <a:cubicBezTo>
                    <a:pt x="495" y="103"/>
                    <a:pt x="495" y="103"/>
                    <a:pt x="494" y="103"/>
                  </a:cubicBezTo>
                  <a:cubicBezTo>
                    <a:pt x="493" y="103"/>
                    <a:pt x="493" y="103"/>
                    <a:pt x="492" y="103"/>
                  </a:cubicBezTo>
                  <a:cubicBezTo>
                    <a:pt x="492" y="103"/>
                    <a:pt x="491" y="103"/>
                    <a:pt x="491" y="103"/>
                  </a:cubicBezTo>
                  <a:cubicBezTo>
                    <a:pt x="491" y="103"/>
                    <a:pt x="491" y="103"/>
                    <a:pt x="490" y="103"/>
                  </a:cubicBezTo>
                  <a:cubicBezTo>
                    <a:pt x="490" y="103"/>
                    <a:pt x="489" y="103"/>
                    <a:pt x="489" y="103"/>
                  </a:cubicBezTo>
                  <a:cubicBezTo>
                    <a:pt x="488" y="103"/>
                    <a:pt x="488" y="102"/>
                    <a:pt x="487" y="102"/>
                  </a:cubicBezTo>
                  <a:cubicBezTo>
                    <a:pt x="486" y="102"/>
                    <a:pt x="486" y="102"/>
                    <a:pt x="486" y="102"/>
                  </a:cubicBezTo>
                  <a:cubicBezTo>
                    <a:pt x="486" y="102"/>
                    <a:pt x="485" y="102"/>
                    <a:pt x="485" y="102"/>
                  </a:cubicBezTo>
                  <a:cubicBezTo>
                    <a:pt x="484" y="102"/>
                    <a:pt x="484" y="102"/>
                    <a:pt x="484" y="102"/>
                  </a:cubicBezTo>
                  <a:cubicBezTo>
                    <a:pt x="483" y="102"/>
                    <a:pt x="483" y="102"/>
                    <a:pt x="483" y="102"/>
                  </a:cubicBezTo>
                  <a:cubicBezTo>
                    <a:pt x="482" y="102"/>
                    <a:pt x="482" y="101"/>
                    <a:pt x="482" y="101"/>
                  </a:cubicBezTo>
                  <a:cubicBezTo>
                    <a:pt x="482" y="101"/>
                    <a:pt x="482" y="101"/>
                    <a:pt x="482" y="101"/>
                  </a:cubicBezTo>
                  <a:cubicBezTo>
                    <a:pt x="482" y="101"/>
                    <a:pt x="482" y="100"/>
                    <a:pt x="482" y="100"/>
                  </a:cubicBezTo>
                  <a:cubicBezTo>
                    <a:pt x="482" y="100"/>
                    <a:pt x="482" y="100"/>
                    <a:pt x="481" y="99"/>
                  </a:cubicBezTo>
                  <a:cubicBezTo>
                    <a:pt x="481" y="99"/>
                    <a:pt x="480" y="98"/>
                    <a:pt x="479" y="98"/>
                  </a:cubicBezTo>
                  <a:cubicBezTo>
                    <a:pt x="479" y="98"/>
                    <a:pt x="479" y="98"/>
                    <a:pt x="479" y="98"/>
                  </a:cubicBezTo>
                  <a:cubicBezTo>
                    <a:pt x="480" y="98"/>
                    <a:pt x="481" y="97"/>
                    <a:pt x="481" y="96"/>
                  </a:cubicBezTo>
                  <a:cubicBezTo>
                    <a:pt x="481" y="96"/>
                    <a:pt x="481" y="96"/>
                    <a:pt x="481" y="96"/>
                  </a:cubicBezTo>
                  <a:cubicBezTo>
                    <a:pt x="481" y="96"/>
                    <a:pt x="481" y="96"/>
                    <a:pt x="481" y="96"/>
                  </a:cubicBezTo>
                  <a:cubicBezTo>
                    <a:pt x="481" y="96"/>
                    <a:pt x="482" y="96"/>
                    <a:pt x="482" y="96"/>
                  </a:cubicBezTo>
                  <a:cubicBezTo>
                    <a:pt x="482" y="96"/>
                    <a:pt x="482" y="96"/>
                    <a:pt x="483" y="96"/>
                  </a:cubicBezTo>
                  <a:cubicBezTo>
                    <a:pt x="483" y="96"/>
                    <a:pt x="484" y="97"/>
                    <a:pt x="484" y="97"/>
                  </a:cubicBezTo>
                  <a:cubicBezTo>
                    <a:pt x="485" y="97"/>
                    <a:pt x="485" y="97"/>
                    <a:pt x="485" y="97"/>
                  </a:cubicBezTo>
                  <a:cubicBezTo>
                    <a:pt x="485" y="97"/>
                    <a:pt x="486" y="97"/>
                    <a:pt x="486" y="96"/>
                  </a:cubicBezTo>
                  <a:cubicBezTo>
                    <a:pt x="486" y="96"/>
                    <a:pt x="486" y="96"/>
                    <a:pt x="486" y="96"/>
                  </a:cubicBezTo>
                  <a:cubicBezTo>
                    <a:pt x="486" y="96"/>
                    <a:pt x="486" y="96"/>
                    <a:pt x="486" y="96"/>
                  </a:cubicBezTo>
                  <a:cubicBezTo>
                    <a:pt x="487" y="96"/>
                    <a:pt x="487" y="96"/>
                    <a:pt x="487" y="96"/>
                  </a:cubicBezTo>
                  <a:cubicBezTo>
                    <a:pt x="487" y="97"/>
                    <a:pt x="487" y="97"/>
                    <a:pt x="487" y="97"/>
                  </a:cubicBezTo>
                  <a:cubicBezTo>
                    <a:pt x="488" y="97"/>
                    <a:pt x="488" y="97"/>
                    <a:pt x="488" y="97"/>
                  </a:cubicBezTo>
                  <a:cubicBezTo>
                    <a:pt x="488" y="97"/>
                    <a:pt x="489" y="98"/>
                    <a:pt x="490" y="98"/>
                  </a:cubicBezTo>
                  <a:cubicBezTo>
                    <a:pt x="491" y="98"/>
                    <a:pt x="492" y="97"/>
                    <a:pt x="492" y="97"/>
                  </a:cubicBezTo>
                  <a:cubicBezTo>
                    <a:pt x="493" y="96"/>
                    <a:pt x="493" y="95"/>
                    <a:pt x="493" y="95"/>
                  </a:cubicBezTo>
                  <a:cubicBezTo>
                    <a:pt x="493" y="94"/>
                    <a:pt x="493" y="93"/>
                    <a:pt x="493" y="93"/>
                  </a:cubicBezTo>
                  <a:cubicBezTo>
                    <a:pt x="493" y="92"/>
                    <a:pt x="493" y="92"/>
                    <a:pt x="493" y="92"/>
                  </a:cubicBezTo>
                  <a:cubicBezTo>
                    <a:pt x="493" y="92"/>
                    <a:pt x="493" y="92"/>
                    <a:pt x="494" y="92"/>
                  </a:cubicBezTo>
                  <a:cubicBezTo>
                    <a:pt x="494" y="91"/>
                    <a:pt x="494" y="91"/>
                    <a:pt x="494" y="91"/>
                  </a:cubicBezTo>
                  <a:cubicBezTo>
                    <a:pt x="494" y="90"/>
                    <a:pt x="495" y="89"/>
                    <a:pt x="494" y="89"/>
                  </a:cubicBezTo>
                  <a:cubicBezTo>
                    <a:pt x="494" y="88"/>
                    <a:pt x="494" y="87"/>
                    <a:pt x="493" y="86"/>
                  </a:cubicBezTo>
                  <a:cubicBezTo>
                    <a:pt x="493" y="85"/>
                    <a:pt x="492" y="84"/>
                    <a:pt x="491" y="84"/>
                  </a:cubicBezTo>
                  <a:cubicBezTo>
                    <a:pt x="490" y="83"/>
                    <a:pt x="489" y="83"/>
                    <a:pt x="489" y="82"/>
                  </a:cubicBezTo>
                  <a:cubicBezTo>
                    <a:pt x="488" y="82"/>
                    <a:pt x="487" y="82"/>
                    <a:pt x="486" y="82"/>
                  </a:cubicBezTo>
                  <a:cubicBezTo>
                    <a:pt x="486" y="82"/>
                    <a:pt x="485" y="83"/>
                    <a:pt x="485" y="83"/>
                  </a:cubicBezTo>
                  <a:cubicBezTo>
                    <a:pt x="485" y="82"/>
                    <a:pt x="484" y="82"/>
                    <a:pt x="484" y="81"/>
                  </a:cubicBezTo>
                  <a:cubicBezTo>
                    <a:pt x="483" y="81"/>
                    <a:pt x="483" y="80"/>
                    <a:pt x="483" y="80"/>
                  </a:cubicBezTo>
                  <a:cubicBezTo>
                    <a:pt x="483" y="79"/>
                    <a:pt x="482" y="78"/>
                    <a:pt x="481" y="78"/>
                  </a:cubicBezTo>
                  <a:cubicBezTo>
                    <a:pt x="481" y="77"/>
                    <a:pt x="480" y="77"/>
                    <a:pt x="480" y="77"/>
                  </a:cubicBezTo>
                  <a:cubicBezTo>
                    <a:pt x="479" y="76"/>
                    <a:pt x="479" y="76"/>
                    <a:pt x="479" y="76"/>
                  </a:cubicBezTo>
                  <a:cubicBezTo>
                    <a:pt x="478" y="75"/>
                    <a:pt x="478" y="74"/>
                    <a:pt x="477" y="73"/>
                  </a:cubicBezTo>
                  <a:cubicBezTo>
                    <a:pt x="477" y="73"/>
                    <a:pt x="477" y="72"/>
                    <a:pt x="477" y="72"/>
                  </a:cubicBezTo>
                  <a:cubicBezTo>
                    <a:pt x="477" y="71"/>
                    <a:pt x="476" y="71"/>
                    <a:pt x="476" y="70"/>
                  </a:cubicBezTo>
                  <a:cubicBezTo>
                    <a:pt x="476" y="69"/>
                    <a:pt x="475" y="69"/>
                    <a:pt x="475" y="68"/>
                  </a:cubicBezTo>
                  <a:cubicBezTo>
                    <a:pt x="474" y="68"/>
                    <a:pt x="474" y="68"/>
                    <a:pt x="473" y="68"/>
                  </a:cubicBezTo>
                  <a:cubicBezTo>
                    <a:pt x="473" y="68"/>
                    <a:pt x="472" y="67"/>
                    <a:pt x="472" y="67"/>
                  </a:cubicBezTo>
                  <a:cubicBezTo>
                    <a:pt x="472" y="67"/>
                    <a:pt x="471" y="67"/>
                    <a:pt x="471" y="67"/>
                  </a:cubicBezTo>
                  <a:cubicBezTo>
                    <a:pt x="470" y="67"/>
                    <a:pt x="470" y="67"/>
                    <a:pt x="470" y="67"/>
                  </a:cubicBezTo>
                  <a:cubicBezTo>
                    <a:pt x="470" y="67"/>
                    <a:pt x="469" y="67"/>
                    <a:pt x="469" y="67"/>
                  </a:cubicBezTo>
                  <a:cubicBezTo>
                    <a:pt x="469" y="66"/>
                    <a:pt x="468" y="66"/>
                    <a:pt x="468" y="66"/>
                  </a:cubicBezTo>
                  <a:cubicBezTo>
                    <a:pt x="468" y="66"/>
                    <a:pt x="468" y="66"/>
                    <a:pt x="468" y="66"/>
                  </a:cubicBezTo>
                  <a:cubicBezTo>
                    <a:pt x="466" y="65"/>
                    <a:pt x="465" y="66"/>
                    <a:pt x="464" y="66"/>
                  </a:cubicBezTo>
                  <a:cubicBezTo>
                    <a:pt x="463" y="67"/>
                    <a:pt x="463" y="67"/>
                    <a:pt x="463" y="67"/>
                  </a:cubicBezTo>
                  <a:cubicBezTo>
                    <a:pt x="462" y="68"/>
                    <a:pt x="462" y="68"/>
                    <a:pt x="462" y="68"/>
                  </a:cubicBezTo>
                  <a:cubicBezTo>
                    <a:pt x="462" y="68"/>
                    <a:pt x="461" y="68"/>
                    <a:pt x="461" y="68"/>
                  </a:cubicBezTo>
                  <a:cubicBezTo>
                    <a:pt x="461" y="69"/>
                    <a:pt x="461" y="69"/>
                    <a:pt x="461" y="69"/>
                  </a:cubicBezTo>
                  <a:cubicBezTo>
                    <a:pt x="460" y="69"/>
                    <a:pt x="460" y="69"/>
                    <a:pt x="459" y="69"/>
                  </a:cubicBezTo>
                  <a:cubicBezTo>
                    <a:pt x="459" y="70"/>
                    <a:pt x="458" y="70"/>
                    <a:pt x="458" y="70"/>
                  </a:cubicBezTo>
                  <a:cubicBezTo>
                    <a:pt x="458" y="70"/>
                    <a:pt x="458" y="70"/>
                    <a:pt x="458" y="69"/>
                  </a:cubicBezTo>
                  <a:cubicBezTo>
                    <a:pt x="458" y="69"/>
                    <a:pt x="458" y="69"/>
                    <a:pt x="457" y="69"/>
                  </a:cubicBezTo>
                  <a:cubicBezTo>
                    <a:pt x="457" y="69"/>
                    <a:pt x="458" y="69"/>
                    <a:pt x="458" y="69"/>
                  </a:cubicBezTo>
                  <a:cubicBezTo>
                    <a:pt x="458" y="69"/>
                    <a:pt x="458" y="69"/>
                    <a:pt x="458" y="69"/>
                  </a:cubicBezTo>
                  <a:cubicBezTo>
                    <a:pt x="459" y="69"/>
                    <a:pt x="459" y="69"/>
                    <a:pt x="459" y="68"/>
                  </a:cubicBezTo>
                  <a:cubicBezTo>
                    <a:pt x="460" y="68"/>
                    <a:pt x="460" y="68"/>
                    <a:pt x="461" y="68"/>
                  </a:cubicBezTo>
                  <a:cubicBezTo>
                    <a:pt x="461" y="67"/>
                    <a:pt x="461" y="67"/>
                    <a:pt x="462" y="66"/>
                  </a:cubicBezTo>
                  <a:cubicBezTo>
                    <a:pt x="462" y="66"/>
                    <a:pt x="461" y="65"/>
                    <a:pt x="461" y="65"/>
                  </a:cubicBezTo>
                  <a:cubicBezTo>
                    <a:pt x="461" y="65"/>
                    <a:pt x="461" y="65"/>
                    <a:pt x="461" y="65"/>
                  </a:cubicBezTo>
                  <a:cubicBezTo>
                    <a:pt x="462" y="65"/>
                    <a:pt x="462" y="65"/>
                    <a:pt x="463" y="65"/>
                  </a:cubicBezTo>
                  <a:cubicBezTo>
                    <a:pt x="464" y="64"/>
                    <a:pt x="464" y="64"/>
                    <a:pt x="465" y="64"/>
                  </a:cubicBezTo>
                  <a:cubicBezTo>
                    <a:pt x="466" y="63"/>
                    <a:pt x="467" y="63"/>
                    <a:pt x="467" y="62"/>
                  </a:cubicBezTo>
                  <a:cubicBezTo>
                    <a:pt x="467" y="61"/>
                    <a:pt x="467" y="60"/>
                    <a:pt x="466" y="60"/>
                  </a:cubicBezTo>
                  <a:cubicBezTo>
                    <a:pt x="466" y="59"/>
                    <a:pt x="465" y="59"/>
                    <a:pt x="465" y="59"/>
                  </a:cubicBezTo>
                  <a:cubicBezTo>
                    <a:pt x="464" y="59"/>
                    <a:pt x="464" y="59"/>
                    <a:pt x="464" y="59"/>
                  </a:cubicBezTo>
                  <a:cubicBezTo>
                    <a:pt x="463" y="59"/>
                    <a:pt x="463" y="60"/>
                    <a:pt x="462" y="61"/>
                  </a:cubicBezTo>
                  <a:cubicBezTo>
                    <a:pt x="462" y="61"/>
                    <a:pt x="462" y="61"/>
                    <a:pt x="461" y="61"/>
                  </a:cubicBezTo>
                  <a:cubicBezTo>
                    <a:pt x="461" y="61"/>
                    <a:pt x="460" y="62"/>
                    <a:pt x="460" y="62"/>
                  </a:cubicBezTo>
                  <a:cubicBezTo>
                    <a:pt x="460" y="62"/>
                    <a:pt x="459" y="62"/>
                    <a:pt x="459" y="62"/>
                  </a:cubicBezTo>
                  <a:cubicBezTo>
                    <a:pt x="459" y="62"/>
                    <a:pt x="458" y="62"/>
                    <a:pt x="458" y="62"/>
                  </a:cubicBezTo>
                  <a:cubicBezTo>
                    <a:pt x="458" y="62"/>
                    <a:pt x="457" y="62"/>
                    <a:pt x="456" y="62"/>
                  </a:cubicBezTo>
                  <a:cubicBezTo>
                    <a:pt x="456" y="62"/>
                    <a:pt x="455" y="63"/>
                    <a:pt x="455" y="64"/>
                  </a:cubicBezTo>
                  <a:cubicBezTo>
                    <a:pt x="455" y="64"/>
                    <a:pt x="455" y="64"/>
                    <a:pt x="455" y="64"/>
                  </a:cubicBezTo>
                  <a:cubicBezTo>
                    <a:pt x="455" y="64"/>
                    <a:pt x="454" y="64"/>
                    <a:pt x="454" y="63"/>
                  </a:cubicBezTo>
                  <a:cubicBezTo>
                    <a:pt x="453" y="63"/>
                    <a:pt x="452" y="63"/>
                    <a:pt x="451" y="64"/>
                  </a:cubicBezTo>
                  <a:cubicBezTo>
                    <a:pt x="451" y="64"/>
                    <a:pt x="451" y="63"/>
                    <a:pt x="451" y="63"/>
                  </a:cubicBezTo>
                  <a:cubicBezTo>
                    <a:pt x="451" y="62"/>
                    <a:pt x="451" y="62"/>
                    <a:pt x="451" y="62"/>
                  </a:cubicBezTo>
                  <a:cubicBezTo>
                    <a:pt x="451" y="61"/>
                    <a:pt x="451" y="61"/>
                    <a:pt x="451" y="61"/>
                  </a:cubicBezTo>
                  <a:cubicBezTo>
                    <a:pt x="451" y="61"/>
                    <a:pt x="452" y="61"/>
                    <a:pt x="452" y="61"/>
                  </a:cubicBezTo>
                  <a:cubicBezTo>
                    <a:pt x="453" y="60"/>
                    <a:pt x="453" y="59"/>
                    <a:pt x="454" y="58"/>
                  </a:cubicBezTo>
                  <a:cubicBezTo>
                    <a:pt x="454" y="58"/>
                    <a:pt x="454" y="57"/>
                    <a:pt x="454" y="57"/>
                  </a:cubicBezTo>
                  <a:cubicBezTo>
                    <a:pt x="454" y="56"/>
                    <a:pt x="454" y="56"/>
                    <a:pt x="454" y="56"/>
                  </a:cubicBezTo>
                  <a:cubicBezTo>
                    <a:pt x="454" y="56"/>
                    <a:pt x="454" y="56"/>
                    <a:pt x="454" y="56"/>
                  </a:cubicBezTo>
                  <a:cubicBezTo>
                    <a:pt x="454" y="55"/>
                    <a:pt x="454" y="55"/>
                    <a:pt x="454" y="55"/>
                  </a:cubicBezTo>
                  <a:cubicBezTo>
                    <a:pt x="455" y="53"/>
                    <a:pt x="454" y="52"/>
                    <a:pt x="453" y="52"/>
                  </a:cubicBezTo>
                  <a:cubicBezTo>
                    <a:pt x="452" y="52"/>
                    <a:pt x="452" y="52"/>
                    <a:pt x="452" y="52"/>
                  </a:cubicBezTo>
                  <a:cubicBezTo>
                    <a:pt x="452" y="52"/>
                    <a:pt x="451" y="52"/>
                    <a:pt x="451" y="53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50" y="54"/>
                    <a:pt x="450" y="54"/>
                    <a:pt x="450" y="54"/>
                  </a:cubicBezTo>
                  <a:cubicBezTo>
                    <a:pt x="450" y="53"/>
                    <a:pt x="450" y="53"/>
                    <a:pt x="450" y="53"/>
                  </a:cubicBezTo>
                  <a:cubicBezTo>
                    <a:pt x="449" y="53"/>
                    <a:pt x="448" y="53"/>
                    <a:pt x="447" y="54"/>
                  </a:cubicBezTo>
                  <a:cubicBezTo>
                    <a:pt x="447" y="54"/>
                    <a:pt x="447" y="55"/>
                    <a:pt x="447" y="55"/>
                  </a:cubicBezTo>
                  <a:cubicBezTo>
                    <a:pt x="447" y="55"/>
                    <a:pt x="447" y="55"/>
                    <a:pt x="447" y="55"/>
                  </a:cubicBezTo>
                  <a:cubicBezTo>
                    <a:pt x="446" y="55"/>
                    <a:pt x="445" y="55"/>
                    <a:pt x="445" y="55"/>
                  </a:cubicBezTo>
                  <a:cubicBezTo>
                    <a:pt x="444" y="55"/>
                    <a:pt x="444" y="55"/>
                    <a:pt x="443" y="55"/>
                  </a:cubicBezTo>
                  <a:cubicBezTo>
                    <a:pt x="442" y="56"/>
                    <a:pt x="441" y="56"/>
                    <a:pt x="441" y="57"/>
                  </a:cubicBezTo>
                  <a:cubicBezTo>
                    <a:pt x="441" y="57"/>
                    <a:pt x="441" y="57"/>
                    <a:pt x="441" y="57"/>
                  </a:cubicBezTo>
                  <a:cubicBezTo>
                    <a:pt x="441" y="57"/>
                    <a:pt x="440" y="57"/>
                    <a:pt x="440" y="57"/>
                  </a:cubicBezTo>
                  <a:cubicBezTo>
                    <a:pt x="441" y="56"/>
                    <a:pt x="441" y="55"/>
                    <a:pt x="441" y="54"/>
                  </a:cubicBezTo>
                  <a:cubicBezTo>
                    <a:pt x="441" y="53"/>
                    <a:pt x="440" y="52"/>
                    <a:pt x="439" y="52"/>
                  </a:cubicBezTo>
                  <a:cubicBezTo>
                    <a:pt x="439" y="52"/>
                    <a:pt x="439" y="52"/>
                    <a:pt x="439" y="52"/>
                  </a:cubicBezTo>
                  <a:cubicBezTo>
                    <a:pt x="439" y="52"/>
                    <a:pt x="438" y="52"/>
                    <a:pt x="438" y="52"/>
                  </a:cubicBezTo>
                  <a:cubicBezTo>
                    <a:pt x="438" y="52"/>
                    <a:pt x="437" y="52"/>
                    <a:pt x="437" y="52"/>
                  </a:cubicBezTo>
                  <a:cubicBezTo>
                    <a:pt x="437" y="52"/>
                    <a:pt x="436" y="52"/>
                    <a:pt x="436" y="52"/>
                  </a:cubicBezTo>
                  <a:cubicBezTo>
                    <a:pt x="436" y="52"/>
                    <a:pt x="436" y="52"/>
                    <a:pt x="436" y="52"/>
                  </a:cubicBezTo>
                  <a:cubicBezTo>
                    <a:pt x="435" y="52"/>
                    <a:pt x="435" y="52"/>
                    <a:pt x="434" y="52"/>
                  </a:cubicBezTo>
                  <a:cubicBezTo>
                    <a:pt x="433" y="52"/>
                    <a:pt x="432" y="52"/>
                    <a:pt x="431" y="52"/>
                  </a:cubicBezTo>
                  <a:cubicBezTo>
                    <a:pt x="431" y="52"/>
                    <a:pt x="430" y="52"/>
                    <a:pt x="430" y="52"/>
                  </a:cubicBezTo>
                  <a:cubicBezTo>
                    <a:pt x="430" y="52"/>
                    <a:pt x="429" y="52"/>
                    <a:pt x="429" y="52"/>
                  </a:cubicBezTo>
                  <a:cubicBezTo>
                    <a:pt x="428" y="52"/>
                    <a:pt x="428" y="52"/>
                    <a:pt x="428" y="52"/>
                  </a:cubicBezTo>
                  <a:cubicBezTo>
                    <a:pt x="427" y="52"/>
                    <a:pt x="427" y="53"/>
                    <a:pt x="426" y="53"/>
                  </a:cubicBezTo>
                  <a:cubicBezTo>
                    <a:pt x="426" y="53"/>
                    <a:pt x="425" y="53"/>
                    <a:pt x="425" y="53"/>
                  </a:cubicBezTo>
                  <a:cubicBezTo>
                    <a:pt x="425" y="53"/>
                    <a:pt x="425" y="53"/>
                    <a:pt x="424" y="53"/>
                  </a:cubicBezTo>
                  <a:cubicBezTo>
                    <a:pt x="424" y="53"/>
                    <a:pt x="424" y="53"/>
                    <a:pt x="424" y="54"/>
                  </a:cubicBezTo>
                  <a:cubicBezTo>
                    <a:pt x="424" y="55"/>
                    <a:pt x="424" y="55"/>
                    <a:pt x="424" y="55"/>
                  </a:cubicBezTo>
                  <a:cubicBezTo>
                    <a:pt x="423" y="54"/>
                    <a:pt x="423" y="54"/>
                    <a:pt x="423" y="54"/>
                  </a:cubicBezTo>
                  <a:cubicBezTo>
                    <a:pt x="423" y="54"/>
                    <a:pt x="423" y="54"/>
                    <a:pt x="423" y="54"/>
                  </a:cubicBezTo>
                  <a:cubicBezTo>
                    <a:pt x="423" y="53"/>
                    <a:pt x="422" y="53"/>
                    <a:pt x="421" y="53"/>
                  </a:cubicBezTo>
                  <a:cubicBezTo>
                    <a:pt x="421" y="53"/>
                    <a:pt x="420" y="53"/>
                    <a:pt x="420" y="53"/>
                  </a:cubicBezTo>
                  <a:cubicBezTo>
                    <a:pt x="420" y="53"/>
                    <a:pt x="420" y="53"/>
                    <a:pt x="420" y="53"/>
                  </a:cubicBezTo>
                  <a:cubicBezTo>
                    <a:pt x="420" y="53"/>
                    <a:pt x="419" y="53"/>
                    <a:pt x="419" y="53"/>
                  </a:cubicBezTo>
                  <a:cubicBezTo>
                    <a:pt x="418" y="52"/>
                    <a:pt x="417" y="52"/>
                    <a:pt x="417" y="53"/>
                  </a:cubicBezTo>
                  <a:cubicBezTo>
                    <a:pt x="416" y="53"/>
                    <a:pt x="416" y="53"/>
                    <a:pt x="416" y="54"/>
                  </a:cubicBezTo>
                  <a:cubicBezTo>
                    <a:pt x="416" y="54"/>
                    <a:pt x="416" y="54"/>
                    <a:pt x="415" y="54"/>
                  </a:cubicBezTo>
                  <a:cubicBezTo>
                    <a:pt x="414" y="53"/>
                    <a:pt x="413" y="54"/>
                    <a:pt x="412" y="54"/>
                  </a:cubicBezTo>
                  <a:cubicBezTo>
                    <a:pt x="412" y="54"/>
                    <a:pt x="411" y="55"/>
                    <a:pt x="411" y="55"/>
                  </a:cubicBezTo>
                  <a:cubicBezTo>
                    <a:pt x="411" y="55"/>
                    <a:pt x="411" y="55"/>
                    <a:pt x="411" y="55"/>
                  </a:cubicBezTo>
                  <a:cubicBezTo>
                    <a:pt x="411" y="56"/>
                    <a:pt x="410" y="56"/>
                    <a:pt x="409" y="56"/>
                  </a:cubicBezTo>
                  <a:cubicBezTo>
                    <a:pt x="408" y="56"/>
                    <a:pt x="408" y="56"/>
                    <a:pt x="408" y="56"/>
                  </a:cubicBezTo>
                  <a:cubicBezTo>
                    <a:pt x="408" y="56"/>
                    <a:pt x="408" y="56"/>
                    <a:pt x="408" y="56"/>
                  </a:cubicBezTo>
                  <a:cubicBezTo>
                    <a:pt x="408" y="55"/>
                    <a:pt x="408" y="55"/>
                    <a:pt x="408" y="55"/>
                  </a:cubicBezTo>
                  <a:cubicBezTo>
                    <a:pt x="408" y="55"/>
                    <a:pt x="408" y="55"/>
                    <a:pt x="408" y="55"/>
                  </a:cubicBezTo>
                  <a:cubicBezTo>
                    <a:pt x="409" y="54"/>
                    <a:pt x="409" y="54"/>
                    <a:pt x="409" y="53"/>
                  </a:cubicBezTo>
                  <a:cubicBezTo>
                    <a:pt x="409" y="51"/>
                    <a:pt x="407" y="50"/>
                    <a:pt x="405" y="51"/>
                  </a:cubicBezTo>
                  <a:cubicBezTo>
                    <a:pt x="405" y="51"/>
                    <a:pt x="404" y="52"/>
                    <a:pt x="404" y="52"/>
                  </a:cubicBezTo>
                  <a:cubicBezTo>
                    <a:pt x="404" y="52"/>
                    <a:pt x="404" y="52"/>
                    <a:pt x="404" y="52"/>
                  </a:cubicBezTo>
                  <a:cubicBezTo>
                    <a:pt x="404" y="52"/>
                    <a:pt x="404" y="52"/>
                    <a:pt x="404" y="52"/>
                  </a:cubicBezTo>
                  <a:cubicBezTo>
                    <a:pt x="403" y="53"/>
                    <a:pt x="403" y="53"/>
                    <a:pt x="403" y="53"/>
                  </a:cubicBezTo>
                  <a:cubicBezTo>
                    <a:pt x="402" y="53"/>
                    <a:pt x="402" y="53"/>
                    <a:pt x="402" y="53"/>
                  </a:cubicBezTo>
                  <a:cubicBezTo>
                    <a:pt x="402" y="53"/>
                    <a:pt x="401" y="53"/>
                    <a:pt x="401" y="53"/>
                  </a:cubicBezTo>
                  <a:cubicBezTo>
                    <a:pt x="401" y="54"/>
                    <a:pt x="400" y="54"/>
                    <a:pt x="400" y="53"/>
                  </a:cubicBezTo>
                  <a:cubicBezTo>
                    <a:pt x="399" y="53"/>
                    <a:pt x="399" y="53"/>
                    <a:pt x="399" y="53"/>
                  </a:cubicBezTo>
                  <a:cubicBezTo>
                    <a:pt x="398" y="53"/>
                    <a:pt x="398" y="53"/>
                    <a:pt x="398" y="53"/>
                  </a:cubicBezTo>
                  <a:cubicBezTo>
                    <a:pt x="398" y="53"/>
                    <a:pt x="397" y="53"/>
                    <a:pt x="397" y="53"/>
                  </a:cubicBezTo>
                  <a:cubicBezTo>
                    <a:pt x="396" y="53"/>
                    <a:pt x="396" y="54"/>
                    <a:pt x="395" y="55"/>
                  </a:cubicBezTo>
                  <a:cubicBezTo>
                    <a:pt x="395" y="55"/>
                    <a:pt x="395" y="55"/>
                    <a:pt x="395" y="55"/>
                  </a:cubicBezTo>
                  <a:cubicBezTo>
                    <a:pt x="395" y="55"/>
                    <a:pt x="395" y="55"/>
                    <a:pt x="395" y="55"/>
                  </a:cubicBezTo>
                  <a:cubicBezTo>
                    <a:pt x="395" y="55"/>
                    <a:pt x="395" y="55"/>
                    <a:pt x="394" y="55"/>
                  </a:cubicBezTo>
                  <a:cubicBezTo>
                    <a:pt x="394" y="55"/>
                    <a:pt x="393" y="55"/>
                    <a:pt x="392" y="55"/>
                  </a:cubicBezTo>
                  <a:cubicBezTo>
                    <a:pt x="391" y="55"/>
                    <a:pt x="391" y="56"/>
                    <a:pt x="391" y="56"/>
                  </a:cubicBezTo>
                  <a:cubicBezTo>
                    <a:pt x="390" y="57"/>
                    <a:pt x="390" y="58"/>
                    <a:pt x="390" y="58"/>
                  </a:cubicBezTo>
                  <a:cubicBezTo>
                    <a:pt x="390" y="58"/>
                    <a:pt x="390" y="58"/>
                    <a:pt x="390" y="58"/>
                  </a:cubicBezTo>
                  <a:cubicBezTo>
                    <a:pt x="390" y="58"/>
                    <a:pt x="390" y="58"/>
                    <a:pt x="390" y="58"/>
                  </a:cubicBezTo>
                  <a:cubicBezTo>
                    <a:pt x="390" y="58"/>
                    <a:pt x="390" y="59"/>
                    <a:pt x="390" y="59"/>
                  </a:cubicBezTo>
                  <a:cubicBezTo>
                    <a:pt x="390" y="58"/>
                    <a:pt x="389" y="58"/>
                    <a:pt x="389" y="58"/>
                  </a:cubicBezTo>
                  <a:cubicBezTo>
                    <a:pt x="389" y="58"/>
                    <a:pt x="388" y="57"/>
                    <a:pt x="388" y="57"/>
                  </a:cubicBezTo>
                  <a:cubicBezTo>
                    <a:pt x="387" y="57"/>
                    <a:pt x="387" y="57"/>
                    <a:pt x="387" y="57"/>
                  </a:cubicBezTo>
                  <a:cubicBezTo>
                    <a:pt x="387" y="57"/>
                    <a:pt x="387" y="57"/>
                    <a:pt x="387" y="56"/>
                  </a:cubicBezTo>
                  <a:cubicBezTo>
                    <a:pt x="386" y="56"/>
                    <a:pt x="386" y="56"/>
                    <a:pt x="385" y="55"/>
                  </a:cubicBezTo>
                  <a:cubicBezTo>
                    <a:pt x="385" y="55"/>
                    <a:pt x="384" y="54"/>
                    <a:pt x="384" y="54"/>
                  </a:cubicBezTo>
                  <a:cubicBezTo>
                    <a:pt x="384" y="54"/>
                    <a:pt x="384" y="53"/>
                    <a:pt x="384" y="53"/>
                  </a:cubicBezTo>
                  <a:cubicBezTo>
                    <a:pt x="385" y="52"/>
                    <a:pt x="385" y="52"/>
                    <a:pt x="385" y="52"/>
                  </a:cubicBezTo>
                  <a:cubicBezTo>
                    <a:pt x="385" y="52"/>
                    <a:pt x="385" y="51"/>
                    <a:pt x="384" y="50"/>
                  </a:cubicBezTo>
                  <a:cubicBezTo>
                    <a:pt x="384" y="50"/>
                    <a:pt x="384" y="50"/>
                    <a:pt x="383" y="49"/>
                  </a:cubicBezTo>
                  <a:cubicBezTo>
                    <a:pt x="383" y="49"/>
                    <a:pt x="383" y="49"/>
                    <a:pt x="383" y="49"/>
                  </a:cubicBezTo>
                  <a:cubicBezTo>
                    <a:pt x="383" y="48"/>
                    <a:pt x="382" y="47"/>
                    <a:pt x="382" y="46"/>
                  </a:cubicBezTo>
                  <a:cubicBezTo>
                    <a:pt x="382" y="46"/>
                    <a:pt x="382" y="46"/>
                    <a:pt x="382" y="45"/>
                  </a:cubicBezTo>
                  <a:cubicBezTo>
                    <a:pt x="381" y="45"/>
                    <a:pt x="381" y="44"/>
                    <a:pt x="380" y="44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9" y="44"/>
                    <a:pt x="379" y="44"/>
                    <a:pt x="379" y="44"/>
                  </a:cubicBezTo>
                  <a:cubicBezTo>
                    <a:pt x="378" y="43"/>
                    <a:pt x="377" y="43"/>
                    <a:pt x="377" y="42"/>
                  </a:cubicBezTo>
                  <a:cubicBezTo>
                    <a:pt x="376" y="41"/>
                    <a:pt x="375" y="40"/>
                    <a:pt x="374" y="40"/>
                  </a:cubicBezTo>
                  <a:cubicBezTo>
                    <a:pt x="374" y="40"/>
                    <a:pt x="374" y="40"/>
                    <a:pt x="374" y="40"/>
                  </a:cubicBezTo>
                  <a:cubicBezTo>
                    <a:pt x="373" y="40"/>
                    <a:pt x="373" y="39"/>
                    <a:pt x="373" y="39"/>
                  </a:cubicBezTo>
                  <a:cubicBezTo>
                    <a:pt x="373" y="39"/>
                    <a:pt x="372" y="39"/>
                    <a:pt x="372" y="39"/>
                  </a:cubicBezTo>
                  <a:cubicBezTo>
                    <a:pt x="372" y="39"/>
                    <a:pt x="372" y="39"/>
                    <a:pt x="372" y="39"/>
                  </a:cubicBezTo>
                  <a:cubicBezTo>
                    <a:pt x="372" y="38"/>
                    <a:pt x="372" y="38"/>
                    <a:pt x="371" y="38"/>
                  </a:cubicBezTo>
                  <a:cubicBezTo>
                    <a:pt x="371" y="37"/>
                    <a:pt x="371" y="37"/>
                    <a:pt x="370" y="37"/>
                  </a:cubicBezTo>
                  <a:cubicBezTo>
                    <a:pt x="370" y="36"/>
                    <a:pt x="370" y="35"/>
                    <a:pt x="369" y="35"/>
                  </a:cubicBezTo>
                  <a:cubicBezTo>
                    <a:pt x="368" y="34"/>
                    <a:pt x="367" y="33"/>
                    <a:pt x="366" y="33"/>
                  </a:cubicBezTo>
                  <a:cubicBezTo>
                    <a:pt x="366" y="32"/>
                    <a:pt x="365" y="32"/>
                    <a:pt x="364" y="31"/>
                  </a:cubicBezTo>
                  <a:cubicBezTo>
                    <a:pt x="364" y="31"/>
                    <a:pt x="364" y="31"/>
                    <a:pt x="363" y="30"/>
                  </a:cubicBezTo>
                  <a:cubicBezTo>
                    <a:pt x="363" y="30"/>
                    <a:pt x="363" y="29"/>
                    <a:pt x="362" y="29"/>
                  </a:cubicBezTo>
                  <a:cubicBezTo>
                    <a:pt x="362" y="28"/>
                    <a:pt x="361" y="28"/>
                    <a:pt x="361" y="28"/>
                  </a:cubicBezTo>
                  <a:cubicBezTo>
                    <a:pt x="360" y="27"/>
                    <a:pt x="360" y="27"/>
                    <a:pt x="360" y="27"/>
                  </a:cubicBezTo>
                  <a:cubicBezTo>
                    <a:pt x="359" y="26"/>
                    <a:pt x="358" y="25"/>
                    <a:pt x="357" y="24"/>
                  </a:cubicBezTo>
                  <a:cubicBezTo>
                    <a:pt x="357" y="24"/>
                    <a:pt x="357" y="24"/>
                    <a:pt x="356" y="23"/>
                  </a:cubicBezTo>
                  <a:cubicBezTo>
                    <a:pt x="356" y="23"/>
                    <a:pt x="356" y="23"/>
                    <a:pt x="356" y="23"/>
                  </a:cubicBezTo>
                  <a:cubicBezTo>
                    <a:pt x="356" y="22"/>
                    <a:pt x="356" y="22"/>
                    <a:pt x="355" y="22"/>
                  </a:cubicBezTo>
                  <a:cubicBezTo>
                    <a:pt x="355" y="21"/>
                    <a:pt x="354" y="21"/>
                    <a:pt x="353" y="20"/>
                  </a:cubicBezTo>
                  <a:cubicBezTo>
                    <a:pt x="353" y="20"/>
                    <a:pt x="353" y="20"/>
                    <a:pt x="352" y="20"/>
                  </a:cubicBezTo>
                  <a:cubicBezTo>
                    <a:pt x="352" y="19"/>
                    <a:pt x="351" y="19"/>
                    <a:pt x="350" y="18"/>
                  </a:cubicBezTo>
                  <a:cubicBezTo>
                    <a:pt x="350" y="18"/>
                    <a:pt x="349" y="17"/>
                    <a:pt x="348" y="17"/>
                  </a:cubicBezTo>
                  <a:cubicBezTo>
                    <a:pt x="348" y="17"/>
                    <a:pt x="348" y="17"/>
                    <a:pt x="348" y="17"/>
                  </a:cubicBezTo>
                  <a:cubicBezTo>
                    <a:pt x="347" y="17"/>
                    <a:pt x="347" y="16"/>
                    <a:pt x="347" y="16"/>
                  </a:cubicBezTo>
                  <a:cubicBezTo>
                    <a:pt x="346" y="16"/>
                    <a:pt x="346" y="16"/>
                    <a:pt x="345" y="15"/>
                  </a:cubicBezTo>
                  <a:cubicBezTo>
                    <a:pt x="344" y="15"/>
                    <a:pt x="344" y="15"/>
                    <a:pt x="343" y="15"/>
                  </a:cubicBezTo>
                  <a:cubicBezTo>
                    <a:pt x="343" y="15"/>
                    <a:pt x="343" y="15"/>
                    <a:pt x="343" y="15"/>
                  </a:cubicBezTo>
                  <a:cubicBezTo>
                    <a:pt x="343" y="15"/>
                    <a:pt x="342" y="15"/>
                    <a:pt x="342" y="15"/>
                  </a:cubicBezTo>
                  <a:cubicBezTo>
                    <a:pt x="341" y="14"/>
                    <a:pt x="341" y="14"/>
                    <a:pt x="341" y="14"/>
                  </a:cubicBezTo>
                  <a:cubicBezTo>
                    <a:pt x="341" y="14"/>
                    <a:pt x="341" y="14"/>
                    <a:pt x="341" y="14"/>
                  </a:cubicBezTo>
                  <a:cubicBezTo>
                    <a:pt x="341" y="13"/>
                    <a:pt x="341" y="13"/>
                    <a:pt x="341" y="13"/>
                  </a:cubicBezTo>
                  <a:cubicBezTo>
                    <a:pt x="340" y="13"/>
                    <a:pt x="340" y="12"/>
                    <a:pt x="340" y="12"/>
                  </a:cubicBezTo>
                  <a:cubicBezTo>
                    <a:pt x="340" y="12"/>
                    <a:pt x="340" y="12"/>
                    <a:pt x="340" y="11"/>
                  </a:cubicBezTo>
                  <a:cubicBezTo>
                    <a:pt x="340" y="11"/>
                    <a:pt x="340" y="11"/>
                    <a:pt x="340" y="11"/>
                  </a:cubicBezTo>
                  <a:cubicBezTo>
                    <a:pt x="340" y="11"/>
                    <a:pt x="340" y="10"/>
                    <a:pt x="340" y="10"/>
                  </a:cubicBezTo>
                  <a:cubicBezTo>
                    <a:pt x="340" y="9"/>
                    <a:pt x="340" y="9"/>
                    <a:pt x="340" y="8"/>
                  </a:cubicBezTo>
                  <a:cubicBezTo>
                    <a:pt x="340" y="8"/>
                    <a:pt x="339" y="7"/>
                    <a:pt x="339" y="7"/>
                  </a:cubicBezTo>
                  <a:cubicBezTo>
                    <a:pt x="338" y="7"/>
                    <a:pt x="338" y="7"/>
                    <a:pt x="337" y="6"/>
                  </a:cubicBezTo>
                  <a:cubicBezTo>
                    <a:pt x="337" y="6"/>
                    <a:pt x="337" y="6"/>
                    <a:pt x="336" y="6"/>
                  </a:cubicBezTo>
                  <a:cubicBezTo>
                    <a:pt x="336" y="6"/>
                    <a:pt x="336" y="6"/>
                    <a:pt x="336" y="6"/>
                  </a:cubicBezTo>
                  <a:cubicBezTo>
                    <a:pt x="335" y="6"/>
                    <a:pt x="334" y="6"/>
                    <a:pt x="333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6"/>
                    <a:pt x="332" y="6"/>
                    <a:pt x="332" y="6"/>
                  </a:cubicBezTo>
                  <a:cubicBezTo>
                    <a:pt x="332" y="5"/>
                    <a:pt x="332" y="5"/>
                    <a:pt x="332" y="5"/>
                  </a:cubicBezTo>
                  <a:cubicBezTo>
                    <a:pt x="332" y="5"/>
                    <a:pt x="332" y="5"/>
                    <a:pt x="332" y="4"/>
                  </a:cubicBezTo>
                  <a:cubicBezTo>
                    <a:pt x="332" y="3"/>
                    <a:pt x="331" y="3"/>
                    <a:pt x="330" y="2"/>
                  </a:cubicBezTo>
                  <a:cubicBezTo>
                    <a:pt x="330" y="2"/>
                    <a:pt x="330" y="2"/>
                    <a:pt x="330" y="2"/>
                  </a:cubicBezTo>
                  <a:cubicBezTo>
                    <a:pt x="329" y="2"/>
                    <a:pt x="329" y="1"/>
                    <a:pt x="329" y="1"/>
                  </a:cubicBezTo>
                  <a:cubicBezTo>
                    <a:pt x="328" y="0"/>
                    <a:pt x="326" y="0"/>
                    <a:pt x="325" y="0"/>
                  </a:cubicBezTo>
                  <a:cubicBezTo>
                    <a:pt x="324" y="0"/>
                    <a:pt x="323" y="0"/>
                    <a:pt x="323" y="0"/>
                  </a:cubicBezTo>
                  <a:cubicBezTo>
                    <a:pt x="323" y="0"/>
                    <a:pt x="322" y="0"/>
                    <a:pt x="322" y="0"/>
                  </a:cubicBezTo>
                  <a:cubicBezTo>
                    <a:pt x="322" y="0"/>
                    <a:pt x="322" y="0"/>
                    <a:pt x="322" y="0"/>
                  </a:cubicBezTo>
                  <a:cubicBezTo>
                    <a:pt x="322" y="0"/>
                    <a:pt x="321" y="0"/>
                    <a:pt x="321" y="0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320" y="0"/>
                    <a:pt x="320" y="0"/>
                    <a:pt x="319" y="0"/>
                  </a:cubicBezTo>
                  <a:cubicBezTo>
                    <a:pt x="319" y="1"/>
                    <a:pt x="319" y="1"/>
                    <a:pt x="318" y="1"/>
                  </a:cubicBezTo>
                  <a:cubicBezTo>
                    <a:pt x="318" y="1"/>
                    <a:pt x="318" y="1"/>
                    <a:pt x="318" y="1"/>
                  </a:cubicBezTo>
                  <a:cubicBezTo>
                    <a:pt x="317" y="1"/>
                    <a:pt x="316" y="1"/>
                    <a:pt x="315" y="1"/>
                  </a:cubicBezTo>
                  <a:cubicBezTo>
                    <a:pt x="314" y="1"/>
                    <a:pt x="312" y="2"/>
                    <a:pt x="311" y="2"/>
                  </a:cubicBezTo>
                  <a:cubicBezTo>
                    <a:pt x="311" y="2"/>
                    <a:pt x="310" y="2"/>
                    <a:pt x="310" y="2"/>
                  </a:cubicBezTo>
                  <a:cubicBezTo>
                    <a:pt x="309" y="2"/>
                    <a:pt x="309" y="2"/>
                    <a:pt x="308" y="1"/>
                  </a:cubicBezTo>
                  <a:cubicBezTo>
                    <a:pt x="308" y="1"/>
                    <a:pt x="308" y="1"/>
                    <a:pt x="307" y="0"/>
                  </a:cubicBezTo>
                  <a:cubicBezTo>
                    <a:pt x="306" y="0"/>
                    <a:pt x="305" y="0"/>
                    <a:pt x="304" y="0"/>
                  </a:cubicBezTo>
                  <a:cubicBezTo>
                    <a:pt x="304" y="0"/>
                    <a:pt x="304" y="0"/>
                    <a:pt x="303" y="0"/>
                  </a:cubicBezTo>
                  <a:cubicBezTo>
                    <a:pt x="303" y="0"/>
                    <a:pt x="302" y="0"/>
                    <a:pt x="301" y="0"/>
                  </a:cubicBezTo>
                  <a:cubicBezTo>
                    <a:pt x="300" y="0"/>
                    <a:pt x="298" y="0"/>
                    <a:pt x="297" y="0"/>
                  </a:cubicBezTo>
                  <a:cubicBezTo>
                    <a:pt x="295" y="1"/>
                    <a:pt x="294" y="1"/>
                    <a:pt x="293" y="1"/>
                  </a:cubicBezTo>
                  <a:cubicBezTo>
                    <a:pt x="292" y="1"/>
                    <a:pt x="292" y="1"/>
                    <a:pt x="292" y="1"/>
                  </a:cubicBezTo>
                  <a:cubicBezTo>
                    <a:pt x="291" y="1"/>
                    <a:pt x="290" y="1"/>
                    <a:pt x="289" y="1"/>
                  </a:cubicBezTo>
                  <a:cubicBezTo>
                    <a:pt x="288" y="1"/>
                    <a:pt x="288" y="1"/>
                    <a:pt x="288" y="1"/>
                  </a:cubicBezTo>
                  <a:cubicBezTo>
                    <a:pt x="288" y="1"/>
                    <a:pt x="288" y="1"/>
                    <a:pt x="287" y="1"/>
                  </a:cubicBezTo>
                  <a:cubicBezTo>
                    <a:pt x="287" y="1"/>
                    <a:pt x="287" y="1"/>
                    <a:pt x="286" y="0"/>
                  </a:cubicBezTo>
                  <a:cubicBezTo>
                    <a:pt x="286" y="0"/>
                    <a:pt x="285" y="0"/>
                    <a:pt x="285" y="0"/>
                  </a:cubicBezTo>
                  <a:cubicBezTo>
                    <a:pt x="285" y="1"/>
                    <a:pt x="285" y="1"/>
                    <a:pt x="285" y="1"/>
                  </a:cubicBezTo>
                  <a:cubicBezTo>
                    <a:pt x="285" y="1"/>
                    <a:pt x="285" y="1"/>
                    <a:pt x="285" y="1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84" y="0"/>
                    <a:pt x="284" y="0"/>
                    <a:pt x="283" y="0"/>
                  </a:cubicBezTo>
                  <a:cubicBezTo>
                    <a:pt x="283" y="0"/>
                    <a:pt x="282" y="0"/>
                    <a:pt x="282" y="0"/>
                  </a:cubicBezTo>
                  <a:cubicBezTo>
                    <a:pt x="281" y="0"/>
                    <a:pt x="281" y="0"/>
                    <a:pt x="281" y="0"/>
                  </a:cubicBezTo>
                  <a:cubicBezTo>
                    <a:pt x="281" y="0"/>
                    <a:pt x="280" y="0"/>
                    <a:pt x="280" y="0"/>
                  </a:cubicBezTo>
                  <a:cubicBezTo>
                    <a:pt x="279" y="0"/>
                    <a:pt x="279" y="0"/>
                    <a:pt x="279" y="0"/>
                  </a:cubicBezTo>
                  <a:cubicBezTo>
                    <a:pt x="278" y="1"/>
                    <a:pt x="278" y="2"/>
                    <a:pt x="277" y="2"/>
                  </a:cubicBezTo>
                  <a:cubicBezTo>
                    <a:pt x="277" y="3"/>
                    <a:pt x="277" y="3"/>
                    <a:pt x="277" y="3"/>
                  </a:cubicBezTo>
                  <a:cubicBezTo>
                    <a:pt x="276" y="3"/>
                    <a:pt x="276" y="4"/>
                    <a:pt x="276" y="4"/>
                  </a:cubicBezTo>
                  <a:cubicBezTo>
                    <a:pt x="275" y="4"/>
                    <a:pt x="275" y="4"/>
                    <a:pt x="275" y="4"/>
                  </a:cubicBezTo>
                  <a:cubicBezTo>
                    <a:pt x="275" y="5"/>
                    <a:pt x="275" y="5"/>
                    <a:pt x="275" y="5"/>
                  </a:cubicBezTo>
                  <a:cubicBezTo>
                    <a:pt x="275" y="5"/>
                    <a:pt x="275" y="5"/>
                    <a:pt x="275" y="5"/>
                  </a:cubicBezTo>
                  <a:cubicBezTo>
                    <a:pt x="274" y="5"/>
                    <a:pt x="274" y="5"/>
                    <a:pt x="274" y="5"/>
                  </a:cubicBezTo>
                  <a:cubicBezTo>
                    <a:pt x="274" y="6"/>
                    <a:pt x="274" y="6"/>
                    <a:pt x="274" y="6"/>
                  </a:cubicBezTo>
                  <a:cubicBezTo>
                    <a:pt x="273" y="6"/>
                    <a:pt x="273" y="6"/>
                    <a:pt x="272" y="6"/>
                  </a:cubicBezTo>
                  <a:cubicBezTo>
                    <a:pt x="270" y="6"/>
                    <a:pt x="269" y="7"/>
                    <a:pt x="267" y="8"/>
                  </a:cubicBezTo>
                  <a:cubicBezTo>
                    <a:pt x="267" y="8"/>
                    <a:pt x="267" y="8"/>
                    <a:pt x="267" y="8"/>
                  </a:cubicBezTo>
                  <a:cubicBezTo>
                    <a:pt x="266" y="8"/>
                    <a:pt x="266" y="8"/>
                    <a:pt x="266" y="8"/>
                  </a:cubicBezTo>
                  <a:cubicBezTo>
                    <a:pt x="266" y="8"/>
                    <a:pt x="265" y="8"/>
                    <a:pt x="265" y="9"/>
                  </a:cubicBezTo>
                  <a:cubicBezTo>
                    <a:pt x="265" y="9"/>
                    <a:pt x="264" y="9"/>
                    <a:pt x="264" y="9"/>
                  </a:cubicBezTo>
                  <a:cubicBezTo>
                    <a:pt x="264" y="9"/>
                    <a:pt x="263" y="10"/>
                    <a:pt x="263" y="10"/>
                  </a:cubicBezTo>
                  <a:cubicBezTo>
                    <a:pt x="263" y="10"/>
                    <a:pt x="263" y="10"/>
                    <a:pt x="263" y="10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62" y="10"/>
                    <a:pt x="262" y="10"/>
                    <a:pt x="262" y="10"/>
                  </a:cubicBezTo>
                  <a:cubicBezTo>
                    <a:pt x="261" y="10"/>
                    <a:pt x="261" y="10"/>
                    <a:pt x="261" y="10"/>
                  </a:cubicBezTo>
                  <a:cubicBezTo>
                    <a:pt x="261" y="10"/>
                    <a:pt x="261" y="10"/>
                    <a:pt x="261" y="10"/>
                  </a:cubicBezTo>
                  <a:cubicBezTo>
                    <a:pt x="261" y="10"/>
                    <a:pt x="261" y="10"/>
                    <a:pt x="261" y="9"/>
                  </a:cubicBezTo>
                  <a:cubicBezTo>
                    <a:pt x="261" y="9"/>
                    <a:pt x="260" y="8"/>
                    <a:pt x="258" y="8"/>
                  </a:cubicBezTo>
                  <a:cubicBezTo>
                    <a:pt x="258" y="8"/>
                    <a:pt x="258" y="8"/>
                    <a:pt x="257" y="8"/>
                  </a:cubicBezTo>
                  <a:cubicBezTo>
                    <a:pt x="256" y="8"/>
                    <a:pt x="255" y="8"/>
                    <a:pt x="253" y="9"/>
                  </a:cubicBezTo>
                  <a:cubicBezTo>
                    <a:pt x="253" y="9"/>
                    <a:pt x="253" y="9"/>
                    <a:pt x="252" y="9"/>
                  </a:cubicBezTo>
                  <a:cubicBezTo>
                    <a:pt x="252" y="9"/>
                    <a:pt x="251" y="9"/>
                    <a:pt x="251" y="9"/>
                  </a:cubicBezTo>
                  <a:cubicBezTo>
                    <a:pt x="251" y="10"/>
                    <a:pt x="250" y="9"/>
                    <a:pt x="249" y="10"/>
                  </a:cubicBezTo>
                  <a:cubicBezTo>
                    <a:pt x="249" y="10"/>
                    <a:pt x="248" y="10"/>
                    <a:pt x="247" y="10"/>
                  </a:cubicBezTo>
                  <a:cubicBezTo>
                    <a:pt x="247" y="10"/>
                    <a:pt x="247" y="10"/>
                    <a:pt x="247" y="10"/>
                  </a:cubicBezTo>
                  <a:cubicBezTo>
                    <a:pt x="246" y="10"/>
                    <a:pt x="246" y="10"/>
                    <a:pt x="246" y="10"/>
                  </a:cubicBezTo>
                  <a:cubicBezTo>
                    <a:pt x="245" y="10"/>
                    <a:pt x="245" y="10"/>
                    <a:pt x="245" y="10"/>
                  </a:cubicBezTo>
                  <a:cubicBezTo>
                    <a:pt x="245" y="11"/>
                    <a:pt x="244" y="11"/>
                    <a:pt x="244" y="11"/>
                  </a:cubicBezTo>
                  <a:cubicBezTo>
                    <a:pt x="244" y="11"/>
                    <a:pt x="244" y="11"/>
                    <a:pt x="243" y="11"/>
                  </a:cubicBezTo>
                  <a:cubicBezTo>
                    <a:pt x="243" y="11"/>
                    <a:pt x="243" y="11"/>
                    <a:pt x="243" y="11"/>
                  </a:cubicBezTo>
                  <a:cubicBezTo>
                    <a:pt x="243" y="11"/>
                    <a:pt x="242" y="10"/>
                    <a:pt x="242" y="10"/>
                  </a:cubicBezTo>
                  <a:cubicBezTo>
                    <a:pt x="242" y="10"/>
                    <a:pt x="241" y="10"/>
                    <a:pt x="241" y="9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1" y="9"/>
                    <a:pt x="241" y="9"/>
                    <a:pt x="241" y="9"/>
                  </a:cubicBezTo>
                  <a:cubicBezTo>
                    <a:pt x="241" y="9"/>
                    <a:pt x="240" y="8"/>
                    <a:pt x="239" y="7"/>
                  </a:cubicBezTo>
                  <a:cubicBezTo>
                    <a:pt x="239" y="7"/>
                    <a:pt x="238" y="7"/>
                    <a:pt x="237" y="7"/>
                  </a:cubicBezTo>
                  <a:cubicBezTo>
                    <a:pt x="237" y="8"/>
                    <a:pt x="237" y="8"/>
                    <a:pt x="237" y="8"/>
                  </a:cubicBezTo>
                  <a:cubicBezTo>
                    <a:pt x="236" y="8"/>
                    <a:pt x="236" y="8"/>
                    <a:pt x="236" y="8"/>
                  </a:cubicBezTo>
                  <a:cubicBezTo>
                    <a:pt x="235" y="8"/>
                    <a:pt x="235" y="8"/>
                    <a:pt x="234" y="9"/>
                  </a:cubicBezTo>
                  <a:cubicBezTo>
                    <a:pt x="233" y="9"/>
                    <a:pt x="233" y="9"/>
                    <a:pt x="233" y="9"/>
                  </a:cubicBezTo>
                  <a:cubicBezTo>
                    <a:pt x="233" y="9"/>
                    <a:pt x="233" y="10"/>
                    <a:pt x="232" y="10"/>
                  </a:cubicBezTo>
                  <a:cubicBezTo>
                    <a:pt x="232" y="10"/>
                    <a:pt x="232" y="10"/>
                    <a:pt x="231" y="11"/>
                  </a:cubicBezTo>
                  <a:cubicBezTo>
                    <a:pt x="231" y="11"/>
                    <a:pt x="231" y="11"/>
                    <a:pt x="231" y="11"/>
                  </a:cubicBezTo>
                  <a:cubicBezTo>
                    <a:pt x="230" y="11"/>
                    <a:pt x="230" y="11"/>
                    <a:pt x="230" y="11"/>
                  </a:cubicBezTo>
                  <a:cubicBezTo>
                    <a:pt x="229" y="11"/>
                    <a:pt x="229" y="11"/>
                    <a:pt x="229" y="11"/>
                  </a:cubicBezTo>
                  <a:cubicBezTo>
                    <a:pt x="227" y="10"/>
                    <a:pt x="227" y="10"/>
                    <a:pt x="227" y="10"/>
                  </a:cubicBezTo>
                  <a:cubicBezTo>
                    <a:pt x="226" y="10"/>
                    <a:pt x="226" y="10"/>
                    <a:pt x="225" y="10"/>
                  </a:cubicBezTo>
                  <a:cubicBezTo>
                    <a:pt x="224" y="11"/>
                    <a:pt x="224" y="13"/>
                    <a:pt x="224" y="13"/>
                  </a:cubicBezTo>
                  <a:cubicBezTo>
                    <a:pt x="223" y="14"/>
                    <a:pt x="223" y="14"/>
                    <a:pt x="223" y="14"/>
                  </a:cubicBezTo>
                  <a:cubicBezTo>
                    <a:pt x="223" y="15"/>
                    <a:pt x="223" y="15"/>
                    <a:pt x="223" y="16"/>
                  </a:cubicBezTo>
                  <a:cubicBezTo>
                    <a:pt x="223" y="16"/>
                    <a:pt x="223" y="17"/>
                    <a:pt x="223" y="17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23" y="19"/>
                    <a:pt x="223" y="19"/>
                  </a:cubicBezTo>
                  <a:cubicBezTo>
                    <a:pt x="223" y="20"/>
                    <a:pt x="223" y="20"/>
                    <a:pt x="223" y="20"/>
                  </a:cubicBezTo>
                  <a:cubicBezTo>
                    <a:pt x="223" y="21"/>
                    <a:pt x="223" y="21"/>
                    <a:pt x="223" y="22"/>
                  </a:cubicBezTo>
                  <a:cubicBezTo>
                    <a:pt x="223" y="22"/>
                    <a:pt x="223" y="22"/>
                    <a:pt x="223" y="22"/>
                  </a:cubicBezTo>
                  <a:cubicBezTo>
                    <a:pt x="223" y="23"/>
                    <a:pt x="223" y="23"/>
                    <a:pt x="222" y="23"/>
                  </a:cubicBezTo>
                  <a:cubicBezTo>
                    <a:pt x="222" y="24"/>
                    <a:pt x="222" y="24"/>
                    <a:pt x="222" y="24"/>
                  </a:cubicBezTo>
                  <a:cubicBezTo>
                    <a:pt x="222" y="25"/>
                    <a:pt x="221" y="25"/>
                    <a:pt x="221" y="26"/>
                  </a:cubicBezTo>
                  <a:cubicBezTo>
                    <a:pt x="221" y="26"/>
                    <a:pt x="221" y="26"/>
                    <a:pt x="221" y="26"/>
                  </a:cubicBezTo>
                  <a:cubicBezTo>
                    <a:pt x="221" y="26"/>
                    <a:pt x="220" y="26"/>
                    <a:pt x="220" y="26"/>
                  </a:cubicBezTo>
                  <a:cubicBezTo>
                    <a:pt x="220" y="27"/>
                    <a:pt x="220" y="27"/>
                    <a:pt x="219" y="27"/>
                  </a:cubicBezTo>
                  <a:cubicBezTo>
                    <a:pt x="219" y="27"/>
                    <a:pt x="219" y="27"/>
                    <a:pt x="218" y="28"/>
                  </a:cubicBezTo>
                  <a:cubicBezTo>
                    <a:pt x="218" y="28"/>
                    <a:pt x="217" y="29"/>
                    <a:pt x="217" y="30"/>
                  </a:cubicBezTo>
                  <a:cubicBezTo>
                    <a:pt x="217" y="30"/>
                    <a:pt x="217" y="30"/>
                    <a:pt x="218" y="31"/>
                  </a:cubicBezTo>
                  <a:cubicBezTo>
                    <a:pt x="218" y="31"/>
                    <a:pt x="218" y="32"/>
                    <a:pt x="218" y="32"/>
                  </a:cubicBezTo>
                  <a:cubicBezTo>
                    <a:pt x="218" y="32"/>
                    <a:pt x="218" y="32"/>
                    <a:pt x="218" y="32"/>
                  </a:cubicBezTo>
                  <a:cubicBezTo>
                    <a:pt x="219" y="33"/>
                    <a:pt x="219" y="33"/>
                    <a:pt x="219" y="34"/>
                  </a:cubicBezTo>
                  <a:cubicBezTo>
                    <a:pt x="219" y="34"/>
                    <a:pt x="219" y="34"/>
                    <a:pt x="219" y="35"/>
                  </a:cubicBezTo>
                  <a:cubicBezTo>
                    <a:pt x="220" y="35"/>
                    <a:pt x="221" y="36"/>
                    <a:pt x="221" y="36"/>
                  </a:cubicBezTo>
                  <a:cubicBezTo>
                    <a:pt x="221" y="36"/>
                    <a:pt x="221" y="36"/>
                    <a:pt x="221" y="36"/>
                  </a:cubicBezTo>
                  <a:cubicBezTo>
                    <a:pt x="222" y="37"/>
                    <a:pt x="223" y="38"/>
                    <a:pt x="224" y="38"/>
                  </a:cubicBezTo>
                  <a:cubicBezTo>
                    <a:pt x="225" y="39"/>
                    <a:pt x="225" y="39"/>
                    <a:pt x="225" y="39"/>
                  </a:cubicBezTo>
                  <a:cubicBezTo>
                    <a:pt x="225" y="39"/>
                    <a:pt x="226" y="39"/>
                    <a:pt x="226" y="40"/>
                  </a:cubicBezTo>
                  <a:cubicBezTo>
                    <a:pt x="227" y="40"/>
                    <a:pt x="227" y="40"/>
                    <a:pt x="227" y="41"/>
                  </a:cubicBezTo>
                  <a:cubicBezTo>
                    <a:pt x="227" y="41"/>
                    <a:pt x="227" y="41"/>
                    <a:pt x="227" y="41"/>
                  </a:cubicBezTo>
                  <a:cubicBezTo>
                    <a:pt x="227" y="41"/>
                    <a:pt x="227" y="42"/>
                    <a:pt x="228" y="42"/>
                  </a:cubicBezTo>
                  <a:cubicBezTo>
                    <a:pt x="228" y="42"/>
                    <a:pt x="227" y="42"/>
                    <a:pt x="227" y="42"/>
                  </a:cubicBezTo>
                  <a:cubicBezTo>
                    <a:pt x="227" y="42"/>
                    <a:pt x="227" y="42"/>
                    <a:pt x="227" y="43"/>
                  </a:cubicBezTo>
                  <a:cubicBezTo>
                    <a:pt x="227" y="43"/>
                    <a:pt x="227" y="43"/>
                    <a:pt x="227" y="43"/>
                  </a:cubicBezTo>
                  <a:cubicBezTo>
                    <a:pt x="227" y="43"/>
                    <a:pt x="227" y="44"/>
                    <a:pt x="227" y="44"/>
                  </a:cubicBezTo>
                  <a:cubicBezTo>
                    <a:pt x="226" y="44"/>
                    <a:pt x="226" y="44"/>
                    <a:pt x="226" y="44"/>
                  </a:cubicBezTo>
                  <a:cubicBezTo>
                    <a:pt x="226" y="44"/>
                    <a:pt x="226" y="45"/>
                    <a:pt x="225" y="45"/>
                  </a:cubicBezTo>
                  <a:cubicBezTo>
                    <a:pt x="224" y="45"/>
                    <a:pt x="224" y="45"/>
                    <a:pt x="224" y="45"/>
                  </a:cubicBezTo>
                  <a:cubicBezTo>
                    <a:pt x="224" y="45"/>
                    <a:pt x="224" y="45"/>
                    <a:pt x="224" y="45"/>
                  </a:cubicBezTo>
                  <a:cubicBezTo>
                    <a:pt x="224" y="45"/>
                    <a:pt x="224" y="45"/>
                    <a:pt x="223" y="45"/>
                  </a:cubicBezTo>
                  <a:cubicBezTo>
                    <a:pt x="223" y="45"/>
                    <a:pt x="223" y="44"/>
                    <a:pt x="222" y="44"/>
                  </a:cubicBezTo>
                  <a:cubicBezTo>
                    <a:pt x="222" y="44"/>
                    <a:pt x="222" y="44"/>
                    <a:pt x="222" y="44"/>
                  </a:cubicBezTo>
                  <a:cubicBezTo>
                    <a:pt x="222" y="44"/>
                    <a:pt x="221" y="44"/>
                    <a:pt x="221" y="44"/>
                  </a:cubicBezTo>
                  <a:cubicBezTo>
                    <a:pt x="221" y="44"/>
                    <a:pt x="221" y="44"/>
                    <a:pt x="221" y="44"/>
                  </a:cubicBezTo>
                  <a:cubicBezTo>
                    <a:pt x="220" y="44"/>
                    <a:pt x="220" y="43"/>
                    <a:pt x="220" y="43"/>
                  </a:cubicBezTo>
                  <a:cubicBezTo>
                    <a:pt x="219" y="42"/>
                    <a:pt x="219" y="42"/>
                    <a:pt x="219" y="42"/>
                  </a:cubicBezTo>
                  <a:cubicBezTo>
                    <a:pt x="219" y="41"/>
                    <a:pt x="219" y="40"/>
                    <a:pt x="218" y="40"/>
                  </a:cubicBezTo>
                  <a:cubicBezTo>
                    <a:pt x="218" y="39"/>
                    <a:pt x="217" y="39"/>
                    <a:pt x="217" y="39"/>
                  </a:cubicBezTo>
                  <a:cubicBezTo>
                    <a:pt x="216" y="39"/>
                    <a:pt x="215" y="40"/>
                    <a:pt x="214" y="40"/>
                  </a:cubicBezTo>
                  <a:cubicBezTo>
                    <a:pt x="214" y="41"/>
                    <a:pt x="213" y="42"/>
                    <a:pt x="213" y="42"/>
                  </a:cubicBezTo>
                  <a:cubicBezTo>
                    <a:pt x="214" y="43"/>
                    <a:pt x="214" y="43"/>
                    <a:pt x="214" y="43"/>
                  </a:cubicBezTo>
                  <a:cubicBezTo>
                    <a:pt x="213" y="43"/>
                    <a:pt x="213" y="43"/>
                    <a:pt x="213" y="43"/>
                  </a:cubicBezTo>
                  <a:cubicBezTo>
                    <a:pt x="213" y="43"/>
                    <a:pt x="212" y="44"/>
                    <a:pt x="212" y="45"/>
                  </a:cubicBezTo>
                  <a:cubicBezTo>
                    <a:pt x="212" y="45"/>
                    <a:pt x="212" y="45"/>
                    <a:pt x="212" y="46"/>
                  </a:cubicBezTo>
                  <a:cubicBezTo>
                    <a:pt x="212" y="46"/>
                    <a:pt x="212" y="46"/>
                    <a:pt x="212" y="46"/>
                  </a:cubicBezTo>
                  <a:cubicBezTo>
                    <a:pt x="211" y="46"/>
                    <a:pt x="211" y="46"/>
                    <a:pt x="211" y="46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10" y="46"/>
                    <a:pt x="210" y="46"/>
                    <a:pt x="210" y="46"/>
                  </a:cubicBezTo>
                  <a:cubicBezTo>
                    <a:pt x="209" y="46"/>
                    <a:pt x="209" y="46"/>
                    <a:pt x="209" y="46"/>
                  </a:cubicBezTo>
                  <a:cubicBezTo>
                    <a:pt x="208" y="46"/>
                    <a:pt x="208" y="46"/>
                    <a:pt x="208" y="46"/>
                  </a:cubicBezTo>
                  <a:cubicBezTo>
                    <a:pt x="208" y="46"/>
                    <a:pt x="208" y="46"/>
                    <a:pt x="207" y="46"/>
                  </a:cubicBezTo>
                  <a:cubicBezTo>
                    <a:pt x="207" y="46"/>
                    <a:pt x="206" y="46"/>
                    <a:pt x="206" y="46"/>
                  </a:cubicBezTo>
                  <a:cubicBezTo>
                    <a:pt x="206" y="45"/>
                    <a:pt x="206" y="45"/>
                    <a:pt x="206" y="45"/>
                  </a:cubicBezTo>
                  <a:cubicBezTo>
                    <a:pt x="206" y="45"/>
                    <a:pt x="205" y="45"/>
                    <a:pt x="205" y="45"/>
                  </a:cubicBezTo>
                  <a:cubicBezTo>
                    <a:pt x="204" y="45"/>
                    <a:pt x="204" y="45"/>
                    <a:pt x="203" y="45"/>
                  </a:cubicBezTo>
                  <a:cubicBezTo>
                    <a:pt x="203" y="45"/>
                    <a:pt x="203" y="45"/>
                    <a:pt x="203" y="45"/>
                  </a:cubicBezTo>
                  <a:cubicBezTo>
                    <a:pt x="203" y="45"/>
                    <a:pt x="203" y="45"/>
                    <a:pt x="203" y="44"/>
                  </a:cubicBezTo>
                  <a:cubicBezTo>
                    <a:pt x="203" y="44"/>
                    <a:pt x="203" y="44"/>
                    <a:pt x="203" y="44"/>
                  </a:cubicBezTo>
                  <a:cubicBezTo>
                    <a:pt x="203" y="44"/>
                    <a:pt x="203" y="43"/>
                    <a:pt x="203" y="43"/>
                  </a:cubicBezTo>
                  <a:cubicBezTo>
                    <a:pt x="203" y="43"/>
                    <a:pt x="203" y="43"/>
                    <a:pt x="203" y="43"/>
                  </a:cubicBezTo>
                  <a:cubicBezTo>
                    <a:pt x="203" y="43"/>
                    <a:pt x="203" y="43"/>
                    <a:pt x="204" y="43"/>
                  </a:cubicBezTo>
                  <a:cubicBezTo>
                    <a:pt x="204" y="43"/>
                    <a:pt x="204" y="43"/>
                    <a:pt x="204" y="43"/>
                  </a:cubicBezTo>
                  <a:cubicBezTo>
                    <a:pt x="205" y="42"/>
                    <a:pt x="207" y="41"/>
                    <a:pt x="207" y="40"/>
                  </a:cubicBezTo>
                  <a:cubicBezTo>
                    <a:pt x="207" y="39"/>
                    <a:pt x="207" y="38"/>
                    <a:pt x="206" y="38"/>
                  </a:cubicBezTo>
                  <a:cubicBezTo>
                    <a:pt x="205" y="37"/>
                    <a:pt x="204" y="36"/>
                    <a:pt x="202" y="36"/>
                  </a:cubicBezTo>
                  <a:cubicBezTo>
                    <a:pt x="201" y="36"/>
                    <a:pt x="199" y="36"/>
                    <a:pt x="197" y="36"/>
                  </a:cubicBezTo>
                  <a:cubicBezTo>
                    <a:pt x="195" y="36"/>
                    <a:pt x="195" y="36"/>
                    <a:pt x="195" y="36"/>
                  </a:cubicBezTo>
                  <a:cubicBezTo>
                    <a:pt x="194" y="36"/>
                    <a:pt x="194" y="36"/>
                    <a:pt x="193" y="36"/>
                  </a:cubicBezTo>
                  <a:cubicBezTo>
                    <a:pt x="192" y="36"/>
                    <a:pt x="191" y="36"/>
                    <a:pt x="190" y="36"/>
                  </a:cubicBezTo>
                  <a:cubicBezTo>
                    <a:pt x="189" y="37"/>
                    <a:pt x="188" y="38"/>
                    <a:pt x="187" y="39"/>
                  </a:cubicBezTo>
                  <a:cubicBezTo>
                    <a:pt x="186" y="40"/>
                    <a:pt x="185" y="41"/>
                    <a:pt x="184" y="41"/>
                  </a:cubicBezTo>
                  <a:cubicBezTo>
                    <a:pt x="184" y="41"/>
                    <a:pt x="184" y="41"/>
                    <a:pt x="183" y="41"/>
                  </a:cubicBezTo>
                  <a:cubicBezTo>
                    <a:pt x="183" y="40"/>
                    <a:pt x="182" y="40"/>
                    <a:pt x="182" y="40"/>
                  </a:cubicBezTo>
                  <a:cubicBezTo>
                    <a:pt x="181" y="40"/>
                    <a:pt x="180" y="40"/>
                    <a:pt x="180" y="40"/>
                  </a:cubicBezTo>
                  <a:cubicBezTo>
                    <a:pt x="179" y="39"/>
                    <a:pt x="179" y="39"/>
                    <a:pt x="179" y="39"/>
                  </a:cubicBezTo>
                  <a:cubicBezTo>
                    <a:pt x="179" y="39"/>
                    <a:pt x="178" y="39"/>
                    <a:pt x="177" y="39"/>
                  </a:cubicBezTo>
                  <a:cubicBezTo>
                    <a:pt x="177" y="39"/>
                    <a:pt x="177" y="39"/>
                    <a:pt x="177" y="39"/>
                  </a:cubicBezTo>
                  <a:cubicBezTo>
                    <a:pt x="175" y="39"/>
                    <a:pt x="173" y="39"/>
                    <a:pt x="171" y="40"/>
                  </a:cubicBezTo>
                  <a:cubicBezTo>
                    <a:pt x="171" y="40"/>
                    <a:pt x="171" y="40"/>
                    <a:pt x="171" y="40"/>
                  </a:cubicBezTo>
                  <a:cubicBezTo>
                    <a:pt x="170" y="40"/>
                    <a:pt x="169" y="40"/>
                    <a:pt x="169" y="41"/>
                  </a:cubicBezTo>
                  <a:cubicBezTo>
                    <a:pt x="168" y="42"/>
                    <a:pt x="169" y="44"/>
                    <a:pt x="169" y="44"/>
                  </a:cubicBezTo>
                  <a:cubicBezTo>
                    <a:pt x="170" y="45"/>
                    <a:pt x="171" y="46"/>
                    <a:pt x="172" y="47"/>
                  </a:cubicBezTo>
                  <a:cubicBezTo>
                    <a:pt x="172" y="47"/>
                    <a:pt x="172" y="47"/>
                    <a:pt x="172" y="47"/>
                  </a:cubicBezTo>
                  <a:cubicBezTo>
                    <a:pt x="173" y="48"/>
                    <a:pt x="173" y="48"/>
                    <a:pt x="174" y="49"/>
                  </a:cubicBezTo>
                  <a:cubicBezTo>
                    <a:pt x="173" y="49"/>
                    <a:pt x="173" y="49"/>
                    <a:pt x="172" y="49"/>
                  </a:cubicBezTo>
                  <a:cubicBezTo>
                    <a:pt x="172" y="49"/>
                    <a:pt x="172" y="49"/>
                    <a:pt x="172" y="49"/>
                  </a:cubicBezTo>
                  <a:cubicBezTo>
                    <a:pt x="171" y="47"/>
                    <a:pt x="168" y="46"/>
                    <a:pt x="167" y="46"/>
                  </a:cubicBezTo>
                  <a:cubicBezTo>
                    <a:pt x="167" y="46"/>
                    <a:pt x="167" y="46"/>
                    <a:pt x="166" y="46"/>
                  </a:cubicBezTo>
                  <a:cubicBezTo>
                    <a:pt x="166" y="46"/>
                    <a:pt x="165" y="46"/>
                    <a:pt x="165" y="47"/>
                  </a:cubicBezTo>
                  <a:cubicBezTo>
                    <a:pt x="164" y="47"/>
                    <a:pt x="164" y="47"/>
                    <a:pt x="164" y="48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164" y="48"/>
                    <a:pt x="164" y="48"/>
                    <a:pt x="163" y="49"/>
                  </a:cubicBezTo>
                  <a:cubicBezTo>
                    <a:pt x="163" y="49"/>
                    <a:pt x="163" y="49"/>
                    <a:pt x="163" y="49"/>
                  </a:cubicBezTo>
                  <a:cubicBezTo>
                    <a:pt x="162" y="49"/>
                    <a:pt x="162" y="50"/>
                    <a:pt x="162" y="51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2" y="53"/>
                    <a:pt x="162" y="53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1" y="55"/>
                    <a:pt x="161" y="55"/>
                    <a:pt x="161" y="56"/>
                  </a:cubicBezTo>
                  <a:cubicBezTo>
                    <a:pt x="161" y="57"/>
                    <a:pt x="161" y="58"/>
                    <a:pt x="161" y="58"/>
                  </a:cubicBezTo>
                  <a:cubicBezTo>
                    <a:pt x="162" y="59"/>
                    <a:pt x="163" y="60"/>
                    <a:pt x="163" y="60"/>
                  </a:cubicBezTo>
                  <a:cubicBezTo>
                    <a:pt x="164" y="60"/>
                    <a:pt x="165" y="60"/>
                    <a:pt x="165" y="61"/>
                  </a:cubicBezTo>
                  <a:cubicBezTo>
                    <a:pt x="166" y="61"/>
                    <a:pt x="167" y="61"/>
                    <a:pt x="168" y="62"/>
                  </a:cubicBezTo>
                  <a:cubicBezTo>
                    <a:pt x="169" y="62"/>
                    <a:pt x="169" y="62"/>
                    <a:pt x="169" y="62"/>
                  </a:cubicBezTo>
                  <a:cubicBezTo>
                    <a:pt x="169" y="63"/>
                    <a:pt x="169" y="63"/>
                    <a:pt x="170" y="63"/>
                  </a:cubicBezTo>
                  <a:cubicBezTo>
                    <a:pt x="170" y="63"/>
                    <a:pt x="171" y="64"/>
                    <a:pt x="172" y="64"/>
                  </a:cubicBezTo>
                  <a:cubicBezTo>
                    <a:pt x="174" y="64"/>
                    <a:pt x="176" y="64"/>
                    <a:pt x="177" y="63"/>
                  </a:cubicBezTo>
                  <a:cubicBezTo>
                    <a:pt x="178" y="63"/>
                    <a:pt x="178" y="63"/>
                    <a:pt x="179" y="63"/>
                  </a:cubicBezTo>
                  <a:cubicBezTo>
                    <a:pt x="179" y="63"/>
                    <a:pt x="179" y="63"/>
                    <a:pt x="179" y="63"/>
                  </a:cubicBezTo>
                  <a:cubicBezTo>
                    <a:pt x="179" y="62"/>
                    <a:pt x="180" y="62"/>
                    <a:pt x="180" y="62"/>
                  </a:cubicBezTo>
                  <a:cubicBezTo>
                    <a:pt x="181" y="62"/>
                    <a:pt x="183" y="62"/>
                    <a:pt x="184" y="62"/>
                  </a:cubicBezTo>
                  <a:cubicBezTo>
                    <a:pt x="185" y="62"/>
                    <a:pt x="186" y="63"/>
                    <a:pt x="187" y="63"/>
                  </a:cubicBezTo>
                  <a:cubicBezTo>
                    <a:pt x="187" y="63"/>
                    <a:pt x="186" y="63"/>
                    <a:pt x="185" y="63"/>
                  </a:cubicBezTo>
                  <a:cubicBezTo>
                    <a:pt x="185" y="63"/>
                    <a:pt x="185" y="63"/>
                    <a:pt x="185" y="63"/>
                  </a:cubicBezTo>
                  <a:cubicBezTo>
                    <a:pt x="183" y="63"/>
                    <a:pt x="182" y="64"/>
                    <a:pt x="181" y="65"/>
                  </a:cubicBezTo>
                  <a:cubicBezTo>
                    <a:pt x="180" y="66"/>
                    <a:pt x="178" y="67"/>
                    <a:pt x="178" y="69"/>
                  </a:cubicBezTo>
                  <a:cubicBezTo>
                    <a:pt x="178" y="69"/>
                    <a:pt x="178" y="70"/>
                    <a:pt x="177" y="71"/>
                  </a:cubicBezTo>
                  <a:cubicBezTo>
                    <a:pt x="175" y="72"/>
                    <a:pt x="174" y="72"/>
                    <a:pt x="173" y="73"/>
                  </a:cubicBezTo>
                  <a:cubicBezTo>
                    <a:pt x="172" y="73"/>
                    <a:pt x="172" y="73"/>
                    <a:pt x="171" y="73"/>
                  </a:cubicBezTo>
                  <a:cubicBezTo>
                    <a:pt x="171" y="74"/>
                    <a:pt x="170" y="74"/>
                    <a:pt x="169" y="74"/>
                  </a:cubicBezTo>
                  <a:cubicBezTo>
                    <a:pt x="168" y="74"/>
                    <a:pt x="166" y="75"/>
                    <a:pt x="165" y="75"/>
                  </a:cubicBezTo>
                  <a:cubicBezTo>
                    <a:pt x="165" y="75"/>
                    <a:pt x="164" y="75"/>
                    <a:pt x="163" y="75"/>
                  </a:cubicBezTo>
                  <a:cubicBezTo>
                    <a:pt x="162" y="75"/>
                    <a:pt x="161" y="75"/>
                    <a:pt x="160" y="75"/>
                  </a:cubicBezTo>
                  <a:cubicBezTo>
                    <a:pt x="159" y="75"/>
                    <a:pt x="157" y="75"/>
                    <a:pt x="156" y="76"/>
                  </a:cubicBezTo>
                  <a:cubicBezTo>
                    <a:pt x="155" y="77"/>
                    <a:pt x="153" y="77"/>
                    <a:pt x="152" y="78"/>
                  </a:cubicBezTo>
                  <a:cubicBezTo>
                    <a:pt x="151" y="78"/>
                    <a:pt x="150" y="78"/>
                    <a:pt x="149" y="78"/>
                  </a:cubicBezTo>
                  <a:cubicBezTo>
                    <a:pt x="149" y="78"/>
                    <a:pt x="149" y="78"/>
                    <a:pt x="149" y="78"/>
                  </a:cubicBezTo>
                  <a:cubicBezTo>
                    <a:pt x="149" y="78"/>
                    <a:pt x="148" y="78"/>
                    <a:pt x="148" y="78"/>
                  </a:cubicBezTo>
                  <a:cubicBezTo>
                    <a:pt x="148" y="78"/>
                    <a:pt x="148" y="78"/>
                    <a:pt x="148" y="77"/>
                  </a:cubicBezTo>
                  <a:cubicBezTo>
                    <a:pt x="148" y="77"/>
                    <a:pt x="148" y="77"/>
                    <a:pt x="148" y="76"/>
                  </a:cubicBezTo>
                  <a:cubicBezTo>
                    <a:pt x="148" y="76"/>
                    <a:pt x="148" y="75"/>
                    <a:pt x="148" y="75"/>
                  </a:cubicBezTo>
                  <a:cubicBezTo>
                    <a:pt x="148" y="74"/>
                    <a:pt x="148" y="74"/>
                    <a:pt x="148" y="73"/>
                  </a:cubicBezTo>
                  <a:cubicBezTo>
                    <a:pt x="147" y="72"/>
                    <a:pt x="146" y="72"/>
                    <a:pt x="146" y="72"/>
                  </a:cubicBezTo>
                  <a:cubicBezTo>
                    <a:pt x="145" y="72"/>
                    <a:pt x="144" y="72"/>
                    <a:pt x="144" y="72"/>
                  </a:cubicBezTo>
                  <a:cubicBezTo>
                    <a:pt x="142" y="74"/>
                    <a:pt x="140" y="75"/>
                    <a:pt x="139" y="76"/>
                  </a:cubicBezTo>
                  <a:cubicBezTo>
                    <a:pt x="138" y="76"/>
                    <a:pt x="137" y="77"/>
                    <a:pt x="136" y="77"/>
                  </a:cubicBezTo>
                  <a:cubicBezTo>
                    <a:pt x="136" y="78"/>
                    <a:pt x="136" y="78"/>
                    <a:pt x="136" y="78"/>
                  </a:cubicBezTo>
                  <a:cubicBezTo>
                    <a:pt x="135" y="78"/>
                    <a:pt x="135" y="79"/>
                    <a:pt x="134" y="79"/>
                  </a:cubicBezTo>
                  <a:cubicBezTo>
                    <a:pt x="134" y="79"/>
                    <a:pt x="133" y="79"/>
                    <a:pt x="133" y="80"/>
                  </a:cubicBezTo>
                  <a:cubicBezTo>
                    <a:pt x="133" y="80"/>
                    <a:pt x="132" y="80"/>
                    <a:pt x="132" y="80"/>
                  </a:cubicBezTo>
                  <a:cubicBezTo>
                    <a:pt x="132" y="80"/>
                    <a:pt x="132" y="81"/>
                    <a:pt x="131" y="81"/>
                  </a:cubicBezTo>
                  <a:cubicBezTo>
                    <a:pt x="131" y="81"/>
                    <a:pt x="130" y="81"/>
                    <a:pt x="130" y="81"/>
                  </a:cubicBezTo>
                  <a:cubicBezTo>
                    <a:pt x="129" y="81"/>
                    <a:pt x="128" y="81"/>
                    <a:pt x="127" y="82"/>
                  </a:cubicBezTo>
                  <a:cubicBezTo>
                    <a:pt x="126" y="82"/>
                    <a:pt x="125" y="82"/>
                    <a:pt x="125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4" y="83"/>
                    <a:pt x="124" y="83"/>
                    <a:pt x="124" y="83"/>
                  </a:cubicBezTo>
                  <a:cubicBezTo>
                    <a:pt x="123" y="83"/>
                    <a:pt x="123" y="83"/>
                    <a:pt x="123" y="83"/>
                  </a:cubicBezTo>
                  <a:cubicBezTo>
                    <a:pt x="123" y="83"/>
                    <a:pt x="122" y="83"/>
                    <a:pt x="122" y="83"/>
                  </a:cubicBezTo>
                  <a:cubicBezTo>
                    <a:pt x="122" y="84"/>
                    <a:pt x="121" y="84"/>
                    <a:pt x="121" y="84"/>
                  </a:cubicBezTo>
                  <a:cubicBezTo>
                    <a:pt x="121" y="84"/>
                    <a:pt x="121" y="84"/>
                    <a:pt x="121" y="84"/>
                  </a:cubicBezTo>
                  <a:cubicBezTo>
                    <a:pt x="118" y="84"/>
                    <a:pt x="117" y="85"/>
                    <a:pt x="115" y="86"/>
                  </a:cubicBezTo>
                  <a:cubicBezTo>
                    <a:pt x="115" y="86"/>
                    <a:pt x="114" y="86"/>
                    <a:pt x="114" y="86"/>
                  </a:cubicBezTo>
                  <a:cubicBezTo>
                    <a:pt x="114" y="86"/>
                    <a:pt x="113" y="87"/>
                    <a:pt x="113" y="87"/>
                  </a:cubicBezTo>
                  <a:cubicBezTo>
                    <a:pt x="113" y="87"/>
                    <a:pt x="113" y="87"/>
                    <a:pt x="113" y="87"/>
                  </a:cubicBezTo>
                  <a:cubicBezTo>
                    <a:pt x="112" y="87"/>
                    <a:pt x="110" y="88"/>
                    <a:pt x="110" y="89"/>
                  </a:cubicBezTo>
                  <a:cubicBezTo>
                    <a:pt x="110" y="90"/>
                    <a:pt x="109" y="90"/>
                    <a:pt x="109" y="90"/>
                  </a:cubicBezTo>
                  <a:cubicBezTo>
                    <a:pt x="109" y="91"/>
                    <a:pt x="109" y="91"/>
                    <a:pt x="109" y="91"/>
                  </a:cubicBezTo>
                  <a:cubicBezTo>
                    <a:pt x="109" y="91"/>
                    <a:pt x="109" y="91"/>
                    <a:pt x="109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8" y="93"/>
                    <a:pt x="107" y="94"/>
                    <a:pt x="107" y="95"/>
                  </a:cubicBezTo>
                  <a:cubicBezTo>
                    <a:pt x="107" y="96"/>
                    <a:pt x="106" y="96"/>
                    <a:pt x="106" y="97"/>
                  </a:cubicBezTo>
                  <a:cubicBezTo>
                    <a:pt x="106" y="97"/>
                    <a:pt x="105" y="97"/>
                    <a:pt x="105" y="98"/>
                  </a:cubicBezTo>
                  <a:cubicBezTo>
                    <a:pt x="106" y="99"/>
                    <a:pt x="106" y="99"/>
                    <a:pt x="106" y="99"/>
                  </a:cubicBezTo>
                  <a:cubicBezTo>
                    <a:pt x="105" y="98"/>
                    <a:pt x="105" y="98"/>
                    <a:pt x="105" y="98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103" y="99"/>
                    <a:pt x="103" y="99"/>
                    <a:pt x="102" y="99"/>
                  </a:cubicBezTo>
                  <a:cubicBezTo>
                    <a:pt x="101" y="99"/>
                    <a:pt x="101" y="99"/>
                    <a:pt x="101" y="99"/>
                  </a:cubicBezTo>
                  <a:cubicBezTo>
                    <a:pt x="100" y="100"/>
                    <a:pt x="100" y="100"/>
                    <a:pt x="99" y="100"/>
                  </a:cubicBezTo>
                  <a:cubicBezTo>
                    <a:pt x="98" y="100"/>
                    <a:pt x="98" y="100"/>
                    <a:pt x="97" y="101"/>
                  </a:cubicBezTo>
                  <a:cubicBezTo>
                    <a:pt x="96" y="102"/>
                    <a:pt x="96" y="102"/>
                    <a:pt x="96" y="103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3" y="107"/>
                    <a:pt x="92" y="109"/>
                    <a:pt x="92" y="110"/>
                  </a:cubicBezTo>
                  <a:cubicBezTo>
                    <a:pt x="92" y="111"/>
                    <a:pt x="92" y="112"/>
                    <a:pt x="93" y="114"/>
                  </a:cubicBezTo>
                  <a:cubicBezTo>
                    <a:pt x="93" y="116"/>
                    <a:pt x="95" y="117"/>
                    <a:pt x="96" y="117"/>
                  </a:cubicBezTo>
                  <a:cubicBezTo>
                    <a:pt x="97" y="117"/>
                    <a:pt x="99" y="117"/>
                    <a:pt x="100" y="116"/>
                  </a:cubicBezTo>
                  <a:cubicBezTo>
                    <a:pt x="101" y="115"/>
                    <a:pt x="102" y="115"/>
                    <a:pt x="102" y="114"/>
                  </a:cubicBezTo>
                  <a:cubicBezTo>
                    <a:pt x="103" y="114"/>
                    <a:pt x="103" y="114"/>
                    <a:pt x="103" y="113"/>
                  </a:cubicBezTo>
                  <a:cubicBezTo>
                    <a:pt x="104" y="113"/>
                    <a:pt x="106" y="112"/>
                    <a:pt x="107" y="111"/>
                  </a:cubicBezTo>
                  <a:cubicBezTo>
                    <a:pt x="108" y="111"/>
                    <a:pt x="108" y="111"/>
                    <a:pt x="109" y="111"/>
                  </a:cubicBezTo>
                  <a:cubicBezTo>
                    <a:pt x="109" y="111"/>
                    <a:pt x="109" y="110"/>
                    <a:pt x="109" y="110"/>
                  </a:cubicBezTo>
                  <a:cubicBezTo>
                    <a:pt x="109" y="111"/>
                    <a:pt x="109" y="111"/>
                    <a:pt x="109" y="111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10" y="112"/>
                    <a:pt x="110" y="112"/>
                    <a:pt x="110" y="112"/>
                  </a:cubicBezTo>
                  <a:cubicBezTo>
                    <a:pt x="109" y="112"/>
                    <a:pt x="109" y="112"/>
                    <a:pt x="109" y="112"/>
                  </a:cubicBezTo>
                  <a:cubicBezTo>
                    <a:pt x="108" y="113"/>
                    <a:pt x="107" y="114"/>
                    <a:pt x="107" y="114"/>
                  </a:cubicBezTo>
                  <a:cubicBezTo>
                    <a:pt x="106" y="115"/>
                    <a:pt x="105" y="116"/>
                    <a:pt x="104" y="117"/>
                  </a:cubicBezTo>
                  <a:cubicBezTo>
                    <a:pt x="102" y="119"/>
                    <a:pt x="99" y="121"/>
                    <a:pt x="96" y="122"/>
                  </a:cubicBezTo>
                  <a:cubicBezTo>
                    <a:pt x="94" y="122"/>
                    <a:pt x="93" y="122"/>
                    <a:pt x="91" y="123"/>
                  </a:cubicBezTo>
                  <a:cubicBezTo>
                    <a:pt x="90" y="125"/>
                    <a:pt x="89" y="126"/>
                    <a:pt x="88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7" y="129"/>
                    <a:pt x="87" y="130"/>
                    <a:pt x="88" y="130"/>
                  </a:cubicBezTo>
                  <a:cubicBezTo>
                    <a:pt x="88" y="131"/>
                    <a:pt x="88" y="131"/>
                    <a:pt x="89" y="131"/>
                  </a:cubicBezTo>
                  <a:cubicBezTo>
                    <a:pt x="90" y="132"/>
                    <a:pt x="90" y="132"/>
                    <a:pt x="91" y="132"/>
                  </a:cubicBezTo>
                  <a:cubicBezTo>
                    <a:pt x="91" y="132"/>
                    <a:pt x="92" y="132"/>
                    <a:pt x="93" y="132"/>
                  </a:cubicBezTo>
                  <a:cubicBezTo>
                    <a:pt x="93" y="132"/>
                    <a:pt x="93" y="132"/>
                    <a:pt x="93" y="132"/>
                  </a:cubicBezTo>
                  <a:cubicBezTo>
                    <a:pt x="93" y="132"/>
                    <a:pt x="94" y="132"/>
                    <a:pt x="94" y="133"/>
                  </a:cubicBezTo>
                  <a:cubicBezTo>
                    <a:pt x="95" y="134"/>
                    <a:pt x="95" y="134"/>
                    <a:pt x="96" y="134"/>
                  </a:cubicBezTo>
                  <a:cubicBezTo>
                    <a:pt x="97" y="134"/>
                    <a:pt x="97" y="134"/>
                    <a:pt x="97" y="134"/>
                  </a:cubicBezTo>
                  <a:cubicBezTo>
                    <a:pt x="97" y="135"/>
                    <a:pt x="97" y="135"/>
                    <a:pt x="98" y="135"/>
                  </a:cubicBezTo>
                  <a:cubicBezTo>
                    <a:pt x="99" y="135"/>
                    <a:pt x="99" y="133"/>
                    <a:pt x="100" y="133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100" y="133"/>
                    <a:pt x="100" y="133"/>
                    <a:pt x="100" y="133"/>
                  </a:cubicBezTo>
                  <a:cubicBezTo>
                    <a:pt x="100" y="133"/>
                    <a:pt x="100" y="133"/>
                    <a:pt x="100" y="134"/>
                  </a:cubicBezTo>
                  <a:cubicBezTo>
                    <a:pt x="100" y="134"/>
                    <a:pt x="100" y="134"/>
                    <a:pt x="100" y="134"/>
                  </a:cubicBezTo>
                  <a:cubicBezTo>
                    <a:pt x="100" y="135"/>
                    <a:pt x="100" y="135"/>
                    <a:pt x="100" y="135"/>
                  </a:cubicBezTo>
                  <a:cubicBezTo>
                    <a:pt x="100" y="136"/>
                    <a:pt x="100" y="137"/>
                    <a:pt x="101" y="138"/>
                  </a:cubicBezTo>
                  <a:cubicBezTo>
                    <a:pt x="101" y="139"/>
                    <a:pt x="102" y="139"/>
                    <a:pt x="104" y="139"/>
                  </a:cubicBezTo>
                  <a:cubicBezTo>
                    <a:pt x="104" y="138"/>
                    <a:pt x="104" y="138"/>
                    <a:pt x="104" y="138"/>
                  </a:cubicBezTo>
                  <a:cubicBezTo>
                    <a:pt x="105" y="138"/>
                    <a:pt x="106" y="138"/>
                    <a:pt x="107" y="138"/>
                  </a:cubicBezTo>
                  <a:cubicBezTo>
                    <a:pt x="107" y="137"/>
                    <a:pt x="108" y="137"/>
                    <a:pt x="108" y="137"/>
                  </a:cubicBezTo>
                  <a:cubicBezTo>
                    <a:pt x="108" y="137"/>
                    <a:pt x="108" y="137"/>
                    <a:pt x="108" y="137"/>
                  </a:cubicBezTo>
                  <a:cubicBezTo>
                    <a:pt x="109" y="137"/>
                    <a:pt x="110" y="137"/>
                    <a:pt x="112" y="136"/>
                  </a:cubicBezTo>
                  <a:cubicBezTo>
                    <a:pt x="114" y="136"/>
                    <a:pt x="114" y="136"/>
                    <a:pt x="114" y="136"/>
                  </a:cubicBezTo>
                  <a:cubicBezTo>
                    <a:pt x="114" y="136"/>
                    <a:pt x="115" y="136"/>
                    <a:pt x="116" y="136"/>
                  </a:cubicBezTo>
                  <a:cubicBezTo>
                    <a:pt x="116" y="136"/>
                    <a:pt x="116" y="136"/>
                    <a:pt x="116" y="136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7" y="136"/>
                    <a:pt x="117" y="136"/>
                    <a:pt x="117" y="136"/>
                  </a:cubicBezTo>
                  <a:cubicBezTo>
                    <a:pt x="116" y="136"/>
                    <a:pt x="116" y="136"/>
                    <a:pt x="115" y="136"/>
                  </a:cubicBezTo>
                  <a:cubicBezTo>
                    <a:pt x="115" y="137"/>
                    <a:pt x="114" y="137"/>
                    <a:pt x="113" y="137"/>
                  </a:cubicBezTo>
                  <a:cubicBezTo>
                    <a:pt x="113" y="137"/>
                    <a:pt x="112" y="138"/>
                    <a:pt x="112" y="138"/>
                  </a:cubicBezTo>
                  <a:cubicBezTo>
                    <a:pt x="113" y="139"/>
                    <a:pt x="113" y="139"/>
                    <a:pt x="113" y="139"/>
                  </a:cubicBezTo>
                  <a:cubicBezTo>
                    <a:pt x="112" y="138"/>
                    <a:pt x="112" y="138"/>
                    <a:pt x="112" y="138"/>
                  </a:cubicBezTo>
                  <a:cubicBezTo>
                    <a:pt x="111" y="138"/>
                    <a:pt x="111" y="139"/>
                    <a:pt x="110" y="139"/>
                  </a:cubicBezTo>
                  <a:cubicBezTo>
                    <a:pt x="110" y="139"/>
                    <a:pt x="110" y="139"/>
                    <a:pt x="110" y="139"/>
                  </a:cubicBezTo>
                  <a:cubicBezTo>
                    <a:pt x="110" y="140"/>
                    <a:pt x="109" y="140"/>
                    <a:pt x="109" y="140"/>
                  </a:cubicBezTo>
                  <a:cubicBezTo>
                    <a:pt x="109" y="140"/>
                    <a:pt x="108" y="140"/>
                    <a:pt x="108" y="141"/>
                  </a:cubicBezTo>
                  <a:cubicBezTo>
                    <a:pt x="108" y="141"/>
                    <a:pt x="107" y="141"/>
                    <a:pt x="107" y="141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05" y="142"/>
                    <a:pt x="104" y="143"/>
                    <a:pt x="104" y="143"/>
                  </a:cubicBezTo>
                  <a:cubicBezTo>
                    <a:pt x="102" y="144"/>
                    <a:pt x="102" y="144"/>
                    <a:pt x="102" y="144"/>
                  </a:cubicBezTo>
                  <a:cubicBezTo>
                    <a:pt x="101" y="145"/>
                    <a:pt x="99" y="146"/>
                    <a:pt x="98" y="148"/>
                  </a:cubicBezTo>
                  <a:cubicBezTo>
                    <a:pt x="97" y="148"/>
                    <a:pt x="97" y="148"/>
                    <a:pt x="97" y="148"/>
                  </a:cubicBezTo>
                  <a:cubicBezTo>
                    <a:pt x="97" y="148"/>
                    <a:pt x="97" y="148"/>
                    <a:pt x="96" y="149"/>
                  </a:cubicBezTo>
                  <a:cubicBezTo>
                    <a:pt x="96" y="149"/>
                    <a:pt x="96" y="149"/>
                    <a:pt x="95" y="148"/>
                  </a:cubicBezTo>
                  <a:cubicBezTo>
                    <a:pt x="95" y="148"/>
                    <a:pt x="95" y="148"/>
                    <a:pt x="95" y="148"/>
                  </a:cubicBezTo>
                  <a:cubicBezTo>
                    <a:pt x="94" y="148"/>
                    <a:pt x="94" y="148"/>
                    <a:pt x="94" y="148"/>
                  </a:cubicBezTo>
                  <a:cubicBezTo>
                    <a:pt x="93" y="148"/>
                    <a:pt x="93" y="148"/>
                    <a:pt x="93" y="148"/>
                  </a:cubicBezTo>
                  <a:cubicBezTo>
                    <a:pt x="92" y="147"/>
                    <a:pt x="92" y="147"/>
                    <a:pt x="91" y="147"/>
                  </a:cubicBezTo>
                  <a:cubicBezTo>
                    <a:pt x="89" y="148"/>
                    <a:pt x="88" y="148"/>
                    <a:pt x="86" y="149"/>
                  </a:cubicBezTo>
                  <a:cubicBezTo>
                    <a:pt x="85" y="149"/>
                    <a:pt x="85" y="150"/>
                    <a:pt x="84" y="150"/>
                  </a:cubicBezTo>
                  <a:cubicBezTo>
                    <a:pt x="84" y="151"/>
                    <a:pt x="84" y="151"/>
                    <a:pt x="83" y="151"/>
                  </a:cubicBezTo>
                  <a:cubicBezTo>
                    <a:pt x="83" y="151"/>
                    <a:pt x="83" y="151"/>
                    <a:pt x="83" y="151"/>
                  </a:cubicBezTo>
                  <a:cubicBezTo>
                    <a:pt x="82" y="151"/>
                    <a:pt x="82" y="152"/>
                    <a:pt x="82" y="152"/>
                  </a:cubicBezTo>
                  <a:cubicBezTo>
                    <a:pt x="82" y="152"/>
                    <a:pt x="81" y="152"/>
                    <a:pt x="81" y="152"/>
                  </a:cubicBezTo>
                  <a:cubicBezTo>
                    <a:pt x="80" y="152"/>
                    <a:pt x="80" y="153"/>
                    <a:pt x="80" y="153"/>
                  </a:cubicBezTo>
                  <a:cubicBezTo>
                    <a:pt x="80" y="153"/>
                    <a:pt x="80" y="153"/>
                    <a:pt x="79" y="153"/>
                  </a:cubicBezTo>
                  <a:cubicBezTo>
                    <a:pt x="79" y="153"/>
                    <a:pt x="79" y="154"/>
                    <a:pt x="79" y="154"/>
                  </a:cubicBezTo>
                  <a:cubicBezTo>
                    <a:pt x="78" y="154"/>
                    <a:pt x="78" y="154"/>
                    <a:pt x="77" y="155"/>
                  </a:cubicBezTo>
                  <a:cubicBezTo>
                    <a:pt x="77" y="155"/>
                    <a:pt x="77" y="155"/>
                    <a:pt x="76" y="155"/>
                  </a:cubicBezTo>
                  <a:cubicBezTo>
                    <a:pt x="75" y="155"/>
                    <a:pt x="75" y="155"/>
                    <a:pt x="75" y="155"/>
                  </a:cubicBezTo>
                  <a:cubicBezTo>
                    <a:pt x="75" y="155"/>
                    <a:pt x="75" y="155"/>
                    <a:pt x="75" y="155"/>
                  </a:cubicBezTo>
                  <a:cubicBezTo>
                    <a:pt x="74" y="155"/>
                    <a:pt x="74" y="155"/>
                    <a:pt x="73" y="155"/>
                  </a:cubicBezTo>
                  <a:cubicBezTo>
                    <a:pt x="73" y="155"/>
                    <a:pt x="73" y="155"/>
                    <a:pt x="73" y="155"/>
                  </a:cubicBezTo>
                  <a:cubicBezTo>
                    <a:pt x="73" y="156"/>
                    <a:pt x="73" y="156"/>
                    <a:pt x="73" y="156"/>
                  </a:cubicBezTo>
                  <a:cubicBezTo>
                    <a:pt x="73" y="156"/>
                    <a:pt x="72" y="156"/>
                    <a:pt x="72" y="156"/>
                  </a:cubicBezTo>
                  <a:cubicBezTo>
                    <a:pt x="72" y="156"/>
                    <a:pt x="72" y="156"/>
                    <a:pt x="72" y="156"/>
                  </a:cubicBezTo>
                  <a:cubicBezTo>
                    <a:pt x="71" y="156"/>
                    <a:pt x="71" y="156"/>
                    <a:pt x="71" y="156"/>
                  </a:cubicBezTo>
                  <a:cubicBezTo>
                    <a:pt x="71" y="156"/>
                    <a:pt x="70" y="156"/>
                    <a:pt x="70" y="156"/>
                  </a:cubicBezTo>
                  <a:cubicBezTo>
                    <a:pt x="69" y="156"/>
                    <a:pt x="67" y="156"/>
                    <a:pt x="65" y="156"/>
                  </a:cubicBezTo>
                  <a:cubicBezTo>
                    <a:pt x="64" y="156"/>
                    <a:pt x="64" y="157"/>
                    <a:pt x="63" y="157"/>
                  </a:cubicBezTo>
                  <a:cubicBezTo>
                    <a:pt x="62" y="157"/>
                    <a:pt x="62" y="157"/>
                    <a:pt x="62" y="157"/>
                  </a:cubicBezTo>
                  <a:cubicBezTo>
                    <a:pt x="62" y="157"/>
                    <a:pt x="61" y="157"/>
                    <a:pt x="61" y="157"/>
                  </a:cubicBezTo>
                  <a:cubicBezTo>
                    <a:pt x="61" y="158"/>
                    <a:pt x="60" y="158"/>
                    <a:pt x="60" y="158"/>
                  </a:cubicBezTo>
                  <a:cubicBezTo>
                    <a:pt x="61" y="159"/>
                    <a:pt x="61" y="159"/>
                    <a:pt x="61" y="159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60"/>
                    <a:pt x="59" y="160"/>
                    <a:pt x="59" y="160"/>
                  </a:cubicBezTo>
                  <a:cubicBezTo>
                    <a:pt x="59" y="160"/>
                    <a:pt x="58" y="161"/>
                    <a:pt x="58" y="161"/>
                  </a:cubicBezTo>
                  <a:cubicBezTo>
                    <a:pt x="58" y="161"/>
                    <a:pt x="58" y="161"/>
                    <a:pt x="58" y="161"/>
                  </a:cubicBezTo>
                  <a:cubicBezTo>
                    <a:pt x="58" y="161"/>
                    <a:pt x="58" y="162"/>
                    <a:pt x="58" y="162"/>
                  </a:cubicBezTo>
                  <a:cubicBezTo>
                    <a:pt x="58" y="162"/>
                    <a:pt x="58" y="162"/>
                    <a:pt x="58" y="162"/>
                  </a:cubicBezTo>
                  <a:cubicBezTo>
                    <a:pt x="58" y="162"/>
                    <a:pt x="57" y="162"/>
                    <a:pt x="57" y="162"/>
                  </a:cubicBezTo>
                  <a:cubicBezTo>
                    <a:pt x="57" y="162"/>
                    <a:pt x="57" y="162"/>
                    <a:pt x="57" y="163"/>
                  </a:cubicBezTo>
                  <a:cubicBezTo>
                    <a:pt x="57" y="163"/>
                    <a:pt x="56" y="163"/>
                    <a:pt x="56" y="163"/>
                  </a:cubicBezTo>
                  <a:cubicBezTo>
                    <a:pt x="56" y="163"/>
                    <a:pt x="56" y="163"/>
                    <a:pt x="56" y="163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55" y="163"/>
                    <a:pt x="55" y="163"/>
                    <a:pt x="55" y="163"/>
                  </a:cubicBezTo>
                  <a:cubicBezTo>
                    <a:pt x="54" y="163"/>
                    <a:pt x="54" y="162"/>
                    <a:pt x="54" y="162"/>
                  </a:cubicBezTo>
                  <a:cubicBezTo>
                    <a:pt x="53" y="162"/>
                    <a:pt x="52" y="162"/>
                    <a:pt x="51" y="162"/>
                  </a:cubicBezTo>
                  <a:cubicBezTo>
                    <a:pt x="50" y="162"/>
                    <a:pt x="50" y="163"/>
                    <a:pt x="50" y="163"/>
                  </a:cubicBezTo>
                  <a:cubicBezTo>
                    <a:pt x="50" y="163"/>
                    <a:pt x="50" y="163"/>
                    <a:pt x="49" y="163"/>
                  </a:cubicBezTo>
                  <a:cubicBezTo>
                    <a:pt x="48" y="163"/>
                    <a:pt x="48" y="163"/>
                    <a:pt x="48" y="163"/>
                  </a:cubicBezTo>
                  <a:cubicBezTo>
                    <a:pt x="48" y="163"/>
                    <a:pt x="48" y="163"/>
                    <a:pt x="47" y="163"/>
                  </a:cubicBezTo>
                  <a:cubicBezTo>
                    <a:pt x="47" y="163"/>
                    <a:pt x="47" y="163"/>
                    <a:pt x="47" y="163"/>
                  </a:cubicBezTo>
                  <a:cubicBezTo>
                    <a:pt x="46" y="163"/>
                    <a:pt x="45" y="163"/>
                    <a:pt x="44" y="163"/>
                  </a:cubicBezTo>
                  <a:cubicBezTo>
                    <a:pt x="44" y="164"/>
                    <a:pt x="44" y="164"/>
                    <a:pt x="44" y="164"/>
                  </a:cubicBezTo>
                  <a:cubicBezTo>
                    <a:pt x="43" y="164"/>
                    <a:pt x="42" y="164"/>
                    <a:pt x="41" y="165"/>
                  </a:cubicBezTo>
                  <a:cubicBezTo>
                    <a:pt x="40" y="165"/>
                    <a:pt x="40" y="165"/>
                    <a:pt x="39" y="165"/>
                  </a:cubicBezTo>
                  <a:cubicBezTo>
                    <a:pt x="38" y="165"/>
                    <a:pt x="38" y="166"/>
                    <a:pt x="37" y="166"/>
                  </a:cubicBezTo>
                  <a:cubicBezTo>
                    <a:pt x="37" y="166"/>
                    <a:pt x="37" y="166"/>
                    <a:pt x="37" y="166"/>
                  </a:cubicBezTo>
                  <a:cubicBezTo>
                    <a:pt x="36" y="167"/>
                    <a:pt x="36" y="167"/>
                    <a:pt x="36" y="167"/>
                  </a:cubicBezTo>
                  <a:cubicBezTo>
                    <a:pt x="36" y="167"/>
                    <a:pt x="35" y="167"/>
                    <a:pt x="35" y="167"/>
                  </a:cubicBezTo>
                  <a:cubicBezTo>
                    <a:pt x="34" y="167"/>
                    <a:pt x="34" y="167"/>
                    <a:pt x="34" y="167"/>
                  </a:cubicBezTo>
                  <a:cubicBezTo>
                    <a:pt x="33" y="167"/>
                    <a:pt x="33" y="168"/>
                    <a:pt x="32" y="168"/>
                  </a:cubicBezTo>
                  <a:cubicBezTo>
                    <a:pt x="32" y="169"/>
                    <a:pt x="31" y="169"/>
                    <a:pt x="31" y="169"/>
                  </a:cubicBezTo>
                  <a:cubicBezTo>
                    <a:pt x="30" y="169"/>
                    <a:pt x="30" y="169"/>
                    <a:pt x="30" y="169"/>
                  </a:cubicBezTo>
                  <a:cubicBezTo>
                    <a:pt x="30" y="170"/>
                    <a:pt x="29" y="170"/>
                    <a:pt x="29" y="170"/>
                  </a:cubicBezTo>
                  <a:cubicBezTo>
                    <a:pt x="28" y="171"/>
                    <a:pt x="28" y="171"/>
                    <a:pt x="28" y="171"/>
                  </a:cubicBezTo>
                  <a:cubicBezTo>
                    <a:pt x="27" y="171"/>
                    <a:pt x="27" y="171"/>
                    <a:pt x="26" y="171"/>
                  </a:cubicBezTo>
                  <a:cubicBezTo>
                    <a:pt x="26" y="171"/>
                    <a:pt x="26" y="171"/>
                    <a:pt x="25" y="171"/>
                  </a:cubicBezTo>
                  <a:cubicBezTo>
                    <a:pt x="25" y="170"/>
                    <a:pt x="24" y="170"/>
                    <a:pt x="24" y="170"/>
                  </a:cubicBezTo>
                  <a:cubicBezTo>
                    <a:pt x="23" y="170"/>
                    <a:pt x="21" y="170"/>
                    <a:pt x="20" y="170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18" y="170"/>
                    <a:pt x="17" y="170"/>
                    <a:pt x="16" y="171"/>
                  </a:cubicBezTo>
                  <a:cubicBezTo>
                    <a:pt x="15" y="171"/>
                    <a:pt x="15" y="171"/>
                    <a:pt x="15" y="171"/>
                  </a:cubicBezTo>
                  <a:cubicBezTo>
                    <a:pt x="14" y="171"/>
                    <a:pt x="13" y="172"/>
                    <a:pt x="12" y="172"/>
                  </a:cubicBezTo>
                  <a:cubicBezTo>
                    <a:pt x="11" y="172"/>
                    <a:pt x="10" y="172"/>
                    <a:pt x="9" y="173"/>
                  </a:cubicBezTo>
                  <a:cubicBezTo>
                    <a:pt x="9" y="173"/>
                    <a:pt x="9" y="173"/>
                    <a:pt x="8" y="173"/>
                  </a:cubicBezTo>
                  <a:cubicBezTo>
                    <a:pt x="8" y="172"/>
                    <a:pt x="7" y="172"/>
                    <a:pt x="6" y="173"/>
                  </a:cubicBezTo>
                  <a:cubicBezTo>
                    <a:pt x="5" y="173"/>
                    <a:pt x="5" y="173"/>
                    <a:pt x="5" y="173"/>
                  </a:cubicBezTo>
                  <a:cubicBezTo>
                    <a:pt x="5" y="173"/>
                    <a:pt x="4" y="173"/>
                    <a:pt x="3" y="174"/>
                  </a:cubicBezTo>
                  <a:cubicBezTo>
                    <a:pt x="3" y="174"/>
                    <a:pt x="3" y="174"/>
                    <a:pt x="3" y="174"/>
                  </a:cubicBezTo>
                  <a:cubicBezTo>
                    <a:pt x="3" y="174"/>
                    <a:pt x="3" y="174"/>
                    <a:pt x="2" y="174"/>
                  </a:cubicBezTo>
                  <a:cubicBezTo>
                    <a:pt x="1" y="169"/>
                    <a:pt x="1" y="169"/>
                    <a:pt x="1" y="169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1" y="175"/>
                    <a:pt x="1" y="175"/>
                    <a:pt x="1" y="175"/>
                  </a:cubicBezTo>
                  <a:cubicBezTo>
                    <a:pt x="0" y="176"/>
                    <a:pt x="1" y="177"/>
                    <a:pt x="1" y="178"/>
                  </a:cubicBezTo>
                  <a:cubicBezTo>
                    <a:pt x="1" y="178"/>
                    <a:pt x="1" y="178"/>
                    <a:pt x="1" y="178"/>
                  </a:cubicBezTo>
                  <a:cubicBezTo>
                    <a:pt x="1" y="178"/>
                    <a:pt x="2" y="178"/>
                    <a:pt x="2" y="178"/>
                  </a:cubicBezTo>
                  <a:cubicBezTo>
                    <a:pt x="3" y="178"/>
                    <a:pt x="3" y="178"/>
                    <a:pt x="3" y="178"/>
                  </a:cubicBezTo>
                  <a:cubicBezTo>
                    <a:pt x="3" y="178"/>
                    <a:pt x="4" y="178"/>
                    <a:pt x="4" y="178"/>
                  </a:cubicBezTo>
                  <a:cubicBezTo>
                    <a:pt x="4" y="178"/>
                    <a:pt x="4" y="178"/>
                    <a:pt x="5" y="179"/>
                  </a:cubicBezTo>
                  <a:cubicBezTo>
                    <a:pt x="5" y="179"/>
                    <a:pt x="6" y="179"/>
                    <a:pt x="7" y="179"/>
                  </a:cubicBezTo>
                  <a:cubicBezTo>
                    <a:pt x="7" y="179"/>
                    <a:pt x="7" y="179"/>
                    <a:pt x="7" y="179"/>
                  </a:cubicBezTo>
                  <a:cubicBezTo>
                    <a:pt x="9" y="179"/>
                    <a:pt x="9" y="178"/>
                    <a:pt x="10" y="178"/>
                  </a:cubicBezTo>
                  <a:cubicBezTo>
                    <a:pt x="11" y="179"/>
                    <a:pt x="12" y="179"/>
                    <a:pt x="13" y="179"/>
                  </a:cubicBezTo>
                  <a:cubicBezTo>
                    <a:pt x="14" y="179"/>
                    <a:pt x="16" y="179"/>
                    <a:pt x="18" y="179"/>
                  </a:cubicBezTo>
                  <a:cubicBezTo>
                    <a:pt x="19" y="179"/>
                    <a:pt x="20" y="179"/>
                    <a:pt x="22" y="179"/>
                  </a:cubicBezTo>
                  <a:cubicBezTo>
                    <a:pt x="23" y="179"/>
                    <a:pt x="24" y="178"/>
                    <a:pt x="25" y="178"/>
                  </a:cubicBezTo>
                  <a:cubicBezTo>
                    <a:pt x="26" y="178"/>
                    <a:pt x="26" y="177"/>
                    <a:pt x="26" y="177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7" y="176"/>
                    <a:pt x="27" y="176"/>
                    <a:pt x="27" y="176"/>
                  </a:cubicBezTo>
                  <a:cubicBezTo>
                    <a:pt x="28" y="176"/>
                    <a:pt x="28" y="176"/>
                    <a:pt x="28" y="176"/>
                  </a:cubicBezTo>
                  <a:cubicBezTo>
                    <a:pt x="29" y="176"/>
                    <a:pt x="29" y="176"/>
                    <a:pt x="30" y="176"/>
                  </a:cubicBezTo>
                  <a:cubicBezTo>
                    <a:pt x="31" y="176"/>
                    <a:pt x="31" y="176"/>
                    <a:pt x="31" y="176"/>
                  </a:cubicBezTo>
                  <a:cubicBezTo>
                    <a:pt x="32" y="176"/>
                    <a:pt x="33" y="176"/>
                    <a:pt x="34" y="176"/>
                  </a:cubicBezTo>
                  <a:cubicBezTo>
                    <a:pt x="34" y="176"/>
                    <a:pt x="34" y="175"/>
                    <a:pt x="35" y="175"/>
                  </a:cubicBezTo>
                  <a:cubicBezTo>
                    <a:pt x="35" y="175"/>
                    <a:pt x="36" y="175"/>
                    <a:pt x="36" y="175"/>
                  </a:cubicBezTo>
                  <a:cubicBezTo>
                    <a:pt x="39" y="175"/>
                    <a:pt x="42" y="174"/>
                    <a:pt x="44" y="172"/>
                  </a:cubicBezTo>
                  <a:cubicBezTo>
                    <a:pt x="44" y="172"/>
                    <a:pt x="45" y="171"/>
                    <a:pt x="46" y="171"/>
                  </a:cubicBezTo>
                  <a:cubicBezTo>
                    <a:pt x="46" y="171"/>
                    <a:pt x="46" y="171"/>
                    <a:pt x="46" y="171"/>
                  </a:cubicBezTo>
                  <a:cubicBezTo>
                    <a:pt x="46" y="171"/>
                    <a:pt x="47" y="171"/>
                    <a:pt x="47" y="171"/>
                  </a:cubicBezTo>
                  <a:cubicBezTo>
                    <a:pt x="47" y="171"/>
                    <a:pt x="47" y="172"/>
                    <a:pt x="47" y="172"/>
                  </a:cubicBezTo>
                  <a:cubicBezTo>
                    <a:pt x="47" y="173"/>
                    <a:pt x="47" y="175"/>
                    <a:pt x="49" y="175"/>
                  </a:cubicBezTo>
                  <a:cubicBezTo>
                    <a:pt x="51" y="176"/>
                    <a:pt x="51" y="176"/>
                    <a:pt x="51" y="176"/>
                  </a:cubicBezTo>
                  <a:cubicBezTo>
                    <a:pt x="51" y="174"/>
                    <a:pt x="51" y="174"/>
                    <a:pt x="51" y="174"/>
                  </a:cubicBezTo>
                  <a:cubicBezTo>
                    <a:pt x="51" y="173"/>
                    <a:pt x="51" y="173"/>
                    <a:pt x="51" y="173"/>
                  </a:cubicBezTo>
                  <a:cubicBezTo>
                    <a:pt x="51" y="173"/>
                    <a:pt x="51" y="173"/>
                    <a:pt x="52" y="173"/>
                  </a:cubicBezTo>
                  <a:cubicBezTo>
                    <a:pt x="52" y="173"/>
                    <a:pt x="52" y="173"/>
                    <a:pt x="52" y="173"/>
                  </a:cubicBezTo>
                  <a:cubicBezTo>
                    <a:pt x="53" y="172"/>
                    <a:pt x="53" y="172"/>
                    <a:pt x="54" y="172"/>
                  </a:cubicBezTo>
                  <a:cubicBezTo>
                    <a:pt x="54" y="172"/>
                    <a:pt x="54" y="172"/>
                    <a:pt x="55" y="171"/>
                  </a:cubicBezTo>
                  <a:cubicBezTo>
                    <a:pt x="55" y="171"/>
                    <a:pt x="55" y="171"/>
                    <a:pt x="56" y="170"/>
                  </a:cubicBezTo>
                  <a:cubicBezTo>
                    <a:pt x="56" y="170"/>
                    <a:pt x="56" y="170"/>
                    <a:pt x="56" y="170"/>
                  </a:cubicBezTo>
                  <a:cubicBezTo>
                    <a:pt x="56" y="170"/>
                    <a:pt x="56" y="170"/>
                    <a:pt x="56" y="170"/>
                  </a:cubicBezTo>
                  <a:cubicBezTo>
                    <a:pt x="57" y="170"/>
                    <a:pt x="57" y="170"/>
                    <a:pt x="57" y="170"/>
                  </a:cubicBezTo>
                  <a:cubicBezTo>
                    <a:pt x="58" y="170"/>
                    <a:pt x="58" y="170"/>
                    <a:pt x="58" y="170"/>
                  </a:cubicBezTo>
                  <a:cubicBezTo>
                    <a:pt x="58" y="169"/>
                    <a:pt x="58" y="169"/>
                    <a:pt x="58" y="169"/>
                  </a:cubicBezTo>
                  <a:cubicBezTo>
                    <a:pt x="58" y="169"/>
                    <a:pt x="58" y="169"/>
                    <a:pt x="58" y="169"/>
                  </a:cubicBezTo>
                  <a:cubicBezTo>
                    <a:pt x="58" y="170"/>
                    <a:pt x="58" y="170"/>
                    <a:pt x="58" y="170"/>
                  </a:cubicBezTo>
                  <a:cubicBezTo>
                    <a:pt x="58" y="171"/>
                    <a:pt x="59" y="171"/>
                    <a:pt x="59" y="171"/>
                  </a:cubicBezTo>
                  <a:cubicBezTo>
                    <a:pt x="59" y="171"/>
                    <a:pt x="60" y="171"/>
                    <a:pt x="60" y="171"/>
                  </a:cubicBezTo>
                  <a:cubicBezTo>
                    <a:pt x="61" y="171"/>
                    <a:pt x="61" y="171"/>
                    <a:pt x="62" y="171"/>
                  </a:cubicBezTo>
                  <a:cubicBezTo>
                    <a:pt x="63" y="171"/>
                    <a:pt x="65" y="170"/>
                    <a:pt x="66" y="169"/>
                  </a:cubicBezTo>
                  <a:cubicBezTo>
                    <a:pt x="66" y="169"/>
                    <a:pt x="67" y="169"/>
                    <a:pt x="67" y="168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8"/>
                    <a:pt x="68" y="168"/>
                  </a:cubicBezTo>
                  <a:cubicBezTo>
                    <a:pt x="68" y="168"/>
                    <a:pt x="68" y="169"/>
                    <a:pt x="69" y="169"/>
                  </a:cubicBezTo>
                  <a:cubicBezTo>
                    <a:pt x="69" y="169"/>
                    <a:pt x="70" y="169"/>
                    <a:pt x="71" y="169"/>
                  </a:cubicBezTo>
                  <a:cubicBezTo>
                    <a:pt x="71" y="169"/>
                    <a:pt x="72" y="168"/>
                    <a:pt x="72" y="168"/>
                  </a:cubicBezTo>
                  <a:cubicBezTo>
                    <a:pt x="72" y="167"/>
                    <a:pt x="73" y="167"/>
                    <a:pt x="73" y="166"/>
                  </a:cubicBezTo>
                  <a:cubicBezTo>
                    <a:pt x="73" y="166"/>
                    <a:pt x="73" y="166"/>
                    <a:pt x="73" y="165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4" y="165"/>
                    <a:pt x="74" y="165"/>
                    <a:pt x="74" y="165"/>
                  </a:cubicBezTo>
                  <a:cubicBezTo>
                    <a:pt x="75" y="165"/>
                    <a:pt x="76" y="165"/>
                    <a:pt x="78" y="165"/>
                  </a:cubicBezTo>
                  <a:cubicBezTo>
                    <a:pt x="78" y="165"/>
                    <a:pt x="78" y="165"/>
                    <a:pt x="78" y="165"/>
                  </a:cubicBezTo>
                  <a:cubicBezTo>
                    <a:pt x="79" y="165"/>
                    <a:pt x="79" y="165"/>
                    <a:pt x="79" y="164"/>
                  </a:cubicBezTo>
                  <a:cubicBezTo>
                    <a:pt x="80" y="164"/>
                    <a:pt x="80" y="164"/>
                    <a:pt x="81" y="164"/>
                  </a:cubicBezTo>
                  <a:cubicBezTo>
                    <a:pt x="81" y="163"/>
                    <a:pt x="81" y="163"/>
                    <a:pt x="81" y="163"/>
                  </a:cubicBezTo>
                  <a:cubicBezTo>
                    <a:pt x="82" y="163"/>
                    <a:pt x="82" y="163"/>
                    <a:pt x="82" y="163"/>
                  </a:cubicBezTo>
                  <a:cubicBezTo>
                    <a:pt x="82" y="163"/>
                    <a:pt x="82" y="162"/>
                    <a:pt x="82" y="162"/>
                  </a:cubicBezTo>
                  <a:cubicBezTo>
                    <a:pt x="83" y="162"/>
                    <a:pt x="83" y="162"/>
                    <a:pt x="83" y="162"/>
                  </a:cubicBezTo>
                  <a:cubicBezTo>
                    <a:pt x="83" y="162"/>
                    <a:pt x="83" y="162"/>
                    <a:pt x="84" y="161"/>
                  </a:cubicBezTo>
                  <a:cubicBezTo>
                    <a:pt x="84" y="161"/>
                    <a:pt x="85" y="161"/>
                    <a:pt x="85" y="161"/>
                  </a:cubicBezTo>
                  <a:cubicBezTo>
                    <a:pt x="85" y="161"/>
                    <a:pt x="86" y="161"/>
                    <a:pt x="86" y="161"/>
                  </a:cubicBezTo>
                  <a:cubicBezTo>
                    <a:pt x="87" y="161"/>
                    <a:pt x="87" y="161"/>
                    <a:pt x="87" y="161"/>
                  </a:cubicBezTo>
                  <a:cubicBezTo>
                    <a:pt x="88" y="161"/>
                    <a:pt x="90" y="161"/>
                    <a:pt x="91" y="160"/>
                  </a:cubicBezTo>
                  <a:cubicBezTo>
                    <a:pt x="92" y="161"/>
                    <a:pt x="92" y="161"/>
                    <a:pt x="92" y="161"/>
                  </a:cubicBezTo>
                  <a:cubicBezTo>
                    <a:pt x="92" y="161"/>
                    <a:pt x="92" y="160"/>
                    <a:pt x="93" y="160"/>
                  </a:cubicBezTo>
                  <a:cubicBezTo>
                    <a:pt x="92" y="159"/>
                    <a:pt x="92" y="159"/>
                    <a:pt x="92" y="159"/>
                  </a:cubicBezTo>
                  <a:cubicBezTo>
                    <a:pt x="93" y="160"/>
                    <a:pt x="93" y="160"/>
                    <a:pt x="93" y="160"/>
                  </a:cubicBezTo>
                  <a:cubicBezTo>
                    <a:pt x="94" y="160"/>
                    <a:pt x="94" y="160"/>
                    <a:pt x="95" y="160"/>
                  </a:cubicBezTo>
                  <a:cubicBezTo>
                    <a:pt x="95" y="160"/>
                    <a:pt x="96" y="160"/>
                    <a:pt x="96" y="160"/>
                  </a:cubicBezTo>
                  <a:cubicBezTo>
                    <a:pt x="96" y="160"/>
                    <a:pt x="96" y="160"/>
                    <a:pt x="96" y="160"/>
                  </a:cubicBezTo>
                  <a:cubicBezTo>
                    <a:pt x="97" y="160"/>
                    <a:pt x="97" y="160"/>
                    <a:pt x="97" y="160"/>
                  </a:cubicBezTo>
                  <a:cubicBezTo>
                    <a:pt x="97" y="160"/>
                    <a:pt x="98" y="160"/>
                    <a:pt x="98" y="159"/>
                  </a:cubicBezTo>
                  <a:cubicBezTo>
                    <a:pt x="98" y="159"/>
                    <a:pt x="98" y="159"/>
                    <a:pt x="98" y="159"/>
                  </a:cubicBezTo>
                  <a:cubicBezTo>
                    <a:pt x="98" y="159"/>
                    <a:pt x="98" y="159"/>
                    <a:pt x="99" y="159"/>
                  </a:cubicBezTo>
                  <a:cubicBezTo>
                    <a:pt x="99" y="158"/>
                    <a:pt x="99" y="158"/>
                    <a:pt x="99" y="158"/>
                  </a:cubicBezTo>
                  <a:cubicBezTo>
                    <a:pt x="99" y="158"/>
                    <a:pt x="99" y="158"/>
                    <a:pt x="99" y="158"/>
                  </a:cubicBezTo>
                  <a:cubicBezTo>
                    <a:pt x="100" y="157"/>
                    <a:pt x="101" y="157"/>
                    <a:pt x="102" y="156"/>
                  </a:cubicBezTo>
                  <a:cubicBezTo>
                    <a:pt x="102" y="156"/>
                    <a:pt x="102" y="155"/>
                    <a:pt x="102" y="155"/>
                  </a:cubicBezTo>
                  <a:cubicBezTo>
                    <a:pt x="102" y="155"/>
                    <a:pt x="102" y="155"/>
                    <a:pt x="102" y="155"/>
                  </a:cubicBezTo>
                  <a:cubicBezTo>
                    <a:pt x="103" y="155"/>
                    <a:pt x="103" y="154"/>
                    <a:pt x="104" y="15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4" y="154"/>
                    <a:pt x="104" y="154"/>
                    <a:pt x="104" y="154"/>
                  </a:cubicBezTo>
                  <a:cubicBezTo>
                    <a:pt x="105" y="154"/>
                    <a:pt x="105" y="154"/>
                    <a:pt x="105" y="154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6" y="153"/>
                    <a:pt x="106" y="153"/>
                    <a:pt x="106" y="153"/>
                  </a:cubicBezTo>
                  <a:cubicBezTo>
                    <a:pt x="107" y="153"/>
                    <a:pt x="107" y="153"/>
                    <a:pt x="107" y="153"/>
                  </a:cubicBezTo>
                  <a:cubicBezTo>
                    <a:pt x="110" y="153"/>
                    <a:pt x="112" y="153"/>
                    <a:pt x="115" y="153"/>
                  </a:cubicBezTo>
                  <a:cubicBezTo>
                    <a:pt x="115" y="153"/>
                    <a:pt x="115" y="153"/>
                    <a:pt x="115" y="153"/>
                  </a:cubicBezTo>
                  <a:cubicBezTo>
                    <a:pt x="114" y="154"/>
                    <a:pt x="114" y="155"/>
                    <a:pt x="114" y="156"/>
                  </a:cubicBezTo>
                  <a:cubicBezTo>
                    <a:pt x="114" y="157"/>
                    <a:pt x="114" y="157"/>
                    <a:pt x="114" y="157"/>
                  </a:cubicBezTo>
                  <a:cubicBezTo>
                    <a:pt x="113" y="158"/>
                    <a:pt x="113" y="159"/>
                    <a:pt x="114" y="161"/>
                  </a:cubicBezTo>
                  <a:cubicBezTo>
                    <a:pt x="114" y="161"/>
                    <a:pt x="114" y="161"/>
                    <a:pt x="114" y="161"/>
                  </a:cubicBezTo>
                  <a:cubicBezTo>
                    <a:pt x="114" y="162"/>
                    <a:pt x="114" y="164"/>
                    <a:pt x="116" y="164"/>
                  </a:cubicBezTo>
                  <a:cubicBezTo>
                    <a:pt x="116" y="164"/>
                    <a:pt x="117" y="164"/>
                    <a:pt x="117" y="164"/>
                  </a:cubicBezTo>
                  <a:cubicBezTo>
                    <a:pt x="118" y="163"/>
                    <a:pt x="118" y="163"/>
                    <a:pt x="118" y="162"/>
                  </a:cubicBezTo>
                  <a:cubicBezTo>
                    <a:pt x="119" y="162"/>
                    <a:pt x="119" y="162"/>
                    <a:pt x="119" y="161"/>
                  </a:cubicBezTo>
                  <a:cubicBezTo>
                    <a:pt x="121" y="161"/>
                    <a:pt x="122" y="160"/>
                    <a:pt x="122" y="160"/>
                  </a:cubicBezTo>
                  <a:cubicBezTo>
                    <a:pt x="122" y="160"/>
                    <a:pt x="122" y="160"/>
                    <a:pt x="122" y="160"/>
                  </a:cubicBezTo>
                  <a:cubicBezTo>
                    <a:pt x="123" y="160"/>
                    <a:pt x="123" y="160"/>
                    <a:pt x="123" y="160"/>
                  </a:cubicBezTo>
                  <a:cubicBezTo>
                    <a:pt x="123" y="160"/>
                    <a:pt x="124" y="160"/>
                    <a:pt x="124" y="160"/>
                  </a:cubicBezTo>
                  <a:cubicBezTo>
                    <a:pt x="124" y="161"/>
                    <a:pt x="124" y="161"/>
                    <a:pt x="124" y="161"/>
                  </a:cubicBezTo>
                  <a:cubicBezTo>
                    <a:pt x="125" y="161"/>
                    <a:pt x="125" y="161"/>
                    <a:pt x="125" y="161"/>
                  </a:cubicBezTo>
                  <a:cubicBezTo>
                    <a:pt x="127" y="162"/>
                    <a:pt x="129" y="161"/>
                    <a:pt x="130" y="159"/>
                  </a:cubicBezTo>
                  <a:cubicBezTo>
                    <a:pt x="130" y="159"/>
                    <a:pt x="130" y="159"/>
                    <a:pt x="131" y="159"/>
                  </a:cubicBezTo>
                  <a:cubicBezTo>
                    <a:pt x="131" y="158"/>
                    <a:pt x="131" y="158"/>
                    <a:pt x="131" y="158"/>
                  </a:cubicBezTo>
                  <a:cubicBezTo>
                    <a:pt x="133" y="158"/>
                    <a:pt x="135" y="156"/>
                    <a:pt x="135" y="154"/>
                  </a:cubicBezTo>
                  <a:cubicBezTo>
                    <a:pt x="136" y="153"/>
                    <a:pt x="135" y="151"/>
                    <a:pt x="133" y="151"/>
                  </a:cubicBezTo>
                  <a:cubicBezTo>
                    <a:pt x="132" y="150"/>
                    <a:pt x="131" y="150"/>
                    <a:pt x="129" y="150"/>
                  </a:cubicBezTo>
                  <a:cubicBezTo>
                    <a:pt x="129" y="150"/>
                    <a:pt x="129" y="150"/>
                    <a:pt x="129" y="150"/>
                  </a:cubicBezTo>
                  <a:cubicBezTo>
                    <a:pt x="128" y="150"/>
                    <a:pt x="128" y="150"/>
                    <a:pt x="127" y="150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1"/>
                    <a:pt x="127" y="151"/>
                    <a:pt x="127" y="151"/>
                  </a:cubicBezTo>
                  <a:cubicBezTo>
                    <a:pt x="127" y="150"/>
                    <a:pt x="127" y="150"/>
                    <a:pt x="127" y="150"/>
                  </a:cubicBezTo>
                  <a:cubicBezTo>
                    <a:pt x="127" y="150"/>
                    <a:pt x="126" y="150"/>
                    <a:pt x="126" y="150"/>
                  </a:cubicBezTo>
                  <a:cubicBezTo>
                    <a:pt x="127" y="150"/>
                    <a:pt x="127" y="149"/>
                    <a:pt x="128" y="148"/>
                  </a:cubicBezTo>
                  <a:cubicBezTo>
                    <a:pt x="128" y="148"/>
                    <a:pt x="128" y="148"/>
                    <a:pt x="128" y="148"/>
                  </a:cubicBezTo>
                  <a:cubicBezTo>
                    <a:pt x="128" y="148"/>
                    <a:pt x="128" y="148"/>
                    <a:pt x="128" y="148"/>
                  </a:cubicBezTo>
                  <a:cubicBezTo>
                    <a:pt x="129" y="147"/>
                    <a:pt x="130" y="147"/>
                    <a:pt x="132" y="147"/>
                  </a:cubicBezTo>
                  <a:cubicBezTo>
                    <a:pt x="132" y="147"/>
                    <a:pt x="132" y="147"/>
                    <a:pt x="133" y="147"/>
                  </a:cubicBezTo>
                  <a:cubicBezTo>
                    <a:pt x="133" y="147"/>
                    <a:pt x="133" y="147"/>
                    <a:pt x="133" y="147"/>
                  </a:cubicBezTo>
                  <a:cubicBezTo>
                    <a:pt x="135" y="147"/>
                    <a:pt x="136" y="147"/>
                    <a:pt x="137" y="147"/>
                  </a:cubicBezTo>
                  <a:cubicBezTo>
                    <a:pt x="139" y="146"/>
                    <a:pt x="141" y="144"/>
                    <a:pt x="142" y="141"/>
                  </a:cubicBezTo>
                  <a:cubicBezTo>
                    <a:pt x="142" y="141"/>
                    <a:pt x="142" y="140"/>
                    <a:pt x="142" y="140"/>
                  </a:cubicBezTo>
                  <a:cubicBezTo>
                    <a:pt x="142" y="139"/>
                    <a:pt x="142" y="139"/>
                    <a:pt x="142" y="139"/>
                  </a:cubicBezTo>
                  <a:cubicBezTo>
                    <a:pt x="142" y="139"/>
                    <a:pt x="142" y="138"/>
                    <a:pt x="143" y="138"/>
                  </a:cubicBezTo>
                  <a:cubicBezTo>
                    <a:pt x="143" y="137"/>
                    <a:pt x="143" y="137"/>
                    <a:pt x="144" y="137"/>
                  </a:cubicBezTo>
                  <a:cubicBezTo>
                    <a:pt x="144" y="136"/>
                    <a:pt x="145" y="136"/>
                    <a:pt x="145" y="136"/>
                  </a:cubicBezTo>
                  <a:cubicBezTo>
                    <a:pt x="145" y="135"/>
                    <a:pt x="146" y="135"/>
                    <a:pt x="146" y="134"/>
                  </a:cubicBezTo>
                  <a:cubicBezTo>
                    <a:pt x="147" y="134"/>
                    <a:pt x="147" y="134"/>
                    <a:pt x="147" y="134"/>
                  </a:cubicBezTo>
                  <a:cubicBezTo>
                    <a:pt x="147" y="133"/>
                    <a:pt x="149" y="133"/>
                    <a:pt x="150" y="133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52" y="133"/>
                    <a:pt x="153" y="133"/>
                    <a:pt x="154" y="133"/>
                  </a:cubicBezTo>
                  <a:cubicBezTo>
                    <a:pt x="155" y="133"/>
                    <a:pt x="157" y="133"/>
                    <a:pt x="159" y="132"/>
                  </a:cubicBezTo>
                  <a:cubicBezTo>
                    <a:pt x="162" y="132"/>
                    <a:pt x="163" y="131"/>
                    <a:pt x="165" y="130"/>
                  </a:cubicBezTo>
                  <a:cubicBezTo>
                    <a:pt x="167" y="128"/>
                    <a:pt x="169" y="127"/>
                    <a:pt x="171" y="127"/>
                  </a:cubicBezTo>
                  <a:cubicBezTo>
                    <a:pt x="171" y="126"/>
                    <a:pt x="171" y="126"/>
                    <a:pt x="171" y="126"/>
                  </a:cubicBezTo>
                  <a:cubicBezTo>
                    <a:pt x="172" y="126"/>
                    <a:pt x="173" y="126"/>
                    <a:pt x="174" y="126"/>
                  </a:cubicBezTo>
                  <a:cubicBezTo>
                    <a:pt x="175" y="125"/>
                    <a:pt x="176" y="125"/>
                    <a:pt x="177" y="124"/>
                  </a:cubicBezTo>
                  <a:cubicBezTo>
                    <a:pt x="178" y="123"/>
                    <a:pt x="178" y="123"/>
                    <a:pt x="178" y="123"/>
                  </a:cubicBezTo>
                  <a:cubicBezTo>
                    <a:pt x="180" y="122"/>
                    <a:pt x="182" y="121"/>
                    <a:pt x="184" y="120"/>
                  </a:cubicBezTo>
                  <a:cubicBezTo>
                    <a:pt x="186" y="120"/>
                    <a:pt x="188" y="119"/>
                    <a:pt x="190" y="119"/>
                  </a:cubicBezTo>
                  <a:cubicBezTo>
                    <a:pt x="190" y="119"/>
                    <a:pt x="190" y="119"/>
                    <a:pt x="190" y="119"/>
                  </a:cubicBezTo>
                  <a:cubicBezTo>
                    <a:pt x="191" y="119"/>
                    <a:pt x="191" y="119"/>
                    <a:pt x="191" y="120"/>
                  </a:cubicBezTo>
                  <a:cubicBezTo>
                    <a:pt x="191" y="120"/>
                    <a:pt x="191" y="120"/>
                    <a:pt x="191" y="121"/>
                  </a:cubicBezTo>
                  <a:cubicBezTo>
                    <a:pt x="191" y="121"/>
                    <a:pt x="190" y="121"/>
                    <a:pt x="189" y="122"/>
                  </a:cubicBezTo>
                  <a:cubicBezTo>
                    <a:pt x="188" y="122"/>
                    <a:pt x="188" y="122"/>
                    <a:pt x="188" y="122"/>
                  </a:cubicBezTo>
                  <a:cubicBezTo>
                    <a:pt x="186" y="122"/>
                    <a:pt x="184" y="123"/>
                    <a:pt x="182" y="123"/>
                  </a:cubicBezTo>
                  <a:cubicBezTo>
                    <a:pt x="180" y="124"/>
                    <a:pt x="178" y="125"/>
                    <a:pt x="175" y="126"/>
                  </a:cubicBezTo>
                  <a:cubicBezTo>
                    <a:pt x="174" y="127"/>
                    <a:pt x="174" y="127"/>
                    <a:pt x="174" y="127"/>
                  </a:cubicBezTo>
                  <a:cubicBezTo>
                    <a:pt x="173" y="127"/>
                    <a:pt x="172" y="128"/>
                    <a:pt x="170" y="128"/>
                  </a:cubicBezTo>
                  <a:cubicBezTo>
                    <a:pt x="169" y="129"/>
                    <a:pt x="168" y="129"/>
                    <a:pt x="167" y="130"/>
                  </a:cubicBezTo>
                  <a:cubicBezTo>
                    <a:pt x="166" y="130"/>
                    <a:pt x="165" y="131"/>
                    <a:pt x="165" y="132"/>
                  </a:cubicBezTo>
                  <a:cubicBezTo>
                    <a:pt x="164" y="133"/>
                    <a:pt x="163" y="133"/>
                    <a:pt x="162" y="134"/>
                  </a:cubicBezTo>
                  <a:cubicBezTo>
                    <a:pt x="161" y="135"/>
                    <a:pt x="160" y="135"/>
                    <a:pt x="159" y="136"/>
                  </a:cubicBezTo>
                  <a:cubicBezTo>
                    <a:pt x="159" y="136"/>
                    <a:pt x="159" y="136"/>
                    <a:pt x="159" y="136"/>
                  </a:cubicBezTo>
                  <a:cubicBezTo>
                    <a:pt x="158" y="136"/>
                    <a:pt x="156" y="137"/>
                    <a:pt x="156" y="138"/>
                  </a:cubicBezTo>
                  <a:cubicBezTo>
                    <a:pt x="155" y="139"/>
                    <a:pt x="154" y="140"/>
                    <a:pt x="155" y="141"/>
                  </a:cubicBezTo>
                  <a:cubicBezTo>
                    <a:pt x="155" y="142"/>
                    <a:pt x="155" y="143"/>
                    <a:pt x="156" y="143"/>
                  </a:cubicBezTo>
                  <a:cubicBezTo>
                    <a:pt x="156" y="144"/>
                    <a:pt x="157" y="144"/>
                    <a:pt x="157" y="144"/>
                  </a:cubicBezTo>
                  <a:cubicBezTo>
                    <a:pt x="158" y="144"/>
                    <a:pt x="158" y="144"/>
                    <a:pt x="159" y="143"/>
                  </a:cubicBezTo>
                  <a:cubicBezTo>
                    <a:pt x="159" y="143"/>
                    <a:pt x="160" y="142"/>
                    <a:pt x="161" y="142"/>
                  </a:cubicBezTo>
                  <a:cubicBezTo>
                    <a:pt x="163" y="141"/>
                    <a:pt x="165" y="140"/>
                    <a:pt x="167" y="140"/>
                  </a:cubicBezTo>
                  <a:cubicBezTo>
                    <a:pt x="168" y="140"/>
                    <a:pt x="168" y="140"/>
                    <a:pt x="168" y="140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70" y="141"/>
                    <a:pt x="170" y="141"/>
                    <a:pt x="170" y="141"/>
                  </a:cubicBezTo>
                  <a:cubicBezTo>
                    <a:pt x="171" y="141"/>
                    <a:pt x="171" y="141"/>
                    <a:pt x="172" y="140"/>
                  </a:cubicBezTo>
                  <a:cubicBezTo>
                    <a:pt x="172" y="140"/>
                    <a:pt x="173" y="140"/>
                    <a:pt x="173" y="140"/>
                  </a:cubicBezTo>
                  <a:cubicBezTo>
                    <a:pt x="173" y="140"/>
                    <a:pt x="173" y="140"/>
                    <a:pt x="173" y="140"/>
                  </a:cubicBezTo>
                  <a:cubicBezTo>
                    <a:pt x="174" y="139"/>
                    <a:pt x="174" y="139"/>
                    <a:pt x="175" y="139"/>
                  </a:cubicBezTo>
                  <a:cubicBezTo>
                    <a:pt x="176" y="138"/>
                    <a:pt x="177" y="137"/>
                    <a:pt x="178" y="137"/>
                  </a:cubicBezTo>
                  <a:cubicBezTo>
                    <a:pt x="178" y="137"/>
                    <a:pt x="178" y="136"/>
                    <a:pt x="178" y="136"/>
                  </a:cubicBezTo>
                  <a:cubicBezTo>
                    <a:pt x="178" y="136"/>
                    <a:pt x="179" y="137"/>
                    <a:pt x="179" y="137"/>
                  </a:cubicBezTo>
                  <a:cubicBezTo>
                    <a:pt x="179" y="137"/>
                    <a:pt x="179" y="137"/>
                    <a:pt x="179" y="138"/>
                  </a:cubicBezTo>
                  <a:cubicBezTo>
                    <a:pt x="179" y="138"/>
                    <a:pt x="179" y="138"/>
                    <a:pt x="179" y="138"/>
                  </a:cubicBezTo>
                  <a:cubicBezTo>
                    <a:pt x="179" y="138"/>
                    <a:pt x="179" y="138"/>
                    <a:pt x="179" y="138"/>
                  </a:cubicBezTo>
                  <a:cubicBezTo>
                    <a:pt x="180" y="138"/>
                    <a:pt x="180" y="138"/>
                    <a:pt x="180" y="139"/>
                  </a:cubicBezTo>
                  <a:cubicBezTo>
                    <a:pt x="181" y="139"/>
                    <a:pt x="182" y="139"/>
                    <a:pt x="183" y="139"/>
                  </a:cubicBezTo>
                  <a:cubicBezTo>
                    <a:pt x="184" y="138"/>
                    <a:pt x="185" y="138"/>
                    <a:pt x="185" y="137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6" y="137"/>
                    <a:pt x="187" y="136"/>
                    <a:pt x="187" y="136"/>
                  </a:cubicBezTo>
                  <a:cubicBezTo>
                    <a:pt x="188" y="136"/>
                    <a:pt x="188" y="136"/>
                    <a:pt x="189" y="135"/>
                  </a:cubicBezTo>
                  <a:cubicBezTo>
                    <a:pt x="189" y="135"/>
                    <a:pt x="189" y="135"/>
                    <a:pt x="189" y="135"/>
                  </a:cubicBezTo>
                  <a:cubicBezTo>
                    <a:pt x="190" y="134"/>
                    <a:pt x="191" y="133"/>
                    <a:pt x="192" y="132"/>
                  </a:cubicBezTo>
                  <a:cubicBezTo>
                    <a:pt x="192" y="132"/>
                    <a:pt x="192" y="132"/>
                    <a:pt x="193" y="131"/>
                  </a:cubicBezTo>
                  <a:cubicBezTo>
                    <a:pt x="193" y="131"/>
                    <a:pt x="193" y="130"/>
                    <a:pt x="194" y="130"/>
                  </a:cubicBezTo>
                  <a:cubicBezTo>
                    <a:pt x="194" y="130"/>
                    <a:pt x="194" y="130"/>
                    <a:pt x="194" y="130"/>
                  </a:cubicBezTo>
                  <a:cubicBezTo>
                    <a:pt x="194" y="129"/>
                    <a:pt x="195" y="128"/>
                    <a:pt x="196" y="128"/>
                  </a:cubicBezTo>
                  <a:cubicBezTo>
                    <a:pt x="196" y="128"/>
                    <a:pt x="196" y="128"/>
                    <a:pt x="196" y="128"/>
                  </a:cubicBezTo>
                  <a:cubicBezTo>
                    <a:pt x="197" y="128"/>
                    <a:pt x="197" y="129"/>
                    <a:pt x="198" y="129"/>
                  </a:cubicBezTo>
                  <a:cubicBezTo>
                    <a:pt x="198" y="129"/>
                    <a:pt x="198" y="129"/>
                    <a:pt x="199" y="130"/>
                  </a:cubicBezTo>
                  <a:cubicBezTo>
                    <a:pt x="199" y="132"/>
                    <a:pt x="200" y="133"/>
                    <a:pt x="201" y="133"/>
                  </a:cubicBezTo>
                  <a:cubicBezTo>
                    <a:pt x="201" y="133"/>
                    <a:pt x="201" y="133"/>
                    <a:pt x="201" y="133"/>
                  </a:cubicBezTo>
                  <a:cubicBezTo>
                    <a:pt x="202" y="133"/>
                    <a:pt x="202" y="132"/>
                    <a:pt x="203" y="132"/>
                  </a:cubicBezTo>
                  <a:cubicBezTo>
                    <a:pt x="203" y="132"/>
                    <a:pt x="203" y="132"/>
                    <a:pt x="203" y="131"/>
                  </a:cubicBezTo>
                  <a:cubicBezTo>
                    <a:pt x="204" y="131"/>
                    <a:pt x="204" y="131"/>
                    <a:pt x="204" y="131"/>
                  </a:cubicBezTo>
                  <a:cubicBezTo>
                    <a:pt x="204" y="131"/>
                    <a:pt x="204" y="131"/>
                    <a:pt x="204" y="130"/>
                  </a:cubicBezTo>
                  <a:cubicBezTo>
                    <a:pt x="205" y="130"/>
                    <a:pt x="205" y="130"/>
                    <a:pt x="205" y="130"/>
                  </a:cubicBezTo>
                  <a:cubicBezTo>
                    <a:pt x="206" y="129"/>
                    <a:pt x="206" y="129"/>
                    <a:pt x="206" y="129"/>
                  </a:cubicBezTo>
                  <a:cubicBezTo>
                    <a:pt x="206" y="129"/>
                    <a:pt x="206" y="129"/>
                    <a:pt x="206" y="129"/>
                  </a:cubicBezTo>
                  <a:cubicBezTo>
                    <a:pt x="207" y="128"/>
                    <a:pt x="207" y="128"/>
                    <a:pt x="208" y="127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8" y="127"/>
                    <a:pt x="208" y="127"/>
                    <a:pt x="208" y="127"/>
                  </a:cubicBezTo>
                  <a:cubicBezTo>
                    <a:pt x="207" y="128"/>
                    <a:pt x="207" y="128"/>
                    <a:pt x="206" y="129"/>
                  </a:cubicBezTo>
                  <a:cubicBezTo>
                    <a:pt x="205" y="130"/>
                    <a:pt x="205" y="131"/>
                    <a:pt x="205" y="133"/>
                  </a:cubicBezTo>
                  <a:cubicBezTo>
                    <a:pt x="206" y="134"/>
                    <a:pt x="206" y="134"/>
                    <a:pt x="207" y="134"/>
                  </a:cubicBezTo>
                  <a:cubicBezTo>
                    <a:pt x="207" y="134"/>
                    <a:pt x="207" y="134"/>
                    <a:pt x="207" y="134"/>
                  </a:cubicBezTo>
                  <a:cubicBezTo>
                    <a:pt x="207" y="135"/>
                    <a:pt x="207" y="135"/>
                    <a:pt x="208" y="135"/>
                  </a:cubicBezTo>
                  <a:cubicBezTo>
                    <a:pt x="208" y="135"/>
                    <a:pt x="208" y="135"/>
                    <a:pt x="208" y="135"/>
                  </a:cubicBezTo>
                  <a:cubicBezTo>
                    <a:pt x="208" y="135"/>
                    <a:pt x="209" y="135"/>
                    <a:pt x="209" y="135"/>
                  </a:cubicBezTo>
                  <a:cubicBezTo>
                    <a:pt x="209" y="136"/>
                    <a:pt x="209" y="136"/>
                    <a:pt x="209" y="136"/>
                  </a:cubicBezTo>
                  <a:cubicBezTo>
                    <a:pt x="209" y="136"/>
                    <a:pt x="209" y="137"/>
                    <a:pt x="209" y="137"/>
                  </a:cubicBezTo>
                  <a:cubicBezTo>
                    <a:pt x="209" y="138"/>
                    <a:pt x="209" y="138"/>
                    <a:pt x="209" y="139"/>
                  </a:cubicBezTo>
                  <a:cubicBezTo>
                    <a:pt x="209" y="140"/>
                    <a:pt x="209" y="140"/>
                    <a:pt x="209" y="141"/>
                  </a:cubicBezTo>
                  <a:cubicBezTo>
                    <a:pt x="209" y="141"/>
                    <a:pt x="210" y="142"/>
                    <a:pt x="210" y="142"/>
                  </a:cubicBezTo>
                  <a:cubicBezTo>
                    <a:pt x="211" y="142"/>
                    <a:pt x="211" y="142"/>
                    <a:pt x="211" y="143"/>
                  </a:cubicBezTo>
                  <a:cubicBezTo>
                    <a:pt x="212" y="143"/>
                    <a:pt x="212" y="143"/>
                    <a:pt x="212" y="143"/>
                  </a:cubicBezTo>
                  <a:cubicBezTo>
                    <a:pt x="213" y="143"/>
                    <a:pt x="213" y="143"/>
                    <a:pt x="213" y="144"/>
                  </a:cubicBezTo>
                  <a:cubicBezTo>
                    <a:pt x="213" y="144"/>
                    <a:pt x="214" y="144"/>
                    <a:pt x="214" y="144"/>
                  </a:cubicBezTo>
                  <a:cubicBezTo>
                    <a:pt x="214" y="144"/>
                    <a:pt x="214" y="144"/>
                    <a:pt x="214" y="145"/>
                  </a:cubicBezTo>
                  <a:cubicBezTo>
                    <a:pt x="215" y="145"/>
                    <a:pt x="215" y="145"/>
                    <a:pt x="215" y="146"/>
                  </a:cubicBezTo>
                  <a:cubicBezTo>
                    <a:pt x="216" y="146"/>
                    <a:pt x="216" y="146"/>
                    <a:pt x="216" y="146"/>
                  </a:cubicBezTo>
                  <a:cubicBezTo>
                    <a:pt x="217" y="147"/>
                    <a:pt x="217" y="147"/>
                    <a:pt x="218" y="147"/>
                  </a:cubicBezTo>
                  <a:cubicBezTo>
                    <a:pt x="218" y="148"/>
                    <a:pt x="219" y="148"/>
                    <a:pt x="219" y="149"/>
                  </a:cubicBezTo>
                  <a:cubicBezTo>
                    <a:pt x="219" y="149"/>
                    <a:pt x="219" y="149"/>
                    <a:pt x="219" y="149"/>
                  </a:cubicBezTo>
                  <a:cubicBezTo>
                    <a:pt x="219" y="149"/>
                    <a:pt x="219" y="149"/>
                    <a:pt x="219" y="149"/>
                  </a:cubicBezTo>
                  <a:cubicBezTo>
                    <a:pt x="219" y="150"/>
                    <a:pt x="219" y="150"/>
                    <a:pt x="219" y="150"/>
                  </a:cubicBezTo>
                  <a:cubicBezTo>
                    <a:pt x="219" y="150"/>
                    <a:pt x="220" y="150"/>
                    <a:pt x="220" y="150"/>
                  </a:cubicBezTo>
                  <a:cubicBezTo>
                    <a:pt x="220" y="151"/>
                    <a:pt x="220" y="151"/>
                    <a:pt x="221" y="151"/>
                  </a:cubicBezTo>
                  <a:cubicBezTo>
                    <a:pt x="221" y="151"/>
                    <a:pt x="222" y="151"/>
                    <a:pt x="222" y="151"/>
                  </a:cubicBezTo>
                  <a:cubicBezTo>
                    <a:pt x="223" y="151"/>
                    <a:pt x="223" y="151"/>
                    <a:pt x="224" y="151"/>
                  </a:cubicBezTo>
                  <a:cubicBezTo>
                    <a:pt x="224" y="151"/>
                    <a:pt x="224" y="151"/>
                    <a:pt x="224" y="151"/>
                  </a:cubicBezTo>
                  <a:cubicBezTo>
                    <a:pt x="225" y="151"/>
                    <a:pt x="226" y="151"/>
                    <a:pt x="227" y="151"/>
                  </a:cubicBezTo>
                  <a:cubicBezTo>
                    <a:pt x="228" y="151"/>
                    <a:pt x="229" y="151"/>
                    <a:pt x="230" y="151"/>
                  </a:cubicBezTo>
                  <a:cubicBezTo>
                    <a:pt x="230" y="151"/>
                    <a:pt x="230" y="151"/>
                    <a:pt x="230" y="151"/>
                  </a:cubicBezTo>
                  <a:cubicBezTo>
                    <a:pt x="230" y="151"/>
                    <a:pt x="230" y="151"/>
                    <a:pt x="230" y="151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30" y="152"/>
                    <a:pt x="230" y="152"/>
                  </a:cubicBezTo>
                  <a:cubicBezTo>
                    <a:pt x="230" y="152"/>
                    <a:pt x="229" y="152"/>
                    <a:pt x="229" y="152"/>
                  </a:cubicBezTo>
                  <a:cubicBezTo>
                    <a:pt x="229" y="153"/>
                    <a:pt x="229" y="153"/>
                    <a:pt x="229" y="153"/>
                  </a:cubicBezTo>
                  <a:cubicBezTo>
                    <a:pt x="228" y="153"/>
                    <a:pt x="228" y="153"/>
                    <a:pt x="228" y="154"/>
                  </a:cubicBezTo>
                  <a:cubicBezTo>
                    <a:pt x="228" y="154"/>
                    <a:pt x="228" y="154"/>
                    <a:pt x="228" y="154"/>
                  </a:cubicBezTo>
                  <a:cubicBezTo>
                    <a:pt x="227" y="154"/>
                    <a:pt x="227" y="154"/>
                    <a:pt x="227" y="154"/>
                  </a:cubicBezTo>
                  <a:cubicBezTo>
                    <a:pt x="227" y="154"/>
                    <a:pt x="227" y="155"/>
                    <a:pt x="226" y="155"/>
                  </a:cubicBezTo>
                  <a:cubicBezTo>
                    <a:pt x="226" y="155"/>
                    <a:pt x="226" y="155"/>
                    <a:pt x="226" y="155"/>
                  </a:cubicBezTo>
                  <a:cubicBezTo>
                    <a:pt x="226" y="155"/>
                    <a:pt x="226" y="155"/>
                    <a:pt x="226" y="155"/>
                  </a:cubicBezTo>
                  <a:cubicBezTo>
                    <a:pt x="225" y="155"/>
                    <a:pt x="223" y="155"/>
                    <a:pt x="222" y="157"/>
                  </a:cubicBezTo>
                  <a:cubicBezTo>
                    <a:pt x="222" y="157"/>
                    <a:pt x="222" y="157"/>
                    <a:pt x="222" y="157"/>
                  </a:cubicBezTo>
                  <a:cubicBezTo>
                    <a:pt x="222" y="157"/>
                    <a:pt x="222" y="158"/>
                    <a:pt x="223" y="158"/>
                  </a:cubicBezTo>
                  <a:cubicBezTo>
                    <a:pt x="223" y="158"/>
                    <a:pt x="223" y="158"/>
                    <a:pt x="223" y="159"/>
                  </a:cubicBezTo>
                  <a:cubicBezTo>
                    <a:pt x="223" y="159"/>
                    <a:pt x="224" y="159"/>
                    <a:pt x="224" y="159"/>
                  </a:cubicBezTo>
                  <a:cubicBezTo>
                    <a:pt x="224" y="160"/>
                    <a:pt x="224" y="160"/>
                    <a:pt x="225" y="160"/>
                  </a:cubicBezTo>
                  <a:cubicBezTo>
                    <a:pt x="224" y="160"/>
                    <a:pt x="224" y="160"/>
                    <a:pt x="224" y="160"/>
                  </a:cubicBezTo>
                  <a:cubicBezTo>
                    <a:pt x="223" y="161"/>
                    <a:pt x="223" y="162"/>
                    <a:pt x="223" y="163"/>
                  </a:cubicBezTo>
                  <a:cubicBezTo>
                    <a:pt x="223" y="163"/>
                    <a:pt x="223" y="163"/>
                    <a:pt x="223" y="163"/>
                  </a:cubicBezTo>
                  <a:cubicBezTo>
                    <a:pt x="223" y="164"/>
                    <a:pt x="223" y="164"/>
                    <a:pt x="223" y="164"/>
                  </a:cubicBezTo>
                  <a:cubicBezTo>
                    <a:pt x="223" y="164"/>
                    <a:pt x="224" y="164"/>
                    <a:pt x="224" y="164"/>
                  </a:cubicBezTo>
                  <a:cubicBezTo>
                    <a:pt x="224" y="164"/>
                    <a:pt x="224" y="164"/>
                    <a:pt x="224" y="164"/>
                  </a:cubicBezTo>
                  <a:cubicBezTo>
                    <a:pt x="223" y="164"/>
                    <a:pt x="223" y="165"/>
                    <a:pt x="222" y="165"/>
                  </a:cubicBezTo>
                  <a:cubicBezTo>
                    <a:pt x="222" y="167"/>
                    <a:pt x="223" y="168"/>
                    <a:pt x="223" y="168"/>
                  </a:cubicBezTo>
                  <a:cubicBezTo>
                    <a:pt x="223" y="168"/>
                    <a:pt x="223" y="168"/>
                    <a:pt x="223" y="168"/>
                  </a:cubicBezTo>
                  <a:cubicBezTo>
                    <a:pt x="223" y="169"/>
                    <a:pt x="223" y="169"/>
                    <a:pt x="223" y="170"/>
                  </a:cubicBezTo>
                  <a:cubicBezTo>
                    <a:pt x="223" y="171"/>
                    <a:pt x="223" y="172"/>
                    <a:pt x="222" y="173"/>
                  </a:cubicBezTo>
                  <a:cubicBezTo>
                    <a:pt x="222" y="174"/>
                    <a:pt x="221" y="176"/>
                    <a:pt x="223" y="177"/>
                  </a:cubicBezTo>
                  <a:cubicBezTo>
                    <a:pt x="223" y="177"/>
                    <a:pt x="224" y="178"/>
                    <a:pt x="224" y="178"/>
                  </a:cubicBezTo>
                  <a:cubicBezTo>
                    <a:pt x="225" y="178"/>
                    <a:pt x="225" y="177"/>
                    <a:pt x="226" y="176"/>
                  </a:cubicBezTo>
                  <a:cubicBezTo>
                    <a:pt x="227" y="177"/>
                    <a:pt x="228" y="176"/>
                    <a:pt x="229" y="176"/>
                  </a:cubicBezTo>
                  <a:cubicBezTo>
                    <a:pt x="228" y="176"/>
                    <a:pt x="228" y="177"/>
                    <a:pt x="229" y="177"/>
                  </a:cubicBezTo>
                  <a:cubicBezTo>
                    <a:pt x="229" y="178"/>
                    <a:pt x="229" y="178"/>
                    <a:pt x="230" y="178"/>
                  </a:cubicBezTo>
                  <a:cubicBezTo>
                    <a:pt x="230" y="178"/>
                    <a:pt x="230" y="179"/>
                    <a:pt x="230" y="180"/>
                  </a:cubicBezTo>
                  <a:cubicBezTo>
                    <a:pt x="230" y="180"/>
                    <a:pt x="230" y="180"/>
                    <a:pt x="230" y="180"/>
                  </a:cubicBezTo>
                  <a:cubicBezTo>
                    <a:pt x="230" y="180"/>
                    <a:pt x="230" y="180"/>
                    <a:pt x="229" y="180"/>
                  </a:cubicBezTo>
                  <a:cubicBezTo>
                    <a:pt x="230" y="179"/>
                    <a:pt x="229" y="178"/>
                    <a:pt x="229" y="178"/>
                  </a:cubicBezTo>
                  <a:cubicBezTo>
                    <a:pt x="228" y="177"/>
                    <a:pt x="226" y="177"/>
                    <a:pt x="226" y="177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5" y="178"/>
                    <a:pt x="225" y="178"/>
                    <a:pt x="225" y="178"/>
                  </a:cubicBezTo>
                  <a:cubicBezTo>
                    <a:pt x="224" y="178"/>
                    <a:pt x="223" y="178"/>
                    <a:pt x="222" y="178"/>
                  </a:cubicBezTo>
                  <a:cubicBezTo>
                    <a:pt x="222" y="179"/>
                    <a:pt x="221" y="180"/>
                    <a:pt x="221" y="180"/>
                  </a:cubicBezTo>
                  <a:cubicBezTo>
                    <a:pt x="221" y="181"/>
                    <a:pt x="221" y="181"/>
                    <a:pt x="221" y="181"/>
                  </a:cubicBezTo>
                  <a:cubicBezTo>
                    <a:pt x="221" y="181"/>
                    <a:pt x="221" y="181"/>
                    <a:pt x="220" y="181"/>
                  </a:cubicBezTo>
                  <a:cubicBezTo>
                    <a:pt x="220" y="181"/>
                    <a:pt x="220" y="181"/>
                    <a:pt x="220" y="181"/>
                  </a:cubicBezTo>
                  <a:cubicBezTo>
                    <a:pt x="218" y="182"/>
                    <a:pt x="218" y="183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8" y="184"/>
                    <a:pt x="218" y="184"/>
                    <a:pt x="218" y="184"/>
                  </a:cubicBezTo>
                  <a:cubicBezTo>
                    <a:pt x="217" y="184"/>
                    <a:pt x="217" y="184"/>
                    <a:pt x="216" y="185"/>
                  </a:cubicBezTo>
                  <a:cubicBezTo>
                    <a:pt x="216" y="185"/>
                    <a:pt x="216" y="185"/>
                    <a:pt x="216" y="185"/>
                  </a:cubicBezTo>
                  <a:cubicBezTo>
                    <a:pt x="216" y="186"/>
                    <a:pt x="216" y="186"/>
                    <a:pt x="216" y="186"/>
                  </a:cubicBezTo>
                  <a:cubicBezTo>
                    <a:pt x="216" y="186"/>
                    <a:pt x="216" y="187"/>
                    <a:pt x="217" y="188"/>
                  </a:cubicBezTo>
                  <a:cubicBezTo>
                    <a:pt x="217" y="188"/>
                    <a:pt x="217" y="188"/>
                    <a:pt x="217" y="188"/>
                  </a:cubicBezTo>
                  <a:cubicBezTo>
                    <a:pt x="216" y="188"/>
                    <a:pt x="216" y="189"/>
                    <a:pt x="216" y="190"/>
                  </a:cubicBezTo>
                  <a:cubicBezTo>
                    <a:pt x="216" y="190"/>
                    <a:pt x="216" y="190"/>
                    <a:pt x="216" y="190"/>
                  </a:cubicBezTo>
                  <a:cubicBezTo>
                    <a:pt x="216" y="190"/>
                    <a:pt x="216" y="191"/>
                    <a:pt x="216" y="191"/>
                  </a:cubicBezTo>
                  <a:cubicBezTo>
                    <a:pt x="215" y="191"/>
                    <a:pt x="215" y="192"/>
                    <a:pt x="215" y="192"/>
                  </a:cubicBezTo>
                  <a:cubicBezTo>
                    <a:pt x="215" y="192"/>
                    <a:pt x="215" y="192"/>
                    <a:pt x="215" y="192"/>
                  </a:cubicBezTo>
                  <a:cubicBezTo>
                    <a:pt x="214" y="192"/>
                    <a:pt x="213" y="192"/>
                    <a:pt x="213" y="192"/>
                  </a:cubicBezTo>
                  <a:cubicBezTo>
                    <a:pt x="212" y="193"/>
                    <a:pt x="212" y="194"/>
                    <a:pt x="211" y="194"/>
                  </a:cubicBezTo>
                  <a:cubicBezTo>
                    <a:pt x="211" y="195"/>
                    <a:pt x="211" y="195"/>
                    <a:pt x="211" y="195"/>
                  </a:cubicBezTo>
                  <a:cubicBezTo>
                    <a:pt x="211" y="195"/>
                    <a:pt x="211" y="195"/>
                    <a:pt x="211" y="196"/>
                  </a:cubicBezTo>
                  <a:cubicBezTo>
                    <a:pt x="211" y="196"/>
                    <a:pt x="210" y="197"/>
                    <a:pt x="210" y="197"/>
                  </a:cubicBezTo>
                  <a:cubicBezTo>
                    <a:pt x="210" y="197"/>
                    <a:pt x="210" y="197"/>
                    <a:pt x="210" y="197"/>
                  </a:cubicBezTo>
                  <a:cubicBezTo>
                    <a:pt x="210" y="197"/>
                    <a:pt x="210" y="198"/>
                    <a:pt x="209" y="198"/>
                  </a:cubicBezTo>
                  <a:cubicBezTo>
                    <a:pt x="209" y="198"/>
                    <a:pt x="209" y="198"/>
                    <a:pt x="209" y="198"/>
                  </a:cubicBezTo>
                  <a:cubicBezTo>
                    <a:pt x="209" y="198"/>
                    <a:pt x="208" y="198"/>
                    <a:pt x="207" y="199"/>
                  </a:cubicBezTo>
                  <a:cubicBezTo>
                    <a:pt x="207" y="200"/>
                    <a:pt x="207" y="200"/>
                    <a:pt x="207" y="201"/>
                  </a:cubicBezTo>
                  <a:cubicBezTo>
                    <a:pt x="207" y="201"/>
                    <a:pt x="206" y="202"/>
                    <a:pt x="206" y="203"/>
                  </a:cubicBezTo>
                  <a:cubicBezTo>
                    <a:pt x="206" y="203"/>
                    <a:pt x="207" y="204"/>
                    <a:pt x="207" y="204"/>
                  </a:cubicBezTo>
                  <a:cubicBezTo>
                    <a:pt x="207" y="204"/>
                    <a:pt x="208" y="204"/>
                    <a:pt x="208" y="204"/>
                  </a:cubicBezTo>
                  <a:cubicBezTo>
                    <a:pt x="208" y="204"/>
                    <a:pt x="209" y="204"/>
                    <a:pt x="209" y="204"/>
                  </a:cubicBezTo>
                  <a:cubicBezTo>
                    <a:pt x="209" y="204"/>
                    <a:pt x="208" y="205"/>
                    <a:pt x="209" y="205"/>
                  </a:cubicBezTo>
                  <a:cubicBezTo>
                    <a:pt x="209" y="206"/>
                    <a:pt x="209" y="206"/>
                    <a:pt x="210" y="206"/>
                  </a:cubicBezTo>
                  <a:cubicBezTo>
                    <a:pt x="211" y="207"/>
                    <a:pt x="211" y="207"/>
                    <a:pt x="211" y="207"/>
                  </a:cubicBezTo>
                  <a:cubicBezTo>
                    <a:pt x="211" y="207"/>
                    <a:pt x="211" y="207"/>
                    <a:pt x="211" y="207"/>
                  </a:cubicBezTo>
                  <a:cubicBezTo>
                    <a:pt x="213" y="207"/>
                    <a:pt x="213" y="206"/>
                    <a:pt x="214" y="205"/>
                  </a:cubicBezTo>
                  <a:cubicBezTo>
                    <a:pt x="214" y="205"/>
                    <a:pt x="214" y="205"/>
                    <a:pt x="214" y="205"/>
                  </a:cubicBezTo>
                  <a:cubicBezTo>
                    <a:pt x="214" y="206"/>
                    <a:pt x="214" y="206"/>
                    <a:pt x="214" y="206"/>
                  </a:cubicBezTo>
                  <a:cubicBezTo>
                    <a:pt x="214" y="207"/>
                    <a:pt x="214" y="207"/>
                    <a:pt x="214" y="207"/>
                  </a:cubicBezTo>
                  <a:cubicBezTo>
                    <a:pt x="213" y="208"/>
                    <a:pt x="213" y="208"/>
                    <a:pt x="213" y="208"/>
                  </a:cubicBezTo>
                  <a:cubicBezTo>
                    <a:pt x="213" y="209"/>
                    <a:pt x="213" y="209"/>
                    <a:pt x="213" y="209"/>
                  </a:cubicBezTo>
                  <a:cubicBezTo>
                    <a:pt x="212" y="208"/>
                    <a:pt x="212" y="208"/>
                    <a:pt x="212" y="208"/>
                  </a:cubicBezTo>
                  <a:cubicBezTo>
                    <a:pt x="212" y="208"/>
                    <a:pt x="211" y="209"/>
                    <a:pt x="211" y="209"/>
                  </a:cubicBezTo>
                  <a:cubicBezTo>
                    <a:pt x="211" y="210"/>
                    <a:pt x="211" y="210"/>
                    <a:pt x="211" y="210"/>
                  </a:cubicBezTo>
                  <a:cubicBezTo>
                    <a:pt x="211" y="210"/>
                    <a:pt x="210" y="210"/>
                    <a:pt x="210" y="210"/>
                  </a:cubicBezTo>
                  <a:cubicBezTo>
                    <a:pt x="209" y="210"/>
                    <a:pt x="208" y="210"/>
                    <a:pt x="207" y="211"/>
                  </a:cubicBezTo>
                  <a:cubicBezTo>
                    <a:pt x="206" y="212"/>
                    <a:pt x="207" y="213"/>
                    <a:pt x="207" y="213"/>
                  </a:cubicBezTo>
                  <a:cubicBezTo>
                    <a:pt x="207" y="213"/>
                    <a:pt x="207" y="214"/>
                    <a:pt x="207" y="214"/>
                  </a:cubicBezTo>
                  <a:cubicBezTo>
                    <a:pt x="207" y="214"/>
                    <a:pt x="206" y="213"/>
                    <a:pt x="205" y="215"/>
                  </a:cubicBezTo>
                  <a:cubicBezTo>
                    <a:pt x="204" y="216"/>
                    <a:pt x="204" y="217"/>
                    <a:pt x="205" y="218"/>
                  </a:cubicBezTo>
                  <a:cubicBezTo>
                    <a:pt x="205" y="218"/>
                    <a:pt x="206" y="218"/>
                    <a:pt x="206" y="219"/>
                  </a:cubicBezTo>
                  <a:cubicBezTo>
                    <a:pt x="206" y="219"/>
                    <a:pt x="206" y="219"/>
                    <a:pt x="206" y="219"/>
                  </a:cubicBezTo>
                  <a:cubicBezTo>
                    <a:pt x="205" y="220"/>
                    <a:pt x="205" y="221"/>
                    <a:pt x="205" y="221"/>
                  </a:cubicBezTo>
                  <a:cubicBezTo>
                    <a:pt x="205" y="221"/>
                    <a:pt x="205" y="222"/>
                    <a:pt x="205" y="222"/>
                  </a:cubicBezTo>
                  <a:cubicBezTo>
                    <a:pt x="205" y="222"/>
                    <a:pt x="205" y="222"/>
                    <a:pt x="205" y="222"/>
                  </a:cubicBezTo>
                  <a:cubicBezTo>
                    <a:pt x="204" y="222"/>
                    <a:pt x="203" y="223"/>
                    <a:pt x="203" y="224"/>
                  </a:cubicBezTo>
                  <a:cubicBezTo>
                    <a:pt x="203" y="224"/>
                    <a:pt x="203" y="225"/>
                    <a:pt x="204" y="226"/>
                  </a:cubicBezTo>
                  <a:cubicBezTo>
                    <a:pt x="204" y="226"/>
                    <a:pt x="205" y="226"/>
                    <a:pt x="205" y="226"/>
                  </a:cubicBezTo>
                  <a:cubicBezTo>
                    <a:pt x="207" y="226"/>
                    <a:pt x="207" y="225"/>
                    <a:pt x="208" y="224"/>
                  </a:cubicBezTo>
                  <a:cubicBezTo>
                    <a:pt x="208" y="224"/>
                    <a:pt x="208" y="224"/>
                    <a:pt x="208" y="224"/>
                  </a:cubicBezTo>
                  <a:cubicBezTo>
                    <a:pt x="208" y="225"/>
                    <a:pt x="209" y="224"/>
                    <a:pt x="209" y="224"/>
                  </a:cubicBezTo>
                  <a:cubicBezTo>
                    <a:pt x="210" y="223"/>
                    <a:pt x="210" y="223"/>
                    <a:pt x="210" y="222"/>
                  </a:cubicBezTo>
                  <a:cubicBezTo>
                    <a:pt x="210" y="222"/>
                    <a:pt x="210" y="222"/>
                    <a:pt x="210" y="221"/>
                  </a:cubicBezTo>
                  <a:cubicBezTo>
                    <a:pt x="212" y="221"/>
                    <a:pt x="212" y="221"/>
                    <a:pt x="212" y="220"/>
                  </a:cubicBezTo>
                  <a:cubicBezTo>
                    <a:pt x="213" y="219"/>
                    <a:pt x="213" y="219"/>
                    <a:pt x="212" y="218"/>
                  </a:cubicBezTo>
                  <a:cubicBezTo>
                    <a:pt x="213" y="218"/>
                    <a:pt x="213" y="218"/>
                    <a:pt x="213" y="217"/>
                  </a:cubicBezTo>
                  <a:cubicBezTo>
                    <a:pt x="213" y="217"/>
                    <a:pt x="213" y="217"/>
                    <a:pt x="213" y="217"/>
                  </a:cubicBezTo>
                  <a:cubicBezTo>
                    <a:pt x="213" y="217"/>
                    <a:pt x="213" y="217"/>
                    <a:pt x="213" y="217"/>
                  </a:cubicBezTo>
                  <a:cubicBezTo>
                    <a:pt x="214" y="217"/>
                    <a:pt x="215" y="216"/>
                    <a:pt x="215" y="215"/>
                  </a:cubicBezTo>
                  <a:cubicBezTo>
                    <a:pt x="215" y="215"/>
                    <a:pt x="215" y="216"/>
                    <a:pt x="216" y="216"/>
                  </a:cubicBezTo>
                  <a:cubicBezTo>
                    <a:pt x="216" y="216"/>
                    <a:pt x="216" y="216"/>
                    <a:pt x="216" y="216"/>
                  </a:cubicBezTo>
                  <a:cubicBezTo>
                    <a:pt x="216" y="217"/>
                    <a:pt x="216" y="217"/>
                    <a:pt x="217" y="217"/>
                  </a:cubicBezTo>
                  <a:cubicBezTo>
                    <a:pt x="217" y="217"/>
                    <a:pt x="217" y="218"/>
                    <a:pt x="217" y="218"/>
                  </a:cubicBezTo>
                  <a:cubicBezTo>
                    <a:pt x="217" y="218"/>
                    <a:pt x="217" y="219"/>
                    <a:pt x="217" y="219"/>
                  </a:cubicBezTo>
                  <a:cubicBezTo>
                    <a:pt x="217" y="219"/>
                    <a:pt x="217" y="219"/>
                    <a:pt x="217" y="219"/>
                  </a:cubicBezTo>
                  <a:cubicBezTo>
                    <a:pt x="217" y="220"/>
                    <a:pt x="217" y="220"/>
                    <a:pt x="217" y="220"/>
                  </a:cubicBezTo>
                  <a:cubicBezTo>
                    <a:pt x="216" y="220"/>
                    <a:pt x="216" y="221"/>
                    <a:pt x="215" y="221"/>
                  </a:cubicBezTo>
                  <a:cubicBezTo>
                    <a:pt x="215" y="222"/>
                    <a:pt x="214" y="223"/>
                    <a:pt x="214" y="223"/>
                  </a:cubicBezTo>
                  <a:cubicBezTo>
                    <a:pt x="214" y="224"/>
                    <a:pt x="214" y="225"/>
                    <a:pt x="215" y="225"/>
                  </a:cubicBezTo>
                  <a:cubicBezTo>
                    <a:pt x="215" y="226"/>
                    <a:pt x="216" y="226"/>
                    <a:pt x="218" y="225"/>
                  </a:cubicBezTo>
                  <a:cubicBezTo>
                    <a:pt x="219" y="225"/>
                    <a:pt x="219" y="225"/>
                    <a:pt x="220" y="224"/>
                  </a:cubicBezTo>
                  <a:cubicBezTo>
                    <a:pt x="220" y="224"/>
                    <a:pt x="220" y="224"/>
                    <a:pt x="221" y="223"/>
                  </a:cubicBezTo>
                  <a:cubicBezTo>
                    <a:pt x="221" y="223"/>
                    <a:pt x="221" y="223"/>
                    <a:pt x="221" y="223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4"/>
                  </a:cubicBezTo>
                  <a:cubicBezTo>
                    <a:pt x="221" y="224"/>
                    <a:pt x="221" y="224"/>
                    <a:pt x="221" y="225"/>
                  </a:cubicBezTo>
                  <a:cubicBezTo>
                    <a:pt x="220" y="225"/>
                    <a:pt x="220" y="225"/>
                    <a:pt x="219" y="225"/>
                  </a:cubicBezTo>
                  <a:cubicBezTo>
                    <a:pt x="219" y="225"/>
                    <a:pt x="218" y="225"/>
                    <a:pt x="217" y="226"/>
                  </a:cubicBezTo>
                  <a:cubicBezTo>
                    <a:pt x="217" y="226"/>
                    <a:pt x="217" y="226"/>
                    <a:pt x="217" y="227"/>
                  </a:cubicBezTo>
                  <a:cubicBezTo>
                    <a:pt x="217" y="227"/>
                    <a:pt x="216" y="227"/>
                    <a:pt x="216" y="227"/>
                  </a:cubicBezTo>
                  <a:cubicBezTo>
                    <a:pt x="216" y="227"/>
                    <a:pt x="216" y="227"/>
                    <a:pt x="216" y="227"/>
                  </a:cubicBezTo>
                  <a:cubicBezTo>
                    <a:pt x="216" y="227"/>
                    <a:pt x="215" y="227"/>
                    <a:pt x="214" y="227"/>
                  </a:cubicBezTo>
                  <a:cubicBezTo>
                    <a:pt x="214" y="227"/>
                    <a:pt x="214" y="227"/>
                    <a:pt x="214" y="227"/>
                  </a:cubicBezTo>
                  <a:cubicBezTo>
                    <a:pt x="213" y="227"/>
                    <a:pt x="213" y="227"/>
                    <a:pt x="213" y="227"/>
                  </a:cubicBezTo>
                  <a:cubicBezTo>
                    <a:pt x="213" y="227"/>
                    <a:pt x="212" y="227"/>
                    <a:pt x="211" y="228"/>
                  </a:cubicBezTo>
                  <a:cubicBezTo>
                    <a:pt x="211" y="229"/>
                    <a:pt x="211" y="229"/>
                    <a:pt x="211" y="229"/>
                  </a:cubicBezTo>
                  <a:cubicBezTo>
                    <a:pt x="210" y="230"/>
                    <a:pt x="209" y="231"/>
                    <a:pt x="210" y="232"/>
                  </a:cubicBezTo>
                  <a:cubicBezTo>
                    <a:pt x="210" y="232"/>
                    <a:pt x="210" y="232"/>
                    <a:pt x="210" y="232"/>
                  </a:cubicBezTo>
                  <a:cubicBezTo>
                    <a:pt x="210" y="233"/>
                    <a:pt x="210" y="233"/>
                    <a:pt x="210" y="233"/>
                  </a:cubicBezTo>
                  <a:cubicBezTo>
                    <a:pt x="210" y="233"/>
                    <a:pt x="210" y="234"/>
                    <a:pt x="210" y="234"/>
                  </a:cubicBezTo>
                  <a:cubicBezTo>
                    <a:pt x="210" y="234"/>
                    <a:pt x="210" y="234"/>
                    <a:pt x="210" y="234"/>
                  </a:cubicBezTo>
                  <a:cubicBezTo>
                    <a:pt x="209" y="234"/>
                    <a:pt x="209" y="235"/>
                    <a:pt x="208" y="235"/>
                  </a:cubicBezTo>
                  <a:cubicBezTo>
                    <a:pt x="208" y="235"/>
                    <a:pt x="207" y="236"/>
                    <a:pt x="207" y="237"/>
                  </a:cubicBezTo>
                  <a:cubicBezTo>
                    <a:pt x="207" y="237"/>
                    <a:pt x="207" y="238"/>
                    <a:pt x="207" y="239"/>
                  </a:cubicBezTo>
                  <a:cubicBezTo>
                    <a:pt x="207" y="240"/>
                    <a:pt x="207" y="240"/>
                    <a:pt x="207" y="240"/>
                  </a:cubicBezTo>
                  <a:cubicBezTo>
                    <a:pt x="207" y="240"/>
                    <a:pt x="206" y="240"/>
                    <a:pt x="206" y="240"/>
                  </a:cubicBezTo>
                  <a:cubicBezTo>
                    <a:pt x="206" y="241"/>
                    <a:pt x="206" y="241"/>
                    <a:pt x="206" y="242"/>
                  </a:cubicBezTo>
                  <a:cubicBezTo>
                    <a:pt x="206" y="242"/>
                    <a:pt x="206" y="243"/>
                    <a:pt x="206" y="244"/>
                  </a:cubicBezTo>
                  <a:cubicBezTo>
                    <a:pt x="207" y="244"/>
                    <a:pt x="207" y="244"/>
                    <a:pt x="208" y="244"/>
                  </a:cubicBezTo>
                  <a:cubicBezTo>
                    <a:pt x="208" y="244"/>
                    <a:pt x="208" y="244"/>
                    <a:pt x="208" y="244"/>
                  </a:cubicBezTo>
                  <a:cubicBezTo>
                    <a:pt x="208" y="244"/>
                    <a:pt x="208" y="245"/>
                    <a:pt x="207" y="245"/>
                  </a:cubicBezTo>
                  <a:cubicBezTo>
                    <a:pt x="207" y="245"/>
                    <a:pt x="207" y="246"/>
                    <a:pt x="207" y="246"/>
                  </a:cubicBezTo>
                  <a:cubicBezTo>
                    <a:pt x="207" y="246"/>
                    <a:pt x="207" y="246"/>
                    <a:pt x="207" y="246"/>
                  </a:cubicBezTo>
                  <a:cubicBezTo>
                    <a:pt x="207" y="246"/>
                    <a:pt x="206" y="246"/>
                    <a:pt x="206" y="247"/>
                  </a:cubicBezTo>
                  <a:cubicBezTo>
                    <a:pt x="206" y="247"/>
                    <a:pt x="205" y="248"/>
                    <a:pt x="205" y="249"/>
                  </a:cubicBezTo>
                  <a:cubicBezTo>
                    <a:pt x="205" y="249"/>
                    <a:pt x="205" y="249"/>
                    <a:pt x="205" y="249"/>
                  </a:cubicBezTo>
                  <a:cubicBezTo>
                    <a:pt x="205" y="249"/>
                    <a:pt x="205" y="250"/>
                    <a:pt x="205" y="250"/>
                  </a:cubicBezTo>
                  <a:cubicBezTo>
                    <a:pt x="204" y="250"/>
                    <a:pt x="204" y="250"/>
                    <a:pt x="203" y="251"/>
                  </a:cubicBezTo>
                  <a:cubicBezTo>
                    <a:pt x="202" y="252"/>
                    <a:pt x="202" y="252"/>
                    <a:pt x="202" y="252"/>
                  </a:cubicBezTo>
                  <a:cubicBezTo>
                    <a:pt x="204" y="253"/>
                    <a:pt x="204" y="253"/>
                    <a:pt x="204" y="253"/>
                  </a:cubicBezTo>
                  <a:cubicBezTo>
                    <a:pt x="204" y="253"/>
                    <a:pt x="204" y="253"/>
                    <a:pt x="204" y="253"/>
                  </a:cubicBezTo>
                  <a:cubicBezTo>
                    <a:pt x="204" y="253"/>
                    <a:pt x="205" y="253"/>
                    <a:pt x="205" y="253"/>
                  </a:cubicBezTo>
                  <a:cubicBezTo>
                    <a:pt x="205" y="253"/>
                    <a:pt x="205" y="253"/>
                    <a:pt x="205" y="253"/>
                  </a:cubicBezTo>
                  <a:cubicBezTo>
                    <a:pt x="205" y="254"/>
                    <a:pt x="205" y="254"/>
                    <a:pt x="205" y="254"/>
                  </a:cubicBezTo>
                  <a:cubicBezTo>
                    <a:pt x="205" y="254"/>
                    <a:pt x="205" y="254"/>
                    <a:pt x="205" y="254"/>
                  </a:cubicBezTo>
                  <a:cubicBezTo>
                    <a:pt x="205" y="254"/>
                    <a:pt x="204" y="254"/>
                    <a:pt x="204" y="254"/>
                  </a:cubicBezTo>
                  <a:cubicBezTo>
                    <a:pt x="203" y="254"/>
                    <a:pt x="203" y="254"/>
                    <a:pt x="203" y="254"/>
                  </a:cubicBezTo>
                  <a:cubicBezTo>
                    <a:pt x="202" y="254"/>
                    <a:pt x="202" y="254"/>
                    <a:pt x="201" y="254"/>
                  </a:cubicBezTo>
                  <a:cubicBezTo>
                    <a:pt x="200" y="254"/>
                    <a:pt x="199" y="255"/>
                    <a:pt x="199" y="255"/>
                  </a:cubicBezTo>
                  <a:cubicBezTo>
                    <a:pt x="198" y="256"/>
                    <a:pt x="198" y="257"/>
                    <a:pt x="198" y="258"/>
                  </a:cubicBezTo>
                  <a:cubicBezTo>
                    <a:pt x="199" y="258"/>
                    <a:pt x="199" y="259"/>
                    <a:pt x="200" y="259"/>
                  </a:cubicBezTo>
                  <a:cubicBezTo>
                    <a:pt x="200" y="259"/>
                    <a:pt x="200" y="259"/>
                    <a:pt x="200" y="260"/>
                  </a:cubicBezTo>
                  <a:cubicBezTo>
                    <a:pt x="201" y="260"/>
                    <a:pt x="202" y="260"/>
                    <a:pt x="203" y="260"/>
                  </a:cubicBezTo>
                  <a:cubicBezTo>
                    <a:pt x="204" y="260"/>
                    <a:pt x="204" y="260"/>
                    <a:pt x="204" y="260"/>
                  </a:cubicBezTo>
                  <a:cubicBezTo>
                    <a:pt x="204" y="260"/>
                    <a:pt x="205" y="260"/>
                    <a:pt x="205" y="260"/>
                  </a:cubicBezTo>
                  <a:cubicBezTo>
                    <a:pt x="206" y="260"/>
                    <a:pt x="206" y="259"/>
                    <a:pt x="207" y="259"/>
                  </a:cubicBezTo>
                  <a:cubicBezTo>
                    <a:pt x="207" y="259"/>
                    <a:pt x="207" y="259"/>
                    <a:pt x="207" y="259"/>
                  </a:cubicBezTo>
                  <a:cubicBezTo>
                    <a:pt x="207" y="259"/>
                    <a:pt x="207" y="259"/>
                    <a:pt x="207" y="260"/>
                  </a:cubicBezTo>
                  <a:cubicBezTo>
                    <a:pt x="207" y="260"/>
                    <a:pt x="206" y="260"/>
                    <a:pt x="206" y="260"/>
                  </a:cubicBezTo>
                  <a:cubicBezTo>
                    <a:pt x="206" y="260"/>
                    <a:pt x="205" y="260"/>
                    <a:pt x="205" y="260"/>
                  </a:cubicBezTo>
                  <a:cubicBezTo>
                    <a:pt x="205" y="261"/>
                    <a:pt x="205" y="261"/>
                    <a:pt x="205" y="261"/>
                  </a:cubicBezTo>
                  <a:cubicBezTo>
                    <a:pt x="205" y="260"/>
                    <a:pt x="205" y="260"/>
                    <a:pt x="205" y="260"/>
                  </a:cubicBezTo>
                  <a:cubicBezTo>
                    <a:pt x="204" y="260"/>
                    <a:pt x="204" y="260"/>
                    <a:pt x="204" y="261"/>
                  </a:cubicBezTo>
                  <a:cubicBezTo>
                    <a:pt x="203" y="261"/>
                    <a:pt x="203" y="261"/>
                    <a:pt x="203" y="261"/>
                  </a:cubicBezTo>
                  <a:cubicBezTo>
                    <a:pt x="203" y="261"/>
                    <a:pt x="203" y="261"/>
                    <a:pt x="203" y="261"/>
                  </a:cubicBezTo>
                  <a:cubicBezTo>
                    <a:pt x="203" y="261"/>
                    <a:pt x="202" y="262"/>
                    <a:pt x="202" y="262"/>
                  </a:cubicBezTo>
                  <a:cubicBezTo>
                    <a:pt x="202" y="262"/>
                    <a:pt x="202" y="262"/>
                    <a:pt x="202" y="262"/>
                  </a:cubicBezTo>
                  <a:cubicBezTo>
                    <a:pt x="201" y="262"/>
                    <a:pt x="201" y="262"/>
                    <a:pt x="200" y="263"/>
                  </a:cubicBezTo>
                  <a:cubicBezTo>
                    <a:pt x="200" y="263"/>
                    <a:pt x="200" y="263"/>
                    <a:pt x="200" y="263"/>
                  </a:cubicBezTo>
                  <a:cubicBezTo>
                    <a:pt x="200" y="263"/>
                    <a:pt x="199" y="263"/>
                    <a:pt x="199" y="263"/>
                  </a:cubicBezTo>
                  <a:cubicBezTo>
                    <a:pt x="199" y="263"/>
                    <a:pt x="199" y="263"/>
                    <a:pt x="199" y="263"/>
                  </a:cubicBezTo>
                  <a:cubicBezTo>
                    <a:pt x="199" y="263"/>
                    <a:pt x="199" y="263"/>
                    <a:pt x="199" y="263"/>
                  </a:cubicBezTo>
                  <a:cubicBezTo>
                    <a:pt x="198" y="263"/>
                    <a:pt x="197" y="263"/>
                    <a:pt x="196" y="263"/>
                  </a:cubicBezTo>
                  <a:cubicBezTo>
                    <a:pt x="196" y="264"/>
                    <a:pt x="196" y="264"/>
                    <a:pt x="195" y="264"/>
                  </a:cubicBezTo>
                  <a:cubicBezTo>
                    <a:pt x="195" y="265"/>
                    <a:pt x="195" y="265"/>
                    <a:pt x="195" y="265"/>
                  </a:cubicBezTo>
                  <a:cubicBezTo>
                    <a:pt x="195" y="265"/>
                    <a:pt x="195" y="265"/>
                    <a:pt x="195" y="265"/>
                  </a:cubicBezTo>
                  <a:cubicBezTo>
                    <a:pt x="194" y="266"/>
                    <a:pt x="193" y="266"/>
                    <a:pt x="193" y="267"/>
                  </a:cubicBezTo>
                  <a:cubicBezTo>
                    <a:pt x="192" y="269"/>
                    <a:pt x="192" y="269"/>
                    <a:pt x="192" y="269"/>
                  </a:cubicBezTo>
                  <a:cubicBezTo>
                    <a:pt x="192" y="269"/>
                    <a:pt x="191" y="269"/>
                    <a:pt x="191" y="270"/>
                  </a:cubicBezTo>
                  <a:cubicBezTo>
                    <a:pt x="191" y="270"/>
                    <a:pt x="191" y="271"/>
                    <a:pt x="191" y="271"/>
                  </a:cubicBezTo>
                  <a:cubicBezTo>
                    <a:pt x="190" y="271"/>
                    <a:pt x="189" y="271"/>
                    <a:pt x="189" y="273"/>
                  </a:cubicBezTo>
                  <a:cubicBezTo>
                    <a:pt x="189" y="273"/>
                    <a:pt x="189" y="273"/>
                    <a:pt x="189" y="273"/>
                  </a:cubicBezTo>
                  <a:cubicBezTo>
                    <a:pt x="189" y="273"/>
                    <a:pt x="188" y="273"/>
                    <a:pt x="188" y="273"/>
                  </a:cubicBezTo>
                  <a:cubicBezTo>
                    <a:pt x="187" y="274"/>
                    <a:pt x="187" y="274"/>
                    <a:pt x="187" y="274"/>
                  </a:cubicBezTo>
                  <a:cubicBezTo>
                    <a:pt x="187" y="275"/>
                    <a:pt x="187" y="275"/>
                    <a:pt x="187" y="275"/>
                  </a:cubicBezTo>
                  <a:cubicBezTo>
                    <a:pt x="187" y="275"/>
                    <a:pt x="187" y="275"/>
                    <a:pt x="187" y="275"/>
                  </a:cubicBezTo>
                  <a:cubicBezTo>
                    <a:pt x="187" y="275"/>
                    <a:pt x="186" y="274"/>
                    <a:pt x="186" y="274"/>
                  </a:cubicBezTo>
                  <a:cubicBezTo>
                    <a:pt x="185" y="274"/>
                    <a:pt x="184" y="274"/>
                    <a:pt x="184" y="274"/>
                  </a:cubicBezTo>
                  <a:cubicBezTo>
                    <a:pt x="183" y="274"/>
                    <a:pt x="183" y="274"/>
                    <a:pt x="183" y="274"/>
                  </a:cubicBezTo>
                  <a:cubicBezTo>
                    <a:pt x="183" y="274"/>
                    <a:pt x="182" y="274"/>
                    <a:pt x="182" y="274"/>
                  </a:cubicBezTo>
                  <a:cubicBezTo>
                    <a:pt x="182" y="274"/>
                    <a:pt x="181" y="274"/>
                    <a:pt x="181" y="274"/>
                  </a:cubicBezTo>
                  <a:cubicBezTo>
                    <a:pt x="181" y="274"/>
                    <a:pt x="181" y="274"/>
                    <a:pt x="181" y="274"/>
                  </a:cubicBezTo>
                  <a:cubicBezTo>
                    <a:pt x="180" y="274"/>
                    <a:pt x="180" y="274"/>
                    <a:pt x="179" y="275"/>
                  </a:cubicBezTo>
                  <a:cubicBezTo>
                    <a:pt x="179" y="275"/>
                    <a:pt x="179" y="276"/>
                    <a:pt x="179" y="277"/>
                  </a:cubicBezTo>
                  <a:cubicBezTo>
                    <a:pt x="179" y="277"/>
                    <a:pt x="179" y="277"/>
                    <a:pt x="179" y="277"/>
                  </a:cubicBezTo>
                  <a:cubicBezTo>
                    <a:pt x="179" y="277"/>
                    <a:pt x="179" y="278"/>
                    <a:pt x="179" y="278"/>
                  </a:cubicBezTo>
                  <a:cubicBezTo>
                    <a:pt x="179" y="279"/>
                    <a:pt x="179" y="279"/>
                    <a:pt x="179" y="279"/>
                  </a:cubicBezTo>
                  <a:cubicBezTo>
                    <a:pt x="179" y="279"/>
                    <a:pt x="179" y="280"/>
                    <a:pt x="180" y="281"/>
                  </a:cubicBezTo>
                  <a:cubicBezTo>
                    <a:pt x="180" y="281"/>
                    <a:pt x="180" y="281"/>
                    <a:pt x="180" y="281"/>
                  </a:cubicBezTo>
                  <a:cubicBezTo>
                    <a:pt x="180" y="281"/>
                    <a:pt x="179" y="282"/>
                    <a:pt x="179" y="282"/>
                  </a:cubicBezTo>
                  <a:cubicBezTo>
                    <a:pt x="178" y="282"/>
                    <a:pt x="177" y="283"/>
                    <a:pt x="177" y="284"/>
                  </a:cubicBezTo>
                  <a:cubicBezTo>
                    <a:pt x="177" y="285"/>
                    <a:pt x="177" y="285"/>
                    <a:pt x="177" y="286"/>
                  </a:cubicBezTo>
                  <a:cubicBezTo>
                    <a:pt x="178" y="286"/>
                    <a:pt x="178" y="287"/>
                    <a:pt x="178" y="287"/>
                  </a:cubicBezTo>
                  <a:cubicBezTo>
                    <a:pt x="179" y="287"/>
                    <a:pt x="179" y="287"/>
                    <a:pt x="179" y="287"/>
                  </a:cubicBezTo>
                  <a:cubicBezTo>
                    <a:pt x="179" y="287"/>
                    <a:pt x="179" y="287"/>
                    <a:pt x="179" y="287"/>
                  </a:cubicBezTo>
                  <a:cubicBezTo>
                    <a:pt x="179" y="288"/>
                    <a:pt x="179" y="289"/>
                    <a:pt x="180" y="290"/>
                  </a:cubicBezTo>
                  <a:cubicBezTo>
                    <a:pt x="180" y="290"/>
                    <a:pt x="180" y="290"/>
                    <a:pt x="180" y="290"/>
                  </a:cubicBezTo>
                  <a:cubicBezTo>
                    <a:pt x="180" y="290"/>
                    <a:pt x="180" y="290"/>
                    <a:pt x="180" y="290"/>
                  </a:cubicBezTo>
                  <a:cubicBezTo>
                    <a:pt x="180" y="290"/>
                    <a:pt x="180" y="290"/>
                    <a:pt x="180" y="290"/>
                  </a:cubicBezTo>
                  <a:cubicBezTo>
                    <a:pt x="180" y="291"/>
                    <a:pt x="180" y="292"/>
                    <a:pt x="181" y="292"/>
                  </a:cubicBezTo>
                  <a:cubicBezTo>
                    <a:pt x="180" y="292"/>
                    <a:pt x="180" y="292"/>
                    <a:pt x="180" y="293"/>
                  </a:cubicBezTo>
                  <a:cubicBezTo>
                    <a:pt x="179" y="293"/>
                    <a:pt x="179" y="294"/>
                    <a:pt x="179" y="294"/>
                  </a:cubicBezTo>
                  <a:cubicBezTo>
                    <a:pt x="178" y="295"/>
                    <a:pt x="178" y="295"/>
                    <a:pt x="178" y="296"/>
                  </a:cubicBezTo>
                  <a:cubicBezTo>
                    <a:pt x="178" y="296"/>
                    <a:pt x="178" y="297"/>
                    <a:pt x="179" y="298"/>
                  </a:cubicBezTo>
                  <a:cubicBezTo>
                    <a:pt x="180" y="298"/>
                    <a:pt x="180" y="298"/>
                    <a:pt x="180" y="298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179" y="300"/>
                    <a:pt x="180" y="301"/>
                    <a:pt x="181" y="301"/>
                  </a:cubicBezTo>
                  <a:cubicBezTo>
                    <a:pt x="181" y="302"/>
                    <a:pt x="181" y="302"/>
                    <a:pt x="182" y="302"/>
                  </a:cubicBezTo>
                  <a:cubicBezTo>
                    <a:pt x="182" y="302"/>
                    <a:pt x="182" y="302"/>
                    <a:pt x="182" y="303"/>
                  </a:cubicBezTo>
                  <a:cubicBezTo>
                    <a:pt x="182" y="303"/>
                    <a:pt x="182" y="303"/>
                    <a:pt x="182" y="303"/>
                  </a:cubicBezTo>
                  <a:cubicBezTo>
                    <a:pt x="181" y="303"/>
                    <a:pt x="181" y="304"/>
                    <a:pt x="181" y="305"/>
                  </a:cubicBezTo>
                  <a:cubicBezTo>
                    <a:pt x="181" y="305"/>
                    <a:pt x="181" y="306"/>
                    <a:pt x="181" y="306"/>
                  </a:cubicBezTo>
                  <a:cubicBezTo>
                    <a:pt x="181" y="308"/>
                    <a:pt x="182" y="308"/>
                    <a:pt x="183" y="308"/>
                  </a:cubicBezTo>
                  <a:cubicBezTo>
                    <a:pt x="183" y="308"/>
                    <a:pt x="183" y="308"/>
                    <a:pt x="183" y="309"/>
                  </a:cubicBezTo>
                  <a:cubicBezTo>
                    <a:pt x="183" y="309"/>
                    <a:pt x="184" y="309"/>
                    <a:pt x="184" y="309"/>
                  </a:cubicBezTo>
                  <a:cubicBezTo>
                    <a:pt x="184" y="309"/>
                    <a:pt x="185" y="309"/>
                    <a:pt x="185" y="309"/>
                  </a:cubicBezTo>
                  <a:cubicBezTo>
                    <a:pt x="185" y="310"/>
                    <a:pt x="186" y="310"/>
                    <a:pt x="186" y="311"/>
                  </a:cubicBezTo>
                  <a:cubicBezTo>
                    <a:pt x="187" y="311"/>
                    <a:pt x="187" y="311"/>
                    <a:pt x="187" y="311"/>
                  </a:cubicBezTo>
                  <a:cubicBezTo>
                    <a:pt x="187" y="311"/>
                    <a:pt x="187" y="311"/>
                    <a:pt x="187" y="311"/>
                  </a:cubicBezTo>
                  <a:cubicBezTo>
                    <a:pt x="188" y="310"/>
                    <a:pt x="188" y="310"/>
                    <a:pt x="188" y="310"/>
                  </a:cubicBezTo>
                  <a:cubicBezTo>
                    <a:pt x="188" y="310"/>
                    <a:pt x="188" y="310"/>
                    <a:pt x="188" y="310"/>
                  </a:cubicBezTo>
                  <a:cubicBezTo>
                    <a:pt x="187" y="311"/>
                    <a:pt x="187" y="311"/>
                    <a:pt x="187" y="311"/>
                  </a:cubicBezTo>
                  <a:cubicBezTo>
                    <a:pt x="188" y="312"/>
                    <a:pt x="188" y="312"/>
                    <a:pt x="188" y="312"/>
                  </a:cubicBezTo>
                  <a:cubicBezTo>
                    <a:pt x="189" y="312"/>
                    <a:pt x="189" y="313"/>
                    <a:pt x="189" y="313"/>
                  </a:cubicBezTo>
                  <a:cubicBezTo>
                    <a:pt x="190" y="313"/>
                    <a:pt x="191" y="312"/>
                    <a:pt x="191" y="311"/>
                  </a:cubicBezTo>
                  <a:cubicBezTo>
                    <a:pt x="192" y="311"/>
                    <a:pt x="192" y="311"/>
                    <a:pt x="192" y="310"/>
                  </a:cubicBezTo>
                  <a:cubicBezTo>
                    <a:pt x="192" y="310"/>
                    <a:pt x="192" y="310"/>
                    <a:pt x="192" y="310"/>
                  </a:cubicBezTo>
                  <a:cubicBezTo>
                    <a:pt x="192" y="310"/>
                    <a:pt x="192" y="309"/>
                    <a:pt x="193" y="309"/>
                  </a:cubicBezTo>
                  <a:cubicBezTo>
                    <a:pt x="193" y="309"/>
                    <a:pt x="193" y="309"/>
                    <a:pt x="193" y="308"/>
                  </a:cubicBezTo>
                  <a:cubicBezTo>
                    <a:pt x="193" y="308"/>
                    <a:pt x="193" y="308"/>
                    <a:pt x="193" y="308"/>
                  </a:cubicBezTo>
                  <a:cubicBezTo>
                    <a:pt x="193" y="307"/>
                    <a:pt x="194" y="306"/>
                    <a:pt x="194" y="306"/>
                  </a:cubicBezTo>
                  <a:cubicBezTo>
                    <a:pt x="194" y="306"/>
                    <a:pt x="194" y="306"/>
                    <a:pt x="194" y="305"/>
                  </a:cubicBezTo>
                  <a:cubicBezTo>
                    <a:pt x="195" y="305"/>
                    <a:pt x="195" y="305"/>
                    <a:pt x="195" y="305"/>
                  </a:cubicBezTo>
                  <a:cubicBezTo>
                    <a:pt x="195" y="305"/>
                    <a:pt x="196" y="304"/>
                    <a:pt x="196" y="304"/>
                  </a:cubicBezTo>
                  <a:cubicBezTo>
                    <a:pt x="196" y="303"/>
                    <a:pt x="196" y="303"/>
                    <a:pt x="196" y="302"/>
                  </a:cubicBezTo>
                  <a:cubicBezTo>
                    <a:pt x="196" y="302"/>
                    <a:pt x="196" y="301"/>
                    <a:pt x="196" y="301"/>
                  </a:cubicBezTo>
                  <a:cubicBezTo>
                    <a:pt x="196" y="301"/>
                    <a:pt x="196" y="300"/>
                    <a:pt x="196" y="300"/>
                  </a:cubicBezTo>
                  <a:cubicBezTo>
                    <a:pt x="196" y="300"/>
                    <a:pt x="196" y="299"/>
                    <a:pt x="195" y="299"/>
                  </a:cubicBezTo>
                  <a:cubicBezTo>
                    <a:pt x="195" y="298"/>
                    <a:pt x="195" y="298"/>
                    <a:pt x="195" y="297"/>
                  </a:cubicBezTo>
                  <a:cubicBezTo>
                    <a:pt x="195" y="296"/>
                    <a:pt x="195" y="295"/>
                    <a:pt x="195" y="295"/>
                  </a:cubicBezTo>
                  <a:cubicBezTo>
                    <a:pt x="195" y="295"/>
                    <a:pt x="195" y="294"/>
                    <a:pt x="195" y="294"/>
                  </a:cubicBezTo>
                  <a:cubicBezTo>
                    <a:pt x="196" y="294"/>
                    <a:pt x="196" y="293"/>
                    <a:pt x="196" y="292"/>
                  </a:cubicBezTo>
                  <a:cubicBezTo>
                    <a:pt x="196" y="291"/>
                    <a:pt x="196" y="291"/>
                    <a:pt x="196" y="290"/>
                  </a:cubicBezTo>
                  <a:cubicBezTo>
                    <a:pt x="196" y="290"/>
                    <a:pt x="196" y="290"/>
                    <a:pt x="196" y="289"/>
                  </a:cubicBezTo>
                  <a:cubicBezTo>
                    <a:pt x="196" y="289"/>
                    <a:pt x="196" y="289"/>
                    <a:pt x="196" y="288"/>
                  </a:cubicBezTo>
                  <a:cubicBezTo>
                    <a:pt x="196" y="288"/>
                    <a:pt x="196" y="288"/>
                    <a:pt x="196" y="288"/>
                  </a:cubicBezTo>
                  <a:cubicBezTo>
                    <a:pt x="196" y="288"/>
                    <a:pt x="196" y="288"/>
                    <a:pt x="196" y="288"/>
                  </a:cubicBezTo>
                  <a:cubicBezTo>
                    <a:pt x="196" y="286"/>
                    <a:pt x="196" y="285"/>
                    <a:pt x="195" y="284"/>
                  </a:cubicBezTo>
                  <a:cubicBezTo>
                    <a:pt x="194" y="284"/>
                    <a:pt x="194" y="283"/>
                    <a:pt x="194" y="283"/>
                  </a:cubicBezTo>
                  <a:cubicBezTo>
                    <a:pt x="194" y="283"/>
                    <a:pt x="194" y="283"/>
                    <a:pt x="194" y="283"/>
                  </a:cubicBezTo>
                  <a:cubicBezTo>
                    <a:pt x="194" y="282"/>
                    <a:pt x="193" y="281"/>
                    <a:pt x="192" y="280"/>
                  </a:cubicBezTo>
                  <a:cubicBezTo>
                    <a:pt x="191" y="280"/>
                    <a:pt x="191" y="280"/>
                    <a:pt x="190" y="280"/>
                  </a:cubicBezTo>
                  <a:cubicBezTo>
                    <a:pt x="190" y="280"/>
                    <a:pt x="190" y="280"/>
                    <a:pt x="190" y="280"/>
                  </a:cubicBezTo>
                  <a:cubicBezTo>
                    <a:pt x="190" y="280"/>
                    <a:pt x="189" y="279"/>
                    <a:pt x="189" y="279"/>
                  </a:cubicBezTo>
                  <a:cubicBezTo>
                    <a:pt x="189" y="278"/>
                    <a:pt x="189" y="278"/>
                    <a:pt x="189" y="278"/>
                  </a:cubicBezTo>
                  <a:cubicBezTo>
                    <a:pt x="189" y="278"/>
                    <a:pt x="188" y="277"/>
                    <a:pt x="188" y="277"/>
                  </a:cubicBezTo>
                  <a:cubicBezTo>
                    <a:pt x="188" y="277"/>
                    <a:pt x="189" y="277"/>
                    <a:pt x="189" y="278"/>
                  </a:cubicBezTo>
                  <a:cubicBezTo>
                    <a:pt x="190" y="278"/>
                    <a:pt x="190" y="278"/>
                    <a:pt x="190" y="278"/>
                  </a:cubicBezTo>
                  <a:cubicBezTo>
                    <a:pt x="190" y="278"/>
                    <a:pt x="190" y="278"/>
                    <a:pt x="190" y="278"/>
                  </a:cubicBezTo>
                  <a:cubicBezTo>
                    <a:pt x="190" y="278"/>
                    <a:pt x="191" y="279"/>
                    <a:pt x="192" y="279"/>
                  </a:cubicBezTo>
                  <a:cubicBezTo>
                    <a:pt x="192" y="279"/>
                    <a:pt x="192" y="279"/>
                    <a:pt x="192" y="279"/>
                  </a:cubicBezTo>
                  <a:cubicBezTo>
                    <a:pt x="193" y="279"/>
                    <a:pt x="193" y="278"/>
                    <a:pt x="193" y="278"/>
                  </a:cubicBezTo>
                  <a:cubicBezTo>
                    <a:pt x="193" y="278"/>
                    <a:pt x="193" y="278"/>
                    <a:pt x="193" y="278"/>
                  </a:cubicBezTo>
                  <a:cubicBezTo>
                    <a:pt x="194" y="279"/>
                    <a:pt x="194" y="279"/>
                    <a:pt x="195" y="279"/>
                  </a:cubicBezTo>
                  <a:cubicBezTo>
                    <a:pt x="195" y="279"/>
                    <a:pt x="195" y="280"/>
                    <a:pt x="195" y="280"/>
                  </a:cubicBezTo>
                  <a:cubicBezTo>
                    <a:pt x="195" y="280"/>
                    <a:pt x="194" y="280"/>
                    <a:pt x="194" y="281"/>
                  </a:cubicBezTo>
                  <a:cubicBezTo>
                    <a:pt x="194" y="282"/>
                    <a:pt x="194" y="282"/>
                    <a:pt x="195" y="283"/>
                  </a:cubicBezTo>
                  <a:cubicBezTo>
                    <a:pt x="196" y="283"/>
                    <a:pt x="196" y="283"/>
                    <a:pt x="197" y="283"/>
                  </a:cubicBezTo>
                  <a:cubicBezTo>
                    <a:pt x="197" y="283"/>
                    <a:pt x="198" y="283"/>
                    <a:pt x="198" y="283"/>
                  </a:cubicBezTo>
                  <a:cubicBezTo>
                    <a:pt x="198" y="283"/>
                    <a:pt x="198" y="283"/>
                    <a:pt x="198" y="284"/>
                  </a:cubicBezTo>
                  <a:cubicBezTo>
                    <a:pt x="199" y="284"/>
                    <a:pt x="199" y="284"/>
                    <a:pt x="199" y="284"/>
                  </a:cubicBezTo>
                  <a:cubicBezTo>
                    <a:pt x="199" y="285"/>
                    <a:pt x="199" y="285"/>
                    <a:pt x="199" y="285"/>
                  </a:cubicBezTo>
                  <a:cubicBezTo>
                    <a:pt x="199" y="285"/>
                    <a:pt x="200" y="286"/>
                    <a:pt x="200" y="286"/>
                  </a:cubicBezTo>
                  <a:cubicBezTo>
                    <a:pt x="200" y="286"/>
                    <a:pt x="200" y="286"/>
                    <a:pt x="200" y="287"/>
                  </a:cubicBezTo>
                  <a:cubicBezTo>
                    <a:pt x="200" y="287"/>
                    <a:pt x="200" y="287"/>
                    <a:pt x="200" y="287"/>
                  </a:cubicBezTo>
                  <a:cubicBezTo>
                    <a:pt x="200" y="287"/>
                    <a:pt x="200" y="287"/>
                    <a:pt x="200" y="287"/>
                  </a:cubicBezTo>
                  <a:cubicBezTo>
                    <a:pt x="200" y="287"/>
                    <a:pt x="199" y="287"/>
                    <a:pt x="199" y="287"/>
                  </a:cubicBezTo>
                  <a:cubicBezTo>
                    <a:pt x="198" y="287"/>
                    <a:pt x="197" y="288"/>
                    <a:pt x="197" y="289"/>
                  </a:cubicBezTo>
                  <a:cubicBezTo>
                    <a:pt x="197" y="290"/>
                    <a:pt x="197" y="290"/>
                    <a:pt x="197" y="291"/>
                  </a:cubicBezTo>
                  <a:cubicBezTo>
                    <a:pt x="197" y="291"/>
                    <a:pt x="197" y="291"/>
                    <a:pt x="197" y="291"/>
                  </a:cubicBezTo>
                  <a:cubicBezTo>
                    <a:pt x="197" y="292"/>
                    <a:pt x="197" y="292"/>
                    <a:pt x="197" y="293"/>
                  </a:cubicBezTo>
                  <a:cubicBezTo>
                    <a:pt x="198" y="294"/>
                    <a:pt x="199" y="294"/>
                    <a:pt x="199" y="294"/>
                  </a:cubicBezTo>
                  <a:cubicBezTo>
                    <a:pt x="199" y="294"/>
                    <a:pt x="199" y="294"/>
                    <a:pt x="199" y="294"/>
                  </a:cubicBezTo>
                  <a:cubicBezTo>
                    <a:pt x="199" y="294"/>
                    <a:pt x="199" y="295"/>
                    <a:pt x="198" y="295"/>
                  </a:cubicBezTo>
                  <a:cubicBezTo>
                    <a:pt x="198" y="296"/>
                    <a:pt x="198" y="296"/>
                    <a:pt x="199" y="297"/>
                  </a:cubicBezTo>
                  <a:cubicBezTo>
                    <a:pt x="199" y="297"/>
                    <a:pt x="199" y="297"/>
                    <a:pt x="199" y="297"/>
                  </a:cubicBezTo>
                  <a:cubicBezTo>
                    <a:pt x="199" y="298"/>
                    <a:pt x="200" y="299"/>
                    <a:pt x="200" y="299"/>
                  </a:cubicBezTo>
                  <a:cubicBezTo>
                    <a:pt x="200" y="299"/>
                    <a:pt x="200" y="299"/>
                    <a:pt x="200" y="299"/>
                  </a:cubicBezTo>
                  <a:cubicBezTo>
                    <a:pt x="200" y="300"/>
                    <a:pt x="200" y="300"/>
                    <a:pt x="200" y="301"/>
                  </a:cubicBezTo>
                  <a:cubicBezTo>
                    <a:pt x="199" y="301"/>
                    <a:pt x="199" y="302"/>
                    <a:pt x="199" y="303"/>
                  </a:cubicBezTo>
                  <a:cubicBezTo>
                    <a:pt x="199" y="303"/>
                    <a:pt x="199" y="303"/>
                    <a:pt x="199" y="303"/>
                  </a:cubicBezTo>
                  <a:cubicBezTo>
                    <a:pt x="199" y="304"/>
                    <a:pt x="199" y="304"/>
                    <a:pt x="199" y="304"/>
                  </a:cubicBezTo>
                  <a:cubicBezTo>
                    <a:pt x="199" y="304"/>
                    <a:pt x="199" y="305"/>
                    <a:pt x="199" y="305"/>
                  </a:cubicBezTo>
                  <a:cubicBezTo>
                    <a:pt x="199" y="305"/>
                    <a:pt x="199" y="305"/>
                    <a:pt x="199" y="305"/>
                  </a:cubicBezTo>
                  <a:cubicBezTo>
                    <a:pt x="199" y="305"/>
                    <a:pt x="199" y="305"/>
                    <a:pt x="199" y="306"/>
                  </a:cubicBezTo>
                  <a:cubicBezTo>
                    <a:pt x="198" y="306"/>
                    <a:pt x="198" y="306"/>
                    <a:pt x="198" y="306"/>
                  </a:cubicBezTo>
                  <a:cubicBezTo>
                    <a:pt x="198" y="306"/>
                    <a:pt x="198" y="306"/>
                    <a:pt x="198" y="306"/>
                  </a:cubicBezTo>
                  <a:cubicBezTo>
                    <a:pt x="198" y="307"/>
                    <a:pt x="198" y="307"/>
                    <a:pt x="198" y="308"/>
                  </a:cubicBezTo>
                  <a:cubicBezTo>
                    <a:pt x="197" y="309"/>
                    <a:pt x="198" y="309"/>
                    <a:pt x="198" y="310"/>
                  </a:cubicBezTo>
                  <a:cubicBezTo>
                    <a:pt x="198" y="310"/>
                    <a:pt x="198" y="310"/>
                    <a:pt x="198" y="310"/>
                  </a:cubicBezTo>
                  <a:cubicBezTo>
                    <a:pt x="197" y="310"/>
                    <a:pt x="196" y="310"/>
                    <a:pt x="196" y="311"/>
                  </a:cubicBezTo>
                  <a:cubicBezTo>
                    <a:pt x="196" y="311"/>
                    <a:pt x="196" y="311"/>
                    <a:pt x="195" y="311"/>
                  </a:cubicBezTo>
                  <a:cubicBezTo>
                    <a:pt x="195" y="312"/>
                    <a:pt x="195" y="312"/>
                    <a:pt x="195" y="312"/>
                  </a:cubicBezTo>
                  <a:cubicBezTo>
                    <a:pt x="195" y="312"/>
                    <a:pt x="195" y="312"/>
                    <a:pt x="195" y="313"/>
                  </a:cubicBezTo>
                  <a:cubicBezTo>
                    <a:pt x="194" y="313"/>
                    <a:pt x="194" y="313"/>
                    <a:pt x="194" y="313"/>
                  </a:cubicBezTo>
                  <a:cubicBezTo>
                    <a:pt x="194" y="313"/>
                    <a:pt x="194" y="313"/>
                    <a:pt x="194" y="314"/>
                  </a:cubicBezTo>
                  <a:cubicBezTo>
                    <a:pt x="194" y="314"/>
                    <a:pt x="194" y="314"/>
                    <a:pt x="194" y="314"/>
                  </a:cubicBezTo>
                  <a:cubicBezTo>
                    <a:pt x="194" y="314"/>
                    <a:pt x="194" y="314"/>
                    <a:pt x="194" y="314"/>
                  </a:cubicBezTo>
                  <a:cubicBezTo>
                    <a:pt x="192" y="316"/>
                    <a:pt x="192" y="316"/>
                    <a:pt x="192" y="316"/>
                  </a:cubicBezTo>
                  <a:cubicBezTo>
                    <a:pt x="193" y="316"/>
                    <a:pt x="193" y="316"/>
                    <a:pt x="193" y="316"/>
                  </a:cubicBezTo>
                  <a:cubicBezTo>
                    <a:pt x="193" y="316"/>
                    <a:pt x="193" y="316"/>
                    <a:pt x="193" y="316"/>
                  </a:cubicBezTo>
                  <a:cubicBezTo>
                    <a:pt x="193" y="316"/>
                    <a:pt x="193" y="317"/>
                    <a:pt x="193" y="317"/>
                  </a:cubicBezTo>
                  <a:cubicBezTo>
                    <a:pt x="193" y="317"/>
                    <a:pt x="193" y="317"/>
                    <a:pt x="193" y="316"/>
                  </a:cubicBezTo>
                  <a:cubicBezTo>
                    <a:pt x="193" y="317"/>
                    <a:pt x="193" y="317"/>
                    <a:pt x="193" y="317"/>
                  </a:cubicBezTo>
                  <a:cubicBezTo>
                    <a:pt x="193" y="317"/>
                    <a:pt x="193" y="317"/>
                    <a:pt x="193" y="317"/>
                  </a:cubicBezTo>
                  <a:cubicBezTo>
                    <a:pt x="193" y="317"/>
                    <a:pt x="193" y="317"/>
                    <a:pt x="192" y="317"/>
                  </a:cubicBezTo>
                  <a:cubicBezTo>
                    <a:pt x="192" y="318"/>
                    <a:pt x="192" y="318"/>
                    <a:pt x="192" y="318"/>
                  </a:cubicBezTo>
                  <a:cubicBezTo>
                    <a:pt x="192" y="318"/>
                    <a:pt x="191" y="318"/>
                    <a:pt x="191" y="318"/>
                  </a:cubicBezTo>
                  <a:cubicBezTo>
                    <a:pt x="191" y="318"/>
                    <a:pt x="191" y="319"/>
                    <a:pt x="191" y="319"/>
                  </a:cubicBezTo>
                  <a:cubicBezTo>
                    <a:pt x="191" y="319"/>
                    <a:pt x="190" y="319"/>
                    <a:pt x="190" y="319"/>
                  </a:cubicBezTo>
                  <a:cubicBezTo>
                    <a:pt x="190" y="319"/>
                    <a:pt x="190" y="319"/>
                    <a:pt x="190" y="319"/>
                  </a:cubicBezTo>
                  <a:cubicBezTo>
                    <a:pt x="190" y="318"/>
                    <a:pt x="190" y="318"/>
                    <a:pt x="190" y="318"/>
                  </a:cubicBezTo>
                  <a:cubicBezTo>
                    <a:pt x="190" y="318"/>
                    <a:pt x="190" y="318"/>
                    <a:pt x="190" y="318"/>
                  </a:cubicBezTo>
                  <a:cubicBezTo>
                    <a:pt x="190" y="318"/>
                    <a:pt x="190" y="317"/>
                    <a:pt x="191" y="317"/>
                  </a:cubicBezTo>
                  <a:cubicBezTo>
                    <a:pt x="191" y="316"/>
                    <a:pt x="191" y="316"/>
                    <a:pt x="191" y="315"/>
                  </a:cubicBezTo>
                  <a:cubicBezTo>
                    <a:pt x="191" y="315"/>
                    <a:pt x="191" y="314"/>
                    <a:pt x="191" y="314"/>
                  </a:cubicBezTo>
                  <a:cubicBezTo>
                    <a:pt x="190" y="313"/>
                    <a:pt x="189" y="313"/>
                    <a:pt x="188" y="313"/>
                  </a:cubicBezTo>
                  <a:cubicBezTo>
                    <a:pt x="188" y="313"/>
                    <a:pt x="188" y="313"/>
                    <a:pt x="188" y="313"/>
                  </a:cubicBezTo>
                  <a:cubicBezTo>
                    <a:pt x="187" y="313"/>
                    <a:pt x="187" y="313"/>
                    <a:pt x="186" y="313"/>
                  </a:cubicBezTo>
                  <a:cubicBezTo>
                    <a:pt x="186" y="313"/>
                    <a:pt x="186" y="313"/>
                    <a:pt x="186" y="313"/>
                  </a:cubicBezTo>
                  <a:cubicBezTo>
                    <a:pt x="185" y="313"/>
                    <a:pt x="185" y="312"/>
                    <a:pt x="184" y="312"/>
                  </a:cubicBezTo>
                  <a:cubicBezTo>
                    <a:pt x="184" y="312"/>
                    <a:pt x="184" y="311"/>
                    <a:pt x="184" y="311"/>
                  </a:cubicBezTo>
                  <a:cubicBezTo>
                    <a:pt x="184" y="310"/>
                    <a:pt x="183" y="310"/>
                    <a:pt x="183" y="309"/>
                  </a:cubicBezTo>
                  <a:cubicBezTo>
                    <a:pt x="182" y="309"/>
                    <a:pt x="182" y="308"/>
                    <a:pt x="181" y="308"/>
                  </a:cubicBezTo>
                  <a:cubicBezTo>
                    <a:pt x="181" y="308"/>
                    <a:pt x="181" y="308"/>
                    <a:pt x="181" y="308"/>
                  </a:cubicBezTo>
                  <a:cubicBezTo>
                    <a:pt x="180" y="309"/>
                    <a:pt x="179" y="309"/>
                    <a:pt x="179" y="310"/>
                  </a:cubicBezTo>
                  <a:cubicBezTo>
                    <a:pt x="179" y="310"/>
                    <a:pt x="179" y="310"/>
                    <a:pt x="179" y="310"/>
                  </a:cubicBezTo>
                  <a:cubicBezTo>
                    <a:pt x="179" y="311"/>
                    <a:pt x="179" y="311"/>
                    <a:pt x="179" y="311"/>
                  </a:cubicBezTo>
                  <a:cubicBezTo>
                    <a:pt x="178" y="311"/>
                    <a:pt x="178" y="312"/>
                    <a:pt x="178" y="312"/>
                  </a:cubicBezTo>
                  <a:cubicBezTo>
                    <a:pt x="177" y="312"/>
                    <a:pt x="177" y="312"/>
                    <a:pt x="177" y="312"/>
                  </a:cubicBezTo>
                  <a:cubicBezTo>
                    <a:pt x="177" y="312"/>
                    <a:pt x="176" y="313"/>
                    <a:pt x="176" y="313"/>
                  </a:cubicBezTo>
                  <a:cubicBezTo>
                    <a:pt x="176" y="314"/>
                    <a:pt x="176" y="314"/>
                    <a:pt x="176" y="314"/>
                  </a:cubicBezTo>
                  <a:cubicBezTo>
                    <a:pt x="176" y="315"/>
                    <a:pt x="176" y="315"/>
                    <a:pt x="176" y="315"/>
                  </a:cubicBezTo>
                  <a:cubicBezTo>
                    <a:pt x="176" y="316"/>
                    <a:pt x="176" y="316"/>
                    <a:pt x="176" y="316"/>
                  </a:cubicBezTo>
                  <a:cubicBezTo>
                    <a:pt x="175" y="317"/>
                    <a:pt x="175" y="317"/>
                    <a:pt x="175" y="317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5" y="318"/>
                    <a:pt x="175" y="318"/>
                    <a:pt x="175" y="318"/>
                  </a:cubicBezTo>
                  <a:cubicBezTo>
                    <a:pt x="175" y="319"/>
                    <a:pt x="175" y="319"/>
                    <a:pt x="175" y="319"/>
                  </a:cubicBezTo>
                  <a:cubicBezTo>
                    <a:pt x="174" y="319"/>
                    <a:pt x="174" y="319"/>
                    <a:pt x="174" y="319"/>
                  </a:cubicBezTo>
                  <a:cubicBezTo>
                    <a:pt x="174" y="319"/>
                    <a:pt x="174" y="319"/>
                    <a:pt x="174" y="319"/>
                  </a:cubicBezTo>
                  <a:cubicBezTo>
                    <a:pt x="173" y="320"/>
                    <a:pt x="173" y="320"/>
                    <a:pt x="173" y="320"/>
                  </a:cubicBezTo>
                  <a:cubicBezTo>
                    <a:pt x="173" y="321"/>
                    <a:pt x="173" y="321"/>
                    <a:pt x="173" y="321"/>
                  </a:cubicBezTo>
                  <a:cubicBezTo>
                    <a:pt x="173" y="321"/>
                    <a:pt x="173" y="322"/>
                    <a:pt x="173" y="322"/>
                  </a:cubicBezTo>
                  <a:cubicBezTo>
                    <a:pt x="173" y="322"/>
                    <a:pt x="172" y="322"/>
                    <a:pt x="172" y="323"/>
                  </a:cubicBezTo>
                  <a:cubicBezTo>
                    <a:pt x="172" y="323"/>
                    <a:pt x="172" y="323"/>
                    <a:pt x="172" y="323"/>
                  </a:cubicBezTo>
                  <a:cubicBezTo>
                    <a:pt x="172" y="323"/>
                    <a:pt x="172" y="323"/>
                    <a:pt x="172" y="323"/>
                  </a:cubicBezTo>
                  <a:cubicBezTo>
                    <a:pt x="171" y="323"/>
                    <a:pt x="171" y="324"/>
                    <a:pt x="171" y="324"/>
                  </a:cubicBezTo>
                  <a:cubicBezTo>
                    <a:pt x="171" y="324"/>
                    <a:pt x="171" y="324"/>
                    <a:pt x="171" y="325"/>
                  </a:cubicBezTo>
                  <a:cubicBezTo>
                    <a:pt x="170" y="325"/>
                    <a:pt x="170" y="326"/>
                    <a:pt x="170" y="327"/>
                  </a:cubicBezTo>
                  <a:cubicBezTo>
                    <a:pt x="170" y="327"/>
                    <a:pt x="170" y="327"/>
                    <a:pt x="171" y="327"/>
                  </a:cubicBezTo>
                  <a:cubicBezTo>
                    <a:pt x="170" y="327"/>
                    <a:pt x="170" y="327"/>
                    <a:pt x="170" y="327"/>
                  </a:cubicBezTo>
                  <a:cubicBezTo>
                    <a:pt x="169" y="327"/>
                    <a:pt x="168" y="328"/>
                    <a:pt x="168" y="329"/>
                  </a:cubicBezTo>
                  <a:cubicBezTo>
                    <a:pt x="168" y="329"/>
                    <a:pt x="167" y="329"/>
                    <a:pt x="167" y="330"/>
                  </a:cubicBezTo>
                  <a:cubicBezTo>
                    <a:pt x="167" y="330"/>
                    <a:pt x="167" y="331"/>
                    <a:pt x="167" y="331"/>
                  </a:cubicBezTo>
                  <a:cubicBezTo>
                    <a:pt x="167" y="330"/>
                    <a:pt x="166" y="331"/>
                    <a:pt x="166" y="331"/>
                  </a:cubicBezTo>
                  <a:cubicBezTo>
                    <a:pt x="165" y="331"/>
                    <a:pt x="165" y="331"/>
                    <a:pt x="165" y="332"/>
                  </a:cubicBezTo>
                  <a:cubicBezTo>
                    <a:pt x="165" y="332"/>
                    <a:pt x="165" y="332"/>
                    <a:pt x="164" y="333"/>
                  </a:cubicBezTo>
                  <a:cubicBezTo>
                    <a:pt x="164" y="333"/>
                    <a:pt x="164" y="333"/>
                    <a:pt x="164" y="333"/>
                  </a:cubicBezTo>
                  <a:cubicBezTo>
                    <a:pt x="163" y="333"/>
                    <a:pt x="163" y="334"/>
                    <a:pt x="163" y="335"/>
                  </a:cubicBezTo>
                  <a:cubicBezTo>
                    <a:pt x="163" y="335"/>
                    <a:pt x="163" y="335"/>
                    <a:pt x="163" y="335"/>
                  </a:cubicBezTo>
                  <a:cubicBezTo>
                    <a:pt x="163" y="335"/>
                    <a:pt x="163" y="336"/>
                    <a:pt x="163" y="336"/>
                  </a:cubicBezTo>
                  <a:cubicBezTo>
                    <a:pt x="162" y="336"/>
                    <a:pt x="162" y="337"/>
                    <a:pt x="161" y="337"/>
                  </a:cubicBezTo>
                  <a:cubicBezTo>
                    <a:pt x="161" y="337"/>
                    <a:pt x="161" y="338"/>
                    <a:pt x="161" y="338"/>
                  </a:cubicBezTo>
                  <a:cubicBezTo>
                    <a:pt x="160" y="338"/>
                    <a:pt x="160" y="338"/>
                    <a:pt x="160" y="339"/>
                  </a:cubicBezTo>
                  <a:cubicBezTo>
                    <a:pt x="160" y="339"/>
                    <a:pt x="160" y="339"/>
                    <a:pt x="160" y="339"/>
                  </a:cubicBezTo>
                  <a:cubicBezTo>
                    <a:pt x="160" y="340"/>
                    <a:pt x="160" y="340"/>
                    <a:pt x="160" y="340"/>
                  </a:cubicBezTo>
                  <a:cubicBezTo>
                    <a:pt x="161" y="340"/>
                    <a:pt x="161" y="340"/>
                    <a:pt x="161" y="340"/>
                  </a:cubicBezTo>
                  <a:cubicBezTo>
                    <a:pt x="161" y="340"/>
                    <a:pt x="161" y="340"/>
                    <a:pt x="161" y="340"/>
                  </a:cubicBezTo>
                  <a:cubicBezTo>
                    <a:pt x="159" y="340"/>
                    <a:pt x="159" y="340"/>
                    <a:pt x="159" y="340"/>
                  </a:cubicBezTo>
                  <a:cubicBezTo>
                    <a:pt x="159" y="340"/>
                    <a:pt x="159" y="340"/>
                    <a:pt x="159" y="341"/>
                  </a:cubicBezTo>
                  <a:cubicBezTo>
                    <a:pt x="159" y="341"/>
                    <a:pt x="159" y="341"/>
                    <a:pt x="158" y="341"/>
                  </a:cubicBezTo>
                  <a:cubicBezTo>
                    <a:pt x="158" y="342"/>
                    <a:pt x="158" y="342"/>
                    <a:pt x="158" y="342"/>
                  </a:cubicBezTo>
                  <a:cubicBezTo>
                    <a:pt x="157" y="342"/>
                    <a:pt x="157" y="342"/>
                    <a:pt x="157" y="342"/>
                  </a:cubicBezTo>
                  <a:cubicBezTo>
                    <a:pt x="157" y="343"/>
                    <a:pt x="157" y="343"/>
                    <a:pt x="156" y="343"/>
                  </a:cubicBezTo>
                  <a:cubicBezTo>
                    <a:pt x="156" y="344"/>
                    <a:pt x="156" y="344"/>
                    <a:pt x="156" y="345"/>
                  </a:cubicBezTo>
                  <a:cubicBezTo>
                    <a:pt x="156" y="345"/>
                    <a:pt x="156" y="345"/>
                    <a:pt x="156" y="345"/>
                  </a:cubicBezTo>
                  <a:cubicBezTo>
                    <a:pt x="155" y="345"/>
                    <a:pt x="155" y="345"/>
                    <a:pt x="155" y="346"/>
                  </a:cubicBezTo>
                  <a:cubicBezTo>
                    <a:pt x="155" y="346"/>
                    <a:pt x="154" y="346"/>
                    <a:pt x="154" y="346"/>
                  </a:cubicBezTo>
                  <a:cubicBezTo>
                    <a:pt x="154" y="346"/>
                    <a:pt x="154" y="346"/>
                    <a:pt x="154" y="346"/>
                  </a:cubicBezTo>
                  <a:cubicBezTo>
                    <a:pt x="154" y="346"/>
                    <a:pt x="153" y="346"/>
                    <a:pt x="153" y="346"/>
                  </a:cubicBezTo>
                  <a:cubicBezTo>
                    <a:pt x="152" y="347"/>
                    <a:pt x="152" y="347"/>
                    <a:pt x="152" y="348"/>
                  </a:cubicBezTo>
                  <a:cubicBezTo>
                    <a:pt x="152" y="348"/>
                    <a:pt x="152" y="348"/>
                    <a:pt x="151" y="348"/>
                  </a:cubicBezTo>
                  <a:cubicBezTo>
                    <a:pt x="151" y="349"/>
                    <a:pt x="151" y="349"/>
                    <a:pt x="151" y="349"/>
                  </a:cubicBezTo>
                  <a:cubicBezTo>
                    <a:pt x="151" y="349"/>
                    <a:pt x="151" y="349"/>
                    <a:pt x="151" y="350"/>
                  </a:cubicBezTo>
                  <a:cubicBezTo>
                    <a:pt x="150" y="350"/>
                    <a:pt x="150" y="350"/>
                    <a:pt x="150" y="351"/>
                  </a:cubicBezTo>
                  <a:cubicBezTo>
                    <a:pt x="150" y="351"/>
                    <a:pt x="150" y="351"/>
                    <a:pt x="150" y="351"/>
                  </a:cubicBezTo>
                  <a:cubicBezTo>
                    <a:pt x="150" y="351"/>
                    <a:pt x="149" y="351"/>
                    <a:pt x="149" y="352"/>
                  </a:cubicBezTo>
                  <a:cubicBezTo>
                    <a:pt x="149" y="352"/>
                    <a:pt x="149" y="352"/>
                    <a:pt x="149" y="353"/>
                  </a:cubicBezTo>
                  <a:cubicBezTo>
                    <a:pt x="149" y="353"/>
                    <a:pt x="149" y="353"/>
                    <a:pt x="148" y="353"/>
                  </a:cubicBezTo>
                  <a:cubicBezTo>
                    <a:pt x="148" y="353"/>
                    <a:pt x="148" y="353"/>
                    <a:pt x="148" y="353"/>
                  </a:cubicBezTo>
                  <a:cubicBezTo>
                    <a:pt x="148" y="354"/>
                    <a:pt x="148" y="354"/>
                    <a:pt x="148" y="354"/>
                  </a:cubicBezTo>
                  <a:cubicBezTo>
                    <a:pt x="148" y="354"/>
                    <a:pt x="148" y="354"/>
                    <a:pt x="148" y="354"/>
                  </a:cubicBezTo>
                  <a:cubicBezTo>
                    <a:pt x="148" y="354"/>
                    <a:pt x="147" y="354"/>
                    <a:pt x="147" y="354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6" y="356"/>
                    <a:pt x="146" y="356"/>
                    <a:pt x="146" y="356"/>
                  </a:cubicBezTo>
                  <a:cubicBezTo>
                    <a:pt x="146" y="356"/>
                    <a:pt x="146" y="356"/>
                    <a:pt x="146" y="356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4" y="358"/>
                    <a:pt x="144" y="358"/>
                    <a:pt x="144" y="358"/>
                  </a:cubicBezTo>
                  <a:cubicBezTo>
                    <a:pt x="143" y="359"/>
                    <a:pt x="143" y="359"/>
                    <a:pt x="143" y="359"/>
                  </a:cubicBezTo>
                  <a:cubicBezTo>
                    <a:pt x="143" y="359"/>
                    <a:pt x="143" y="359"/>
                    <a:pt x="143" y="360"/>
                  </a:cubicBezTo>
                  <a:cubicBezTo>
                    <a:pt x="142" y="360"/>
                    <a:pt x="142" y="360"/>
                    <a:pt x="142" y="360"/>
                  </a:cubicBezTo>
                  <a:cubicBezTo>
                    <a:pt x="141" y="361"/>
                    <a:pt x="141" y="361"/>
                    <a:pt x="141" y="361"/>
                  </a:cubicBezTo>
                  <a:cubicBezTo>
                    <a:pt x="141" y="361"/>
                    <a:pt x="141" y="361"/>
                    <a:pt x="141" y="361"/>
                  </a:cubicBezTo>
                  <a:cubicBezTo>
                    <a:pt x="141" y="361"/>
                    <a:pt x="141" y="362"/>
                    <a:pt x="141" y="362"/>
                  </a:cubicBezTo>
                  <a:cubicBezTo>
                    <a:pt x="140" y="362"/>
                    <a:pt x="140" y="362"/>
                    <a:pt x="140" y="362"/>
                  </a:cubicBezTo>
                  <a:cubicBezTo>
                    <a:pt x="140" y="362"/>
                    <a:pt x="140" y="363"/>
                    <a:pt x="139" y="363"/>
                  </a:cubicBezTo>
                  <a:cubicBezTo>
                    <a:pt x="139" y="363"/>
                    <a:pt x="139" y="363"/>
                    <a:pt x="139" y="363"/>
                  </a:cubicBezTo>
                  <a:cubicBezTo>
                    <a:pt x="139" y="363"/>
                    <a:pt x="138" y="364"/>
                    <a:pt x="138" y="364"/>
                  </a:cubicBezTo>
                  <a:cubicBezTo>
                    <a:pt x="138" y="364"/>
                    <a:pt x="138" y="364"/>
                    <a:pt x="138" y="364"/>
                  </a:cubicBezTo>
                  <a:cubicBezTo>
                    <a:pt x="138" y="364"/>
                    <a:pt x="137" y="365"/>
                    <a:pt x="137" y="365"/>
                  </a:cubicBezTo>
                  <a:cubicBezTo>
                    <a:pt x="135" y="366"/>
                    <a:pt x="135" y="366"/>
                    <a:pt x="135" y="366"/>
                  </a:cubicBezTo>
                  <a:cubicBezTo>
                    <a:pt x="135" y="366"/>
                    <a:pt x="135" y="367"/>
                    <a:pt x="135" y="367"/>
                  </a:cubicBezTo>
                  <a:cubicBezTo>
                    <a:pt x="134" y="367"/>
                    <a:pt x="134" y="367"/>
                    <a:pt x="134" y="368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8"/>
                    <a:pt x="134" y="368"/>
                    <a:pt x="134" y="368"/>
                  </a:cubicBezTo>
                  <a:cubicBezTo>
                    <a:pt x="134" y="369"/>
                    <a:pt x="133" y="369"/>
                    <a:pt x="133" y="369"/>
                  </a:cubicBezTo>
                  <a:cubicBezTo>
                    <a:pt x="133" y="369"/>
                    <a:pt x="133" y="369"/>
                    <a:pt x="132" y="370"/>
                  </a:cubicBezTo>
                  <a:cubicBezTo>
                    <a:pt x="132" y="370"/>
                    <a:pt x="132" y="370"/>
                    <a:pt x="132" y="370"/>
                  </a:cubicBezTo>
                  <a:cubicBezTo>
                    <a:pt x="132" y="370"/>
                    <a:pt x="132" y="370"/>
                    <a:pt x="132" y="370"/>
                  </a:cubicBezTo>
                  <a:cubicBezTo>
                    <a:pt x="132" y="370"/>
                    <a:pt x="132" y="371"/>
                    <a:pt x="132" y="371"/>
                  </a:cubicBezTo>
                  <a:cubicBezTo>
                    <a:pt x="131" y="371"/>
                    <a:pt x="131" y="371"/>
                    <a:pt x="131" y="371"/>
                  </a:cubicBezTo>
                  <a:cubicBezTo>
                    <a:pt x="131" y="372"/>
                    <a:pt x="130" y="372"/>
                    <a:pt x="130" y="372"/>
                  </a:cubicBezTo>
                  <a:cubicBezTo>
                    <a:pt x="130" y="372"/>
                    <a:pt x="130" y="373"/>
                    <a:pt x="130" y="373"/>
                  </a:cubicBezTo>
                  <a:cubicBezTo>
                    <a:pt x="129" y="373"/>
                    <a:pt x="129" y="373"/>
                    <a:pt x="129" y="373"/>
                  </a:cubicBezTo>
                  <a:cubicBezTo>
                    <a:pt x="129" y="374"/>
                    <a:pt x="128" y="374"/>
                    <a:pt x="128" y="375"/>
                  </a:cubicBezTo>
                  <a:cubicBezTo>
                    <a:pt x="128" y="375"/>
                    <a:pt x="128" y="375"/>
                    <a:pt x="128" y="375"/>
                  </a:cubicBezTo>
                  <a:cubicBezTo>
                    <a:pt x="127" y="376"/>
                    <a:pt x="127" y="376"/>
                    <a:pt x="127" y="377"/>
                  </a:cubicBezTo>
                  <a:cubicBezTo>
                    <a:pt x="127" y="377"/>
                    <a:pt x="127" y="377"/>
                    <a:pt x="127" y="377"/>
                  </a:cubicBezTo>
                  <a:cubicBezTo>
                    <a:pt x="127" y="377"/>
                    <a:pt x="127" y="377"/>
                    <a:pt x="127" y="377"/>
                  </a:cubicBezTo>
                  <a:cubicBezTo>
                    <a:pt x="127" y="377"/>
                    <a:pt x="127" y="378"/>
                    <a:pt x="127" y="378"/>
                  </a:cubicBezTo>
                  <a:cubicBezTo>
                    <a:pt x="126" y="378"/>
                    <a:pt x="126" y="379"/>
                    <a:pt x="125" y="380"/>
                  </a:cubicBezTo>
                  <a:cubicBezTo>
                    <a:pt x="125" y="380"/>
                    <a:pt x="125" y="380"/>
                    <a:pt x="125" y="380"/>
                  </a:cubicBezTo>
                  <a:cubicBezTo>
                    <a:pt x="125" y="381"/>
                    <a:pt x="124" y="381"/>
                    <a:pt x="124" y="382"/>
                  </a:cubicBezTo>
                  <a:cubicBezTo>
                    <a:pt x="124" y="382"/>
                    <a:pt x="124" y="383"/>
                    <a:pt x="124" y="383"/>
                  </a:cubicBezTo>
                  <a:cubicBezTo>
                    <a:pt x="123" y="383"/>
                    <a:pt x="123" y="384"/>
                    <a:pt x="123" y="384"/>
                  </a:cubicBezTo>
                  <a:cubicBezTo>
                    <a:pt x="123" y="384"/>
                    <a:pt x="123" y="385"/>
                    <a:pt x="123" y="385"/>
                  </a:cubicBezTo>
                  <a:cubicBezTo>
                    <a:pt x="123" y="385"/>
                    <a:pt x="122" y="385"/>
                    <a:pt x="122" y="386"/>
                  </a:cubicBezTo>
                  <a:cubicBezTo>
                    <a:pt x="122" y="386"/>
                    <a:pt x="122" y="386"/>
                    <a:pt x="122" y="386"/>
                  </a:cubicBezTo>
                  <a:cubicBezTo>
                    <a:pt x="122" y="386"/>
                    <a:pt x="121" y="387"/>
                    <a:pt x="121" y="387"/>
                  </a:cubicBezTo>
                  <a:cubicBezTo>
                    <a:pt x="121" y="388"/>
                    <a:pt x="121" y="388"/>
                    <a:pt x="121" y="388"/>
                  </a:cubicBezTo>
                  <a:cubicBezTo>
                    <a:pt x="120" y="389"/>
                    <a:pt x="120" y="389"/>
                    <a:pt x="120" y="389"/>
                  </a:cubicBezTo>
                  <a:cubicBezTo>
                    <a:pt x="120" y="389"/>
                    <a:pt x="120" y="389"/>
                    <a:pt x="119" y="390"/>
                  </a:cubicBezTo>
                  <a:cubicBezTo>
                    <a:pt x="119" y="390"/>
                    <a:pt x="119" y="391"/>
                    <a:pt x="118" y="392"/>
                  </a:cubicBezTo>
                  <a:cubicBezTo>
                    <a:pt x="118" y="392"/>
                    <a:pt x="118" y="392"/>
                    <a:pt x="118" y="392"/>
                  </a:cubicBezTo>
                  <a:cubicBezTo>
                    <a:pt x="118" y="393"/>
                    <a:pt x="118" y="393"/>
                    <a:pt x="118" y="393"/>
                  </a:cubicBezTo>
                  <a:cubicBezTo>
                    <a:pt x="117" y="394"/>
                    <a:pt x="117" y="394"/>
                    <a:pt x="117" y="394"/>
                  </a:cubicBezTo>
                  <a:cubicBezTo>
                    <a:pt x="116" y="395"/>
                    <a:pt x="116" y="395"/>
                    <a:pt x="116" y="395"/>
                  </a:cubicBezTo>
                  <a:cubicBezTo>
                    <a:pt x="115" y="395"/>
                    <a:pt x="115" y="395"/>
                    <a:pt x="114" y="396"/>
                  </a:cubicBezTo>
                  <a:cubicBezTo>
                    <a:pt x="114" y="396"/>
                    <a:pt x="114" y="396"/>
                    <a:pt x="114" y="396"/>
                  </a:cubicBezTo>
                  <a:cubicBezTo>
                    <a:pt x="114" y="396"/>
                    <a:pt x="113" y="396"/>
                    <a:pt x="113" y="396"/>
                  </a:cubicBezTo>
                  <a:cubicBezTo>
                    <a:pt x="112" y="397"/>
                    <a:pt x="112" y="398"/>
                    <a:pt x="112" y="399"/>
                  </a:cubicBezTo>
                  <a:cubicBezTo>
                    <a:pt x="112" y="399"/>
                    <a:pt x="112" y="399"/>
                    <a:pt x="111" y="399"/>
                  </a:cubicBezTo>
                  <a:cubicBezTo>
                    <a:pt x="111" y="400"/>
                    <a:pt x="110" y="400"/>
                    <a:pt x="110" y="401"/>
                  </a:cubicBezTo>
                  <a:cubicBezTo>
                    <a:pt x="110" y="401"/>
                    <a:pt x="110" y="401"/>
                    <a:pt x="110" y="401"/>
                  </a:cubicBezTo>
                  <a:cubicBezTo>
                    <a:pt x="110" y="402"/>
                    <a:pt x="110" y="402"/>
                    <a:pt x="110" y="402"/>
                  </a:cubicBezTo>
                  <a:cubicBezTo>
                    <a:pt x="110" y="402"/>
                    <a:pt x="110" y="402"/>
                    <a:pt x="109" y="402"/>
                  </a:cubicBezTo>
                  <a:cubicBezTo>
                    <a:pt x="109" y="402"/>
                    <a:pt x="109" y="402"/>
                    <a:pt x="109" y="403"/>
                  </a:cubicBezTo>
                  <a:cubicBezTo>
                    <a:pt x="109" y="403"/>
                    <a:pt x="109" y="403"/>
                    <a:pt x="108" y="403"/>
                  </a:cubicBezTo>
                  <a:cubicBezTo>
                    <a:pt x="108" y="403"/>
                    <a:pt x="108" y="403"/>
                    <a:pt x="108" y="404"/>
                  </a:cubicBezTo>
                  <a:cubicBezTo>
                    <a:pt x="107" y="404"/>
                    <a:pt x="107" y="404"/>
                    <a:pt x="107" y="405"/>
                  </a:cubicBezTo>
                  <a:cubicBezTo>
                    <a:pt x="107" y="405"/>
                    <a:pt x="107" y="405"/>
                    <a:pt x="107" y="405"/>
                  </a:cubicBezTo>
                  <a:cubicBezTo>
                    <a:pt x="107" y="406"/>
                    <a:pt x="107" y="406"/>
                    <a:pt x="107" y="406"/>
                  </a:cubicBezTo>
                  <a:cubicBezTo>
                    <a:pt x="107" y="406"/>
                    <a:pt x="107" y="406"/>
                    <a:pt x="107" y="407"/>
                  </a:cubicBezTo>
                  <a:cubicBezTo>
                    <a:pt x="107" y="407"/>
                    <a:pt x="107" y="407"/>
                    <a:pt x="107" y="407"/>
                  </a:cubicBezTo>
                  <a:cubicBezTo>
                    <a:pt x="107" y="408"/>
                    <a:pt x="107" y="408"/>
                    <a:pt x="107" y="408"/>
                  </a:cubicBezTo>
                  <a:cubicBezTo>
                    <a:pt x="107" y="409"/>
                    <a:pt x="107" y="409"/>
                    <a:pt x="107" y="409"/>
                  </a:cubicBezTo>
                  <a:cubicBezTo>
                    <a:pt x="107" y="409"/>
                    <a:pt x="107" y="410"/>
                    <a:pt x="107" y="410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08" y="410"/>
                    <a:pt x="108" y="410"/>
                    <a:pt x="108" y="410"/>
                  </a:cubicBezTo>
                  <a:cubicBezTo>
                    <a:pt x="107" y="411"/>
                    <a:pt x="107" y="411"/>
                    <a:pt x="107" y="411"/>
                  </a:cubicBezTo>
                  <a:cubicBezTo>
                    <a:pt x="107" y="411"/>
                    <a:pt x="107" y="411"/>
                    <a:pt x="107" y="411"/>
                  </a:cubicBezTo>
                  <a:cubicBezTo>
                    <a:pt x="107" y="411"/>
                    <a:pt x="107" y="411"/>
                    <a:pt x="107" y="411"/>
                  </a:cubicBezTo>
                  <a:cubicBezTo>
                    <a:pt x="107" y="412"/>
                    <a:pt x="106" y="412"/>
                    <a:pt x="106" y="413"/>
                  </a:cubicBezTo>
                  <a:cubicBezTo>
                    <a:pt x="106" y="413"/>
                    <a:pt x="106" y="413"/>
                    <a:pt x="105" y="413"/>
                  </a:cubicBezTo>
                  <a:cubicBezTo>
                    <a:pt x="105" y="414"/>
                    <a:pt x="105" y="414"/>
                    <a:pt x="105" y="414"/>
                  </a:cubicBezTo>
                  <a:cubicBezTo>
                    <a:pt x="104" y="414"/>
                    <a:pt x="104" y="415"/>
                    <a:pt x="104" y="415"/>
                  </a:cubicBezTo>
                  <a:cubicBezTo>
                    <a:pt x="104" y="416"/>
                    <a:pt x="104" y="416"/>
                    <a:pt x="104" y="416"/>
                  </a:cubicBezTo>
                  <a:cubicBezTo>
                    <a:pt x="104" y="416"/>
                    <a:pt x="103" y="417"/>
                    <a:pt x="103" y="417"/>
                  </a:cubicBezTo>
                  <a:cubicBezTo>
                    <a:pt x="104" y="417"/>
                    <a:pt x="104" y="417"/>
                    <a:pt x="104" y="417"/>
                  </a:cubicBezTo>
                  <a:cubicBezTo>
                    <a:pt x="103" y="417"/>
                    <a:pt x="103" y="417"/>
                    <a:pt x="103" y="417"/>
                  </a:cubicBezTo>
                  <a:cubicBezTo>
                    <a:pt x="103" y="418"/>
                    <a:pt x="103" y="418"/>
                    <a:pt x="103" y="418"/>
                  </a:cubicBezTo>
                  <a:cubicBezTo>
                    <a:pt x="103" y="418"/>
                    <a:pt x="103" y="419"/>
                    <a:pt x="103" y="419"/>
                  </a:cubicBezTo>
                  <a:cubicBezTo>
                    <a:pt x="103" y="420"/>
                    <a:pt x="103" y="420"/>
                    <a:pt x="103" y="420"/>
                  </a:cubicBezTo>
                  <a:cubicBezTo>
                    <a:pt x="103" y="420"/>
                    <a:pt x="103" y="420"/>
                    <a:pt x="103" y="420"/>
                  </a:cubicBezTo>
                  <a:cubicBezTo>
                    <a:pt x="103" y="421"/>
                    <a:pt x="103" y="421"/>
                    <a:pt x="103" y="421"/>
                  </a:cubicBezTo>
                  <a:cubicBezTo>
                    <a:pt x="103" y="421"/>
                    <a:pt x="103" y="421"/>
                    <a:pt x="102" y="421"/>
                  </a:cubicBezTo>
                  <a:cubicBezTo>
                    <a:pt x="102" y="421"/>
                    <a:pt x="102" y="422"/>
                    <a:pt x="102" y="422"/>
                  </a:cubicBezTo>
                  <a:cubicBezTo>
                    <a:pt x="102" y="422"/>
                    <a:pt x="102" y="422"/>
                    <a:pt x="102" y="422"/>
                  </a:cubicBezTo>
                  <a:cubicBezTo>
                    <a:pt x="101" y="423"/>
                    <a:pt x="101" y="423"/>
                    <a:pt x="101" y="424"/>
                  </a:cubicBezTo>
                  <a:cubicBezTo>
                    <a:pt x="101" y="424"/>
                    <a:pt x="101" y="424"/>
                    <a:pt x="101" y="424"/>
                  </a:cubicBezTo>
                  <a:cubicBezTo>
                    <a:pt x="100" y="424"/>
                    <a:pt x="100" y="425"/>
                    <a:pt x="100" y="425"/>
                  </a:cubicBezTo>
                  <a:cubicBezTo>
                    <a:pt x="100" y="425"/>
                    <a:pt x="100" y="425"/>
                    <a:pt x="100" y="425"/>
                  </a:cubicBezTo>
                  <a:cubicBezTo>
                    <a:pt x="100" y="426"/>
                    <a:pt x="100" y="426"/>
                    <a:pt x="100" y="427"/>
                  </a:cubicBezTo>
                  <a:cubicBezTo>
                    <a:pt x="100" y="428"/>
                    <a:pt x="100" y="428"/>
                    <a:pt x="100" y="428"/>
                  </a:cubicBezTo>
                  <a:cubicBezTo>
                    <a:pt x="100" y="428"/>
                    <a:pt x="100" y="428"/>
                    <a:pt x="100" y="429"/>
                  </a:cubicBezTo>
                  <a:cubicBezTo>
                    <a:pt x="100" y="429"/>
                    <a:pt x="100" y="429"/>
                    <a:pt x="100" y="429"/>
                  </a:cubicBezTo>
                  <a:cubicBezTo>
                    <a:pt x="100" y="430"/>
                    <a:pt x="100" y="430"/>
                    <a:pt x="100" y="430"/>
                  </a:cubicBezTo>
                  <a:cubicBezTo>
                    <a:pt x="100" y="430"/>
                    <a:pt x="100" y="430"/>
                    <a:pt x="100" y="430"/>
                  </a:cubicBezTo>
                  <a:cubicBezTo>
                    <a:pt x="100" y="430"/>
                    <a:pt x="100" y="430"/>
                    <a:pt x="100" y="431"/>
                  </a:cubicBezTo>
                  <a:cubicBezTo>
                    <a:pt x="100" y="431"/>
                    <a:pt x="100" y="431"/>
                    <a:pt x="100" y="431"/>
                  </a:cubicBezTo>
                  <a:cubicBezTo>
                    <a:pt x="99" y="431"/>
                    <a:pt x="99" y="431"/>
                    <a:pt x="99" y="431"/>
                  </a:cubicBezTo>
                  <a:cubicBezTo>
                    <a:pt x="99" y="432"/>
                    <a:pt x="99" y="432"/>
                    <a:pt x="99" y="433"/>
                  </a:cubicBezTo>
                  <a:cubicBezTo>
                    <a:pt x="99" y="433"/>
                    <a:pt x="99" y="433"/>
                    <a:pt x="99" y="433"/>
                  </a:cubicBezTo>
                  <a:cubicBezTo>
                    <a:pt x="99" y="433"/>
                    <a:pt x="98" y="434"/>
                    <a:pt x="98" y="434"/>
                  </a:cubicBezTo>
                  <a:cubicBezTo>
                    <a:pt x="97" y="436"/>
                    <a:pt x="98" y="436"/>
                    <a:pt x="98" y="437"/>
                  </a:cubicBezTo>
                  <a:cubicBezTo>
                    <a:pt x="99" y="437"/>
                    <a:pt x="99" y="437"/>
                    <a:pt x="99" y="437"/>
                  </a:cubicBezTo>
                  <a:cubicBezTo>
                    <a:pt x="100" y="436"/>
                    <a:pt x="100" y="436"/>
                    <a:pt x="100" y="436"/>
                  </a:cubicBezTo>
                  <a:cubicBezTo>
                    <a:pt x="100" y="436"/>
                    <a:pt x="100" y="436"/>
                    <a:pt x="100" y="436"/>
                  </a:cubicBezTo>
                  <a:cubicBezTo>
                    <a:pt x="99" y="437"/>
                    <a:pt x="99" y="437"/>
                    <a:pt x="99" y="437"/>
                  </a:cubicBezTo>
                  <a:cubicBezTo>
                    <a:pt x="99" y="437"/>
                    <a:pt x="99" y="438"/>
                    <a:pt x="99" y="438"/>
                  </a:cubicBezTo>
                  <a:cubicBezTo>
                    <a:pt x="99" y="438"/>
                    <a:pt x="99" y="438"/>
                    <a:pt x="99" y="438"/>
                  </a:cubicBezTo>
                  <a:cubicBezTo>
                    <a:pt x="99" y="439"/>
                    <a:pt x="99" y="439"/>
                    <a:pt x="99" y="440"/>
                  </a:cubicBezTo>
                  <a:cubicBezTo>
                    <a:pt x="99" y="440"/>
                    <a:pt x="99" y="441"/>
                    <a:pt x="99" y="441"/>
                  </a:cubicBezTo>
                  <a:cubicBezTo>
                    <a:pt x="99" y="441"/>
                    <a:pt x="99" y="441"/>
                    <a:pt x="99" y="441"/>
                  </a:cubicBezTo>
                  <a:cubicBezTo>
                    <a:pt x="99" y="442"/>
                    <a:pt x="99" y="442"/>
                    <a:pt x="99" y="442"/>
                  </a:cubicBezTo>
                  <a:cubicBezTo>
                    <a:pt x="99" y="442"/>
                    <a:pt x="99" y="443"/>
                    <a:pt x="99" y="443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8" y="445"/>
                    <a:pt x="98" y="445"/>
                    <a:pt x="98" y="445"/>
                  </a:cubicBezTo>
                  <a:cubicBezTo>
                    <a:pt x="97" y="445"/>
                    <a:pt x="96" y="447"/>
                    <a:pt x="96" y="448"/>
                  </a:cubicBezTo>
                  <a:cubicBezTo>
                    <a:pt x="96" y="448"/>
                    <a:pt x="97" y="449"/>
                    <a:pt x="97" y="449"/>
                  </a:cubicBezTo>
                  <a:cubicBezTo>
                    <a:pt x="97" y="450"/>
                    <a:pt x="98" y="450"/>
                    <a:pt x="98" y="450"/>
                  </a:cubicBezTo>
                  <a:cubicBezTo>
                    <a:pt x="98" y="450"/>
                    <a:pt x="98" y="450"/>
                    <a:pt x="98" y="450"/>
                  </a:cubicBezTo>
                  <a:cubicBezTo>
                    <a:pt x="98" y="451"/>
                    <a:pt x="98" y="451"/>
                    <a:pt x="97" y="452"/>
                  </a:cubicBezTo>
                  <a:cubicBezTo>
                    <a:pt x="97" y="452"/>
                    <a:pt x="97" y="452"/>
                    <a:pt x="97" y="452"/>
                  </a:cubicBezTo>
                  <a:cubicBezTo>
                    <a:pt x="97" y="452"/>
                    <a:pt x="97" y="452"/>
                    <a:pt x="97" y="452"/>
                  </a:cubicBezTo>
                  <a:cubicBezTo>
                    <a:pt x="96" y="452"/>
                    <a:pt x="96" y="453"/>
                    <a:pt x="96" y="453"/>
                  </a:cubicBezTo>
                  <a:cubicBezTo>
                    <a:pt x="96" y="453"/>
                    <a:pt x="96" y="453"/>
                    <a:pt x="95" y="454"/>
                  </a:cubicBezTo>
                  <a:cubicBezTo>
                    <a:pt x="96" y="454"/>
                    <a:pt x="96" y="454"/>
                    <a:pt x="96" y="454"/>
                  </a:cubicBezTo>
                  <a:cubicBezTo>
                    <a:pt x="96" y="454"/>
                    <a:pt x="96" y="454"/>
                    <a:pt x="96" y="454"/>
                  </a:cubicBezTo>
                  <a:cubicBezTo>
                    <a:pt x="95" y="454"/>
                    <a:pt x="95" y="454"/>
                    <a:pt x="95" y="454"/>
                  </a:cubicBezTo>
                  <a:cubicBezTo>
                    <a:pt x="95" y="454"/>
                    <a:pt x="95" y="454"/>
                    <a:pt x="95" y="454"/>
                  </a:cubicBezTo>
                  <a:cubicBezTo>
                    <a:pt x="94" y="455"/>
                    <a:pt x="94" y="455"/>
                    <a:pt x="94" y="455"/>
                  </a:cubicBezTo>
                  <a:cubicBezTo>
                    <a:pt x="94" y="456"/>
                    <a:pt x="94" y="457"/>
                    <a:pt x="94" y="458"/>
                  </a:cubicBezTo>
                  <a:cubicBezTo>
                    <a:pt x="94" y="459"/>
                    <a:pt x="94" y="459"/>
                    <a:pt x="94" y="459"/>
                  </a:cubicBezTo>
                  <a:cubicBezTo>
                    <a:pt x="94" y="459"/>
                    <a:pt x="94" y="460"/>
                    <a:pt x="94" y="460"/>
                  </a:cubicBezTo>
                  <a:cubicBezTo>
                    <a:pt x="94" y="461"/>
                    <a:pt x="94" y="461"/>
                    <a:pt x="94" y="461"/>
                  </a:cubicBezTo>
                  <a:cubicBezTo>
                    <a:pt x="94" y="462"/>
                    <a:pt x="94" y="462"/>
                    <a:pt x="94" y="462"/>
                  </a:cubicBezTo>
                  <a:cubicBezTo>
                    <a:pt x="94" y="462"/>
                    <a:pt x="94" y="462"/>
                    <a:pt x="94" y="463"/>
                  </a:cubicBezTo>
                  <a:cubicBezTo>
                    <a:pt x="94" y="463"/>
                    <a:pt x="94" y="463"/>
                    <a:pt x="94" y="463"/>
                  </a:cubicBezTo>
                  <a:cubicBezTo>
                    <a:pt x="94" y="463"/>
                    <a:pt x="94" y="463"/>
                    <a:pt x="94" y="464"/>
                  </a:cubicBezTo>
                  <a:cubicBezTo>
                    <a:pt x="93" y="464"/>
                    <a:pt x="93" y="465"/>
                    <a:pt x="94" y="466"/>
                  </a:cubicBezTo>
                  <a:cubicBezTo>
                    <a:pt x="94" y="466"/>
                    <a:pt x="94" y="466"/>
                    <a:pt x="94" y="466"/>
                  </a:cubicBezTo>
                  <a:cubicBezTo>
                    <a:pt x="94" y="467"/>
                    <a:pt x="94" y="467"/>
                    <a:pt x="94" y="467"/>
                  </a:cubicBezTo>
                  <a:cubicBezTo>
                    <a:pt x="95" y="467"/>
                    <a:pt x="95" y="468"/>
                    <a:pt x="95" y="468"/>
                  </a:cubicBezTo>
                  <a:cubicBezTo>
                    <a:pt x="95" y="468"/>
                    <a:pt x="94" y="469"/>
                    <a:pt x="94" y="469"/>
                  </a:cubicBezTo>
                  <a:cubicBezTo>
                    <a:pt x="94" y="469"/>
                    <a:pt x="94" y="469"/>
                    <a:pt x="94" y="469"/>
                  </a:cubicBezTo>
                  <a:cubicBezTo>
                    <a:pt x="94" y="469"/>
                    <a:pt x="94" y="470"/>
                    <a:pt x="94" y="470"/>
                  </a:cubicBezTo>
                  <a:cubicBezTo>
                    <a:pt x="94" y="470"/>
                    <a:pt x="94" y="470"/>
                    <a:pt x="94" y="471"/>
                  </a:cubicBezTo>
                  <a:cubicBezTo>
                    <a:pt x="94" y="471"/>
                    <a:pt x="94" y="472"/>
                    <a:pt x="94" y="472"/>
                  </a:cubicBezTo>
                  <a:cubicBezTo>
                    <a:pt x="94" y="472"/>
                    <a:pt x="94" y="472"/>
                    <a:pt x="94" y="472"/>
                  </a:cubicBezTo>
                  <a:cubicBezTo>
                    <a:pt x="94" y="473"/>
                    <a:pt x="93" y="473"/>
                    <a:pt x="93" y="473"/>
                  </a:cubicBezTo>
                  <a:cubicBezTo>
                    <a:pt x="93" y="473"/>
                    <a:pt x="93" y="474"/>
                    <a:pt x="93" y="474"/>
                  </a:cubicBezTo>
                  <a:cubicBezTo>
                    <a:pt x="93" y="474"/>
                    <a:pt x="92" y="475"/>
                    <a:pt x="93" y="476"/>
                  </a:cubicBezTo>
                  <a:cubicBezTo>
                    <a:pt x="93" y="476"/>
                    <a:pt x="92" y="477"/>
                    <a:pt x="92" y="477"/>
                  </a:cubicBezTo>
                  <a:cubicBezTo>
                    <a:pt x="92" y="477"/>
                    <a:pt x="92" y="477"/>
                    <a:pt x="92" y="477"/>
                  </a:cubicBezTo>
                  <a:cubicBezTo>
                    <a:pt x="92" y="478"/>
                    <a:pt x="92" y="478"/>
                    <a:pt x="92" y="478"/>
                  </a:cubicBezTo>
                  <a:cubicBezTo>
                    <a:pt x="92" y="478"/>
                    <a:pt x="92" y="479"/>
                    <a:pt x="92" y="479"/>
                  </a:cubicBezTo>
                  <a:cubicBezTo>
                    <a:pt x="91" y="480"/>
                    <a:pt x="92" y="481"/>
                    <a:pt x="92" y="481"/>
                  </a:cubicBezTo>
                  <a:cubicBezTo>
                    <a:pt x="92" y="482"/>
                    <a:pt x="93" y="482"/>
                    <a:pt x="94" y="482"/>
                  </a:cubicBezTo>
                  <a:cubicBezTo>
                    <a:pt x="94" y="482"/>
                    <a:pt x="94" y="482"/>
                    <a:pt x="94" y="482"/>
                  </a:cubicBezTo>
                  <a:cubicBezTo>
                    <a:pt x="95" y="482"/>
                    <a:pt x="95" y="482"/>
                    <a:pt x="95" y="482"/>
                  </a:cubicBezTo>
                  <a:cubicBezTo>
                    <a:pt x="95" y="482"/>
                    <a:pt x="95" y="482"/>
                    <a:pt x="95" y="482"/>
                  </a:cubicBezTo>
                  <a:cubicBezTo>
                    <a:pt x="96" y="483"/>
                    <a:pt x="96" y="483"/>
                    <a:pt x="97" y="484"/>
                  </a:cubicBezTo>
                  <a:cubicBezTo>
                    <a:pt x="97" y="484"/>
                    <a:pt x="97" y="484"/>
                    <a:pt x="98" y="484"/>
                  </a:cubicBezTo>
                  <a:cubicBezTo>
                    <a:pt x="98" y="484"/>
                    <a:pt x="98" y="484"/>
                    <a:pt x="98" y="484"/>
                  </a:cubicBezTo>
                  <a:cubicBezTo>
                    <a:pt x="98" y="484"/>
                    <a:pt x="98" y="485"/>
                    <a:pt x="99" y="485"/>
                  </a:cubicBezTo>
                  <a:cubicBezTo>
                    <a:pt x="99" y="485"/>
                    <a:pt x="99" y="485"/>
                    <a:pt x="99" y="485"/>
                  </a:cubicBezTo>
                  <a:cubicBezTo>
                    <a:pt x="99" y="486"/>
                    <a:pt x="99" y="486"/>
                    <a:pt x="100" y="487"/>
                  </a:cubicBezTo>
                  <a:cubicBezTo>
                    <a:pt x="100" y="487"/>
                    <a:pt x="100" y="487"/>
                    <a:pt x="101" y="487"/>
                  </a:cubicBezTo>
                  <a:cubicBezTo>
                    <a:pt x="101" y="487"/>
                    <a:pt x="101" y="488"/>
                    <a:pt x="101" y="488"/>
                  </a:cubicBezTo>
                  <a:cubicBezTo>
                    <a:pt x="101" y="488"/>
                    <a:pt x="101" y="488"/>
                    <a:pt x="101" y="488"/>
                  </a:cubicBezTo>
                  <a:cubicBezTo>
                    <a:pt x="101" y="488"/>
                    <a:pt x="101" y="489"/>
                    <a:pt x="101" y="489"/>
                  </a:cubicBezTo>
                  <a:cubicBezTo>
                    <a:pt x="102" y="490"/>
                    <a:pt x="102" y="490"/>
                    <a:pt x="103" y="490"/>
                  </a:cubicBezTo>
                  <a:cubicBezTo>
                    <a:pt x="102" y="491"/>
                    <a:pt x="102" y="492"/>
                    <a:pt x="103" y="493"/>
                  </a:cubicBezTo>
                  <a:cubicBezTo>
                    <a:pt x="103" y="494"/>
                    <a:pt x="104" y="495"/>
                    <a:pt x="104" y="495"/>
                  </a:cubicBezTo>
                  <a:cubicBezTo>
                    <a:pt x="105" y="495"/>
                    <a:pt x="105" y="495"/>
                    <a:pt x="105" y="495"/>
                  </a:cubicBezTo>
                  <a:cubicBezTo>
                    <a:pt x="105" y="495"/>
                    <a:pt x="105" y="496"/>
                    <a:pt x="106" y="496"/>
                  </a:cubicBezTo>
                  <a:cubicBezTo>
                    <a:pt x="106" y="496"/>
                    <a:pt x="106" y="496"/>
                    <a:pt x="106" y="497"/>
                  </a:cubicBezTo>
                  <a:cubicBezTo>
                    <a:pt x="106" y="497"/>
                    <a:pt x="106" y="498"/>
                    <a:pt x="106" y="498"/>
                  </a:cubicBezTo>
                  <a:cubicBezTo>
                    <a:pt x="106" y="499"/>
                    <a:pt x="106" y="500"/>
                    <a:pt x="106" y="501"/>
                  </a:cubicBezTo>
                  <a:cubicBezTo>
                    <a:pt x="105" y="501"/>
                    <a:pt x="105" y="502"/>
                    <a:pt x="105" y="503"/>
                  </a:cubicBezTo>
                  <a:cubicBezTo>
                    <a:pt x="105" y="503"/>
                    <a:pt x="105" y="503"/>
                    <a:pt x="105" y="503"/>
                  </a:cubicBezTo>
                  <a:cubicBezTo>
                    <a:pt x="105" y="504"/>
                    <a:pt x="105" y="504"/>
                    <a:pt x="105" y="504"/>
                  </a:cubicBezTo>
                  <a:cubicBezTo>
                    <a:pt x="104" y="505"/>
                    <a:pt x="104" y="506"/>
                    <a:pt x="104" y="507"/>
                  </a:cubicBezTo>
                  <a:cubicBezTo>
                    <a:pt x="104" y="507"/>
                    <a:pt x="104" y="507"/>
                    <a:pt x="104" y="507"/>
                  </a:cubicBezTo>
                  <a:cubicBezTo>
                    <a:pt x="103" y="508"/>
                    <a:pt x="103" y="508"/>
                    <a:pt x="103" y="508"/>
                  </a:cubicBezTo>
                  <a:cubicBezTo>
                    <a:pt x="103" y="508"/>
                    <a:pt x="103" y="508"/>
                    <a:pt x="103" y="508"/>
                  </a:cubicBezTo>
                  <a:cubicBezTo>
                    <a:pt x="103" y="508"/>
                    <a:pt x="103" y="508"/>
                    <a:pt x="103" y="508"/>
                  </a:cubicBezTo>
                  <a:cubicBezTo>
                    <a:pt x="103" y="509"/>
                    <a:pt x="103" y="509"/>
                    <a:pt x="103" y="509"/>
                  </a:cubicBezTo>
                  <a:cubicBezTo>
                    <a:pt x="103" y="509"/>
                    <a:pt x="103" y="509"/>
                    <a:pt x="103" y="509"/>
                  </a:cubicBezTo>
                  <a:cubicBezTo>
                    <a:pt x="103" y="510"/>
                    <a:pt x="103" y="510"/>
                    <a:pt x="103" y="511"/>
                  </a:cubicBezTo>
                  <a:cubicBezTo>
                    <a:pt x="103" y="511"/>
                    <a:pt x="103" y="511"/>
                    <a:pt x="103" y="511"/>
                  </a:cubicBezTo>
                  <a:cubicBezTo>
                    <a:pt x="103" y="512"/>
                    <a:pt x="102" y="512"/>
                    <a:pt x="102" y="513"/>
                  </a:cubicBezTo>
                  <a:cubicBezTo>
                    <a:pt x="102" y="514"/>
                    <a:pt x="102" y="515"/>
                    <a:pt x="103" y="516"/>
                  </a:cubicBezTo>
                  <a:cubicBezTo>
                    <a:pt x="103" y="516"/>
                    <a:pt x="103" y="516"/>
                    <a:pt x="103" y="516"/>
                  </a:cubicBezTo>
                  <a:cubicBezTo>
                    <a:pt x="103" y="516"/>
                    <a:pt x="103" y="517"/>
                    <a:pt x="103" y="517"/>
                  </a:cubicBezTo>
                  <a:cubicBezTo>
                    <a:pt x="102" y="517"/>
                    <a:pt x="102" y="518"/>
                    <a:pt x="102" y="518"/>
                  </a:cubicBezTo>
                  <a:cubicBezTo>
                    <a:pt x="102" y="519"/>
                    <a:pt x="102" y="519"/>
                    <a:pt x="102" y="519"/>
                  </a:cubicBezTo>
                  <a:cubicBezTo>
                    <a:pt x="102" y="519"/>
                    <a:pt x="102" y="520"/>
                    <a:pt x="102" y="521"/>
                  </a:cubicBezTo>
                  <a:cubicBezTo>
                    <a:pt x="102" y="521"/>
                    <a:pt x="102" y="522"/>
                    <a:pt x="103" y="522"/>
                  </a:cubicBezTo>
                  <a:cubicBezTo>
                    <a:pt x="103" y="523"/>
                    <a:pt x="103" y="523"/>
                    <a:pt x="103" y="523"/>
                  </a:cubicBezTo>
                  <a:cubicBezTo>
                    <a:pt x="103" y="523"/>
                    <a:pt x="103" y="523"/>
                    <a:pt x="103" y="524"/>
                  </a:cubicBezTo>
                  <a:cubicBezTo>
                    <a:pt x="103" y="525"/>
                    <a:pt x="103" y="525"/>
                    <a:pt x="103" y="525"/>
                  </a:cubicBezTo>
                  <a:cubicBezTo>
                    <a:pt x="102" y="526"/>
                    <a:pt x="102" y="527"/>
                    <a:pt x="102" y="528"/>
                  </a:cubicBezTo>
                  <a:cubicBezTo>
                    <a:pt x="102" y="528"/>
                    <a:pt x="102" y="529"/>
                    <a:pt x="102" y="529"/>
                  </a:cubicBezTo>
                  <a:cubicBezTo>
                    <a:pt x="101" y="529"/>
                    <a:pt x="101" y="529"/>
                    <a:pt x="101" y="529"/>
                  </a:cubicBezTo>
                  <a:cubicBezTo>
                    <a:pt x="101" y="530"/>
                    <a:pt x="101" y="530"/>
                    <a:pt x="101" y="531"/>
                  </a:cubicBezTo>
                  <a:cubicBezTo>
                    <a:pt x="101" y="531"/>
                    <a:pt x="101" y="531"/>
                    <a:pt x="101" y="532"/>
                  </a:cubicBezTo>
                  <a:cubicBezTo>
                    <a:pt x="101" y="532"/>
                    <a:pt x="101" y="532"/>
                    <a:pt x="101" y="533"/>
                  </a:cubicBezTo>
                  <a:cubicBezTo>
                    <a:pt x="100" y="533"/>
                    <a:pt x="100" y="534"/>
                    <a:pt x="100" y="535"/>
                  </a:cubicBezTo>
                  <a:cubicBezTo>
                    <a:pt x="101" y="535"/>
                    <a:pt x="101" y="535"/>
                    <a:pt x="102" y="536"/>
                  </a:cubicBezTo>
                  <a:cubicBezTo>
                    <a:pt x="102" y="536"/>
                    <a:pt x="102" y="536"/>
                    <a:pt x="102" y="536"/>
                  </a:cubicBezTo>
                  <a:cubicBezTo>
                    <a:pt x="102" y="536"/>
                    <a:pt x="102" y="536"/>
                    <a:pt x="101" y="536"/>
                  </a:cubicBezTo>
                  <a:cubicBezTo>
                    <a:pt x="101" y="537"/>
                    <a:pt x="101" y="537"/>
                    <a:pt x="101" y="537"/>
                  </a:cubicBezTo>
                  <a:cubicBezTo>
                    <a:pt x="101" y="537"/>
                    <a:pt x="101" y="538"/>
                    <a:pt x="101" y="538"/>
                  </a:cubicBezTo>
                  <a:cubicBezTo>
                    <a:pt x="100" y="539"/>
                    <a:pt x="100" y="539"/>
                    <a:pt x="100" y="539"/>
                  </a:cubicBezTo>
                  <a:cubicBezTo>
                    <a:pt x="100" y="539"/>
                    <a:pt x="100" y="539"/>
                    <a:pt x="100" y="539"/>
                  </a:cubicBezTo>
                  <a:cubicBezTo>
                    <a:pt x="100" y="540"/>
                    <a:pt x="100" y="540"/>
                    <a:pt x="100" y="541"/>
                  </a:cubicBezTo>
                  <a:cubicBezTo>
                    <a:pt x="100" y="541"/>
                    <a:pt x="100" y="542"/>
                    <a:pt x="100" y="542"/>
                  </a:cubicBezTo>
                  <a:cubicBezTo>
                    <a:pt x="100" y="543"/>
                    <a:pt x="100" y="544"/>
                    <a:pt x="100" y="545"/>
                  </a:cubicBezTo>
                  <a:cubicBezTo>
                    <a:pt x="100" y="546"/>
                    <a:pt x="100" y="546"/>
                    <a:pt x="101" y="547"/>
                  </a:cubicBezTo>
                  <a:cubicBezTo>
                    <a:pt x="101" y="547"/>
                    <a:pt x="101" y="547"/>
                    <a:pt x="101" y="547"/>
                  </a:cubicBezTo>
                  <a:cubicBezTo>
                    <a:pt x="102" y="548"/>
                    <a:pt x="102" y="548"/>
                    <a:pt x="102" y="548"/>
                  </a:cubicBezTo>
                  <a:cubicBezTo>
                    <a:pt x="102" y="548"/>
                    <a:pt x="102" y="548"/>
                    <a:pt x="103" y="548"/>
                  </a:cubicBezTo>
                  <a:cubicBezTo>
                    <a:pt x="103" y="549"/>
                    <a:pt x="103" y="549"/>
                    <a:pt x="103" y="550"/>
                  </a:cubicBezTo>
                  <a:cubicBezTo>
                    <a:pt x="103" y="550"/>
                    <a:pt x="104" y="550"/>
                    <a:pt x="104" y="551"/>
                  </a:cubicBezTo>
                  <a:cubicBezTo>
                    <a:pt x="104" y="551"/>
                    <a:pt x="104" y="551"/>
                    <a:pt x="104" y="551"/>
                  </a:cubicBezTo>
                  <a:cubicBezTo>
                    <a:pt x="104" y="552"/>
                    <a:pt x="104" y="552"/>
                    <a:pt x="104" y="553"/>
                  </a:cubicBezTo>
                  <a:cubicBezTo>
                    <a:pt x="104" y="553"/>
                    <a:pt x="104" y="554"/>
                    <a:pt x="104" y="554"/>
                  </a:cubicBezTo>
                  <a:cubicBezTo>
                    <a:pt x="104" y="555"/>
                    <a:pt x="104" y="556"/>
                    <a:pt x="104" y="556"/>
                  </a:cubicBezTo>
                  <a:cubicBezTo>
                    <a:pt x="104" y="557"/>
                    <a:pt x="104" y="557"/>
                    <a:pt x="104" y="557"/>
                  </a:cubicBezTo>
                  <a:cubicBezTo>
                    <a:pt x="104" y="557"/>
                    <a:pt x="104" y="558"/>
                    <a:pt x="104" y="559"/>
                  </a:cubicBezTo>
                  <a:cubicBezTo>
                    <a:pt x="104" y="559"/>
                    <a:pt x="104" y="559"/>
                    <a:pt x="104" y="559"/>
                  </a:cubicBezTo>
                  <a:cubicBezTo>
                    <a:pt x="104" y="560"/>
                    <a:pt x="104" y="560"/>
                    <a:pt x="104" y="560"/>
                  </a:cubicBezTo>
                  <a:cubicBezTo>
                    <a:pt x="104" y="561"/>
                    <a:pt x="104" y="561"/>
                    <a:pt x="104" y="561"/>
                  </a:cubicBezTo>
                  <a:cubicBezTo>
                    <a:pt x="104" y="562"/>
                    <a:pt x="104" y="562"/>
                    <a:pt x="103" y="563"/>
                  </a:cubicBezTo>
                  <a:cubicBezTo>
                    <a:pt x="103" y="563"/>
                    <a:pt x="103" y="563"/>
                    <a:pt x="103" y="563"/>
                  </a:cubicBezTo>
                  <a:cubicBezTo>
                    <a:pt x="103" y="563"/>
                    <a:pt x="103" y="564"/>
                    <a:pt x="103" y="564"/>
                  </a:cubicBezTo>
                  <a:cubicBezTo>
                    <a:pt x="103" y="564"/>
                    <a:pt x="103" y="564"/>
                    <a:pt x="103" y="564"/>
                  </a:cubicBezTo>
                  <a:cubicBezTo>
                    <a:pt x="102" y="565"/>
                    <a:pt x="101" y="565"/>
                    <a:pt x="101" y="566"/>
                  </a:cubicBezTo>
                  <a:cubicBezTo>
                    <a:pt x="101" y="566"/>
                    <a:pt x="101" y="566"/>
                    <a:pt x="100" y="565"/>
                  </a:cubicBezTo>
                  <a:cubicBezTo>
                    <a:pt x="100" y="565"/>
                    <a:pt x="100" y="565"/>
                    <a:pt x="100" y="565"/>
                  </a:cubicBezTo>
                  <a:cubicBezTo>
                    <a:pt x="99" y="565"/>
                    <a:pt x="99" y="565"/>
                    <a:pt x="99" y="565"/>
                  </a:cubicBezTo>
                  <a:cubicBezTo>
                    <a:pt x="99" y="565"/>
                    <a:pt x="99" y="565"/>
                    <a:pt x="98" y="566"/>
                  </a:cubicBezTo>
                  <a:cubicBezTo>
                    <a:pt x="98" y="566"/>
                    <a:pt x="98" y="565"/>
                    <a:pt x="98" y="565"/>
                  </a:cubicBezTo>
                  <a:cubicBezTo>
                    <a:pt x="98" y="565"/>
                    <a:pt x="97" y="565"/>
                    <a:pt x="97" y="565"/>
                  </a:cubicBezTo>
                  <a:cubicBezTo>
                    <a:pt x="96" y="565"/>
                    <a:pt x="96" y="565"/>
                    <a:pt x="96" y="565"/>
                  </a:cubicBezTo>
                  <a:cubicBezTo>
                    <a:pt x="96" y="565"/>
                    <a:pt x="95" y="565"/>
                    <a:pt x="95" y="565"/>
                  </a:cubicBezTo>
                  <a:cubicBezTo>
                    <a:pt x="94" y="567"/>
                    <a:pt x="95" y="568"/>
                    <a:pt x="95" y="568"/>
                  </a:cubicBezTo>
                  <a:cubicBezTo>
                    <a:pt x="95" y="569"/>
                    <a:pt x="95" y="570"/>
                    <a:pt x="96" y="570"/>
                  </a:cubicBezTo>
                  <a:cubicBezTo>
                    <a:pt x="97" y="569"/>
                    <a:pt x="97" y="569"/>
                    <a:pt x="97" y="569"/>
                  </a:cubicBezTo>
                  <a:cubicBezTo>
                    <a:pt x="96" y="570"/>
                    <a:pt x="96" y="570"/>
                    <a:pt x="96" y="570"/>
                  </a:cubicBezTo>
                  <a:cubicBezTo>
                    <a:pt x="96" y="571"/>
                    <a:pt x="96" y="572"/>
                    <a:pt x="96" y="573"/>
                  </a:cubicBezTo>
                  <a:cubicBezTo>
                    <a:pt x="96" y="573"/>
                    <a:pt x="96" y="574"/>
                    <a:pt x="96" y="574"/>
                  </a:cubicBezTo>
                  <a:cubicBezTo>
                    <a:pt x="97" y="575"/>
                    <a:pt x="97" y="575"/>
                    <a:pt x="97" y="575"/>
                  </a:cubicBezTo>
                  <a:cubicBezTo>
                    <a:pt x="97" y="575"/>
                    <a:pt x="97" y="575"/>
                    <a:pt x="97" y="575"/>
                  </a:cubicBezTo>
                  <a:cubicBezTo>
                    <a:pt x="97" y="576"/>
                    <a:pt x="97" y="576"/>
                    <a:pt x="97" y="576"/>
                  </a:cubicBezTo>
                  <a:cubicBezTo>
                    <a:pt x="98" y="576"/>
                    <a:pt x="98" y="576"/>
                    <a:pt x="98" y="576"/>
                  </a:cubicBezTo>
                  <a:cubicBezTo>
                    <a:pt x="98" y="576"/>
                    <a:pt x="98" y="576"/>
                    <a:pt x="98" y="576"/>
                  </a:cubicBezTo>
                  <a:cubicBezTo>
                    <a:pt x="98" y="577"/>
                    <a:pt x="98" y="577"/>
                    <a:pt x="98" y="577"/>
                  </a:cubicBezTo>
                  <a:cubicBezTo>
                    <a:pt x="98" y="578"/>
                    <a:pt x="99" y="579"/>
                    <a:pt x="100" y="579"/>
                  </a:cubicBezTo>
                  <a:cubicBezTo>
                    <a:pt x="100" y="579"/>
                    <a:pt x="100" y="579"/>
                    <a:pt x="100" y="579"/>
                  </a:cubicBezTo>
                  <a:cubicBezTo>
                    <a:pt x="101" y="579"/>
                    <a:pt x="101" y="579"/>
                    <a:pt x="101" y="579"/>
                  </a:cubicBezTo>
                  <a:cubicBezTo>
                    <a:pt x="101" y="579"/>
                    <a:pt x="101" y="579"/>
                    <a:pt x="101" y="579"/>
                  </a:cubicBezTo>
                  <a:cubicBezTo>
                    <a:pt x="100" y="579"/>
                    <a:pt x="100" y="579"/>
                    <a:pt x="100" y="579"/>
                  </a:cubicBezTo>
                  <a:cubicBezTo>
                    <a:pt x="100" y="580"/>
                    <a:pt x="100" y="580"/>
                    <a:pt x="101" y="581"/>
                  </a:cubicBezTo>
                  <a:cubicBezTo>
                    <a:pt x="101" y="582"/>
                    <a:pt x="102" y="582"/>
                    <a:pt x="103" y="582"/>
                  </a:cubicBezTo>
                  <a:cubicBezTo>
                    <a:pt x="104" y="582"/>
                    <a:pt x="104" y="582"/>
                    <a:pt x="104" y="582"/>
                  </a:cubicBezTo>
                  <a:cubicBezTo>
                    <a:pt x="104" y="582"/>
                    <a:pt x="104" y="582"/>
                    <a:pt x="104" y="582"/>
                  </a:cubicBezTo>
                  <a:cubicBezTo>
                    <a:pt x="104" y="582"/>
                    <a:pt x="104" y="582"/>
                    <a:pt x="104" y="583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4" y="584"/>
                    <a:pt x="104" y="584"/>
                    <a:pt x="104" y="584"/>
                  </a:cubicBezTo>
                  <a:cubicBezTo>
                    <a:pt x="104" y="585"/>
                    <a:pt x="105" y="586"/>
                    <a:pt x="106" y="587"/>
                  </a:cubicBezTo>
                  <a:cubicBezTo>
                    <a:pt x="106" y="588"/>
                    <a:pt x="106" y="588"/>
                    <a:pt x="107" y="589"/>
                  </a:cubicBezTo>
                  <a:cubicBezTo>
                    <a:pt x="107" y="589"/>
                    <a:pt x="107" y="589"/>
                    <a:pt x="107" y="589"/>
                  </a:cubicBezTo>
                  <a:cubicBezTo>
                    <a:pt x="107" y="589"/>
                    <a:pt x="107" y="590"/>
                    <a:pt x="107" y="590"/>
                  </a:cubicBezTo>
                  <a:cubicBezTo>
                    <a:pt x="107" y="591"/>
                    <a:pt x="107" y="591"/>
                    <a:pt x="107" y="591"/>
                  </a:cubicBezTo>
                  <a:cubicBezTo>
                    <a:pt x="107" y="592"/>
                    <a:pt x="107" y="592"/>
                    <a:pt x="107" y="593"/>
                  </a:cubicBezTo>
                  <a:cubicBezTo>
                    <a:pt x="107" y="593"/>
                    <a:pt x="107" y="594"/>
                    <a:pt x="107" y="594"/>
                  </a:cubicBezTo>
                  <a:cubicBezTo>
                    <a:pt x="107" y="594"/>
                    <a:pt x="106" y="594"/>
                    <a:pt x="106" y="594"/>
                  </a:cubicBezTo>
                  <a:cubicBezTo>
                    <a:pt x="106" y="595"/>
                    <a:pt x="106" y="595"/>
                    <a:pt x="106" y="595"/>
                  </a:cubicBezTo>
                  <a:cubicBezTo>
                    <a:pt x="106" y="595"/>
                    <a:pt x="106" y="595"/>
                    <a:pt x="106" y="595"/>
                  </a:cubicBezTo>
                  <a:cubicBezTo>
                    <a:pt x="106" y="595"/>
                    <a:pt x="106" y="596"/>
                    <a:pt x="106" y="596"/>
                  </a:cubicBezTo>
                  <a:cubicBezTo>
                    <a:pt x="106" y="596"/>
                    <a:pt x="105" y="596"/>
                    <a:pt x="105" y="597"/>
                  </a:cubicBezTo>
                  <a:cubicBezTo>
                    <a:pt x="105" y="597"/>
                    <a:pt x="105" y="598"/>
                    <a:pt x="104" y="598"/>
                  </a:cubicBezTo>
                  <a:cubicBezTo>
                    <a:pt x="104" y="599"/>
                    <a:pt x="104" y="599"/>
                    <a:pt x="104" y="599"/>
                  </a:cubicBezTo>
                  <a:cubicBezTo>
                    <a:pt x="104" y="600"/>
                    <a:pt x="104" y="600"/>
                    <a:pt x="104" y="600"/>
                  </a:cubicBezTo>
                  <a:cubicBezTo>
                    <a:pt x="103" y="601"/>
                    <a:pt x="103" y="602"/>
                    <a:pt x="103" y="603"/>
                  </a:cubicBezTo>
                  <a:cubicBezTo>
                    <a:pt x="103" y="604"/>
                    <a:pt x="103" y="604"/>
                    <a:pt x="103" y="605"/>
                  </a:cubicBezTo>
                  <a:cubicBezTo>
                    <a:pt x="102" y="606"/>
                    <a:pt x="103" y="607"/>
                    <a:pt x="103" y="607"/>
                  </a:cubicBezTo>
                  <a:cubicBezTo>
                    <a:pt x="103" y="607"/>
                    <a:pt x="104" y="607"/>
                    <a:pt x="104" y="608"/>
                  </a:cubicBezTo>
                  <a:cubicBezTo>
                    <a:pt x="104" y="608"/>
                    <a:pt x="104" y="608"/>
                    <a:pt x="104" y="609"/>
                  </a:cubicBezTo>
                  <a:cubicBezTo>
                    <a:pt x="104" y="610"/>
                    <a:pt x="104" y="610"/>
                    <a:pt x="104" y="610"/>
                  </a:cubicBezTo>
                  <a:cubicBezTo>
                    <a:pt x="105" y="610"/>
                    <a:pt x="105" y="610"/>
                    <a:pt x="105" y="610"/>
                  </a:cubicBezTo>
                  <a:cubicBezTo>
                    <a:pt x="105" y="610"/>
                    <a:pt x="105" y="610"/>
                    <a:pt x="105" y="610"/>
                  </a:cubicBezTo>
                  <a:cubicBezTo>
                    <a:pt x="105" y="611"/>
                    <a:pt x="105" y="612"/>
                    <a:pt x="106" y="612"/>
                  </a:cubicBezTo>
                  <a:cubicBezTo>
                    <a:pt x="106" y="613"/>
                    <a:pt x="106" y="613"/>
                    <a:pt x="106" y="614"/>
                  </a:cubicBezTo>
                  <a:cubicBezTo>
                    <a:pt x="106" y="614"/>
                    <a:pt x="106" y="615"/>
                    <a:pt x="107" y="615"/>
                  </a:cubicBezTo>
                  <a:cubicBezTo>
                    <a:pt x="107" y="615"/>
                    <a:pt x="107" y="615"/>
                    <a:pt x="107" y="616"/>
                  </a:cubicBezTo>
                  <a:cubicBezTo>
                    <a:pt x="107" y="616"/>
                    <a:pt x="107" y="616"/>
                    <a:pt x="107" y="616"/>
                  </a:cubicBezTo>
                  <a:cubicBezTo>
                    <a:pt x="106" y="617"/>
                    <a:pt x="106" y="618"/>
                    <a:pt x="107" y="619"/>
                  </a:cubicBezTo>
                  <a:cubicBezTo>
                    <a:pt x="107" y="619"/>
                    <a:pt x="108" y="619"/>
                    <a:pt x="108" y="619"/>
                  </a:cubicBezTo>
                  <a:cubicBezTo>
                    <a:pt x="108" y="619"/>
                    <a:pt x="108" y="619"/>
                    <a:pt x="108" y="619"/>
                  </a:cubicBezTo>
                  <a:cubicBezTo>
                    <a:pt x="108" y="619"/>
                    <a:pt x="108" y="620"/>
                    <a:pt x="108" y="620"/>
                  </a:cubicBezTo>
                  <a:cubicBezTo>
                    <a:pt x="109" y="621"/>
                    <a:pt x="109" y="621"/>
                    <a:pt x="109" y="621"/>
                  </a:cubicBezTo>
                  <a:cubicBezTo>
                    <a:pt x="109" y="621"/>
                    <a:pt x="109" y="621"/>
                    <a:pt x="109" y="621"/>
                  </a:cubicBezTo>
                  <a:cubicBezTo>
                    <a:pt x="109" y="621"/>
                    <a:pt x="109" y="621"/>
                    <a:pt x="109" y="621"/>
                  </a:cubicBezTo>
                  <a:cubicBezTo>
                    <a:pt x="110" y="621"/>
                    <a:pt x="110" y="622"/>
                    <a:pt x="110" y="622"/>
                  </a:cubicBezTo>
                  <a:cubicBezTo>
                    <a:pt x="110" y="622"/>
                    <a:pt x="111" y="622"/>
                    <a:pt x="111" y="622"/>
                  </a:cubicBezTo>
                  <a:cubicBezTo>
                    <a:pt x="111" y="622"/>
                    <a:pt x="111" y="623"/>
                    <a:pt x="110" y="623"/>
                  </a:cubicBezTo>
                  <a:cubicBezTo>
                    <a:pt x="110" y="623"/>
                    <a:pt x="110" y="624"/>
                    <a:pt x="110" y="624"/>
                  </a:cubicBezTo>
                  <a:cubicBezTo>
                    <a:pt x="110" y="625"/>
                    <a:pt x="110" y="625"/>
                    <a:pt x="110" y="626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27"/>
                    <a:pt x="110" y="629"/>
                    <a:pt x="111" y="630"/>
                  </a:cubicBezTo>
                  <a:cubicBezTo>
                    <a:pt x="111" y="630"/>
                    <a:pt x="112" y="630"/>
                    <a:pt x="113" y="630"/>
                  </a:cubicBezTo>
                  <a:cubicBezTo>
                    <a:pt x="113" y="630"/>
                    <a:pt x="113" y="630"/>
                    <a:pt x="113" y="630"/>
                  </a:cubicBezTo>
                  <a:cubicBezTo>
                    <a:pt x="114" y="630"/>
                    <a:pt x="116" y="630"/>
                    <a:pt x="117" y="628"/>
                  </a:cubicBezTo>
                  <a:cubicBezTo>
                    <a:pt x="117" y="628"/>
                    <a:pt x="117" y="627"/>
                    <a:pt x="117" y="627"/>
                  </a:cubicBezTo>
                  <a:cubicBezTo>
                    <a:pt x="117" y="627"/>
                    <a:pt x="117" y="626"/>
                    <a:pt x="117" y="626"/>
                  </a:cubicBezTo>
                  <a:cubicBezTo>
                    <a:pt x="118" y="626"/>
                    <a:pt x="118" y="625"/>
                    <a:pt x="118" y="625"/>
                  </a:cubicBezTo>
                  <a:cubicBezTo>
                    <a:pt x="119" y="625"/>
                    <a:pt x="120" y="624"/>
                    <a:pt x="120" y="622"/>
                  </a:cubicBezTo>
                  <a:cubicBezTo>
                    <a:pt x="119" y="621"/>
                    <a:pt x="119" y="620"/>
                    <a:pt x="118" y="620"/>
                  </a:cubicBezTo>
                  <a:cubicBezTo>
                    <a:pt x="118" y="620"/>
                    <a:pt x="118" y="620"/>
                    <a:pt x="118" y="620"/>
                  </a:cubicBezTo>
                  <a:cubicBezTo>
                    <a:pt x="118" y="620"/>
                    <a:pt x="118" y="619"/>
                    <a:pt x="118" y="619"/>
                  </a:cubicBezTo>
                  <a:cubicBezTo>
                    <a:pt x="119" y="619"/>
                    <a:pt x="119" y="618"/>
                    <a:pt x="119" y="617"/>
                  </a:cubicBezTo>
                  <a:cubicBezTo>
                    <a:pt x="119" y="616"/>
                    <a:pt x="118" y="615"/>
                    <a:pt x="118" y="615"/>
                  </a:cubicBezTo>
                  <a:cubicBezTo>
                    <a:pt x="117" y="615"/>
                    <a:pt x="117" y="615"/>
                    <a:pt x="117" y="614"/>
                  </a:cubicBezTo>
                  <a:cubicBezTo>
                    <a:pt x="117" y="614"/>
                    <a:pt x="117" y="612"/>
                    <a:pt x="116" y="612"/>
                  </a:cubicBezTo>
                  <a:cubicBezTo>
                    <a:pt x="116" y="612"/>
                    <a:pt x="116" y="612"/>
                    <a:pt x="116" y="612"/>
                  </a:cubicBezTo>
                  <a:cubicBezTo>
                    <a:pt x="115" y="612"/>
                    <a:pt x="115" y="612"/>
                    <a:pt x="115" y="612"/>
                  </a:cubicBezTo>
                  <a:cubicBezTo>
                    <a:pt x="115" y="612"/>
                    <a:pt x="114" y="612"/>
                    <a:pt x="114" y="613"/>
                  </a:cubicBezTo>
                  <a:cubicBezTo>
                    <a:pt x="114" y="613"/>
                    <a:pt x="114" y="612"/>
                    <a:pt x="114" y="612"/>
                  </a:cubicBezTo>
                  <a:cubicBezTo>
                    <a:pt x="113" y="612"/>
                    <a:pt x="113" y="612"/>
                    <a:pt x="113" y="612"/>
                  </a:cubicBezTo>
                  <a:cubicBezTo>
                    <a:pt x="113" y="612"/>
                    <a:pt x="113" y="611"/>
                    <a:pt x="113" y="611"/>
                  </a:cubicBezTo>
                  <a:cubicBezTo>
                    <a:pt x="113" y="611"/>
                    <a:pt x="113" y="611"/>
                    <a:pt x="113" y="610"/>
                  </a:cubicBezTo>
                  <a:cubicBezTo>
                    <a:pt x="113" y="610"/>
                    <a:pt x="113" y="610"/>
                    <a:pt x="114" y="610"/>
                  </a:cubicBezTo>
                  <a:cubicBezTo>
                    <a:pt x="114" y="609"/>
                    <a:pt x="114" y="609"/>
                    <a:pt x="115" y="608"/>
                  </a:cubicBezTo>
                  <a:cubicBezTo>
                    <a:pt x="115" y="607"/>
                    <a:pt x="115" y="607"/>
                    <a:pt x="115" y="606"/>
                  </a:cubicBezTo>
                  <a:cubicBezTo>
                    <a:pt x="115" y="605"/>
                    <a:pt x="115" y="605"/>
                    <a:pt x="115" y="605"/>
                  </a:cubicBezTo>
                  <a:cubicBezTo>
                    <a:pt x="115" y="604"/>
                    <a:pt x="115" y="604"/>
                    <a:pt x="115" y="604"/>
                  </a:cubicBezTo>
                  <a:cubicBezTo>
                    <a:pt x="115" y="604"/>
                    <a:pt x="115" y="603"/>
                    <a:pt x="115" y="603"/>
                  </a:cubicBezTo>
                  <a:cubicBezTo>
                    <a:pt x="116" y="602"/>
                    <a:pt x="116" y="602"/>
                    <a:pt x="116" y="601"/>
                  </a:cubicBezTo>
                  <a:cubicBezTo>
                    <a:pt x="116" y="599"/>
                    <a:pt x="116" y="597"/>
                    <a:pt x="115" y="596"/>
                  </a:cubicBezTo>
                  <a:cubicBezTo>
                    <a:pt x="115" y="596"/>
                    <a:pt x="115" y="596"/>
                    <a:pt x="115" y="595"/>
                  </a:cubicBezTo>
                  <a:cubicBezTo>
                    <a:pt x="115" y="595"/>
                    <a:pt x="115" y="595"/>
                    <a:pt x="115" y="594"/>
                  </a:cubicBezTo>
                  <a:cubicBezTo>
                    <a:pt x="115" y="594"/>
                    <a:pt x="115" y="594"/>
                    <a:pt x="115" y="593"/>
                  </a:cubicBezTo>
                  <a:cubicBezTo>
                    <a:pt x="116" y="592"/>
                    <a:pt x="116" y="591"/>
                    <a:pt x="116" y="590"/>
                  </a:cubicBezTo>
                  <a:cubicBezTo>
                    <a:pt x="116" y="590"/>
                    <a:pt x="117" y="589"/>
                    <a:pt x="117" y="589"/>
                  </a:cubicBezTo>
                  <a:cubicBezTo>
                    <a:pt x="117" y="588"/>
                    <a:pt x="117" y="588"/>
                    <a:pt x="117" y="588"/>
                  </a:cubicBezTo>
                  <a:cubicBezTo>
                    <a:pt x="119" y="587"/>
                    <a:pt x="118" y="585"/>
                    <a:pt x="118" y="584"/>
                  </a:cubicBezTo>
                  <a:cubicBezTo>
                    <a:pt x="118" y="584"/>
                    <a:pt x="118" y="584"/>
                    <a:pt x="118" y="584"/>
                  </a:cubicBezTo>
                  <a:cubicBezTo>
                    <a:pt x="118" y="583"/>
                    <a:pt x="118" y="583"/>
                    <a:pt x="118" y="583"/>
                  </a:cubicBezTo>
                  <a:cubicBezTo>
                    <a:pt x="117" y="583"/>
                    <a:pt x="118" y="583"/>
                    <a:pt x="118" y="582"/>
                  </a:cubicBezTo>
                  <a:cubicBezTo>
                    <a:pt x="118" y="580"/>
                    <a:pt x="117" y="579"/>
                    <a:pt x="116" y="579"/>
                  </a:cubicBezTo>
                  <a:cubicBezTo>
                    <a:pt x="116" y="579"/>
                    <a:pt x="116" y="579"/>
                    <a:pt x="116" y="579"/>
                  </a:cubicBezTo>
                  <a:cubicBezTo>
                    <a:pt x="116" y="579"/>
                    <a:pt x="116" y="578"/>
                    <a:pt x="116" y="578"/>
                  </a:cubicBezTo>
                  <a:cubicBezTo>
                    <a:pt x="116" y="577"/>
                    <a:pt x="116" y="576"/>
                    <a:pt x="116" y="576"/>
                  </a:cubicBezTo>
                  <a:cubicBezTo>
                    <a:pt x="116" y="576"/>
                    <a:pt x="116" y="575"/>
                    <a:pt x="116" y="575"/>
                  </a:cubicBezTo>
                  <a:cubicBezTo>
                    <a:pt x="116" y="574"/>
                    <a:pt x="116" y="573"/>
                    <a:pt x="116" y="572"/>
                  </a:cubicBezTo>
                  <a:cubicBezTo>
                    <a:pt x="116" y="572"/>
                    <a:pt x="116" y="571"/>
                    <a:pt x="115" y="570"/>
                  </a:cubicBezTo>
                  <a:cubicBezTo>
                    <a:pt x="115" y="570"/>
                    <a:pt x="114" y="570"/>
                    <a:pt x="114" y="570"/>
                  </a:cubicBezTo>
                  <a:cubicBezTo>
                    <a:pt x="114" y="569"/>
                    <a:pt x="115" y="569"/>
                    <a:pt x="115" y="568"/>
                  </a:cubicBezTo>
                  <a:cubicBezTo>
                    <a:pt x="115" y="568"/>
                    <a:pt x="116" y="567"/>
                    <a:pt x="116" y="565"/>
                  </a:cubicBezTo>
                  <a:cubicBezTo>
                    <a:pt x="116" y="565"/>
                    <a:pt x="116" y="565"/>
                    <a:pt x="116" y="565"/>
                  </a:cubicBezTo>
                  <a:cubicBezTo>
                    <a:pt x="117" y="564"/>
                    <a:pt x="117" y="563"/>
                    <a:pt x="117" y="562"/>
                  </a:cubicBezTo>
                  <a:cubicBezTo>
                    <a:pt x="117" y="561"/>
                    <a:pt x="116" y="561"/>
                    <a:pt x="116" y="561"/>
                  </a:cubicBezTo>
                  <a:cubicBezTo>
                    <a:pt x="116" y="560"/>
                    <a:pt x="116" y="560"/>
                    <a:pt x="116" y="560"/>
                  </a:cubicBezTo>
                  <a:cubicBezTo>
                    <a:pt x="115" y="560"/>
                    <a:pt x="115" y="560"/>
                    <a:pt x="115" y="560"/>
                  </a:cubicBezTo>
                  <a:cubicBezTo>
                    <a:pt x="116" y="560"/>
                    <a:pt x="116" y="560"/>
                    <a:pt x="116" y="560"/>
                  </a:cubicBezTo>
                  <a:cubicBezTo>
                    <a:pt x="116" y="560"/>
                    <a:pt x="116" y="559"/>
                    <a:pt x="116" y="559"/>
                  </a:cubicBezTo>
                  <a:cubicBezTo>
                    <a:pt x="117" y="557"/>
                    <a:pt x="116" y="556"/>
                    <a:pt x="115" y="555"/>
                  </a:cubicBezTo>
                  <a:cubicBezTo>
                    <a:pt x="115" y="554"/>
                    <a:pt x="115" y="554"/>
                    <a:pt x="115" y="554"/>
                  </a:cubicBezTo>
                  <a:cubicBezTo>
                    <a:pt x="115" y="554"/>
                    <a:pt x="115" y="553"/>
                    <a:pt x="115" y="553"/>
                  </a:cubicBezTo>
                  <a:cubicBezTo>
                    <a:pt x="115" y="552"/>
                    <a:pt x="115" y="552"/>
                    <a:pt x="115" y="552"/>
                  </a:cubicBezTo>
                  <a:cubicBezTo>
                    <a:pt x="115" y="552"/>
                    <a:pt x="115" y="551"/>
                    <a:pt x="115" y="551"/>
                  </a:cubicBezTo>
                  <a:cubicBezTo>
                    <a:pt x="116" y="550"/>
                    <a:pt x="116" y="549"/>
                    <a:pt x="115" y="549"/>
                  </a:cubicBezTo>
                  <a:cubicBezTo>
                    <a:pt x="114" y="549"/>
                    <a:pt x="114" y="549"/>
                    <a:pt x="114" y="549"/>
                  </a:cubicBezTo>
                  <a:cubicBezTo>
                    <a:pt x="115" y="548"/>
                    <a:pt x="115" y="548"/>
                    <a:pt x="115" y="548"/>
                  </a:cubicBezTo>
                  <a:cubicBezTo>
                    <a:pt x="115" y="548"/>
                    <a:pt x="115" y="547"/>
                    <a:pt x="115" y="547"/>
                  </a:cubicBezTo>
                  <a:cubicBezTo>
                    <a:pt x="115" y="546"/>
                    <a:pt x="114" y="545"/>
                    <a:pt x="114" y="545"/>
                  </a:cubicBezTo>
                  <a:cubicBezTo>
                    <a:pt x="113" y="544"/>
                    <a:pt x="113" y="544"/>
                    <a:pt x="113" y="544"/>
                  </a:cubicBezTo>
                  <a:cubicBezTo>
                    <a:pt x="113" y="544"/>
                    <a:pt x="112" y="543"/>
                    <a:pt x="112" y="543"/>
                  </a:cubicBezTo>
                  <a:cubicBezTo>
                    <a:pt x="112" y="543"/>
                    <a:pt x="112" y="543"/>
                    <a:pt x="112" y="543"/>
                  </a:cubicBezTo>
                  <a:cubicBezTo>
                    <a:pt x="112" y="543"/>
                    <a:pt x="112" y="543"/>
                    <a:pt x="112" y="543"/>
                  </a:cubicBezTo>
                  <a:cubicBezTo>
                    <a:pt x="113" y="542"/>
                    <a:pt x="113" y="542"/>
                    <a:pt x="113" y="541"/>
                  </a:cubicBezTo>
                  <a:cubicBezTo>
                    <a:pt x="113" y="540"/>
                    <a:pt x="113" y="540"/>
                    <a:pt x="113" y="539"/>
                  </a:cubicBezTo>
                  <a:cubicBezTo>
                    <a:pt x="113" y="539"/>
                    <a:pt x="113" y="539"/>
                    <a:pt x="113" y="539"/>
                  </a:cubicBezTo>
                  <a:cubicBezTo>
                    <a:pt x="113" y="538"/>
                    <a:pt x="113" y="538"/>
                    <a:pt x="114" y="538"/>
                  </a:cubicBezTo>
                  <a:cubicBezTo>
                    <a:pt x="114" y="537"/>
                    <a:pt x="115" y="537"/>
                    <a:pt x="115" y="536"/>
                  </a:cubicBezTo>
                  <a:cubicBezTo>
                    <a:pt x="115" y="535"/>
                    <a:pt x="115" y="535"/>
                    <a:pt x="115" y="534"/>
                  </a:cubicBezTo>
                  <a:cubicBezTo>
                    <a:pt x="115" y="534"/>
                    <a:pt x="115" y="534"/>
                    <a:pt x="115" y="534"/>
                  </a:cubicBezTo>
                  <a:cubicBezTo>
                    <a:pt x="115" y="534"/>
                    <a:pt x="115" y="534"/>
                    <a:pt x="115" y="533"/>
                  </a:cubicBezTo>
                  <a:cubicBezTo>
                    <a:pt x="115" y="533"/>
                    <a:pt x="115" y="533"/>
                    <a:pt x="115" y="533"/>
                  </a:cubicBezTo>
                  <a:cubicBezTo>
                    <a:pt x="116" y="532"/>
                    <a:pt x="116" y="532"/>
                    <a:pt x="116" y="531"/>
                  </a:cubicBezTo>
                  <a:cubicBezTo>
                    <a:pt x="117" y="530"/>
                    <a:pt x="117" y="529"/>
                    <a:pt x="117" y="529"/>
                  </a:cubicBezTo>
                  <a:cubicBezTo>
                    <a:pt x="117" y="528"/>
                    <a:pt x="117" y="528"/>
                    <a:pt x="116" y="528"/>
                  </a:cubicBezTo>
                  <a:cubicBezTo>
                    <a:pt x="116" y="527"/>
                    <a:pt x="116" y="527"/>
                    <a:pt x="116" y="527"/>
                  </a:cubicBezTo>
                  <a:cubicBezTo>
                    <a:pt x="116" y="526"/>
                    <a:pt x="116" y="526"/>
                    <a:pt x="117" y="526"/>
                  </a:cubicBezTo>
                  <a:cubicBezTo>
                    <a:pt x="117" y="526"/>
                    <a:pt x="117" y="526"/>
                    <a:pt x="117" y="526"/>
                  </a:cubicBezTo>
                  <a:cubicBezTo>
                    <a:pt x="117" y="526"/>
                    <a:pt x="117" y="526"/>
                    <a:pt x="117" y="526"/>
                  </a:cubicBezTo>
                  <a:cubicBezTo>
                    <a:pt x="118" y="525"/>
                    <a:pt x="119" y="525"/>
                    <a:pt x="119" y="524"/>
                  </a:cubicBezTo>
                  <a:cubicBezTo>
                    <a:pt x="119" y="523"/>
                    <a:pt x="119" y="523"/>
                    <a:pt x="118" y="522"/>
                  </a:cubicBezTo>
                  <a:cubicBezTo>
                    <a:pt x="119" y="522"/>
                    <a:pt x="119" y="522"/>
                    <a:pt x="119" y="522"/>
                  </a:cubicBezTo>
                  <a:cubicBezTo>
                    <a:pt x="120" y="521"/>
                    <a:pt x="120" y="520"/>
                    <a:pt x="120" y="520"/>
                  </a:cubicBezTo>
                  <a:cubicBezTo>
                    <a:pt x="120" y="520"/>
                    <a:pt x="120" y="520"/>
                    <a:pt x="120" y="520"/>
                  </a:cubicBezTo>
                  <a:cubicBezTo>
                    <a:pt x="120" y="521"/>
                    <a:pt x="120" y="522"/>
                    <a:pt x="120" y="522"/>
                  </a:cubicBezTo>
                  <a:cubicBezTo>
                    <a:pt x="120" y="522"/>
                    <a:pt x="121" y="524"/>
                    <a:pt x="122" y="524"/>
                  </a:cubicBezTo>
                  <a:cubicBezTo>
                    <a:pt x="123" y="524"/>
                    <a:pt x="123" y="524"/>
                    <a:pt x="123" y="524"/>
                  </a:cubicBezTo>
                  <a:cubicBezTo>
                    <a:pt x="123" y="524"/>
                    <a:pt x="123" y="524"/>
                    <a:pt x="124" y="524"/>
                  </a:cubicBezTo>
                  <a:cubicBezTo>
                    <a:pt x="124" y="524"/>
                    <a:pt x="124" y="524"/>
                    <a:pt x="124" y="524"/>
                  </a:cubicBezTo>
                  <a:cubicBezTo>
                    <a:pt x="124" y="524"/>
                    <a:pt x="124" y="524"/>
                    <a:pt x="124" y="524"/>
                  </a:cubicBezTo>
                  <a:cubicBezTo>
                    <a:pt x="124" y="524"/>
                    <a:pt x="124" y="524"/>
                    <a:pt x="124" y="524"/>
                  </a:cubicBezTo>
                  <a:cubicBezTo>
                    <a:pt x="124" y="525"/>
                    <a:pt x="125" y="525"/>
                    <a:pt x="125" y="525"/>
                  </a:cubicBezTo>
                  <a:cubicBezTo>
                    <a:pt x="124" y="525"/>
                    <a:pt x="124" y="526"/>
                    <a:pt x="125" y="526"/>
                  </a:cubicBezTo>
                  <a:cubicBezTo>
                    <a:pt x="125" y="527"/>
                    <a:pt x="126" y="527"/>
                    <a:pt x="127" y="527"/>
                  </a:cubicBezTo>
                  <a:cubicBezTo>
                    <a:pt x="126" y="528"/>
                    <a:pt x="126" y="528"/>
                    <a:pt x="126" y="529"/>
                  </a:cubicBezTo>
                  <a:cubicBezTo>
                    <a:pt x="125" y="529"/>
                    <a:pt x="124" y="530"/>
                    <a:pt x="124" y="531"/>
                  </a:cubicBezTo>
                  <a:cubicBezTo>
                    <a:pt x="124" y="532"/>
                    <a:pt x="124" y="532"/>
                    <a:pt x="124" y="533"/>
                  </a:cubicBezTo>
                  <a:cubicBezTo>
                    <a:pt x="124" y="533"/>
                    <a:pt x="124" y="534"/>
                    <a:pt x="124" y="534"/>
                  </a:cubicBezTo>
                  <a:cubicBezTo>
                    <a:pt x="124" y="534"/>
                    <a:pt x="124" y="535"/>
                    <a:pt x="124" y="535"/>
                  </a:cubicBezTo>
                  <a:cubicBezTo>
                    <a:pt x="124" y="536"/>
                    <a:pt x="124" y="537"/>
                    <a:pt x="124" y="538"/>
                  </a:cubicBezTo>
                  <a:cubicBezTo>
                    <a:pt x="124" y="538"/>
                    <a:pt x="124" y="538"/>
                    <a:pt x="124" y="539"/>
                  </a:cubicBezTo>
                  <a:cubicBezTo>
                    <a:pt x="124" y="539"/>
                    <a:pt x="124" y="539"/>
                    <a:pt x="124" y="539"/>
                  </a:cubicBezTo>
                  <a:cubicBezTo>
                    <a:pt x="124" y="539"/>
                    <a:pt x="124" y="539"/>
                    <a:pt x="124" y="539"/>
                  </a:cubicBezTo>
                  <a:cubicBezTo>
                    <a:pt x="124" y="539"/>
                    <a:pt x="123" y="540"/>
                    <a:pt x="123" y="540"/>
                  </a:cubicBezTo>
                  <a:cubicBezTo>
                    <a:pt x="123" y="541"/>
                    <a:pt x="123" y="543"/>
                    <a:pt x="123" y="544"/>
                  </a:cubicBezTo>
                  <a:cubicBezTo>
                    <a:pt x="123" y="545"/>
                    <a:pt x="123" y="545"/>
                    <a:pt x="123" y="545"/>
                  </a:cubicBezTo>
                  <a:cubicBezTo>
                    <a:pt x="123" y="546"/>
                    <a:pt x="123" y="547"/>
                    <a:pt x="122" y="548"/>
                  </a:cubicBezTo>
                  <a:cubicBezTo>
                    <a:pt x="121" y="549"/>
                    <a:pt x="121" y="550"/>
                    <a:pt x="122" y="551"/>
                  </a:cubicBezTo>
                  <a:cubicBezTo>
                    <a:pt x="122" y="552"/>
                    <a:pt x="122" y="552"/>
                    <a:pt x="123" y="552"/>
                  </a:cubicBezTo>
                  <a:cubicBezTo>
                    <a:pt x="123" y="552"/>
                    <a:pt x="123" y="552"/>
                    <a:pt x="122" y="553"/>
                  </a:cubicBezTo>
                  <a:cubicBezTo>
                    <a:pt x="122" y="553"/>
                    <a:pt x="122" y="553"/>
                    <a:pt x="122" y="554"/>
                  </a:cubicBezTo>
                  <a:cubicBezTo>
                    <a:pt x="122" y="555"/>
                    <a:pt x="122" y="556"/>
                    <a:pt x="122" y="557"/>
                  </a:cubicBezTo>
                  <a:cubicBezTo>
                    <a:pt x="122" y="557"/>
                    <a:pt x="122" y="557"/>
                    <a:pt x="122" y="557"/>
                  </a:cubicBezTo>
                  <a:cubicBezTo>
                    <a:pt x="123" y="557"/>
                    <a:pt x="123" y="558"/>
                    <a:pt x="123" y="558"/>
                  </a:cubicBezTo>
                  <a:cubicBezTo>
                    <a:pt x="123" y="558"/>
                    <a:pt x="123" y="558"/>
                    <a:pt x="123" y="559"/>
                  </a:cubicBezTo>
                  <a:cubicBezTo>
                    <a:pt x="122" y="559"/>
                    <a:pt x="122" y="559"/>
                    <a:pt x="122" y="560"/>
                  </a:cubicBezTo>
                  <a:cubicBezTo>
                    <a:pt x="122" y="560"/>
                    <a:pt x="122" y="560"/>
                    <a:pt x="122" y="560"/>
                  </a:cubicBezTo>
                  <a:cubicBezTo>
                    <a:pt x="122" y="561"/>
                    <a:pt x="122" y="561"/>
                    <a:pt x="122" y="562"/>
                  </a:cubicBezTo>
                  <a:cubicBezTo>
                    <a:pt x="122" y="563"/>
                    <a:pt x="123" y="563"/>
                    <a:pt x="123" y="563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63"/>
                    <a:pt x="123" y="564"/>
                    <a:pt x="123" y="564"/>
                  </a:cubicBezTo>
                  <a:cubicBezTo>
                    <a:pt x="123" y="564"/>
                    <a:pt x="123" y="565"/>
                    <a:pt x="123" y="565"/>
                  </a:cubicBezTo>
                  <a:cubicBezTo>
                    <a:pt x="123" y="565"/>
                    <a:pt x="123" y="565"/>
                    <a:pt x="123" y="565"/>
                  </a:cubicBezTo>
                  <a:cubicBezTo>
                    <a:pt x="123" y="566"/>
                    <a:pt x="123" y="566"/>
                    <a:pt x="123" y="566"/>
                  </a:cubicBezTo>
                  <a:cubicBezTo>
                    <a:pt x="123" y="566"/>
                    <a:pt x="123" y="566"/>
                    <a:pt x="123" y="567"/>
                  </a:cubicBezTo>
                  <a:cubicBezTo>
                    <a:pt x="124" y="567"/>
                    <a:pt x="124" y="567"/>
                    <a:pt x="124" y="567"/>
                  </a:cubicBezTo>
                  <a:cubicBezTo>
                    <a:pt x="124" y="567"/>
                    <a:pt x="124" y="568"/>
                    <a:pt x="125" y="569"/>
                  </a:cubicBezTo>
                  <a:cubicBezTo>
                    <a:pt x="125" y="569"/>
                    <a:pt x="125" y="569"/>
                    <a:pt x="125" y="569"/>
                  </a:cubicBezTo>
                  <a:cubicBezTo>
                    <a:pt x="125" y="569"/>
                    <a:pt x="125" y="569"/>
                    <a:pt x="125" y="569"/>
                  </a:cubicBezTo>
                  <a:cubicBezTo>
                    <a:pt x="125" y="569"/>
                    <a:pt x="125" y="569"/>
                    <a:pt x="125" y="569"/>
                  </a:cubicBezTo>
                  <a:cubicBezTo>
                    <a:pt x="125" y="571"/>
                    <a:pt x="126" y="571"/>
                    <a:pt x="126" y="572"/>
                  </a:cubicBezTo>
                  <a:cubicBezTo>
                    <a:pt x="126" y="573"/>
                    <a:pt x="126" y="574"/>
                    <a:pt x="126" y="574"/>
                  </a:cubicBezTo>
                  <a:cubicBezTo>
                    <a:pt x="126" y="575"/>
                    <a:pt x="126" y="575"/>
                    <a:pt x="126" y="575"/>
                  </a:cubicBezTo>
                  <a:cubicBezTo>
                    <a:pt x="126" y="576"/>
                    <a:pt x="126" y="576"/>
                    <a:pt x="126" y="577"/>
                  </a:cubicBezTo>
                  <a:cubicBezTo>
                    <a:pt x="127" y="577"/>
                    <a:pt x="127" y="578"/>
                    <a:pt x="127" y="578"/>
                  </a:cubicBezTo>
                  <a:cubicBezTo>
                    <a:pt x="127" y="578"/>
                    <a:pt x="127" y="579"/>
                    <a:pt x="127" y="579"/>
                  </a:cubicBezTo>
                  <a:cubicBezTo>
                    <a:pt x="127" y="579"/>
                    <a:pt x="128" y="580"/>
                    <a:pt x="128" y="580"/>
                  </a:cubicBezTo>
                  <a:cubicBezTo>
                    <a:pt x="128" y="580"/>
                    <a:pt x="128" y="580"/>
                    <a:pt x="129" y="581"/>
                  </a:cubicBezTo>
                  <a:cubicBezTo>
                    <a:pt x="129" y="581"/>
                    <a:pt x="128" y="581"/>
                    <a:pt x="128" y="582"/>
                  </a:cubicBezTo>
                  <a:cubicBezTo>
                    <a:pt x="130" y="582"/>
                    <a:pt x="130" y="582"/>
                    <a:pt x="130" y="582"/>
                  </a:cubicBezTo>
                  <a:cubicBezTo>
                    <a:pt x="130" y="582"/>
                    <a:pt x="130" y="582"/>
                    <a:pt x="130" y="582"/>
                  </a:cubicBezTo>
                  <a:cubicBezTo>
                    <a:pt x="130" y="582"/>
                    <a:pt x="130" y="582"/>
                    <a:pt x="130" y="582"/>
                  </a:cubicBezTo>
                  <a:cubicBezTo>
                    <a:pt x="128" y="582"/>
                    <a:pt x="128" y="582"/>
                    <a:pt x="128" y="582"/>
                  </a:cubicBezTo>
                  <a:cubicBezTo>
                    <a:pt x="128" y="583"/>
                    <a:pt x="128" y="585"/>
                    <a:pt x="129" y="586"/>
                  </a:cubicBezTo>
                  <a:cubicBezTo>
                    <a:pt x="129" y="586"/>
                    <a:pt x="130" y="587"/>
                    <a:pt x="130" y="587"/>
                  </a:cubicBezTo>
                  <a:cubicBezTo>
                    <a:pt x="130" y="587"/>
                    <a:pt x="130" y="587"/>
                    <a:pt x="131" y="587"/>
                  </a:cubicBezTo>
                  <a:cubicBezTo>
                    <a:pt x="131" y="585"/>
                    <a:pt x="131" y="585"/>
                    <a:pt x="131" y="585"/>
                  </a:cubicBezTo>
                  <a:cubicBezTo>
                    <a:pt x="131" y="586"/>
                    <a:pt x="131" y="586"/>
                    <a:pt x="131" y="586"/>
                  </a:cubicBezTo>
                  <a:cubicBezTo>
                    <a:pt x="131" y="587"/>
                    <a:pt x="131" y="587"/>
                    <a:pt x="131" y="587"/>
                  </a:cubicBezTo>
                  <a:cubicBezTo>
                    <a:pt x="131" y="588"/>
                    <a:pt x="131" y="589"/>
                    <a:pt x="131" y="590"/>
                  </a:cubicBezTo>
                  <a:cubicBezTo>
                    <a:pt x="131" y="590"/>
                    <a:pt x="131" y="590"/>
                    <a:pt x="130" y="590"/>
                  </a:cubicBezTo>
                  <a:cubicBezTo>
                    <a:pt x="130" y="591"/>
                    <a:pt x="130" y="591"/>
                    <a:pt x="130" y="592"/>
                  </a:cubicBezTo>
                  <a:cubicBezTo>
                    <a:pt x="130" y="592"/>
                    <a:pt x="130" y="592"/>
                    <a:pt x="130" y="592"/>
                  </a:cubicBezTo>
                  <a:cubicBezTo>
                    <a:pt x="128" y="592"/>
                    <a:pt x="127" y="593"/>
                    <a:pt x="127" y="594"/>
                  </a:cubicBezTo>
                  <a:cubicBezTo>
                    <a:pt x="127" y="594"/>
                    <a:pt x="127" y="594"/>
                    <a:pt x="127" y="594"/>
                  </a:cubicBezTo>
                  <a:cubicBezTo>
                    <a:pt x="127" y="596"/>
                    <a:pt x="127" y="597"/>
                    <a:pt x="127" y="598"/>
                  </a:cubicBezTo>
                  <a:cubicBezTo>
                    <a:pt x="128" y="599"/>
                    <a:pt x="128" y="599"/>
                    <a:pt x="129" y="599"/>
                  </a:cubicBezTo>
                  <a:cubicBezTo>
                    <a:pt x="129" y="600"/>
                    <a:pt x="129" y="600"/>
                    <a:pt x="130" y="600"/>
                  </a:cubicBezTo>
                  <a:cubicBezTo>
                    <a:pt x="130" y="601"/>
                    <a:pt x="130" y="601"/>
                    <a:pt x="130" y="601"/>
                  </a:cubicBezTo>
                  <a:cubicBezTo>
                    <a:pt x="130" y="601"/>
                    <a:pt x="130" y="602"/>
                    <a:pt x="130" y="602"/>
                  </a:cubicBezTo>
                  <a:cubicBezTo>
                    <a:pt x="130" y="603"/>
                    <a:pt x="130" y="603"/>
                    <a:pt x="130" y="604"/>
                  </a:cubicBezTo>
                  <a:cubicBezTo>
                    <a:pt x="130" y="604"/>
                    <a:pt x="130" y="604"/>
                    <a:pt x="130" y="604"/>
                  </a:cubicBezTo>
                  <a:cubicBezTo>
                    <a:pt x="131" y="604"/>
                    <a:pt x="131" y="605"/>
                    <a:pt x="132" y="606"/>
                  </a:cubicBezTo>
                  <a:cubicBezTo>
                    <a:pt x="134" y="607"/>
                    <a:pt x="134" y="607"/>
                    <a:pt x="134" y="607"/>
                  </a:cubicBezTo>
                  <a:cubicBezTo>
                    <a:pt x="134" y="606"/>
                    <a:pt x="134" y="606"/>
                    <a:pt x="134" y="606"/>
                  </a:cubicBezTo>
                  <a:cubicBezTo>
                    <a:pt x="134" y="606"/>
                    <a:pt x="134" y="607"/>
                    <a:pt x="134" y="607"/>
                  </a:cubicBezTo>
                  <a:cubicBezTo>
                    <a:pt x="134" y="608"/>
                    <a:pt x="134" y="608"/>
                    <a:pt x="134" y="609"/>
                  </a:cubicBezTo>
                  <a:cubicBezTo>
                    <a:pt x="134" y="609"/>
                    <a:pt x="134" y="609"/>
                    <a:pt x="134" y="609"/>
                  </a:cubicBezTo>
                  <a:cubicBezTo>
                    <a:pt x="134" y="609"/>
                    <a:pt x="134" y="610"/>
                    <a:pt x="134" y="610"/>
                  </a:cubicBezTo>
                  <a:cubicBezTo>
                    <a:pt x="134" y="611"/>
                    <a:pt x="133" y="611"/>
                    <a:pt x="134" y="612"/>
                  </a:cubicBezTo>
                  <a:cubicBezTo>
                    <a:pt x="134" y="614"/>
                    <a:pt x="134" y="614"/>
                    <a:pt x="134" y="614"/>
                  </a:cubicBezTo>
                  <a:cubicBezTo>
                    <a:pt x="134" y="614"/>
                    <a:pt x="134" y="615"/>
                    <a:pt x="135" y="616"/>
                  </a:cubicBezTo>
                  <a:cubicBezTo>
                    <a:pt x="135" y="616"/>
                    <a:pt x="136" y="617"/>
                    <a:pt x="136" y="618"/>
                  </a:cubicBezTo>
                  <a:cubicBezTo>
                    <a:pt x="136" y="619"/>
                    <a:pt x="136" y="619"/>
                    <a:pt x="137" y="620"/>
                  </a:cubicBezTo>
                  <a:cubicBezTo>
                    <a:pt x="137" y="620"/>
                    <a:pt x="137" y="620"/>
                    <a:pt x="137" y="621"/>
                  </a:cubicBezTo>
                  <a:cubicBezTo>
                    <a:pt x="137" y="621"/>
                    <a:pt x="137" y="621"/>
                    <a:pt x="137" y="621"/>
                  </a:cubicBezTo>
                  <a:cubicBezTo>
                    <a:pt x="138" y="621"/>
                    <a:pt x="138" y="622"/>
                    <a:pt x="138" y="622"/>
                  </a:cubicBezTo>
                  <a:cubicBezTo>
                    <a:pt x="138" y="623"/>
                    <a:pt x="138" y="624"/>
                    <a:pt x="138" y="625"/>
                  </a:cubicBezTo>
                  <a:cubicBezTo>
                    <a:pt x="138" y="625"/>
                    <a:pt x="138" y="625"/>
                    <a:pt x="138" y="626"/>
                  </a:cubicBezTo>
                  <a:cubicBezTo>
                    <a:pt x="138" y="626"/>
                    <a:pt x="138" y="626"/>
                    <a:pt x="138" y="626"/>
                  </a:cubicBezTo>
                  <a:cubicBezTo>
                    <a:pt x="138" y="626"/>
                    <a:pt x="138" y="626"/>
                    <a:pt x="138" y="626"/>
                  </a:cubicBezTo>
                  <a:cubicBezTo>
                    <a:pt x="138" y="627"/>
                    <a:pt x="139" y="628"/>
                    <a:pt x="139" y="629"/>
                  </a:cubicBezTo>
                  <a:cubicBezTo>
                    <a:pt x="139" y="629"/>
                    <a:pt x="139" y="629"/>
                    <a:pt x="139" y="630"/>
                  </a:cubicBezTo>
                  <a:cubicBezTo>
                    <a:pt x="139" y="630"/>
                    <a:pt x="139" y="630"/>
                    <a:pt x="139" y="630"/>
                  </a:cubicBezTo>
                  <a:cubicBezTo>
                    <a:pt x="140" y="631"/>
                    <a:pt x="140" y="631"/>
                    <a:pt x="140" y="631"/>
                  </a:cubicBezTo>
                  <a:cubicBezTo>
                    <a:pt x="140" y="631"/>
                    <a:pt x="140" y="631"/>
                    <a:pt x="140" y="631"/>
                  </a:cubicBezTo>
                  <a:cubicBezTo>
                    <a:pt x="140" y="632"/>
                    <a:pt x="140" y="632"/>
                    <a:pt x="140" y="632"/>
                  </a:cubicBezTo>
                  <a:cubicBezTo>
                    <a:pt x="140" y="632"/>
                    <a:pt x="140" y="632"/>
                    <a:pt x="140" y="632"/>
                  </a:cubicBezTo>
                  <a:cubicBezTo>
                    <a:pt x="140" y="633"/>
                    <a:pt x="140" y="633"/>
                    <a:pt x="140" y="634"/>
                  </a:cubicBezTo>
                  <a:cubicBezTo>
                    <a:pt x="140" y="634"/>
                    <a:pt x="141" y="635"/>
                    <a:pt x="141" y="635"/>
                  </a:cubicBezTo>
                  <a:cubicBezTo>
                    <a:pt x="141" y="636"/>
                    <a:pt x="141" y="636"/>
                    <a:pt x="141" y="636"/>
                  </a:cubicBezTo>
                  <a:cubicBezTo>
                    <a:pt x="141" y="636"/>
                    <a:pt x="142" y="636"/>
                    <a:pt x="142" y="637"/>
                  </a:cubicBezTo>
                  <a:cubicBezTo>
                    <a:pt x="142" y="637"/>
                    <a:pt x="142" y="637"/>
                    <a:pt x="142" y="637"/>
                  </a:cubicBezTo>
                  <a:cubicBezTo>
                    <a:pt x="141" y="638"/>
                    <a:pt x="141" y="638"/>
                    <a:pt x="141" y="638"/>
                  </a:cubicBezTo>
                  <a:cubicBezTo>
                    <a:pt x="141" y="638"/>
                    <a:pt x="141" y="638"/>
                    <a:pt x="141" y="638"/>
                  </a:cubicBezTo>
                  <a:cubicBezTo>
                    <a:pt x="141" y="639"/>
                    <a:pt x="141" y="639"/>
                    <a:pt x="141" y="639"/>
                  </a:cubicBezTo>
                  <a:cubicBezTo>
                    <a:pt x="141" y="639"/>
                    <a:pt x="141" y="640"/>
                    <a:pt x="141" y="640"/>
                  </a:cubicBezTo>
                  <a:cubicBezTo>
                    <a:pt x="141" y="640"/>
                    <a:pt x="141" y="640"/>
                    <a:pt x="140" y="641"/>
                  </a:cubicBezTo>
                  <a:cubicBezTo>
                    <a:pt x="140" y="641"/>
                    <a:pt x="140" y="641"/>
                    <a:pt x="140" y="641"/>
                  </a:cubicBezTo>
                  <a:cubicBezTo>
                    <a:pt x="140" y="643"/>
                    <a:pt x="139" y="645"/>
                    <a:pt x="140" y="646"/>
                  </a:cubicBezTo>
                  <a:cubicBezTo>
                    <a:pt x="140" y="647"/>
                    <a:pt x="140" y="647"/>
                    <a:pt x="140" y="648"/>
                  </a:cubicBezTo>
                  <a:cubicBezTo>
                    <a:pt x="140" y="648"/>
                    <a:pt x="141" y="648"/>
                    <a:pt x="141" y="648"/>
                  </a:cubicBezTo>
                  <a:cubicBezTo>
                    <a:pt x="141" y="649"/>
                    <a:pt x="140" y="650"/>
                    <a:pt x="140" y="650"/>
                  </a:cubicBezTo>
                  <a:cubicBezTo>
                    <a:pt x="140" y="651"/>
                    <a:pt x="140" y="651"/>
                    <a:pt x="140" y="651"/>
                  </a:cubicBezTo>
                  <a:cubicBezTo>
                    <a:pt x="140" y="651"/>
                    <a:pt x="140" y="651"/>
                    <a:pt x="140" y="651"/>
                  </a:cubicBezTo>
                  <a:cubicBezTo>
                    <a:pt x="140" y="652"/>
                    <a:pt x="140" y="653"/>
                    <a:pt x="139" y="653"/>
                  </a:cubicBezTo>
                  <a:cubicBezTo>
                    <a:pt x="139" y="653"/>
                    <a:pt x="139" y="653"/>
                    <a:pt x="139" y="654"/>
                  </a:cubicBezTo>
                  <a:cubicBezTo>
                    <a:pt x="138" y="654"/>
                    <a:pt x="138" y="654"/>
                    <a:pt x="137" y="655"/>
                  </a:cubicBezTo>
                  <a:cubicBezTo>
                    <a:pt x="136" y="656"/>
                    <a:pt x="136" y="657"/>
                    <a:pt x="138" y="659"/>
                  </a:cubicBezTo>
                  <a:cubicBezTo>
                    <a:pt x="138" y="659"/>
                    <a:pt x="138" y="659"/>
                    <a:pt x="138" y="660"/>
                  </a:cubicBezTo>
                  <a:cubicBezTo>
                    <a:pt x="138" y="660"/>
                    <a:pt x="138" y="660"/>
                    <a:pt x="138" y="660"/>
                  </a:cubicBezTo>
                  <a:cubicBezTo>
                    <a:pt x="138" y="660"/>
                    <a:pt x="138" y="661"/>
                    <a:pt x="138" y="661"/>
                  </a:cubicBezTo>
                  <a:cubicBezTo>
                    <a:pt x="138" y="661"/>
                    <a:pt x="137" y="660"/>
                    <a:pt x="137" y="660"/>
                  </a:cubicBezTo>
                  <a:cubicBezTo>
                    <a:pt x="136" y="660"/>
                    <a:pt x="135" y="660"/>
                    <a:pt x="135" y="661"/>
                  </a:cubicBezTo>
                  <a:cubicBezTo>
                    <a:pt x="134" y="661"/>
                    <a:pt x="134" y="661"/>
                    <a:pt x="134" y="662"/>
                  </a:cubicBezTo>
                  <a:cubicBezTo>
                    <a:pt x="134" y="663"/>
                    <a:pt x="134" y="663"/>
                    <a:pt x="134" y="664"/>
                  </a:cubicBezTo>
                  <a:cubicBezTo>
                    <a:pt x="134" y="664"/>
                    <a:pt x="134" y="665"/>
                    <a:pt x="134" y="665"/>
                  </a:cubicBezTo>
                  <a:cubicBezTo>
                    <a:pt x="134" y="666"/>
                    <a:pt x="134" y="667"/>
                    <a:pt x="135" y="668"/>
                  </a:cubicBezTo>
                  <a:cubicBezTo>
                    <a:pt x="135" y="668"/>
                    <a:pt x="135" y="669"/>
                    <a:pt x="135" y="669"/>
                  </a:cubicBezTo>
                  <a:cubicBezTo>
                    <a:pt x="135" y="669"/>
                    <a:pt x="135" y="670"/>
                    <a:pt x="135" y="670"/>
                  </a:cubicBezTo>
                  <a:cubicBezTo>
                    <a:pt x="136" y="671"/>
                    <a:pt x="136" y="671"/>
                    <a:pt x="136" y="671"/>
                  </a:cubicBezTo>
                  <a:cubicBezTo>
                    <a:pt x="136" y="671"/>
                    <a:pt x="136" y="672"/>
                    <a:pt x="136" y="672"/>
                  </a:cubicBezTo>
                  <a:cubicBezTo>
                    <a:pt x="136" y="673"/>
                    <a:pt x="136" y="675"/>
                    <a:pt x="137" y="676"/>
                  </a:cubicBezTo>
                  <a:cubicBezTo>
                    <a:pt x="137" y="676"/>
                    <a:pt x="137" y="677"/>
                    <a:pt x="138" y="677"/>
                  </a:cubicBezTo>
                  <a:cubicBezTo>
                    <a:pt x="138" y="678"/>
                    <a:pt x="138" y="678"/>
                    <a:pt x="138" y="678"/>
                  </a:cubicBezTo>
                  <a:cubicBezTo>
                    <a:pt x="139" y="679"/>
                    <a:pt x="140" y="679"/>
                    <a:pt x="140" y="679"/>
                  </a:cubicBezTo>
                  <a:cubicBezTo>
                    <a:pt x="140" y="679"/>
                    <a:pt x="140" y="679"/>
                    <a:pt x="140" y="679"/>
                  </a:cubicBezTo>
                  <a:cubicBezTo>
                    <a:pt x="141" y="680"/>
                    <a:pt x="141" y="680"/>
                    <a:pt x="141" y="680"/>
                  </a:cubicBezTo>
                  <a:cubicBezTo>
                    <a:pt x="142" y="681"/>
                    <a:pt x="143" y="681"/>
                    <a:pt x="143" y="682"/>
                  </a:cubicBezTo>
                  <a:cubicBezTo>
                    <a:pt x="144" y="682"/>
                    <a:pt x="144" y="682"/>
                    <a:pt x="144" y="683"/>
                  </a:cubicBezTo>
                  <a:cubicBezTo>
                    <a:pt x="144" y="683"/>
                    <a:pt x="144" y="683"/>
                    <a:pt x="144" y="683"/>
                  </a:cubicBezTo>
                  <a:cubicBezTo>
                    <a:pt x="144" y="684"/>
                    <a:pt x="144" y="684"/>
                    <a:pt x="144" y="684"/>
                  </a:cubicBezTo>
                  <a:cubicBezTo>
                    <a:pt x="144" y="685"/>
                    <a:pt x="144" y="686"/>
                    <a:pt x="144" y="686"/>
                  </a:cubicBezTo>
                  <a:cubicBezTo>
                    <a:pt x="144" y="687"/>
                    <a:pt x="144" y="687"/>
                    <a:pt x="145" y="688"/>
                  </a:cubicBezTo>
                  <a:cubicBezTo>
                    <a:pt x="145" y="688"/>
                    <a:pt x="145" y="688"/>
                    <a:pt x="145" y="688"/>
                  </a:cubicBezTo>
                  <a:cubicBezTo>
                    <a:pt x="145" y="688"/>
                    <a:pt x="145" y="688"/>
                    <a:pt x="145" y="688"/>
                  </a:cubicBezTo>
                  <a:cubicBezTo>
                    <a:pt x="145" y="689"/>
                    <a:pt x="145" y="689"/>
                    <a:pt x="146" y="690"/>
                  </a:cubicBezTo>
                  <a:cubicBezTo>
                    <a:pt x="146" y="690"/>
                    <a:pt x="146" y="690"/>
                    <a:pt x="147" y="690"/>
                  </a:cubicBezTo>
                  <a:cubicBezTo>
                    <a:pt x="148" y="691"/>
                    <a:pt x="148" y="691"/>
                    <a:pt x="148" y="691"/>
                  </a:cubicBezTo>
                  <a:cubicBezTo>
                    <a:pt x="148" y="690"/>
                    <a:pt x="148" y="690"/>
                    <a:pt x="148" y="690"/>
                  </a:cubicBezTo>
                  <a:cubicBezTo>
                    <a:pt x="148" y="690"/>
                    <a:pt x="148" y="691"/>
                    <a:pt x="149" y="691"/>
                  </a:cubicBezTo>
                  <a:cubicBezTo>
                    <a:pt x="149" y="691"/>
                    <a:pt x="149" y="691"/>
                    <a:pt x="149" y="691"/>
                  </a:cubicBezTo>
                  <a:cubicBezTo>
                    <a:pt x="149" y="691"/>
                    <a:pt x="150" y="691"/>
                    <a:pt x="150" y="691"/>
                  </a:cubicBezTo>
                  <a:cubicBezTo>
                    <a:pt x="150" y="691"/>
                    <a:pt x="150" y="691"/>
                    <a:pt x="150" y="691"/>
                  </a:cubicBezTo>
                  <a:cubicBezTo>
                    <a:pt x="151" y="692"/>
                    <a:pt x="151" y="692"/>
                    <a:pt x="152" y="693"/>
                  </a:cubicBezTo>
                  <a:cubicBezTo>
                    <a:pt x="152" y="693"/>
                    <a:pt x="153" y="693"/>
                    <a:pt x="154" y="693"/>
                  </a:cubicBezTo>
                  <a:cubicBezTo>
                    <a:pt x="154" y="693"/>
                    <a:pt x="154" y="693"/>
                    <a:pt x="155" y="693"/>
                  </a:cubicBezTo>
                  <a:cubicBezTo>
                    <a:pt x="155" y="693"/>
                    <a:pt x="155" y="693"/>
                    <a:pt x="155" y="694"/>
                  </a:cubicBezTo>
                  <a:cubicBezTo>
                    <a:pt x="155" y="694"/>
                    <a:pt x="156" y="694"/>
                    <a:pt x="157" y="694"/>
                  </a:cubicBezTo>
                  <a:cubicBezTo>
                    <a:pt x="157" y="694"/>
                    <a:pt x="157" y="694"/>
                    <a:pt x="157" y="694"/>
                  </a:cubicBezTo>
                  <a:cubicBezTo>
                    <a:pt x="157" y="694"/>
                    <a:pt x="157" y="695"/>
                    <a:pt x="158" y="695"/>
                  </a:cubicBezTo>
                  <a:cubicBezTo>
                    <a:pt x="158" y="696"/>
                    <a:pt x="158" y="696"/>
                    <a:pt x="158" y="696"/>
                  </a:cubicBezTo>
                  <a:cubicBezTo>
                    <a:pt x="158" y="697"/>
                    <a:pt x="159" y="698"/>
                    <a:pt x="159" y="699"/>
                  </a:cubicBezTo>
                  <a:cubicBezTo>
                    <a:pt x="160" y="699"/>
                    <a:pt x="160" y="699"/>
                    <a:pt x="160" y="699"/>
                  </a:cubicBezTo>
                  <a:cubicBezTo>
                    <a:pt x="160" y="699"/>
                    <a:pt x="160" y="700"/>
                    <a:pt x="160" y="700"/>
                  </a:cubicBezTo>
                  <a:cubicBezTo>
                    <a:pt x="160" y="700"/>
                    <a:pt x="160" y="700"/>
                    <a:pt x="160" y="700"/>
                  </a:cubicBezTo>
                  <a:cubicBezTo>
                    <a:pt x="161" y="701"/>
                    <a:pt x="161" y="702"/>
                    <a:pt x="162" y="702"/>
                  </a:cubicBezTo>
                  <a:cubicBezTo>
                    <a:pt x="162" y="702"/>
                    <a:pt x="163" y="702"/>
                    <a:pt x="164" y="703"/>
                  </a:cubicBezTo>
                  <a:cubicBezTo>
                    <a:pt x="164" y="703"/>
                    <a:pt x="164" y="703"/>
                    <a:pt x="164" y="703"/>
                  </a:cubicBezTo>
                  <a:cubicBezTo>
                    <a:pt x="165" y="704"/>
                    <a:pt x="165" y="704"/>
                    <a:pt x="165" y="704"/>
                  </a:cubicBezTo>
                  <a:cubicBezTo>
                    <a:pt x="165" y="705"/>
                    <a:pt x="166" y="705"/>
                    <a:pt x="167" y="705"/>
                  </a:cubicBezTo>
                  <a:cubicBezTo>
                    <a:pt x="167" y="705"/>
                    <a:pt x="167" y="705"/>
                    <a:pt x="168" y="706"/>
                  </a:cubicBezTo>
                  <a:cubicBezTo>
                    <a:pt x="168" y="706"/>
                    <a:pt x="168" y="706"/>
                    <a:pt x="169" y="706"/>
                  </a:cubicBezTo>
                  <a:cubicBezTo>
                    <a:pt x="169" y="706"/>
                    <a:pt x="169" y="706"/>
                    <a:pt x="170" y="706"/>
                  </a:cubicBezTo>
                  <a:cubicBezTo>
                    <a:pt x="170" y="706"/>
                    <a:pt x="170" y="706"/>
                    <a:pt x="170" y="706"/>
                  </a:cubicBezTo>
                  <a:cubicBezTo>
                    <a:pt x="170" y="707"/>
                    <a:pt x="171" y="707"/>
                    <a:pt x="171" y="707"/>
                  </a:cubicBezTo>
                  <a:cubicBezTo>
                    <a:pt x="171" y="708"/>
                    <a:pt x="171" y="708"/>
                    <a:pt x="171" y="708"/>
                  </a:cubicBezTo>
                  <a:cubicBezTo>
                    <a:pt x="172" y="708"/>
                    <a:pt x="172" y="709"/>
                    <a:pt x="173" y="710"/>
                  </a:cubicBezTo>
                  <a:cubicBezTo>
                    <a:pt x="174" y="711"/>
                    <a:pt x="175" y="711"/>
                    <a:pt x="176" y="712"/>
                  </a:cubicBezTo>
                  <a:cubicBezTo>
                    <a:pt x="177" y="712"/>
                    <a:pt x="177" y="712"/>
                    <a:pt x="178" y="712"/>
                  </a:cubicBezTo>
                  <a:cubicBezTo>
                    <a:pt x="178" y="713"/>
                    <a:pt x="178" y="713"/>
                    <a:pt x="179" y="714"/>
                  </a:cubicBezTo>
                  <a:cubicBezTo>
                    <a:pt x="179" y="715"/>
                    <a:pt x="180" y="715"/>
                    <a:pt x="181" y="716"/>
                  </a:cubicBezTo>
                  <a:cubicBezTo>
                    <a:pt x="181" y="716"/>
                    <a:pt x="181" y="717"/>
                    <a:pt x="181" y="717"/>
                  </a:cubicBezTo>
                  <a:cubicBezTo>
                    <a:pt x="181" y="717"/>
                    <a:pt x="182" y="717"/>
                    <a:pt x="182" y="717"/>
                  </a:cubicBezTo>
                  <a:cubicBezTo>
                    <a:pt x="182" y="718"/>
                    <a:pt x="182" y="718"/>
                    <a:pt x="182" y="718"/>
                  </a:cubicBezTo>
                  <a:cubicBezTo>
                    <a:pt x="182" y="719"/>
                    <a:pt x="183" y="719"/>
                    <a:pt x="183" y="719"/>
                  </a:cubicBezTo>
                  <a:cubicBezTo>
                    <a:pt x="184" y="719"/>
                    <a:pt x="184" y="719"/>
                    <a:pt x="184" y="719"/>
                  </a:cubicBezTo>
                  <a:cubicBezTo>
                    <a:pt x="184" y="719"/>
                    <a:pt x="184" y="719"/>
                    <a:pt x="184" y="719"/>
                  </a:cubicBezTo>
                  <a:cubicBezTo>
                    <a:pt x="185" y="719"/>
                    <a:pt x="185" y="719"/>
                    <a:pt x="185" y="719"/>
                  </a:cubicBezTo>
                  <a:cubicBezTo>
                    <a:pt x="186" y="719"/>
                    <a:pt x="186" y="719"/>
                    <a:pt x="187" y="719"/>
                  </a:cubicBezTo>
                  <a:cubicBezTo>
                    <a:pt x="187" y="719"/>
                    <a:pt x="187" y="719"/>
                    <a:pt x="187" y="719"/>
                  </a:cubicBezTo>
                  <a:cubicBezTo>
                    <a:pt x="187" y="719"/>
                    <a:pt x="188" y="720"/>
                    <a:pt x="188" y="720"/>
                  </a:cubicBezTo>
                  <a:cubicBezTo>
                    <a:pt x="188" y="720"/>
                    <a:pt x="188" y="720"/>
                    <a:pt x="188" y="720"/>
                  </a:cubicBezTo>
                  <a:cubicBezTo>
                    <a:pt x="188" y="720"/>
                    <a:pt x="188" y="721"/>
                    <a:pt x="189" y="722"/>
                  </a:cubicBezTo>
                  <a:cubicBezTo>
                    <a:pt x="189" y="722"/>
                    <a:pt x="190" y="722"/>
                    <a:pt x="191" y="723"/>
                  </a:cubicBezTo>
                  <a:cubicBezTo>
                    <a:pt x="191" y="723"/>
                    <a:pt x="192" y="723"/>
                    <a:pt x="192" y="723"/>
                  </a:cubicBezTo>
                  <a:cubicBezTo>
                    <a:pt x="193" y="723"/>
                    <a:pt x="193" y="723"/>
                    <a:pt x="193" y="723"/>
                  </a:cubicBezTo>
                  <a:cubicBezTo>
                    <a:pt x="193" y="723"/>
                    <a:pt x="193" y="723"/>
                    <a:pt x="193" y="723"/>
                  </a:cubicBezTo>
                  <a:cubicBezTo>
                    <a:pt x="193" y="722"/>
                    <a:pt x="193" y="722"/>
                    <a:pt x="193" y="722"/>
                  </a:cubicBezTo>
                  <a:cubicBezTo>
                    <a:pt x="193" y="723"/>
                    <a:pt x="193" y="723"/>
                    <a:pt x="193" y="723"/>
                  </a:cubicBezTo>
                  <a:cubicBezTo>
                    <a:pt x="194" y="723"/>
                    <a:pt x="194" y="723"/>
                    <a:pt x="194" y="723"/>
                  </a:cubicBezTo>
                  <a:cubicBezTo>
                    <a:pt x="194" y="723"/>
                    <a:pt x="195" y="723"/>
                    <a:pt x="196" y="723"/>
                  </a:cubicBezTo>
                  <a:cubicBezTo>
                    <a:pt x="197" y="723"/>
                    <a:pt x="197" y="723"/>
                    <a:pt x="197" y="723"/>
                  </a:cubicBezTo>
                  <a:cubicBezTo>
                    <a:pt x="197" y="723"/>
                    <a:pt x="198" y="723"/>
                    <a:pt x="198" y="722"/>
                  </a:cubicBezTo>
                  <a:cubicBezTo>
                    <a:pt x="198" y="722"/>
                    <a:pt x="199" y="722"/>
                    <a:pt x="199" y="722"/>
                  </a:cubicBezTo>
                  <a:cubicBezTo>
                    <a:pt x="199" y="722"/>
                    <a:pt x="200" y="722"/>
                    <a:pt x="201" y="721"/>
                  </a:cubicBezTo>
                  <a:cubicBezTo>
                    <a:pt x="201" y="721"/>
                    <a:pt x="201" y="721"/>
                    <a:pt x="201" y="721"/>
                  </a:cubicBezTo>
                  <a:cubicBezTo>
                    <a:pt x="202" y="721"/>
                    <a:pt x="202" y="721"/>
                    <a:pt x="203" y="721"/>
                  </a:cubicBezTo>
                  <a:cubicBezTo>
                    <a:pt x="203" y="720"/>
                    <a:pt x="203" y="720"/>
                    <a:pt x="204" y="720"/>
                  </a:cubicBezTo>
                  <a:cubicBezTo>
                    <a:pt x="204" y="720"/>
                    <a:pt x="204" y="720"/>
                    <a:pt x="204" y="720"/>
                  </a:cubicBezTo>
                  <a:cubicBezTo>
                    <a:pt x="204" y="720"/>
                    <a:pt x="205" y="720"/>
                    <a:pt x="205" y="720"/>
                  </a:cubicBezTo>
                  <a:cubicBezTo>
                    <a:pt x="205" y="720"/>
                    <a:pt x="205" y="720"/>
                    <a:pt x="206" y="720"/>
                  </a:cubicBezTo>
                  <a:cubicBezTo>
                    <a:pt x="206" y="720"/>
                    <a:pt x="206" y="720"/>
                    <a:pt x="206" y="720"/>
                  </a:cubicBezTo>
                  <a:cubicBezTo>
                    <a:pt x="206" y="720"/>
                    <a:pt x="207" y="720"/>
                    <a:pt x="207" y="720"/>
                  </a:cubicBezTo>
                  <a:cubicBezTo>
                    <a:pt x="207" y="720"/>
                    <a:pt x="207" y="720"/>
                    <a:pt x="207" y="720"/>
                  </a:cubicBezTo>
                  <a:cubicBezTo>
                    <a:pt x="208" y="720"/>
                    <a:pt x="208" y="720"/>
                    <a:pt x="209" y="719"/>
                  </a:cubicBezTo>
                  <a:cubicBezTo>
                    <a:pt x="210" y="719"/>
                    <a:pt x="210" y="719"/>
                    <a:pt x="210" y="718"/>
                  </a:cubicBezTo>
                  <a:cubicBezTo>
                    <a:pt x="210" y="718"/>
                    <a:pt x="211" y="718"/>
                    <a:pt x="211" y="718"/>
                  </a:cubicBezTo>
                  <a:cubicBezTo>
                    <a:pt x="212" y="718"/>
                    <a:pt x="212" y="718"/>
                    <a:pt x="212" y="718"/>
                  </a:cubicBezTo>
                  <a:cubicBezTo>
                    <a:pt x="212" y="719"/>
                    <a:pt x="213" y="719"/>
                    <a:pt x="213" y="719"/>
                  </a:cubicBezTo>
                  <a:cubicBezTo>
                    <a:pt x="215" y="720"/>
                    <a:pt x="215" y="720"/>
                    <a:pt x="215" y="720"/>
                  </a:cubicBezTo>
                  <a:cubicBezTo>
                    <a:pt x="215" y="721"/>
                    <a:pt x="215" y="721"/>
                    <a:pt x="215" y="721"/>
                  </a:cubicBezTo>
                  <a:cubicBezTo>
                    <a:pt x="215" y="721"/>
                    <a:pt x="216" y="722"/>
                    <a:pt x="216" y="722"/>
                  </a:cubicBezTo>
                  <a:cubicBezTo>
                    <a:pt x="217" y="722"/>
                    <a:pt x="217" y="722"/>
                    <a:pt x="217" y="722"/>
                  </a:cubicBezTo>
                  <a:cubicBezTo>
                    <a:pt x="217" y="722"/>
                    <a:pt x="217" y="723"/>
                    <a:pt x="217" y="723"/>
                  </a:cubicBezTo>
                  <a:cubicBezTo>
                    <a:pt x="218" y="724"/>
                    <a:pt x="218" y="724"/>
                    <a:pt x="219" y="725"/>
                  </a:cubicBezTo>
                  <a:cubicBezTo>
                    <a:pt x="219" y="725"/>
                    <a:pt x="219" y="726"/>
                    <a:pt x="219" y="726"/>
                  </a:cubicBezTo>
                  <a:cubicBezTo>
                    <a:pt x="219" y="727"/>
                    <a:pt x="220" y="727"/>
                    <a:pt x="220" y="727"/>
                  </a:cubicBezTo>
                  <a:cubicBezTo>
                    <a:pt x="220" y="728"/>
                    <a:pt x="220" y="729"/>
                    <a:pt x="221" y="729"/>
                  </a:cubicBezTo>
                  <a:cubicBezTo>
                    <a:pt x="221" y="730"/>
                    <a:pt x="222" y="730"/>
                    <a:pt x="222" y="731"/>
                  </a:cubicBezTo>
                  <a:cubicBezTo>
                    <a:pt x="223" y="731"/>
                    <a:pt x="223" y="731"/>
                    <a:pt x="223" y="731"/>
                  </a:cubicBezTo>
                  <a:cubicBezTo>
                    <a:pt x="223" y="732"/>
                    <a:pt x="224" y="732"/>
                    <a:pt x="224" y="732"/>
                  </a:cubicBezTo>
                  <a:cubicBezTo>
                    <a:pt x="224" y="733"/>
                    <a:pt x="225" y="733"/>
                    <a:pt x="225" y="734"/>
                  </a:cubicBezTo>
                  <a:cubicBezTo>
                    <a:pt x="225" y="734"/>
                    <a:pt x="225" y="734"/>
                    <a:pt x="225" y="734"/>
                  </a:cubicBezTo>
                  <a:cubicBezTo>
                    <a:pt x="225" y="734"/>
                    <a:pt x="225" y="734"/>
                    <a:pt x="225" y="734"/>
                  </a:cubicBezTo>
                  <a:cubicBezTo>
                    <a:pt x="225" y="734"/>
                    <a:pt x="225" y="734"/>
                    <a:pt x="225" y="734"/>
                  </a:cubicBezTo>
                  <a:cubicBezTo>
                    <a:pt x="225" y="734"/>
                    <a:pt x="225" y="735"/>
                    <a:pt x="225" y="735"/>
                  </a:cubicBezTo>
                  <a:cubicBezTo>
                    <a:pt x="225" y="735"/>
                    <a:pt x="225" y="735"/>
                    <a:pt x="225" y="735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6"/>
                    <a:pt x="225" y="736"/>
                    <a:pt x="225" y="736"/>
                  </a:cubicBezTo>
                  <a:cubicBezTo>
                    <a:pt x="225" y="737"/>
                    <a:pt x="225" y="737"/>
                    <a:pt x="226" y="738"/>
                  </a:cubicBezTo>
                  <a:cubicBezTo>
                    <a:pt x="226" y="738"/>
                    <a:pt x="226" y="738"/>
                    <a:pt x="226" y="738"/>
                  </a:cubicBezTo>
                  <a:cubicBezTo>
                    <a:pt x="226" y="739"/>
                    <a:pt x="226" y="739"/>
                    <a:pt x="227" y="739"/>
                  </a:cubicBezTo>
                  <a:cubicBezTo>
                    <a:pt x="227" y="740"/>
                    <a:pt x="228" y="740"/>
                    <a:pt x="228" y="740"/>
                  </a:cubicBezTo>
                  <a:cubicBezTo>
                    <a:pt x="228" y="741"/>
                    <a:pt x="228" y="741"/>
                    <a:pt x="229" y="741"/>
                  </a:cubicBezTo>
                  <a:cubicBezTo>
                    <a:pt x="229" y="741"/>
                    <a:pt x="229" y="741"/>
                    <a:pt x="229" y="741"/>
                  </a:cubicBezTo>
                  <a:cubicBezTo>
                    <a:pt x="229" y="742"/>
                    <a:pt x="230" y="742"/>
                    <a:pt x="230" y="742"/>
                  </a:cubicBezTo>
                  <a:cubicBezTo>
                    <a:pt x="230" y="743"/>
                    <a:pt x="230" y="743"/>
                    <a:pt x="230" y="743"/>
                  </a:cubicBezTo>
                  <a:cubicBezTo>
                    <a:pt x="230" y="743"/>
                    <a:pt x="231" y="743"/>
                    <a:pt x="231" y="743"/>
                  </a:cubicBezTo>
                  <a:cubicBezTo>
                    <a:pt x="231" y="743"/>
                    <a:pt x="231" y="743"/>
                    <a:pt x="231" y="744"/>
                  </a:cubicBezTo>
                  <a:cubicBezTo>
                    <a:pt x="232" y="743"/>
                    <a:pt x="232" y="743"/>
                    <a:pt x="232" y="743"/>
                  </a:cubicBezTo>
                  <a:cubicBezTo>
                    <a:pt x="231" y="744"/>
                    <a:pt x="231" y="744"/>
                    <a:pt x="231" y="744"/>
                  </a:cubicBezTo>
                  <a:cubicBezTo>
                    <a:pt x="232" y="744"/>
                    <a:pt x="232" y="745"/>
                    <a:pt x="233" y="745"/>
                  </a:cubicBezTo>
                  <a:cubicBezTo>
                    <a:pt x="234" y="745"/>
                    <a:pt x="235" y="746"/>
                    <a:pt x="236" y="746"/>
                  </a:cubicBezTo>
                  <a:cubicBezTo>
                    <a:pt x="236" y="746"/>
                    <a:pt x="237" y="746"/>
                    <a:pt x="237" y="746"/>
                  </a:cubicBezTo>
                  <a:cubicBezTo>
                    <a:pt x="237" y="746"/>
                    <a:pt x="237" y="746"/>
                    <a:pt x="238" y="746"/>
                  </a:cubicBezTo>
                  <a:cubicBezTo>
                    <a:pt x="238" y="746"/>
                    <a:pt x="238" y="746"/>
                    <a:pt x="238" y="746"/>
                  </a:cubicBezTo>
                  <a:cubicBezTo>
                    <a:pt x="238" y="746"/>
                    <a:pt x="239" y="746"/>
                    <a:pt x="239" y="747"/>
                  </a:cubicBezTo>
                  <a:cubicBezTo>
                    <a:pt x="243" y="749"/>
                    <a:pt x="243" y="749"/>
                    <a:pt x="243" y="749"/>
                  </a:cubicBezTo>
                  <a:cubicBezTo>
                    <a:pt x="244" y="750"/>
                    <a:pt x="244" y="750"/>
                    <a:pt x="244" y="750"/>
                  </a:cubicBezTo>
                  <a:cubicBezTo>
                    <a:pt x="244" y="749"/>
                    <a:pt x="244" y="749"/>
                    <a:pt x="244" y="749"/>
                  </a:cubicBezTo>
                  <a:cubicBezTo>
                    <a:pt x="244" y="749"/>
                    <a:pt x="245" y="750"/>
                    <a:pt x="245" y="750"/>
                  </a:cubicBezTo>
                  <a:cubicBezTo>
                    <a:pt x="246" y="750"/>
                    <a:pt x="246" y="750"/>
                    <a:pt x="247" y="750"/>
                  </a:cubicBezTo>
                  <a:cubicBezTo>
                    <a:pt x="247" y="750"/>
                    <a:pt x="247" y="750"/>
                    <a:pt x="247" y="750"/>
                  </a:cubicBezTo>
                  <a:cubicBezTo>
                    <a:pt x="247" y="750"/>
                    <a:pt x="247" y="750"/>
                    <a:pt x="247" y="750"/>
                  </a:cubicBezTo>
                  <a:cubicBezTo>
                    <a:pt x="248" y="750"/>
                    <a:pt x="248" y="750"/>
                    <a:pt x="248" y="750"/>
                  </a:cubicBezTo>
                  <a:cubicBezTo>
                    <a:pt x="248" y="750"/>
                    <a:pt x="248" y="750"/>
                    <a:pt x="248" y="751"/>
                  </a:cubicBezTo>
                  <a:cubicBezTo>
                    <a:pt x="248" y="751"/>
                    <a:pt x="248" y="752"/>
                    <a:pt x="249" y="753"/>
                  </a:cubicBezTo>
                  <a:cubicBezTo>
                    <a:pt x="249" y="753"/>
                    <a:pt x="250" y="753"/>
                    <a:pt x="250" y="753"/>
                  </a:cubicBezTo>
                  <a:cubicBezTo>
                    <a:pt x="250" y="753"/>
                    <a:pt x="250" y="753"/>
                    <a:pt x="250" y="753"/>
                  </a:cubicBezTo>
                  <a:cubicBezTo>
                    <a:pt x="251" y="753"/>
                    <a:pt x="251" y="753"/>
                    <a:pt x="251" y="753"/>
                  </a:cubicBezTo>
                  <a:cubicBezTo>
                    <a:pt x="251" y="754"/>
                    <a:pt x="252" y="754"/>
                    <a:pt x="252" y="754"/>
                  </a:cubicBezTo>
                  <a:cubicBezTo>
                    <a:pt x="253" y="754"/>
                    <a:pt x="253" y="755"/>
                    <a:pt x="254" y="755"/>
                  </a:cubicBezTo>
                  <a:cubicBezTo>
                    <a:pt x="254" y="755"/>
                    <a:pt x="255" y="755"/>
                    <a:pt x="255" y="755"/>
                  </a:cubicBezTo>
                  <a:cubicBezTo>
                    <a:pt x="256" y="755"/>
                    <a:pt x="256" y="755"/>
                    <a:pt x="256" y="755"/>
                  </a:cubicBezTo>
                  <a:cubicBezTo>
                    <a:pt x="256" y="755"/>
                    <a:pt x="256" y="755"/>
                    <a:pt x="256" y="755"/>
                  </a:cubicBezTo>
                  <a:cubicBezTo>
                    <a:pt x="256" y="755"/>
                    <a:pt x="256" y="755"/>
                    <a:pt x="256" y="755"/>
                  </a:cubicBezTo>
                  <a:cubicBezTo>
                    <a:pt x="257" y="756"/>
                    <a:pt x="257" y="756"/>
                    <a:pt x="257" y="756"/>
                  </a:cubicBezTo>
                  <a:cubicBezTo>
                    <a:pt x="258" y="756"/>
                    <a:pt x="258" y="756"/>
                    <a:pt x="258" y="756"/>
                  </a:cubicBezTo>
                  <a:cubicBezTo>
                    <a:pt x="258" y="756"/>
                    <a:pt x="258" y="756"/>
                    <a:pt x="258" y="756"/>
                  </a:cubicBezTo>
                  <a:cubicBezTo>
                    <a:pt x="258" y="756"/>
                    <a:pt x="259" y="756"/>
                    <a:pt x="259" y="756"/>
                  </a:cubicBezTo>
                  <a:cubicBezTo>
                    <a:pt x="259" y="756"/>
                    <a:pt x="260" y="756"/>
                    <a:pt x="260" y="756"/>
                  </a:cubicBezTo>
                  <a:cubicBezTo>
                    <a:pt x="260" y="756"/>
                    <a:pt x="260" y="757"/>
                    <a:pt x="260" y="757"/>
                  </a:cubicBezTo>
                  <a:cubicBezTo>
                    <a:pt x="261" y="758"/>
                    <a:pt x="261" y="758"/>
                    <a:pt x="262" y="759"/>
                  </a:cubicBezTo>
                  <a:cubicBezTo>
                    <a:pt x="262" y="759"/>
                    <a:pt x="262" y="760"/>
                    <a:pt x="262" y="760"/>
                  </a:cubicBezTo>
                  <a:cubicBezTo>
                    <a:pt x="262" y="760"/>
                    <a:pt x="262" y="760"/>
                    <a:pt x="262" y="761"/>
                  </a:cubicBezTo>
                  <a:cubicBezTo>
                    <a:pt x="262" y="761"/>
                    <a:pt x="262" y="761"/>
                    <a:pt x="262" y="761"/>
                  </a:cubicBezTo>
                  <a:cubicBezTo>
                    <a:pt x="263" y="762"/>
                    <a:pt x="263" y="764"/>
                    <a:pt x="264" y="765"/>
                  </a:cubicBezTo>
                  <a:cubicBezTo>
                    <a:pt x="264" y="766"/>
                    <a:pt x="265" y="767"/>
                    <a:pt x="266" y="767"/>
                  </a:cubicBezTo>
                  <a:cubicBezTo>
                    <a:pt x="266" y="768"/>
                    <a:pt x="266" y="768"/>
                    <a:pt x="266" y="768"/>
                  </a:cubicBezTo>
                  <a:cubicBezTo>
                    <a:pt x="266" y="769"/>
                    <a:pt x="266" y="770"/>
                    <a:pt x="266" y="771"/>
                  </a:cubicBezTo>
                  <a:cubicBezTo>
                    <a:pt x="267" y="771"/>
                    <a:pt x="267" y="772"/>
                    <a:pt x="267" y="773"/>
                  </a:cubicBezTo>
                  <a:cubicBezTo>
                    <a:pt x="268" y="773"/>
                    <a:pt x="268" y="773"/>
                    <a:pt x="268" y="773"/>
                  </a:cubicBezTo>
                  <a:cubicBezTo>
                    <a:pt x="268" y="773"/>
                    <a:pt x="268" y="774"/>
                    <a:pt x="268" y="774"/>
                  </a:cubicBezTo>
                  <a:cubicBezTo>
                    <a:pt x="268" y="774"/>
                    <a:pt x="268" y="774"/>
                    <a:pt x="268" y="774"/>
                  </a:cubicBezTo>
                  <a:cubicBezTo>
                    <a:pt x="269" y="775"/>
                    <a:pt x="269" y="775"/>
                    <a:pt x="269" y="776"/>
                  </a:cubicBezTo>
                  <a:cubicBezTo>
                    <a:pt x="269" y="776"/>
                    <a:pt x="269" y="776"/>
                    <a:pt x="270" y="776"/>
                  </a:cubicBezTo>
                  <a:cubicBezTo>
                    <a:pt x="270" y="777"/>
                    <a:pt x="270" y="777"/>
                    <a:pt x="270" y="777"/>
                  </a:cubicBezTo>
                  <a:cubicBezTo>
                    <a:pt x="270" y="777"/>
                    <a:pt x="271" y="778"/>
                    <a:pt x="271" y="778"/>
                  </a:cubicBezTo>
                  <a:cubicBezTo>
                    <a:pt x="271" y="778"/>
                    <a:pt x="272" y="778"/>
                    <a:pt x="272" y="779"/>
                  </a:cubicBezTo>
                  <a:cubicBezTo>
                    <a:pt x="272" y="779"/>
                    <a:pt x="272" y="779"/>
                    <a:pt x="272" y="779"/>
                  </a:cubicBezTo>
                  <a:cubicBezTo>
                    <a:pt x="272" y="779"/>
                    <a:pt x="272" y="779"/>
                    <a:pt x="271" y="779"/>
                  </a:cubicBezTo>
                  <a:cubicBezTo>
                    <a:pt x="269" y="780"/>
                    <a:pt x="270" y="781"/>
                    <a:pt x="270" y="782"/>
                  </a:cubicBezTo>
                  <a:cubicBezTo>
                    <a:pt x="270" y="782"/>
                    <a:pt x="270" y="783"/>
                    <a:pt x="271" y="783"/>
                  </a:cubicBezTo>
                  <a:cubicBezTo>
                    <a:pt x="271" y="783"/>
                    <a:pt x="271" y="783"/>
                    <a:pt x="271" y="783"/>
                  </a:cubicBezTo>
                  <a:cubicBezTo>
                    <a:pt x="271" y="783"/>
                    <a:pt x="271" y="784"/>
                    <a:pt x="271" y="784"/>
                  </a:cubicBezTo>
                  <a:cubicBezTo>
                    <a:pt x="271" y="785"/>
                    <a:pt x="271" y="785"/>
                    <a:pt x="271" y="785"/>
                  </a:cubicBezTo>
                  <a:cubicBezTo>
                    <a:pt x="270" y="785"/>
                    <a:pt x="270" y="785"/>
                    <a:pt x="270" y="786"/>
                  </a:cubicBezTo>
                  <a:cubicBezTo>
                    <a:pt x="270" y="787"/>
                    <a:pt x="270" y="787"/>
                    <a:pt x="270" y="788"/>
                  </a:cubicBezTo>
                  <a:cubicBezTo>
                    <a:pt x="270" y="788"/>
                    <a:pt x="270" y="789"/>
                    <a:pt x="270" y="789"/>
                  </a:cubicBezTo>
                  <a:cubicBezTo>
                    <a:pt x="270" y="789"/>
                    <a:pt x="270" y="789"/>
                    <a:pt x="270" y="789"/>
                  </a:cubicBezTo>
                  <a:cubicBezTo>
                    <a:pt x="270" y="789"/>
                    <a:pt x="270" y="790"/>
                    <a:pt x="270" y="790"/>
                  </a:cubicBezTo>
                  <a:cubicBezTo>
                    <a:pt x="270" y="790"/>
                    <a:pt x="270" y="791"/>
                    <a:pt x="270" y="792"/>
                  </a:cubicBezTo>
                  <a:cubicBezTo>
                    <a:pt x="271" y="792"/>
                    <a:pt x="271" y="793"/>
                    <a:pt x="272" y="793"/>
                  </a:cubicBezTo>
                  <a:cubicBezTo>
                    <a:pt x="272" y="793"/>
                    <a:pt x="273" y="793"/>
                    <a:pt x="273" y="793"/>
                  </a:cubicBezTo>
                  <a:cubicBezTo>
                    <a:pt x="273" y="793"/>
                    <a:pt x="274" y="794"/>
                    <a:pt x="274" y="793"/>
                  </a:cubicBezTo>
                  <a:cubicBezTo>
                    <a:pt x="274" y="794"/>
                    <a:pt x="274" y="794"/>
                    <a:pt x="273" y="794"/>
                  </a:cubicBezTo>
                  <a:cubicBezTo>
                    <a:pt x="273" y="795"/>
                    <a:pt x="273" y="795"/>
                    <a:pt x="273" y="796"/>
                  </a:cubicBezTo>
                  <a:cubicBezTo>
                    <a:pt x="274" y="798"/>
                    <a:pt x="275" y="798"/>
                    <a:pt x="275" y="798"/>
                  </a:cubicBezTo>
                  <a:cubicBezTo>
                    <a:pt x="276" y="798"/>
                    <a:pt x="277" y="797"/>
                    <a:pt x="277" y="796"/>
                  </a:cubicBezTo>
                  <a:cubicBezTo>
                    <a:pt x="277" y="796"/>
                    <a:pt x="277" y="796"/>
                    <a:pt x="278" y="795"/>
                  </a:cubicBezTo>
                  <a:cubicBezTo>
                    <a:pt x="278" y="795"/>
                    <a:pt x="278" y="795"/>
                    <a:pt x="278" y="795"/>
                  </a:cubicBezTo>
                  <a:cubicBezTo>
                    <a:pt x="278" y="795"/>
                    <a:pt x="279" y="795"/>
                    <a:pt x="279" y="794"/>
                  </a:cubicBezTo>
                  <a:cubicBezTo>
                    <a:pt x="279" y="794"/>
                    <a:pt x="279" y="794"/>
                    <a:pt x="279" y="794"/>
                  </a:cubicBezTo>
                  <a:cubicBezTo>
                    <a:pt x="279" y="794"/>
                    <a:pt x="279" y="795"/>
                    <a:pt x="279" y="795"/>
                  </a:cubicBezTo>
                  <a:cubicBezTo>
                    <a:pt x="279" y="795"/>
                    <a:pt x="279" y="795"/>
                    <a:pt x="279" y="795"/>
                  </a:cubicBezTo>
                  <a:cubicBezTo>
                    <a:pt x="279" y="796"/>
                    <a:pt x="279" y="796"/>
                    <a:pt x="279" y="796"/>
                  </a:cubicBezTo>
                  <a:cubicBezTo>
                    <a:pt x="279" y="796"/>
                    <a:pt x="279" y="797"/>
                    <a:pt x="280" y="797"/>
                  </a:cubicBezTo>
                  <a:cubicBezTo>
                    <a:pt x="280" y="797"/>
                    <a:pt x="280" y="797"/>
                    <a:pt x="280" y="797"/>
                  </a:cubicBezTo>
                  <a:cubicBezTo>
                    <a:pt x="281" y="798"/>
                    <a:pt x="281" y="798"/>
                    <a:pt x="281" y="798"/>
                  </a:cubicBezTo>
                  <a:cubicBezTo>
                    <a:pt x="282" y="798"/>
                    <a:pt x="282" y="799"/>
                    <a:pt x="282" y="799"/>
                  </a:cubicBezTo>
                  <a:cubicBezTo>
                    <a:pt x="284" y="801"/>
                    <a:pt x="284" y="801"/>
                    <a:pt x="284" y="801"/>
                  </a:cubicBezTo>
                  <a:cubicBezTo>
                    <a:pt x="284" y="800"/>
                    <a:pt x="284" y="800"/>
                    <a:pt x="284" y="800"/>
                  </a:cubicBezTo>
                  <a:cubicBezTo>
                    <a:pt x="284" y="801"/>
                    <a:pt x="284" y="801"/>
                    <a:pt x="284" y="801"/>
                  </a:cubicBezTo>
                  <a:cubicBezTo>
                    <a:pt x="284" y="802"/>
                    <a:pt x="284" y="802"/>
                    <a:pt x="284" y="802"/>
                  </a:cubicBezTo>
                  <a:cubicBezTo>
                    <a:pt x="285" y="802"/>
                    <a:pt x="285" y="803"/>
                    <a:pt x="285" y="803"/>
                  </a:cubicBezTo>
                  <a:cubicBezTo>
                    <a:pt x="285" y="804"/>
                    <a:pt x="285" y="805"/>
                    <a:pt x="285" y="806"/>
                  </a:cubicBezTo>
                  <a:cubicBezTo>
                    <a:pt x="285" y="806"/>
                    <a:pt x="285" y="806"/>
                    <a:pt x="285" y="807"/>
                  </a:cubicBezTo>
                  <a:cubicBezTo>
                    <a:pt x="285" y="807"/>
                    <a:pt x="285" y="807"/>
                    <a:pt x="285" y="807"/>
                  </a:cubicBezTo>
                  <a:cubicBezTo>
                    <a:pt x="285" y="807"/>
                    <a:pt x="285" y="807"/>
                    <a:pt x="284" y="808"/>
                  </a:cubicBezTo>
                  <a:cubicBezTo>
                    <a:pt x="284" y="809"/>
                    <a:pt x="285" y="810"/>
                    <a:pt x="286" y="811"/>
                  </a:cubicBezTo>
                  <a:cubicBezTo>
                    <a:pt x="287" y="812"/>
                    <a:pt x="289" y="812"/>
                    <a:pt x="290" y="811"/>
                  </a:cubicBezTo>
                  <a:cubicBezTo>
                    <a:pt x="290" y="811"/>
                    <a:pt x="290" y="811"/>
                    <a:pt x="290" y="811"/>
                  </a:cubicBezTo>
                  <a:cubicBezTo>
                    <a:pt x="290" y="812"/>
                    <a:pt x="291" y="813"/>
                    <a:pt x="291" y="814"/>
                  </a:cubicBezTo>
                  <a:cubicBezTo>
                    <a:pt x="291" y="814"/>
                    <a:pt x="291" y="814"/>
                    <a:pt x="291" y="814"/>
                  </a:cubicBezTo>
                  <a:cubicBezTo>
                    <a:pt x="291" y="817"/>
                    <a:pt x="291" y="817"/>
                    <a:pt x="291" y="817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3"/>
                    <a:pt x="294" y="813"/>
                    <a:pt x="294" y="813"/>
                  </a:cubicBezTo>
                  <a:cubicBezTo>
                    <a:pt x="294" y="812"/>
                    <a:pt x="294" y="812"/>
                    <a:pt x="295" y="812"/>
                  </a:cubicBezTo>
                  <a:cubicBezTo>
                    <a:pt x="295" y="812"/>
                    <a:pt x="295" y="812"/>
                    <a:pt x="295" y="812"/>
                  </a:cubicBezTo>
                  <a:cubicBezTo>
                    <a:pt x="296" y="813"/>
                    <a:pt x="296" y="813"/>
                    <a:pt x="297" y="813"/>
                  </a:cubicBezTo>
                  <a:cubicBezTo>
                    <a:pt x="297" y="813"/>
                    <a:pt x="297" y="813"/>
                    <a:pt x="297" y="813"/>
                  </a:cubicBezTo>
                  <a:cubicBezTo>
                    <a:pt x="297" y="813"/>
                    <a:pt x="297" y="813"/>
                    <a:pt x="297" y="813"/>
                  </a:cubicBezTo>
                  <a:cubicBezTo>
                    <a:pt x="298" y="814"/>
                    <a:pt x="299" y="815"/>
                    <a:pt x="300" y="814"/>
                  </a:cubicBezTo>
                  <a:cubicBezTo>
                    <a:pt x="300" y="814"/>
                    <a:pt x="301" y="814"/>
                    <a:pt x="301" y="814"/>
                  </a:cubicBezTo>
                  <a:cubicBezTo>
                    <a:pt x="301" y="814"/>
                    <a:pt x="301" y="815"/>
                    <a:pt x="301" y="815"/>
                  </a:cubicBezTo>
                  <a:cubicBezTo>
                    <a:pt x="301" y="817"/>
                    <a:pt x="301" y="819"/>
                    <a:pt x="302" y="820"/>
                  </a:cubicBezTo>
                  <a:cubicBezTo>
                    <a:pt x="302" y="820"/>
                    <a:pt x="303" y="821"/>
                    <a:pt x="304" y="821"/>
                  </a:cubicBezTo>
                  <a:cubicBezTo>
                    <a:pt x="304" y="821"/>
                    <a:pt x="304" y="821"/>
                    <a:pt x="304" y="821"/>
                  </a:cubicBezTo>
                  <a:cubicBezTo>
                    <a:pt x="305" y="820"/>
                    <a:pt x="305" y="820"/>
                    <a:pt x="305" y="820"/>
                  </a:cubicBezTo>
                  <a:cubicBezTo>
                    <a:pt x="306" y="820"/>
                    <a:pt x="306" y="821"/>
                    <a:pt x="306" y="821"/>
                  </a:cubicBezTo>
                  <a:cubicBezTo>
                    <a:pt x="307" y="821"/>
                    <a:pt x="307" y="821"/>
                    <a:pt x="307" y="821"/>
                  </a:cubicBezTo>
                  <a:cubicBezTo>
                    <a:pt x="307" y="821"/>
                    <a:pt x="307" y="822"/>
                    <a:pt x="307" y="822"/>
                  </a:cubicBezTo>
                  <a:cubicBezTo>
                    <a:pt x="307" y="823"/>
                    <a:pt x="307" y="824"/>
                    <a:pt x="308" y="825"/>
                  </a:cubicBezTo>
                  <a:cubicBezTo>
                    <a:pt x="308" y="825"/>
                    <a:pt x="309" y="825"/>
                    <a:pt x="309" y="825"/>
                  </a:cubicBezTo>
                  <a:cubicBezTo>
                    <a:pt x="310" y="825"/>
                    <a:pt x="310" y="825"/>
                    <a:pt x="311" y="825"/>
                  </a:cubicBezTo>
                  <a:cubicBezTo>
                    <a:pt x="312" y="825"/>
                    <a:pt x="313" y="825"/>
                    <a:pt x="313" y="824"/>
                  </a:cubicBezTo>
                  <a:cubicBezTo>
                    <a:pt x="313" y="823"/>
                    <a:pt x="314" y="823"/>
                    <a:pt x="314" y="823"/>
                  </a:cubicBezTo>
                  <a:cubicBezTo>
                    <a:pt x="314" y="823"/>
                    <a:pt x="314" y="823"/>
                    <a:pt x="314" y="823"/>
                  </a:cubicBezTo>
                  <a:cubicBezTo>
                    <a:pt x="314" y="823"/>
                    <a:pt x="315" y="823"/>
                    <a:pt x="315" y="823"/>
                  </a:cubicBezTo>
                  <a:cubicBezTo>
                    <a:pt x="316" y="823"/>
                    <a:pt x="317" y="822"/>
                    <a:pt x="317" y="820"/>
                  </a:cubicBezTo>
                  <a:cubicBezTo>
                    <a:pt x="317" y="820"/>
                    <a:pt x="317" y="819"/>
                    <a:pt x="317" y="819"/>
                  </a:cubicBezTo>
                  <a:cubicBezTo>
                    <a:pt x="318" y="818"/>
                    <a:pt x="318" y="818"/>
                    <a:pt x="318" y="818"/>
                  </a:cubicBezTo>
                  <a:cubicBezTo>
                    <a:pt x="317" y="818"/>
                    <a:pt x="317" y="818"/>
                    <a:pt x="317" y="818"/>
                  </a:cubicBezTo>
                  <a:cubicBezTo>
                    <a:pt x="317" y="817"/>
                    <a:pt x="316" y="817"/>
                    <a:pt x="316" y="817"/>
                  </a:cubicBezTo>
                  <a:cubicBezTo>
                    <a:pt x="316" y="817"/>
                    <a:pt x="316" y="817"/>
                    <a:pt x="316" y="817"/>
                  </a:cubicBezTo>
                  <a:cubicBezTo>
                    <a:pt x="316" y="817"/>
                    <a:pt x="316" y="817"/>
                    <a:pt x="316" y="817"/>
                  </a:cubicBezTo>
                  <a:cubicBezTo>
                    <a:pt x="316" y="816"/>
                    <a:pt x="316" y="815"/>
                    <a:pt x="315" y="814"/>
                  </a:cubicBezTo>
                  <a:cubicBezTo>
                    <a:pt x="315" y="814"/>
                    <a:pt x="315" y="814"/>
                    <a:pt x="315" y="814"/>
                  </a:cubicBezTo>
                  <a:cubicBezTo>
                    <a:pt x="315" y="814"/>
                    <a:pt x="315" y="814"/>
                    <a:pt x="315" y="814"/>
                  </a:cubicBezTo>
                  <a:cubicBezTo>
                    <a:pt x="315" y="814"/>
                    <a:pt x="316" y="813"/>
                    <a:pt x="316" y="813"/>
                  </a:cubicBezTo>
                  <a:cubicBezTo>
                    <a:pt x="316" y="813"/>
                    <a:pt x="317" y="813"/>
                    <a:pt x="318" y="812"/>
                  </a:cubicBezTo>
                  <a:cubicBezTo>
                    <a:pt x="318" y="812"/>
                    <a:pt x="318" y="812"/>
                    <a:pt x="318" y="812"/>
                  </a:cubicBezTo>
                  <a:cubicBezTo>
                    <a:pt x="319" y="812"/>
                    <a:pt x="320" y="811"/>
                    <a:pt x="320" y="810"/>
                  </a:cubicBezTo>
                  <a:cubicBezTo>
                    <a:pt x="321" y="810"/>
                    <a:pt x="321" y="810"/>
                    <a:pt x="321" y="809"/>
                  </a:cubicBezTo>
                  <a:cubicBezTo>
                    <a:pt x="321" y="808"/>
                    <a:pt x="321" y="808"/>
                    <a:pt x="321" y="808"/>
                  </a:cubicBezTo>
                  <a:cubicBezTo>
                    <a:pt x="321" y="808"/>
                    <a:pt x="321" y="808"/>
                    <a:pt x="321" y="808"/>
                  </a:cubicBezTo>
                  <a:cubicBezTo>
                    <a:pt x="322" y="807"/>
                    <a:pt x="322" y="806"/>
                    <a:pt x="322" y="806"/>
                  </a:cubicBezTo>
                  <a:cubicBezTo>
                    <a:pt x="322" y="806"/>
                    <a:pt x="322" y="805"/>
                    <a:pt x="323" y="805"/>
                  </a:cubicBezTo>
                  <a:cubicBezTo>
                    <a:pt x="322" y="805"/>
                    <a:pt x="322" y="805"/>
                    <a:pt x="322" y="805"/>
                  </a:cubicBezTo>
                  <a:cubicBezTo>
                    <a:pt x="322" y="804"/>
                    <a:pt x="322" y="804"/>
                    <a:pt x="322" y="804"/>
                  </a:cubicBezTo>
                  <a:cubicBezTo>
                    <a:pt x="323" y="805"/>
                    <a:pt x="323" y="805"/>
                    <a:pt x="323" y="805"/>
                  </a:cubicBezTo>
                  <a:cubicBezTo>
                    <a:pt x="323" y="805"/>
                    <a:pt x="323" y="805"/>
                    <a:pt x="323" y="805"/>
                  </a:cubicBezTo>
                  <a:cubicBezTo>
                    <a:pt x="323" y="805"/>
                    <a:pt x="323" y="804"/>
                    <a:pt x="324" y="804"/>
                  </a:cubicBezTo>
                  <a:cubicBezTo>
                    <a:pt x="324" y="804"/>
                    <a:pt x="324" y="804"/>
                    <a:pt x="324" y="804"/>
                  </a:cubicBezTo>
                  <a:cubicBezTo>
                    <a:pt x="324" y="804"/>
                    <a:pt x="324" y="804"/>
                    <a:pt x="324" y="804"/>
                  </a:cubicBezTo>
                  <a:cubicBezTo>
                    <a:pt x="324" y="804"/>
                    <a:pt x="324" y="804"/>
                    <a:pt x="324" y="804"/>
                  </a:cubicBezTo>
                  <a:cubicBezTo>
                    <a:pt x="324" y="805"/>
                    <a:pt x="324" y="806"/>
                    <a:pt x="325" y="806"/>
                  </a:cubicBezTo>
                  <a:cubicBezTo>
                    <a:pt x="325" y="807"/>
                    <a:pt x="326" y="807"/>
                    <a:pt x="327" y="807"/>
                  </a:cubicBezTo>
                  <a:cubicBezTo>
                    <a:pt x="327" y="808"/>
                    <a:pt x="327" y="808"/>
                    <a:pt x="327" y="809"/>
                  </a:cubicBezTo>
                  <a:cubicBezTo>
                    <a:pt x="328" y="810"/>
                    <a:pt x="328" y="810"/>
                    <a:pt x="328" y="810"/>
                  </a:cubicBezTo>
                  <a:cubicBezTo>
                    <a:pt x="328" y="810"/>
                    <a:pt x="328" y="811"/>
                    <a:pt x="329" y="812"/>
                  </a:cubicBezTo>
                  <a:cubicBezTo>
                    <a:pt x="329" y="812"/>
                    <a:pt x="329" y="812"/>
                    <a:pt x="329" y="812"/>
                  </a:cubicBezTo>
                  <a:cubicBezTo>
                    <a:pt x="329" y="812"/>
                    <a:pt x="329" y="813"/>
                    <a:pt x="329" y="813"/>
                  </a:cubicBezTo>
                  <a:cubicBezTo>
                    <a:pt x="327" y="814"/>
                    <a:pt x="328" y="815"/>
                    <a:pt x="328" y="816"/>
                  </a:cubicBezTo>
                  <a:cubicBezTo>
                    <a:pt x="328" y="816"/>
                    <a:pt x="328" y="816"/>
                    <a:pt x="328" y="816"/>
                  </a:cubicBezTo>
                  <a:cubicBezTo>
                    <a:pt x="329" y="817"/>
                    <a:pt x="328" y="817"/>
                    <a:pt x="328" y="818"/>
                  </a:cubicBezTo>
                  <a:cubicBezTo>
                    <a:pt x="328" y="818"/>
                    <a:pt x="328" y="819"/>
                    <a:pt x="328" y="820"/>
                  </a:cubicBezTo>
                  <a:cubicBezTo>
                    <a:pt x="329" y="821"/>
                    <a:pt x="329" y="822"/>
                    <a:pt x="330" y="823"/>
                  </a:cubicBezTo>
                  <a:cubicBezTo>
                    <a:pt x="330" y="823"/>
                    <a:pt x="330" y="823"/>
                    <a:pt x="330" y="823"/>
                  </a:cubicBezTo>
                  <a:cubicBezTo>
                    <a:pt x="330" y="823"/>
                    <a:pt x="331" y="823"/>
                    <a:pt x="331" y="823"/>
                  </a:cubicBezTo>
                  <a:cubicBezTo>
                    <a:pt x="331" y="823"/>
                    <a:pt x="331" y="823"/>
                    <a:pt x="331" y="823"/>
                  </a:cubicBezTo>
                  <a:cubicBezTo>
                    <a:pt x="331" y="823"/>
                    <a:pt x="331" y="823"/>
                    <a:pt x="331" y="823"/>
                  </a:cubicBezTo>
                  <a:cubicBezTo>
                    <a:pt x="331" y="823"/>
                    <a:pt x="331" y="824"/>
                    <a:pt x="331" y="824"/>
                  </a:cubicBezTo>
                  <a:cubicBezTo>
                    <a:pt x="331" y="824"/>
                    <a:pt x="331" y="824"/>
                    <a:pt x="331" y="824"/>
                  </a:cubicBezTo>
                  <a:cubicBezTo>
                    <a:pt x="331" y="827"/>
                    <a:pt x="331" y="827"/>
                    <a:pt x="331" y="827"/>
                  </a:cubicBezTo>
                  <a:cubicBezTo>
                    <a:pt x="331" y="827"/>
                    <a:pt x="331" y="828"/>
                    <a:pt x="331" y="828"/>
                  </a:cubicBezTo>
                  <a:cubicBezTo>
                    <a:pt x="331" y="829"/>
                    <a:pt x="332" y="829"/>
                    <a:pt x="332" y="829"/>
                  </a:cubicBezTo>
                  <a:cubicBezTo>
                    <a:pt x="332" y="829"/>
                    <a:pt x="332" y="829"/>
                    <a:pt x="332" y="830"/>
                  </a:cubicBezTo>
                  <a:cubicBezTo>
                    <a:pt x="333" y="830"/>
                    <a:pt x="333" y="830"/>
                    <a:pt x="333" y="830"/>
                  </a:cubicBezTo>
                  <a:cubicBezTo>
                    <a:pt x="333" y="831"/>
                    <a:pt x="333" y="831"/>
                    <a:pt x="333" y="831"/>
                  </a:cubicBezTo>
                  <a:cubicBezTo>
                    <a:pt x="334" y="832"/>
                    <a:pt x="334" y="832"/>
                    <a:pt x="334" y="832"/>
                  </a:cubicBezTo>
                  <a:cubicBezTo>
                    <a:pt x="334" y="833"/>
                    <a:pt x="334" y="833"/>
                    <a:pt x="334" y="833"/>
                  </a:cubicBezTo>
                  <a:cubicBezTo>
                    <a:pt x="333" y="833"/>
                    <a:pt x="333" y="834"/>
                    <a:pt x="333" y="834"/>
                  </a:cubicBezTo>
                  <a:cubicBezTo>
                    <a:pt x="332" y="835"/>
                    <a:pt x="333" y="836"/>
                    <a:pt x="333" y="837"/>
                  </a:cubicBezTo>
                  <a:cubicBezTo>
                    <a:pt x="333" y="837"/>
                    <a:pt x="333" y="837"/>
                    <a:pt x="333" y="837"/>
                  </a:cubicBezTo>
                  <a:cubicBezTo>
                    <a:pt x="334" y="838"/>
                    <a:pt x="334" y="840"/>
                    <a:pt x="333" y="840"/>
                  </a:cubicBezTo>
                  <a:cubicBezTo>
                    <a:pt x="333" y="840"/>
                    <a:pt x="333" y="840"/>
                    <a:pt x="333" y="841"/>
                  </a:cubicBezTo>
                  <a:cubicBezTo>
                    <a:pt x="332" y="841"/>
                    <a:pt x="331" y="842"/>
                    <a:pt x="332" y="843"/>
                  </a:cubicBezTo>
                  <a:cubicBezTo>
                    <a:pt x="332" y="844"/>
                    <a:pt x="332" y="845"/>
                    <a:pt x="333" y="845"/>
                  </a:cubicBezTo>
                  <a:cubicBezTo>
                    <a:pt x="333" y="845"/>
                    <a:pt x="333" y="845"/>
                    <a:pt x="333" y="845"/>
                  </a:cubicBezTo>
                  <a:cubicBezTo>
                    <a:pt x="333" y="846"/>
                    <a:pt x="333" y="846"/>
                    <a:pt x="333" y="847"/>
                  </a:cubicBezTo>
                  <a:cubicBezTo>
                    <a:pt x="333" y="847"/>
                    <a:pt x="333" y="848"/>
                    <a:pt x="333" y="848"/>
                  </a:cubicBezTo>
                  <a:cubicBezTo>
                    <a:pt x="332" y="849"/>
                    <a:pt x="332" y="851"/>
                    <a:pt x="332" y="852"/>
                  </a:cubicBezTo>
                  <a:cubicBezTo>
                    <a:pt x="332" y="852"/>
                    <a:pt x="332" y="852"/>
                    <a:pt x="332" y="853"/>
                  </a:cubicBezTo>
                  <a:cubicBezTo>
                    <a:pt x="332" y="854"/>
                    <a:pt x="332" y="855"/>
                    <a:pt x="332" y="856"/>
                  </a:cubicBezTo>
                  <a:cubicBezTo>
                    <a:pt x="332" y="856"/>
                    <a:pt x="332" y="856"/>
                    <a:pt x="333" y="856"/>
                  </a:cubicBezTo>
                  <a:cubicBezTo>
                    <a:pt x="332" y="856"/>
                    <a:pt x="332" y="856"/>
                    <a:pt x="332" y="856"/>
                  </a:cubicBezTo>
                  <a:cubicBezTo>
                    <a:pt x="332" y="857"/>
                    <a:pt x="330" y="858"/>
                    <a:pt x="331" y="859"/>
                  </a:cubicBezTo>
                  <a:cubicBezTo>
                    <a:pt x="331" y="860"/>
                    <a:pt x="332" y="861"/>
                    <a:pt x="333" y="861"/>
                  </a:cubicBezTo>
                  <a:cubicBezTo>
                    <a:pt x="333" y="861"/>
                    <a:pt x="333" y="861"/>
                    <a:pt x="334" y="861"/>
                  </a:cubicBezTo>
                  <a:cubicBezTo>
                    <a:pt x="334" y="861"/>
                    <a:pt x="334" y="861"/>
                    <a:pt x="334" y="861"/>
                  </a:cubicBezTo>
                  <a:cubicBezTo>
                    <a:pt x="334" y="862"/>
                    <a:pt x="333" y="862"/>
                    <a:pt x="334" y="863"/>
                  </a:cubicBezTo>
                  <a:cubicBezTo>
                    <a:pt x="334" y="864"/>
                    <a:pt x="334" y="864"/>
                    <a:pt x="335" y="864"/>
                  </a:cubicBezTo>
                  <a:cubicBezTo>
                    <a:pt x="334" y="864"/>
                    <a:pt x="334" y="864"/>
                    <a:pt x="334" y="864"/>
                  </a:cubicBezTo>
                  <a:cubicBezTo>
                    <a:pt x="332" y="865"/>
                    <a:pt x="332" y="866"/>
                    <a:pt x="332" y="867"/>
                  </a:cubicBezTo>
                  <a:cubicBezTo>
                    <a:pt x="332" y="867"/>
                    <a:pt x="332" y="868"/>
                    <a:pt x="332" y="868"/>
                  </a:cubicBezTo>
                  <a:cubicBezTo>
                    <a:pt x="332" y="868"/>
                    <a:pt x="332" y="868"/>
                    <a:pt x="332" y="868"/>
                  </a:cubicBezTo>
                  <a:cubicBezTo>
                    <a:pt x="332" y="868"/>
                    <a:pt x="332" y="868"/>
                    <a:pt x="331" y="869"/>
                  </a:cubicBezTo>
                  <a:cubicBezTo>
                    <a:pt x="330" y="870"/>
                    <a:pt x="330" y="871"/>
                    <a:pt x="330" y="872"/>
                  </a:cubicBezTo>
                  <a:cubicBezTo>
                    <a:pt x="330" y="872"/>
                    <a:pt x="330" y="872"/>
                    <a:pt x="330" y="872"/>
                  </a:cubicBezTo>
                  <a:cubicBezTo>
                    <a:pt x="329" y="873"/>
                    <a:pt x="329" y="874"/>
                    <a:pt x="329" y="874"/>
                  </a:cubicBezTo>
                  <a:cubicBezTo>
                    <a:pt x="329" y="875"/>
                    <a:pt x="328" y="875"/>
                    <a:pt x="327" y="875"/>
                  </a:cubicBezTo>
                  <a:cubicBezTo>
                    <a:pt x="326" y="875"/>
                    <a:pt x="326" y="875"/>
                    <a:pt x="326" y="875"/>
                  </a:cubicBezTo>
                  <a:cubicBezTo>
                    <a:pt x="324" y="875"/>
                    <a:pt x="323" y="877"/>
                    <a:pt x="323" y="878"/>
                  </a:cubicBezTo>
                  <a:cubicBezTo>
                    <a:pt x="323" y="879"/>
                    <a:pt x="323" y="879"/>
                    <a:pt x="323" y="880"/>
                  </a:cubicBezTo>
                  <a:cubicBezTo>
                    <a:pt x="323" y="881"/>
                    <a:pt x="323" y="881"/>
                    <a:pt x="323" y="882"/>
                  </a:cubicBezTo>
                  <a:cubicBezTo>
                    <a:pt x="323" y="882"/>
                    <a:pt x="323" y="882"/>
                    <a:pt x="323" y="882"/>
                  </a:cubicBezTo>
                  <a:cubicBezTo>
                    <a:pt x="323" y="882"/>
                    <a:pt x="323" y="883"/>
                    <a:pt x="323" y="883"/>
                  </a:cubicBezTo>
                  <a:cubicBezTo>
                    <a:pt x="322" y="883"/>
                    <a:pt x="322" y="883"/>
                    <a:pt x="322" y="883"/>
                  </a:cubicBezTo>
                  <a:cubicBezTo>
                    <a:pt x="321" y="882"/>
                    <a:pt x="320" y="882"/>
                    <a:pt x="319" y="883"/>
                  </a:cubicBezTo>
                  <a:cubicBezTo>
                    <a:pt x="318" y="884"/>
                    <a:pt x="318" y="886"/>
                    <a:pt x="319" y="888"/>
                  </a:cubicBezTo>
                  <a:cubicBezTo>
                    <a:pt x="319" y="888"/>
                    <a:pt x="319" y="888"/>
                    <a:pt x="319" y="889"/>
                  </a:cubicBezTo>
                  <a:cubicBezTo>
                    <a:pt x="319" y="889"/>
                    <a:pt x="319" y="889"/>
                    <a:pt x="320" y="889"/>
                  </a:cubicBezTo>
                  <a:cubicBezTo>
                    <a:pt x="320" y="889"/>
                    <a:pt x="320" y="889"/>
                    <a:pt x="320" y="889"/>
                  </a:cubicBezTo>
                  <a:cubicBezTo>
                    <a:pt x="320" y="889"/>
                    <a:pt x="319" y="889"/>
                    <a:pt x="319" y="889"/>
                  </a:cubicBezTo>
                  <a:cubicBezTo>
                    <a:pt x="319" y="889"/>
                    <a:pt x="318" y="889"/>
                    <a:pt x="317" y="890"/>
                  </a:cubicBezTo>
                  <a:cubicBezTo>
                    <a:pt x="317" y="890"/>
                    <a:pt x="317" y="890"/>
                    <a:pt x="316" y="891"/>
                  </a:cubicBezTo>
                  <a:cubicBezTo>
                    <a:pt x="316" y="891"/>
                    <a:pt x="316" y="891"/>
                    <a:pt x="315" y="891"/>
                  </a:cubicBezTo>
                  <a:cubicBezTo>
                    <a:pt x="314" y="891"/>
                    <a:pt x="313" y="892"/>
                    <a:pt x="313" y="893"/>
                  </a:cubicBezTo>
                  <a:cubicBezTo>
                    <a:pt x="313" y="893"/>
                    <a:pt x="313" y="893"/>
                    <a:pt x="313" y="894"/>
                  </a:cubicBezTo>
                  <a:cubicBezTo>
                    <a:pt x="312" y="894"/>
                    <a:pt x="312" y="895"/>
                    <a:pt x="312" y="895"/>
                  </a:cubicBezTo>
                  <a:cubicBezTo>
                    <a:pt x="311" y="896"/>
                    <a:pt x="311" y="897"/>
                    <a:pt x="311" y="897"/>
                  </a:cubicBezTo>
                  <a:cubicBezTo>
                    <a:pt x="313" y="897"/>
                    <a:pt x="313" y="897"/>
                    <a:pt x="313" y="897"/>
                  </a:cubicBezTo>
                  <a:cubicBezTo>
                    <a:pt x="313" y="897"/>
                    <a:pt x="313" y="897"/>
                    <a:pt x="313" y="897"/>
                  </a:cubicBezTo>
                  <a:cubicBezTo>
                    <a:pt x="311" y="898"/>
                    <a:pt x="311" y="898"/>
                    <a:pt x="311" y="898"/>
                  </a:cubicBezTo>
                  <a:cubicBezTo>
                    <a:pt x="311" y="898"/>
                    <a:pt x="311" y="899"/>
                    <a:pt x="311" y="899"/>
                  </a:cubicBezTo>
                  <a:cubicBezTo>
                    <a:pt x="311" y="900"/>
                    <a:pt x="311" y="900"/>
                    <a:pt x="311" y="900"/>
                  </a:cubicBezTo>
                  <a:cubicBezTo>
                    <a:pt x="310" y="901"/>
                    <a:pt x="310" y="902"/>
                    <a:pt x="310" y="903"/>
                  </a:cubicBezTo>
                  <a:cubicBezTo>
                    <a:pt x="310" y="903"/>
                    <a:pt x="310" y="904"/>
                    <a:pt x="310" y="904"/>
                  </a:cubicBezTo>
                  <a:cubicBezTo>
                    <a:pt x="310" y="905"/>
                    <a:pt x="310" y="906"/>
                    <a:pt x="309" y="907"/>
                  </a:cubicBezTo>
                  <a:cubicBezTo>
                    <a:pt x="309" y="908"/>
                    <a:pt x="309" y="908"/>
                    <a:pt x="309" y="909"/>
                  </a:cubicBezTo>
                  <a:cubicBezTo>
                    <a:pt x="309" y="909"/>
                    <a:pt x="308" y="910"/>
                    <a:pt x="308" y="910"/>
                  </a:cubicBezTo>
                  <a:cubicBezTo>
                    <a:pt x="308" y="911"/>
                    <a:pt x="307" y="912"/>
                    <a:pt x="307" y="913"/>
                  </a:cubicBezTo>
                  <a:cubicBezTo>
                    <a:pt x="307" y="913"/>
                    <a:pt x="307" y="913"/>
                    <a:pt x="307" y="913"/>
                  </a:cubicBezTo>
                  <a:cubicBezTo>
                    <a:pt x="307" y="914"/>
                    <a:pt x="307" y="914"/>
                    <a:pt x="307" y="914"/>
                  </a:cubicBezTo>
                  <a:cubicBezTo>
                    <a:pt x="307" y="914"/>
                    <a:pt x="307" y="914"/>
                    <a:pt x="307" y="914"/>
                  </a:cubicBezTo>
                  <a:cubicBezTo>
                    <a:pt x="307" y="914"/>
                    <a:pt x="306" y="913"/>
                    <a:pt x="305" y="914"/>
                  </a:cubicBezTo>
                  <a:cubicBezTo>
                    <a:pt x="304" y="914"/>
                    <a:pt x="304" y="914"/>
                    <a:pt x="304" y="915"/>
                  </a:cubicBezTo>
                  <a:cubicBezTo>
                    <a:pt x="303" y="916"/>
                    <a:pt x="304" y="917"/>
                    <a:pt x="304" y="918"/>
                  </a:cubicBezTo>
                  <a:cubicBezTo>
                    <a:pt x="305" y="918"/>
                    <a:pt x="305" y="918"/>
                    <a:pt x="305" y="918"/>
                  </a:cubicBezTo>
                  <a:cubicBezTo>
                    <a:pt x="305" y="919"/>
                    <a:pt x="305" y="919"/>
                    <a:pt x="305" y="920"/>
                  </a:cubicBezTo>
                  <a:cubicBezTo>
                    <a:pt x="304" y="922"/>
                    <a:pt x="304" y="923"/>
                    <a:pt x="305" y="924"/>
                  </a:cubicBezTo>
                  <a:cubicBezTo>
                    <a:pt x="305" y="924"/>
                    <a:pt x="305" y="925"/>
                    <a:pt x="305" y="925"/>
                  </a:cubicBezTo>
                  <a:cubicBezTo>
                    <a:pt x="305" y="926"/>
                    <a:pt x="306" y="926"/>
                    <a:pt x="306" y="926"/>
                  </a:cubicBezTo>
                  <a:cubicBezTo>
                    <a:pt x="306" y="926"/>
                    <a:pt x="305" y="926"/>
                    <a:pt x="305" y="927"/>
                  </a:cubicBezTo>
                  <a:cubicBezTo>
                    <a:pt x="305" y="927"/>
                    <a:pt x="305" y="927"/>
                    <a:pt x="305" y="928"/>
                  </a:cubicBezTo>
                  <a:cubicBezTo>
                    <a:pt x="305" y="928"/>
                    <a:pt x="305" y="928"/>
                    <a:pt x="305" y="928"/>
                  </a:cubicBezTo>
                  <a:cubicBezTo>
                    <a:pt x="305" y="928"/>
                    <a:pt x="304" y="928"/>
                    <a:pt x="304" y="929"/>
                  </a:cubicBezTo>
                  <a:cubicBezTo>
                    <a:pt x="304" y="929"/>
                    <a:pt x="303" y="929"/>
                    <a:pt x="303" y="930"/>
                  </a:cubicBezTo>
                  <a:cubicBezTo>
                    <a:pt x="303" y="931"/>
                    <a:pt x="304" y="932"/>
                    <a:pt x="305" y="932"/>
                  </a:cubicBezTo>
                  <a:cubicBezTo>
                    <a:pt x="305" y="932"/>
                    <a:pt x="305" y="932"/>
                    <a:pt x="306" y="933"/>
                  </a:cubicBezTo>
                  <a:cubicBezTo>
                    <a:pt x="306" y="933"/>
                    <a:pt x="306" y="934"/>
                    <a:pt x="306" y="934"/>
                  </a:cubicBezTo>
                  <a:cubicBezTo>
                    <a:pt x="307" y="934"/>
                    <a:pt x="307" y="935"/>
                    <a:pt x="307" y="935"/>
                  </a:cubicBezTo>
                  <a:cubicBezTo>
                    <a:pt x="307" y="935"/>
                    <a:pt x="307" y="935"/>
                    <a:pt x="307" y="935"/>
                  </a:cubicBezTo>
                  <a:cubicBezTo>
                    <a:pt x="307" y="935"/>
                    <a:pt x="307" y="935"/>
                    <a:pt x="307" y="935"/>
                  </a:cubicBezTo>
                  <a:cubicBezTo>
                    <a:pt x="308" y="936"/>
                    <a:pt x="308" y="936"/>
                    <a:pt x="308" y="937"/>
                  </a:cubicBezTo>
                  <a:cubicBezTo>
                    <a:pt x="309" y="937"/>
                    <a:pt x="309" y="937"/>
                    <a:pt x="310" y="937"/>
                  </a:cubicBezTo>
                  <a:cubicBezTo>
                    <a:pt x="311" y="937"/>
                    <a:pt x="312" y="936"/>
                    <a:pt x="313" y="934"/>
                  </a:cubicBezTo>
                  <a:cubicBezTo>
                    <a:pt x="313" y="934"/>
                    <a:pt x="314" y="934"/>
                    <a:pt x="314" y="934"/>
                  </a:cubicBezTo>
                  <a:cubicBezTo>
                    <a:pt x="314" y="934"/>
                    <a:pt x="314" y="934"/>
                    <a:pt x="314" y="935"/>
                  </a:cubicBezTo>
                  <a:cubicBezTo>
                    <a:pt x="314" y="935"/>
                    <a:pt x="314" y="936"/>
                    <a:pt x="314" y="936"/>
                  </a:cubicBezTo>
                  <a:cubicBezTo>
                    <a:pt x="314" y="937"/>
                    <a:pt x="314" y="938"/>
                    <a:pt x="312" y="939"/>
                  </a:cubicBezTo>
                  <a:cubicBezTo>
                    <a:pt x="312" y="939"/>
                    <a:pt x="312" y="939"/>
                    <a:pt x="312" y="939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0"/>
                    <a:pt x="310" y="940"/>
                  </a:cubicBezTo>
                  <a:cubicBezTo>
                    <a:pt x="310" y="940"/>
                    <a:pt x="310" y="941"/>
                    <a:pt x="310" y="941"/>
                  </a:cubicBezTo>
                  <a:cubicBezTo>
                    <a:pt x="310" y="941"/>
                    <a:pt x="310" y="941"/>
                    <a:pt x="310" y="941"/>
                  </a:cubicBezTo>
                  <a:cubicBezTo>
                    <a:pt x="309" y="941"/>
                    <a:pt x="309" y="941"/>
                    <a:pt x="309" y="941"/>
                  </a:cubicBezTo>
                  <a:cubicBezTo>
                    <a:pt x="309" y="941"/>
                    <a:pt x="309" y="941"/>
                    <a:pt x="309" y="941"/>
                  </a:cubicBezTo>
                  <a:cubicBezTo>
                    <a:pt x="309" y="941"/>
                    <a:pt x="309" y="941"/>
                    <a:pt x="309" y="942"/>
                  </a:cubicBezTo>
                  <a:cubicBezTo>
                    <a:pt x="309" y="942"/>
                    <a:pt x="309" y="942"/>
                    <a:pt x="309" y="942"/>
                  </a:cubicBezTo>
                  <a:cubicBezTo>
                    <a:pt x="308" y="942"/>
                    <a:pt x="308" y="942"/>
                    <a:pt x="308" y="943"/>
                  </a:cubicBezTo>
                  <a:cubicBezTo>
                    <a:pt x="308" y="943"/>
                    <a:pt x="308" y="943"/>
                    <a:pt x="307" y="943"/>
                  </a:cubicBezTo>
                  <a:cubicBezTo>
                    <a:pt x="307" y="944"/>
                    <a:pt x="307" y="944"/>
                    <a:pt x="307" y="944"/>
                  </a:cubicBezTo>
                  <a:cubicBezTo>
                    <a:pt x="307" y="944"/>
                    <a:pt x="307" y="945"/>
                    <a:pt x="306" y="945"/>
                  </a:cubicBezTo>
                  <a:cubicBezTo>
                    <a:pt x="306" y="945"/>
                    <a:pt x="306" y="945"/>
                    <a:pt x="305" y="945"/>
                  </a:cubicBezTo>
                  <a:cubicBezTo>
                    <a:pt x="304" y="946"/>
                    <a:pt x="304" y="947"/>
                    <a:pt x="304" y="948"/>
                  </a:cubicBezTo>
                  <a:cubicBezTo>
                    <a:pt x="304" y="948"/>
                    <a:pt x="304" y="949"/>
                    <a:pt x="304" y="949"/>
                  </a:cubicBezTo>
                  <a:cubicBezTo>
                    <a:pt x="303" y="950"/>
                    <a:pt x="303" y="950"/>
                    <a:pt x="303" y="951"/>
                  </a:cubicBezTo>
                  <a:cubicBezTo>
                    <a:pt x="303" y="951"/>
                    <a:pt x="303" y="951"/>
                    <a:pt x="303" y="952"/>
                  </a:cubicBezTo>
                  <a:cubicBezTo>
                    <a:pt x="303" y="952"/>
                    <a:pt x="303" y="952"/>
                    <a:pt x="303" y="952"/>
                  </a:cubicBezTo>
                  <a:cubicBezTo>
                    <a:pt x="301" y="952"/>
                    <a:pt x="301" y="954"/>
                    <a:pt x="302" y="955"/>
                  </a:cubicBezTo>
                  <a:cubicBezTo>
                    <a:pt x="302" y="955"/>
                    <a:pt x="302" y="955"/>
                    <a:pt x="302" y="955"/>
                  </a:cubicBezTo>
                  <a:cubicBezTo>
                    <a:pt x="301" y="955"/>
                    <a:pt x="301" y="956"/>
                    <a:pt x="301" y="956"/>
                  </a:cubicBezTo>
                  <a:cubicBezTo>
                    <a:pt x="301" y="957"/>
                    <a:pt x="301" y="957"/>
                    <a:pt x="301" y="958"/>
                  </a:cubicBezTo>
                  <a:cubicBezTo>
                    <a:pt x="301" y="959"/>
                    <a:pt x="301" y="960"/>
                    <a:pt x="302" y="960"/>
                  </a:cubicBezTo>
                  <a:cubicBezTo>
                    <a:pt x="302" y="961"/>
                    <a:pt x="302" y="961"/>
                    <a:pt x="302" y="961"/>
                  </a:cubicBezTo>
                  <a:cubicBezTo>
                    <a:pt x="302" y="962"/>
                    <a:pt x="303" y="962"/>
                    <a:pt x="303" y="962"/>
                  </a:cubicBezTo>
                  <a:cubicBezTo>
                    <a:pt x="303" y="962"/>
                    <a:pt x="303" y="963"/>
                    <a:pt x="303" y="963"/>
                  </a:cubicBezTo>
                  <a:cubicBezTo>
                    <a:pt x="302" y="964"/>
                    <a:pt x="302" y="964"/>
                    <a:pt x="302" y="965"/>
                  </a:cubicBezTo>
                  <a:cubicBezTo>
                    <a:pt x="303" y="966"/>
                    <a:pt x="303" y="967"/>
                    <a:pt x="304" y="968"/>
                  </a:cubicBezTo>
                  <a:cubicBezTo>
                    <a:pt x="304" y="968"/>
                    <a:pt x="305" y="968"/>
                    <a:pt x="305" y="968"/>
                  </a:cubicBezTo>
                  <a:cubicBezTo>
                    <a:pt x="305" y="969"/>
                    <a:pt x="305" y="969"/>
                    <a:pt x="305" y="969"/>
                  </a:cubicBezTo>
                  <a:cubicBezTo>
                    <a:pt x="305" y="969"/>
                    <a:pt x="304" y="969"/>
                    <a:pt x="304" y="969"/>
                  </a:cubicBezTo>
                  <a:cubicBezTo>
                    <a:pt x="303" y="970"/>
                    <a:pt x="303" y="973"/>
                    <a:pt x="303" y="974"/>
                  </a:cubicBezTo>
                  <a:cubicBezTo>
                    <a:pt x="304" y="975"/>
                    <a:pt x="305" y="975"/>
                    <a:pt x="306" y="976"/>
                  </a:cubicBezTo>
                  <a:cubicBezTo>
                    <a:pt x="306" y="976"/>
                    <a:pt x="307" y="976"/>
                    <a:pt x="307" y="976"/>
                  </a:cubicBezTo>
                  <a:cubicBezTo>
                    <a:pt x="307" y="977"/>
                    <a:pt x="308" y="977"/>
                    <a:pt x="308" y="978"/>
                  </a:cubicBezTo>
                  <a:cubicBezTo>
                    <a:pt x="309" y="978"/>
                    <a:pt x="310" y="979"/>
                    <a:pt x="310" y="979"/>
                  </a:cubicBezTo>
                  <a:cubicBezTo>
                    <a:pt x="311" y="980"/>
                    <a:pt x="312" y="981"/>
                    <a:pt x="313" y="982"/>
                  </a:cubicBezTo>
                  <a:cubicBezTo>
                    <a:pt x="314" y="983"/>
                    <a:pt x="315" y="984"/>
                    <a:pt x="316" y="986"/>
                  </a:cubicBezTo>
                  <a:cubicBezTo>
                    <a:pt x="317" y="987"/>
                    <a:pt x="317" y="988"/>
                    <a:pt x="317" y="989"/>
                  </a:cubicBezTo>
                  <a:cubicBezTo>
                    <a:pt x="318" y="989"/>
                    <a:pt x="318" y="989"/>
                    <a:pt x="318" y="989"/>
                  </a:cubicBezTo>
                  <a:cubicBezTo>
                    <a:pt x="318" y="990"/>
                    <a:pt x="319" y="992"/>
                    <a:pt x="319" y="993"/>
                  </a:cubicBezTo>
                  <a:cubicBezTo>
                    <a:pt x="320" y="993"/>
                    <a:pt x="320" y="993"/>
                    <a:pt x="320" y="993"/>
                  </a:cubicBezTo>
                  <a:cubicBezTo>
                    <a:pt x="320" y="994"/>
                    <a:pt x="321" y="995"/>
                    <a:pt x="321" y="996"/>
                  </a:cubicBezTo>
                  <a:cubicBezTo>
                    <a:pt x="322" y="997"/>
                    <a:pt x="322" y="997"/>
                    <a:pt x="323" y="998"/>
                  </a:cubicBezTo>
                  <a:cubicBezTo>
                    <a:pt x="323" y="998"/>
                    <a:pt x="324" y="998"/>
                    <a:pt x="324" y="998"/>
                  </a:cubicBezTo>
                  <a:cubicBezTo>
                    <a:pt x="325" y="998"/>
                    <a:pt x="325" y="998"/>
                    <a:pt x="325" y="999"/>
                  </a:cubicBezTo>
                  <a:cubicBezTo>
                    <a:pt x="325" y="999"/>
                    <a:pt x="325" y="1000"/>
                    <a:pt x="325" y="1001"/>
                  </a:cubicBezTo>
                  <a:cubicBezTo>
                    <a:pt x="325" y="1001"/>
                    <a:pt x="325" y="1001"/>
                    <a:pt x="325" y="1001"/>
                  </a:cubicBezTo>
                  <a:cubicBezTo>
                    <a:pt x="325" y="1004"/>
                    <a:pt x="326" y="1007"/>
                    <a:pt x="328" y="1009"/>
                  </a:cubicBezTo>
                  <a:cubicBezTo>
                    <a:pt x="328" y="1010"/>
                    <a:pt x="329" y="1011"/>
                    <a:pt x="329" y="1012"/>
                  </a:cubicBezTo>
                  <a:cubicBezTo>
                    <a:pt x="329" y="1012"/>
                    <a:pt x="329" y="1012"/>
                    <a:pt x="329" y="1012"/>
                  </a:cubicBezTo>
                  <a:cubicBezTo>
                    <a:pt x="330" y="1014"/>
                    <a:pt x="330" y="1015"/>
                    <a:pt x="332" y="1016"/>
                  </a:cubicBezTo>
                  <a:cubicBezTo>
                    <a:pt x="332" y="1017"/>
                    <a:pt x="332" y="1017"/>
                    <a:pt x="332" y="1017"/>
                  </a:cubicBezTo>
                  <a:cubicBezTo>
                    <a:pt x="332" y="1017"/>
                    <a:pt x="332" y="1017"/>
                    <a:pt x="332" y="1017"/>
                  </a:cubicBezTo>
                  <a:cubicBezTo>
                    <a:pt x="332" y="1018"/>
                    <a:pt x="332" y="1018"/>
                    <a:pt x="332" y="1019"/>
                  </a:cubicBezTo>
                  <a:cubicBezTo>
                    <a:pt x="332" y="1020"/>
                    <a:pt x="333" y="1021"/>
                    <a:pt x="334" y="1021"/>
                  </a:cubicBezTo>
                  <a:cubicBezTo>
                    <a:pt x="334" y="1021"/>
                    <a:pt x="334" y="1022"/>
                    <a:pt x="334" y="1022"/>
                  </a:cubicBezTo>
                  <a:cubicBezTo>
                    <a:pt x="334" y="1022"/>
                    <a:pt x="334" y="1023"/>
                    <a:pt x="334" y="1023"/>
                  </a:cubicBezTo>
                  <a:cubicBezTo>
                    <a:pt x="334" y="1024"/>
                    <a:pt x="335" y="1025"/>
                    <a:pt x="335" y="1025"/>
                  </a:cubicBezTo>
                  <a:cubicBezTo>
                    <a:pt x="335" y="1026"/>
                    <a:pt x="335" y="1027"/>
                    <a:pt x="336" y="1028"/>
                  </a:cubicBezTo>
                  <a:cubicBezTo>
                    <a:pt x="337" y="1028"/>
                    <a:pt x="337" y="1028"/>
                    <a:pt x="337" y="1028"/>
                  </a:cubicBezTo>
                  <a:cubicBezTo>
                    <a:pt x="337" y="1028"/>
                    <a:pt x="337" y="1028"/>
                    <a:pt x="337" y="1028"/>
                  </a:cubicBezTo>
                  <a:cubicBezTo>
                    <a:pt x="337" y="1029"/>
                    <a:pt x="337" y="1029"/>
                    <a:pt x="338" y="1029"/>
                  </a:cubicBezTo>
                  <a:cubicBezTo>
                    <a:pt x="338" y="1030"/>
                    <a:pt x="338" y="1031"/>
                    <a:pt x="339" y="1032"/>
                  </a:cubicBezTo>
                  <a:cubicBezTo>
                    <a:pt x="339" y="1033"/>
                    <a:pt x="339" y="1033"/>
                    <a:pt x="339" y="1033"/>
                  </a:cubicBezTo>
                  <a:cubicBezTo>
                    <a:pt x="340" y="1034"/>
                    <a:pt x="340" y="1035"/>
                    <a:pt x="341" y="1035"/>
                  </a:cubicBezTo>
                  <a:cubicBezTo>
                    <a:pt x="341" y="1036"/>
                    <a:pt x="341" y="1036"/>
                    <a:pt x="341" y="1036"/>
                  </a:cubicBezTo>
                  <a:cubicBezTo>
                    <a:pt x="341" y="1037"/>
                    <a:pt x="341" y="1038"/>
                    <a:pt x="342" y="1039"/>
                  </a:cubicBezTo>
                  <a:cubicBezTo>
                    <a:pt x="342" y="1040"/>
                    <a:pt x="342" y="1040"/>
                    <a:pt x="343" y="1041"/>
                  </a:cubicBezTo>
                  <a:cubicBezTo>
                    <a:pt x="343" y="1041"/>
                    <a:pt x="343" y="1041"/>
                    <a:pt x="343" y="1041"/>
                  </a:cubicBezTo>
                  <a:cubicBezTo>
                    <a:pt x="344" y="1043"/>
                    <a:pt x="344" y="1043"/>
                    <a:pt x="345" y="1044"/>
                  </a:cubicBezTo>
                  <a:cubicBezTo>
                    <a:pt x="345" y="1044"/>
                    <a:pt x="346" y="1045"/>
                    <a:pt x="346" y="1045"/>
                  </a:cubicBezTo>
                  <a:cubicBezTo>
                    <a:pt x="346" y="1045"/>
                    <a:pt x="346" y="1045"/>
                    <a:pt x="346" y="1046"/>
                  </a:cubicBezTo>
                  <a:cubicBezTo>
                    <a:pt x="346" y="1046"/>
                    <a:pt x="346" y="1046"/>
                    <a:pt x="346" y="1046"/>
                  </a:cubicBezTo>
                  <a:cubicBezTo>
                    <a:pt x="347" y="1047"/>
                    <a:pt x="347" y="1048"/>
                    <a:pt x="348" y="1049"/>
                  </a:cubicBezTo>
                  <a:cubicBezTo>
                    <a:pt x="349" y="1049"/>
                    <a:pt x="349" y="1049"/>
                    <a:pt x="349" y="1049"/>
                  </a:cubicBezTo>
                  <a:cubicBezTo>
                    <a:pt x="349" y="1050"/>
                    <a:pt x="349" y="1050"/>
                    <a:pt x="349" y="1050"/>
                  </a:cubicBezTo>
                  <a:cubicBezTo>
                    <a:pt x="349" y="1050"/>
                    <a:pt x="349" y="1050"/>
                    <a:pt x="349" y="1050"/>
                  </a:cubicBezTo>
                  <a:cubicBezTo>
                    <a:pt x="349" y="1051"/>
                    <a:pt x="349" y="1051"/>
                    <a:pt x="350" y="1052"/>
                  </a:cubicBezTo>
                  <a:cubicBezTo>
                    <a:pt x="350" y="1052"/>
                    <a:pt x="351" y="1053"/>
                    <a:pt x="351" y="1054"/>
                  </a:cubicBezTo>
                  <a:cubicBezTo>
                    <a:pt x="351" y="1054"/>
                    <a:pt x="352" y="1054"/>
                    <a:pt x="352" y="1054"/>
                  </a:cubicBezTo>
                  <a:cubicBezTo>
                    <a:pt x="352" y="1055"/>
                    <a:pt x="352" y="1055"/>
                    <a:pt x="353" y="1056"/>
                  </a:cubicBezTo>
                  <a:cubicBezTo>
                    <a:pt x="353" y="1056"/>
                    <a:pt x="353" y="1057"/>
                    <a:pt x="353" y="1057"/>
                  </a:cubicBezTo>
                  <a:cubicBezTo>
                    <a:pt x="353" y="1057"/>
                    <a:pt x="353" y="1058"/>
                    <a:pt x="354" y="1058"/>
                  </a:cubicBezTo>
                  <a:cubicBezTo>
                    <a:pt x="353" y="1058"/>
                    <a:pt x="353" y="1058"/>
                    <a:pt x="353" y="1058"/>
                  </a:cubicBezTo>
                  <a:cubicBezTo>
                    <a:pt x="352" y="1059"/>
                    <a:pt x="353" y="1060"/>
                    <a:pt x="353" y="1061"/>
                  </a:cubicBezTo>
                  <a:cubicBezTo>
                    <a:pt x="353" y="1062"/>
                    <a:pt x="355" y="1063"/>
                    <a:pt x="355" y="1063"/>
                  </a:cubicBezTo>
                  <a:cubicBezTo>
                    <a:pt x="356" y="1064"/>
                    <a:pt x="356" y="1064"/>
                    <a:pt x="356" y="1064"/>
                  </a:cubicBezTo>
                  <a:cubicBezTo>
                    <a:pt x="357" y="1065"/>
                    <a:pt x="358" y="1065"/>
                    <a:pt x="358" y="1066"/>
                  </a:cubicBezTo>
                  <a:cubicBezTo>
                    <a:pt x="358" y="1066"/>
                    <a:pt x="358" y="1067"/>
                    <a:pt x="358" y="1067"/>
                  </a:cubicBezTo>
                  <a:cubicBezTo>
                    <a:pt x="358" y="1068"/>
                    <a:pt x="359" y="1069"/>
                    <a:pt x="361" y="1070"/>
                  </a:cubicBezTo>
                  <a:cubicBezTo>
                    <a:pt x="361" y="1070"/>
                    <a:pt x="363" y="1071"/>
                    <a:pt x="364" y="1071"/>
                  </a:cubicBezTo>
                  <a:cubicBezTo>
                    <a:pt x="364" y="1072"/>
                    <a:pt x="365" y="1073"/>
                    <a:pt x="365" y="1074"/>
                  </a:cubicBezTo>
                  <a:cubicBezTo>
                    <a:pt x="366" y="1076"/>
                    <a:pt x="366" y="1077"/>
                    <a:pt x="368" y="1077"/>
                  </a:cubicBezTo>
                  <a:cubicBezTo>
                    <a:pt x="369" y="1078"/>
                    <a:pt x="369" y="1078"/>
                    <a:pt x="369" y="1078"/>
                  </a:cubicBezTo>
                  <a:cubicBezTo>
                    <a:pt x="369" y="1078"/>
                    <a:pt x="369" y="1078"/>
                    <a:pt x="369" y="1078"/>
                  </a:cubicBezTo>
                  <a:cubicBezTo>
                    <a:pt x="370" y="1078"/>
                    <a:pt x="370" y="1078"/>
                    <a:pt x="370" y="1079"/>
                  </a:cubicBezTo>
                  <a:cubicBezTo>
                    <a:pt x="370" y="1079"/>
                    <a:pt x="371" y="1079"/>
                    <a:pt x="371" y="1080"/>
                  </a:cubicBezTo>
                  <a:cubicBezTo>
                    <a:pt x="372" y="1081"/>
                    <a:pt x="373" y="1081"/>
                    <a:pt x="374" y="1081"/>
                  </a:cubicBezTo>
                  <a:cubicBezTo>
                    <a:pt x="374" y="1081"/>
                    <a:pt x="375" y="1081"/>
                    <a:pt x="375" y="1081"/>
                  </a:cubicBezTo>
                  <a:cubicBezTo>
                    <a:pt x="375" y="1081"/>
                    <a:pt x="375" y="1082"/>
                    <a:pt x="376" y="1082"/>
                  </a:cubicBezTo>
                  <a:cubicBezTo>
                    <a:pt x="376" y="1082"/>
                    <a:pt x="376" y="1083"/>
                    <a:pt x="377" y="1083"/>
                  </a:cubicBezTo>
                  <a:cubicBezTo>
                    <a:pt x="377" y="1084"/>
                    <a:pt x="377" y="1084"/>
                    <a:pt x="377" y="1084"/>
                  </a:cubicBezTo>
                  <a:cubicBezTo>
                    <a:pt x="378" y="1084"/>
                    <a:pt x="379" y="1085"/>
                    <a:pt x="380" y="1086"/>
                  </a:cubicBezTo>
                  <a:cubicBezTo>
                    <a:pt x="380" y="1086"/>
                    <a:pt x="381" y="1086"/>
                    <a:pt x="382" y="1087"/>
                  </a:cubicBezTo>
                  <a:cubicBezTo>
                    <a:pt x="382" y="1087"/>
                    <a:pt x="383" y="1087"/>
                    <a:pt x="383" y="1087"/>
                  </a:cubicBezTo>
                  <a:cubicBezTo>
                    <a:pt x="383" y="1087"/>
                    <a:pt x="384" y="1087"/>
                    <a:pt x="384" y="1088"/>
                  </a:cubicBezTo>
                  <a:cubicBezTo>
                    <a:pt x="385" y="1088"/>
                    <a:pt x="385" y="1089"/>
                    <a:pt x="386" y="1089"/>
                  </a:cubicBezTo>
                  <a:cubicBezTo>
                    <a:pt x="387" y="1089"/>
                    <a:pt x="389" y="1090"/>
                    <a:pt x="390" y="1090"/>
                  </a:cubicBezTo>
                  <a:cubicBezTo>
                    <a:pt x="391" y="1091"/>
                    <a:pt x="391" y="1091"/>
                    <a:pt x="391" y="1091"/>
                  </a:cubicBezTo>
                  <a:cubicBezTo>
                    <a:pt x="392" y="1091"/>
                    <a:pt x="393" y="1092"/>
                    <a:pt x="395" y="1092"/>
                  </a:cubicBezTo>
                  <a:cubicBezTo>
                    <a:pt x="395" y="1092"/>
                    <a:pt x="395" y="1092"/>
                    <a:pt x="395" y="1092"/>
                  </a:cubicBezTo>
                  <a:cubicBezTo>
                    <a:pt x="395" y="1093"/>
                    <a:pt x="395" y="1093"/>
                    <a:pt x="396" y="1094"/>
                  </a:cubicBezTo>
                  <a:cubicBezTo>
                    <a:pt x="397" y="1095"/>
                    <a:pt x="398" y="1096"/>
                    <a:pt x="399" y="1096"/>
                  </a:cubicBezTo>
                  <a:cubicBezTo>
                    <a:pt x="400" y="1096"/>
                    <a:pt x="401" y="1097"/>
                    <a:pt x="401" y="1098"/>
                  </a:cubicBezTo>
                  <a:cubicBezTo>
                    <a:pt x="402" y="1099"/>
                    <a:pt x="402" y="1100"/>
                    <a:pt x="403" y="1101"/>
                  </a:cubicBezTo>
                  <a:cubicBezTo>
                    <a:pt x="404" y="1102"/>
                    <a:pt x="405" y="1102"/>
                    <a:pt x="405" y="1102"/>
                  </a:cubicBezTo>
                  <a:cubicBezTo>
                    <a:pt x="406" y="1102"/>
                    <a:pt x="406" y="1103"/>
                    <a:pt x="406" y="1103"/>
                  </a:cubicBezTo>
                  <a:cubicBezTo>
                    <a:pt x="407" y="1103"/>
                    <a:pt x="407" y="1104"/>
                    <a:pt x="408" y="1104"/>
                  </a:cubicBezTo>
                  <a:cubicBezTo>
                    <a:pt x="408" y="1105"/>
                    <a:pt x="409" y="1105"/>
                    <a:pt x="409" y="1106"/>
                  </a:cubicBezTo>
                  <a:cubicBezTo>
                    <a:pt x="410" y="1107"/>
                    <a:pt x="411" y="1107"/>
                    <a:pt x="412" y="1108"/>
                  </a:cubicBezTo>
                  <a:cubicBezTo>
                    <a:pt x="412" y="1108"/>
                    <a:pt x="412" y="1108"/>
                    <a:pt x="412" y="1108"/>
                  </a:cubicBezTo>
                  <a:cubicBezTo>
                    <a:pt x="412" y="1108"/>
                    <a:pt x="412" y="1108"/>
                    <a:pt x="412" y="1108"/>
                  </a:cubicBezTo>
                  <a:cubicBezTo>
                    <a:pt x="413" y="1109"/>
                    <a:pt x="413" y="1109"/>
                    <a:pt x="413" y="1110"/>
                  </a:cubicBezTo>
                  <a:cubicBezTo>
                    <a:pt x="413" y="1111"/>
                    <a:pt x="413" y="1111"/>
                    <a:pt x="413" y="1112"/>
                  </a:cubicBezTo>
                  <a:cubicBezTo>
                    <a:pt x="413" y="1113"/>
                    <a:pt x="413" y="1113"/>
                    <a:pt x="413" y="1113"/>
                  </a:cubicBezTo>
                  <a:cubicBezTo>
                    <a:pt x="414" y="1113"/>
                    <a:pt x="414" y="1114"/>
                    <a:pt x="414" y="1115"/>
                  </a:cubicBezTo>
                  <a:cubicBezTo>
                    <a:pt x="414" y="1115"/>
                    <a:pt x="414" y="1115"/>
                    <a:pt x="414" y="1116"/>
                  </a:cubicBezTo>
                  <a:cubicBezTo>
                    <a:pt x="414" y="1116"/>
                    <a:pt x="414" y="1117"/>
                    <a:pt x="415" y="1117"/>
                  </a:cubicBezTo>
                  <a:cubicBezTo>
                    <a:pt x="415" y="1118"/>
                    <a:pt x="415" y="1118"/>
                    <a:pt x="415" y="1119"/>
                  </a:cubicBezTo>
                  <a:cubicBezTo>
                    <a:pt x="415" y="1119"/>
                    <a:pt x="415" y="1119"/>
                    <a:pt x="415" y="1119"/>
                  </a:cubicBezTo>
                  <a:cubicBezTo>
                    <a:pt x="415" y="1120"/>
                    <a:pt x="416" y="1122"/>
                    <a:pt x="416" y="1123"/>
                  </a:cubicBezTo>
                  <a:cubicBezTo>
                    <a:pt x="417" y="1123"/>
                    <a:pt x="417" y="1124"/>
                    <a:pt x="417" y="1125"/>
                  </a:cubicBezTo>
                  <a:cubicBezTo>
                    <a:pt x="418" y="1125"/>
                    <a:pt x="418" y="1125"/>
                    <a:pt x="418" y="1126"/>
                  </a:cubicBezTo>
                  <a:cubicBezTo>
                    <a:pt x="418" y="1127"/>
                    <a:pt x="418" y="1128"/>
                    <a:pt x="418" y="1129"/>
                  </a:cubicBezTo>
                  <a:cubicBezTo>
                    <a:pt x="418" y="1129"/>
                    <a:pt x="418" y="1129"/>
                    <a:pt x="418" y="1129"/>
                  </a:cubicBezTo>
                  <a:cubicBezTo>
                    <a:pt x="418" y="1130"/>
                    <a:pt x="418" y="1132"/>
                    <a:pt x="418" y="1133"/>
                  </a:cubicBezTo>
                  <a:cubicBezTo>
                    <a:pt x="419" y="1134"/>
                    <a:pt x="419" y="1135"/>
                    <a:pt x="419" y="1135"/>
                  </a:cubicBezTo>
                  <a:cubicBezTo>
                    <a:pt x="419" y="1136"/>
                    <a:pt x="420" y="1136"/>
                    <a:pt x="420" y="1136"/>
                  </a:cubicBezTo>
                  <a:cubicBezTo>
                    <a:pt x="420" y="1137"/>
                    <a:pt x="420" y="1138"/>
                    <a:pt x="421" y="1140"/>
                  </a:cubicBezTo>
                  <a:cubicBezTo>
                    <a:pt x="421" y="1140"/>
                    <a:pt x="421" y="1141"/>
                    <a:pt x="422" y="1142"/>
                  </a:cubicBezTo>
                  <a:cubicBezTo>
                    <a:pt x="422" y="1142"/>
                    <a:pt x="422" y="1142"/>
                    <a:pt x="422" y="1143"/>
                  </a:cubicBezTo>
                  <a:cubicBezTo>
                    <a:pt x="422" y="1143"/>
                    <a:pt x="422" y="1144"/>
                    <a:pt x="423" y="1144"/>
                  </a:cubicBezTo>
                  <a:cubicBezTo>
                    <a:pt x="423" y="1145"/>
                    <a:pt x="423" y="1145"/>
                    <a:pt x="423" y="1146"/>
                  </a:cubicBezTo>
                  <a:cubicBezTo>
                    <a:pt x="423" y="1146"/>
                    <a:pt x="423" y="1147"/>
                    <a:pt x="424" y="1148"/>
                  </a:cubicBezTo>
                  <a:cubicBezTo>
                    <a:pt x="424" y="1148"/>
                    <a:pt x="424" y="1149"/>
                    <a:pt x="424" y="1149"/>
                  </a:cubicBezTo>
                  <a:cubicBezTo>
                    <a:pt x="424" y="1150"/>
                    <a:pt x="424" y="1151"/>
                    <a:pt x="424" y="1152"/>
                  </a:cubicBezTo>
                  <a:cubicBezTo>
                    <a:pt x="424" y="1152"/>
                    <a:pt x="424" y="1152"/>
                    <a:pt x="424" y="1152"/>
                  </a:cubicBezTo>
                  <a:cubicBezTo>
                    <a:pt x="424" y="1153"/>
                    <a:pt x="424" y="1153"/>
                    <a:pt x="424" y="1153"/>
                  </a:cubicBezTo>
                  <a:cubicBezTo>
                    <a:pt x="424" y="1154"/>
                    <a:pt x="424" y="1155"/>
                    <a:pt x="424" y="1156"/>
                  </a:cubicBezTo>
                  <a:cubicBezTo>
                    <a:pt x="424" y="1156"/>
                    <a:pt x="424" y="1157"/>
                    <a:pt x="424" y="1158"/>
                  </a:cubicBezTo>
                  <a:cubicBezTo>
                    <a:pt x="425" y="1158"/>
                    <a:pt x="425" y="1158"/>
                    <a:pt x="425" y="1158"/>
                  </a:cubicBezTo>
                  <a:cubicBezTo>
                    <a:pt x="425" y="1158"/>
                    <a:pt x="424" y="1159"/>
                    <a:pt x="424" y="1159"/>
                  </a:cubicBezTo>
                  <a:cubicBezTo>
                    <a:pt x="424" y="1160"/>
                    <a:pt x="424" y="1161"/>
                    <a:pt x="424" y="1162"/>
                  </a:cubicBezTo>
                  <a:cubicBezTo>
                    <a:pt x="424" y="1162"/>
                    <a:pt x="424" y="1162"/>
                    <a:pt x="424" y="1163"/>
                  </a:cubicBezTo>
                  <a:cubicBezTo>
                    <a:pt x="424" y="1163"/>
                    <a:pt x="424" y="1164"/>
                    <a:pt x="425" y="1165"/>
                  </a:cubicBezTo>
                  <a:cubicBezTo>
                    <a:pt x="425" y="1166"/>
                    <a:pt x="426" y="1166"/>
                    <a:pt x="426" y="1166"/>
                  </a:cubicBezTo>
                  <a:cubicBezTo>
                    <a:pt x="426" y="1166"/>
                    <a:pt x="426" y="1166"/>
                    <a:pt x="426" y="1166"/>
                  </a:cubicBezTo>
                  <a:cubicBezTo>
                    <a:pt x="426" y="1166"/>
                    <a:pt x="426" y="1166"/>
                    <a:pt x="426" y="1167"/>
                  </a:cubicBezTo>
                  <a:cubicBezTo>
                    <a:pt x="426" y="1168"/>
                    <a:pt x="426" y="1169"/>
                    <a:pt x="426" y="1169"/>
                  </a:cubicBezTo>
                  <a:cubicBezTo>
                    <a:pt x="426" y="1170"/>
                    <a:pt x="426" y="1170"/>
                    <a:pt x="426" y="1170"/>
                  </a:cubicBezTo>
                  <a:cubicBezTo>
                    <a:pt x="426" y="1170"/>
                    <a:pt x="427" y="1171"/>
                    <a:pt x="427" y="1172"/>
                  </a:cubicBezTo>
                  <a:cubicBezTo>
                    <a:pt x="427" y="1172"/>
                    <a:pt x="427" y="1172"/>
                    <a:pt x="428" y="1172"/>
                  </a:cubicBezTo>
                  <a:cubicBezTo>
                    <a:pt x="428" y="1174"/>
                    <a:pt x="428" y="1175"/>
                    <a:pt x="428" y="1176"/>
                  </a:cubicBezTo>
                  <a:cubicBezTo>
                    <a:pt x="428" y="1177"/>
                    <a:pt x="429" y="1177"/>
                    <a:pt x="429" y="1178"/>
                  </a:cubicBezTo>
                  <a:cubicBezTo>
                    <a:pt x="429" y="1178"/>
                    <a:pt x="429" y="1178"/>
                    <a:pt x="429" y="1178"/>
                  </a:cubicBezTo>
                  <a:cubicBezTo>
                    <a:pt x="429" y="1178"/>
                    <a:pt x="429" y="1178"/>
                    <a:pt x="429" y="1179"/>
                  </a:cubicBezTo>
                  <a:cubicBezTo>
                    <a:pt x="429" y="1179"/>
                    <a:pt x="429" y="1179"/>
                    <a:pt x="429" y="1179"/>
                  </a:cubicBezTo>
                  <a:cubicBezTo>
                    <a:pt x="429" y="1181"/>
                    <a:pt x="429" y="1182"/>
                    <a:pt x="430" y="1184"/>
                  </a:cubicBezTo>
                  <a:cubicBezTo>
                    <a:pt x="430" y="1184"/>
                    <a:pt x="430" y="1184"/>
                    <a:pt x="430" y="1184"/>
                  </a:cubicBezTo>
                  <a:cubicBezTo>
                    <a:pt x="430" y="1184"/>
                    <a:pt x="430" y="1184"/>
                    <a:pt x="430" y="1184"/>
                  </a:cubicBezTo>
                  <a:cubicBezTo>
                    <a:pt x="430" y="1184"/>
                    <a:pt x="430" y="1184"/>
                    <a:pt x="430" y="1184"/>
                  </a:cubicBezTo>
                  <a:cubicBezTo>
                    <a:pt x="430" y="1185"/>
                    <a:pt x="430" y="1185"/>
                    <a:pt x="430" y="1185"/>
                  </a:cubicBezTo>
                  <a:cubicBezTo>
                    <a:pt x="430" y="1187"/>
                    <a:pt x="430" y="1188"/>
                    <a:pt x="430" y="1189"/>
                  </a:cubicBezTo>
                  <a:cubicBezTo>
                    <a:pt x="431" y="1190"/>
                    <a:pt x="431" y="1190"/>
                    <a:pt x="431" y="1190"/>
                  </a:cubicBezTo>
                  <a:cubicBezTo>
                    <a:pt x="431" y="1190"/>
                    <a:pt x="431" y="1190"/>
                    <a:pt x="431" y="1191"/>
                  </a:cubicBezTo>
                  <a:cubicBezTo>
                    <a:pt x="431" y="1191"/>
                    <a:pt x="431" y="1192"/>
                    <a:pt x="431" y="1192"/>
                  </a:cubicBezTo>
                  <a:cubicBezTo>
                    <a:pt x="431" y="1193"/>
                    <a:pt x="432" y="1194"/>
                    <a:pt x="432" y="1194"/>
                  </a:cubicBezTo>
                  <a:cubicBezTo>
                    <a:pt x="432" y="1194"/>
                    <a:pt x="433" y="1195"/>
                    <a:pt x="433" y="1195"/>
                  </a:cubicBezTo>
                  <a:cubicBezTo>
                    <a:pt x="433" y="1195"/>
                    <a:pt x="433" y="1195"/>
                    <a:pt x="433" y="1195"/>
                  </a:cubicBezTo>
                  <a:cubicBezTo>
                    <a:pt x="433" y="1195"/>
                    <a:pt x="432" y="1196"/>
                    <a:pt x="432" y="1196"/>
                  </a:cubicBezTo>
                  <a:cubicBezTo>
                    <a:pt x="432" y="1197"/>
                    <a:pt x="432" y="1198"/>
                    <a:pt x="433" y="1198"/>
                  </a:cubicBezTo>
                  <a:cubicBezTo>
                    <a:pt x="433" y="1199"/>
                    <a:pt x="433" y="1200"/>
                    <a:pt x="433" y="1201"/>
                  </a:cubicBezTo>
                  <a:cubicBezTo>
                    <a:pt x="433" y="1201"/>
                    <a:pt x="433" y="1201"/>
                    <a:pt x="433" y="1201"/>
                  </a:cubicBezTo>
                  <a:cubicBezTo>
                    <a:pt x="432" y="1203"/>
                    <a:pt x="432" y="1204"/>
                    <a:pt x="433" y="1206"/>
                  </a:cubicBezTo>
                  <a:cubicBezTo>
                    <a:pt x="434" y="1207"/>
                    <a:pt x="434" y="1207"/>
                    <a:pt x="434" y="1208"/>
                  </a:cubicBezTo>
                  <a:cubicBezTo>
                    <a:pt x="434" y="1208"/>
                    <a:pt x="434" y="1208"/>
                    <a:pt x="434" y="1208"/>
                  </a:cubicBezTo>
                  <a:cubicBezTo>
                    <a:pt x="434" y="1209"/>
                    <a:pt x="434" y="1210"/>
                    <a:pt x="434" y="1210"/>
                  </a:cubicBezTo>
                  <a:cubicBezTo>
                    <a:pt x="434" y="1211"/>
                    <a:pt x="434" y="1212"/>
                    <a:pt x="435" y="1213"/>
                  </a:cubicBezTo>
                  <a:cubicBezTo>
                    <a:pt x="435" y="1214"/>
                    <a:pt x="435" y="1214"/>
                    <a:pt x="435" y="1214"/>
                  </a:cubicBezTo>
                  <a:cubicBezTo>
                    <a:pt x="435" y="1214"/>
                    <a:pt x="435" y="1215"/>
                    <a:pt x="435" y="1215"/>
                  </a:cubicBezTo>
                  <a:cubicBezTo>
                    <a:pt x="436" y="1216"/>
                    <a:pt x="436" y="1216"/>
                    <a:pt x="436" y="1217"/>
                  </a:cubicBezTo>
                  <a:cubicBezTo>
                    <a:pt x="436" y="1218"/>
                    <a:pt x="436" y="1218"/>
                    <a:pt x="436" y="1219"/>
                  </a:cubicBezTo>
                  <a:cubicBezTo>
                    <a:pt x="436" y="1220"/>
                    <a:pt x="436" y="1220"/>
                    <a:pt x="436" y="1220"/>
                  </a:cubicBezTo>
                  <a:cubicBezTo>
                    <a:pt x="436" y="1221"/>
                    <a:pt x="436" y="1221"/>
                    <a:pt x="436" y="1221"/>
                  </a:cubicBezTo>
                  <a:cubicBezTo>
                    <a:pt x="436" y="1223"/>
                    <a:pt x="435" y="1226"/>
                    <a:pt x="438" y="1228"/>
                  </a:cubicBezTo>
                  <a:cubicBezTo>
                    <a:pt x="438" y="1229"/>
                    <a:pt x="438" y="1229"/>
                    <a:pt x="438" y="1229"/>
                  </a:cubicBezTo>
                  <a:cubicBezTo>
                    <a:pt x="438" y="1229"/>
                    <a:pt x="438" y="1229"/>
                    <a:pt x="438" y="1229"/>
                  </a:cubicBezTo>
                  <a:cubicBezTo>
                    <a:pt x="438" y="1229"/>
                    <a:pt x="438" y="1230"/>
                    <a:pt x="438" y="1230"/>
                  </a:cubicBezTo>
                  <a:cubicBezTo>
                    <a:pt x="438" y="1232"/>
                    <a:pt x="439" y="1233"/>
                    <a:pt x="440" y="1234"/>
                  </a:cubicBezTo>
                  <a:cubicBezTo>
                    <a:pt x="440" y="1234"/>
                    <a:pt x="440" y="1234"/>
                    <a:pt x="440" y="1234"/>
                  </a:cubicBezTo>
                  <a:cubicBezTo>
                    <a:pt x="440" y="1234"/>
                    <a:pt x="440" y="1234"/>
                    <a:pt x="440" y="1234"/>
                  </a:cubicBezTo>
                  <a:cubicBezTo>
                    <a:pt x="440" y="1235"/>
                    <a:pt x="440" y="1235"/>
                    <a:pt x="440" y="1236"/>
                  </a:cubicBezTo>
                  <a:cubicBezTo>
                    <a:pt x="440" y="1236"/>
                    <a:pt x="440" y="1237"/>
                    <a:pt x="441" y="1237"/>
                  </a:cubicBezTo>
                  <a:cubicBezTo>
                    <a:pt x="441" y="1238"/>
                    <a:pt x="441" y="1238"/>
                    <a:pt x="441" y="1238"/>
                  </a:cubicBezTo>
                  <a:cubicBezTo>
                    <a:pt x="440" y="1238"/>
                    <a:pt x="440" y="1239"/>
                    <a:pt x="440" y="1240"/>
                  </a:cubicBezTo>
                  <a:cubicBezTo>
                    <a:pt x="440" y="1240"/>
                    <a:pt x="440" y="1241"/>
                    <a:pt x="440" y="1242"/>
                  </a:cubicBezTo>
                  <a:cubicBezTo>
                    <a:pt x="440" y="1242"/>
                    <a:pt x="441" y="1243"/>
                    <a:pt x="441" y="1244"/>
                  </a:cubicBezTo>
                  <a:cubicBezTo>
                    <a:pt x="441" y="1245"/>
                    <a:pt x="441" y="1245"/>
                    <a:pt x="441" y="1245"/>
                  </a:cubicBezTo>
                  <a:cubicBezTo>
                    <a:pt x="442" y="1246"/>
                    <a:pt x="442" y="1247"/>
                    <a:pt x="442" y="1248"/>
                  </a:cubicBezTo>
                  <a:cubicBezTo>
                    <a:pt x="442" y="1248"/>
                    <a:pt x="442" y="1250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1"/>
                    <a:pt x="444" y="1251"/>
                    <a:pt x="444" y="1251"/>
                  </a:cubicBezTo>
                  <a:cubicBezTo>
                    <a:pt x="444" y="1252"/>
                    <a:pt x="445" y="1252"/>
                    <a:pt x="445" y="1252"/>
                  </a:cubicBezTo>
                  <a:cubicBezTo>
                    <a:pt x="445" y="1252"/>
                    <a:pt x="445" y="1252"/>
                    <a:pt x="445" y="1253"/>
                  </a:cubicBezTo>
                  <a:cubicBezTo>
                    <a:pt x="445" y="1253"/>
                    <a:pt x="446" y="1253"/>
                    <a:pt x="446" y="1253"/>
                  </a:cubicBezTo>
                  <a:cubicBezTo>
                    <a:pt x="446" y="1253"/>
                    <a:pt x="446" y="1254"/>
                    <a:pt x="446" y="1254"/>
                  </a:cubicBezTo>
                  <a:cubicBezTo>
                    <a:pt x="446" y="1255"/>
                    <a:pt x="446" y="1255"/>
                    <a:pt x="446" y="1255"/>
                  </a:cubicBezTo>
                  <a:cubicBezTo>
                    <a:pt x="446" y="1255"/>
                    <a:pt x="446" y="1255"/>
                    <a:pt x="447" y="1255"/>
                  </a:cubicBezTo>
                  <a:cubicBezTo>
                    <a:pt x="447" y="1255"/>
                    <a:pt x="447" y="1255"/>
                    <a:pt x="447" y="1256"/>
                  </a:cubicBezTo>
                  <a:cubicBezTo>
                    <a:pt x="447" y="1256"/>
                    <a:pt x="447" y="1257"/>
                    <a:pt x="447" y="1257"/>
                  </a:cubicBezTo>
                  <a:cubicBezTo>
                    <a:pt x="447" y="1257"/>
                    <a:pt x="447" y="1258"/>
                    <a:pt x="447" y="1258"/>
                  </a:cubicBezTo>
                  <a:cubicBezTo>
                    <a:pt x="447" y="1259"/>
                    <a:pt x="447" y="1260"/>
                    <a:pt x="448" y="1261"/>
                  </a:cubicBezTo>
                  <a:cubicBezTo>
                    <a:pt x="448" y="1261"/>
                    <a:pt x="448" y="1261"/>
                    <a:pt x="448" y="1261"/>
                  </a:cubicBezTo>
                  <a:cubicBezTo>
                    <a:pt x="448" y="1261"/>
                    <a:pt x="449" y="1262"/>
                    <a:pt x="449" y="1262"/>
                  </a:cubicBezTo>
                  <a:cubicBezTo>
                    <a:pt x="449" y="1263"/>
                    <a:pt x="449" y="1263"/>
                    <a:pt x="449" y="1263"/>
                  </a:cubicBezTo>
                  <a:cubicBezTo>
                    <a:pt x="450" y="1264"/>
                    <a:pt x="450" y="1264"/>
                    <a:pt x="450" y="1264"/>
                  </a:cubicBezTo>
                  <a:cubicBezTo>
                    <a:pt x="450" y="1265"/>
                    <a:pt x="451" y="1265"/>
                    <a:pt x="451" y="1265"/>
                  </a:cubicBezTo>
                  <a:cubicBezTo>
                    <a:pt x="451" y="1266"/>
                    <a:pt x="451" y="1266"/>
                    <a:pt x="451" y="1266"/>
                  </a:cubicBezTo>
                  <a:cubicBezTo>
                    <a:pt x="451" y="1267"/>
                    <a:pt x="451" y="1267"/>
                    <a:pt x="451" y="1268"/>
                  </a:cubicBezTo>
                  <a:cubicBezTo>
                    <a:pt x="451" y="1268"/>
                    <a:pt x="451" y="1269"/>
                    <a:pt x="452" y="1269"/>
                  </a:cubicBezTo>
                  <a:cubicBezTo>
                    <a:pt x="452" y="1269"/>
                    <a:pt x="452" y="1269"/>
                    <a:pt x="452" y="1270"/>
                  </a:cubicBezTo>
                  <a:cubicBezTo>
                    <a:pt x="452" y="1270"/>
                    <a:pt x="452" y="1270"/>
                    <a:pt x="452" y="1270"/>
                  </a:cubicBezTo>
                  <a:cubicBezTo>
                    <a:pt x="452" y="1271"/>
                    <a:pt x="452" y="1272"/>
                    <a:pt x="453" y="1272"/>
                  </a:cubicBezTo>
                  <a:cubicBezTo>
                    <a:pt x="453" y="1272"/>
                    <a:pt x="453" y="1272"/>
                    <a:pt x="453" y="1273"/>
                  </a:cubicBezTo>
                  <a:cubicBezTo>
                    <a:pt x="454" y="1272"/>
                    <a:pt x="454" y="1272"/>
                    <a:pt x="454" y="1272"/>
                  </a:cubicBezTo>
                  <a:cubicBezTo>
                    <a:pt x="453" y="1273"/>
                    <a:pt x="453" y="1273"/>
                    <a:pt x="453" y="1273"/>
                  </a:cubicBezTo>
                  <a:cubicBezTo>
                    <a:pt x="453" y="1273"/>
                    <a:pt x="453" y="1273"/>
                    <a:pt x="453" y="1274"/>
                  </a:cubicBezTo>
                  <a:cubicBezTo>
                    <a:pt x="454" y="1274"/>
                    <a:pt x="454" y="1274"/>
                    <a:pt x="454" y="1275"/>
                  </a:cubicBezTo>
                  <a:cubicBezTo>
                    <a:pt x="454" y="1275"/>
                    <a:pt x="455" y="1276"/>
                    <a:pt x="455" y="1276"/>
                  </a:cubicBezTo>
                  <a:cubicBezTo>
                    <a:pt x="455" y="1276"/>
                    <a:pt x="455" y="1276"/>
                    <a:pt x="455" y="1276"/>
                  </a:cubicBezTo>
                  <a:cubicBezTo>
                    <a:pt x="455" y="1276"/>
                    <a:pt x="455" y="1276"/>
                    <a:pt x="454" y="1277"/>
                  </a:cubicBezTo>
                  <a:cubicBezTo>
                    <a:pt x="454" y="1277"/>
                    <a:pt x="454" y="1277"/>
                    <a:pt x="454" y="1277"/>
                  </a:cubicBezTo>
                  <a:cubicBezTo>
                    <a:pt x="453" y="1279"/>
                    <a:pt x="453" y="1280"/>
                    <a:pt x="454" y="1282"/>
                  </a:cubicBezTo>
                  <a:cubicBezTo>
                    <a:pt x="454" y="1282"/>
                    <a:pt x="455" y="1283"/>
                    <a:pt x="455" y="1284"/>
                  </a:cubicBezTo>
                  <a:cubicBezTo>
                    <a:pt x="455" y="1285"/>
                    <a:pt x="455" y="1285"/>
                    <a:pt x="455" y="1286"/>
                  </a:cubicBezTo>
                  <a:cubicBezTo>
                    <a:pt x="455" y="1287"/>
                    <a:pt x="455" y="1289"/>
                    <a:pt x="456" y="1289"/>
                  </a:cubicBezTo>
                  <a:cubicBezTo>
                    <a:pt x="456" y="1290"/>
                    <a:pt x="456" y="1290"/>
                    <a:pt x="456" y="1290"/>
                  </a:cubicBezTo>
                  <a:cubicBezTo>
                    <a:pt x="456" y="1291"/>
                    <a:pt x="456" y="1291"/>
                    <a:pt x="456" y="1292"/>
                  </a:cubicBezTo>
                  <a:cubicBezTo>
                    <a:pt x="456" y="1293"/>
                    <a:pt x="456" y="1294"/>
                    <a:pt x="456" y="1295"/>
                  </a:cubicBezTo>
                  <a:cubicBezTo>
                    <a:pt x="456" y="1296"/>
                    <a:pt x="456" y="1296"/>
                    <a:pt x="456" y="1297"/>
                  </a:cubicBezTo>
                  <a:cubicBezTo>
                    <a:pt x="456" y="1297"/>
                    <a:pt x="456" y="1298"/>
                    <a:pt x="456" y="1299"/>
                  </a:cubicBezTo>
                  <a:cubicBezTo>
                    <a:pt x="456" y="1300"/>
                    <a:pt x="457" y="1301"/>
                    <a:pt x="457" y="1302"/>
                  </a:cubicBezTo>
                  <a:cubicBezTo>
                    <a:pt x="458" y="1303"/>
                    <a:pt x="458" y="1304"/>
                    <a:pt x="458" y="1304"/>
                  </a:cubicBezTo>
                  <a:cubicBezTo>
                    <a:pt x="458" y="1305"/>
                    <a:pt x="458" y="1306"/>
                    <a:pt x="458" y="1307"/>
                  </a:cubicBezTo>
                  <a:cubicBezTo>
                    <a:pt x="458" y="1307"/>
                    <a:pt x="458" y="1308"/>
                    <a:pt x="458" y="1308"/>
                  </a:cubicBezTo>
                  <a:cubicBezTo>
                    <a:pt x="458" y="1310"/>
                    <a:pt x="458" y="1310"/>
                    <a:pt x="458" y="1310"/>
                  </a:cubicBezTo>
                  <a:cubicBezTo>
                    <a:pt x="458" y="1310"/>
                    <a:pt x="458" y="1310"/>
                    <a:pt x="458" y="1310"/>
                  </a:cubicBezTo>
                  <a:cubicBezTo>
                    <a:pt x="458" y="1310"/>
                    <a:pt x="458" y="1310"/>
                    <a:pt x="458" y="1311"/>
                  </a:cubicBezTo>
                  <a:cubicBezTo>
                    <a:pt x="457" y="1311"/>
                    <a:pt x="457" y="1312"/>
                    <a:pt x="457" y="1313"/>
                  </a:cubicBezTo>
                  <a:cubicBezTo>
                    <a:pt x="457" y="1314"/>
                    <a:pt x="457" y="1314"/>
                    <a:pt x="457" y="1314"/>
                  </a:cubicBezTo>
                  <a:cubicBezTo>
                    <a:pt x="457" y="1314"/>
                    <a:pt x="457" y="1314"/>
                    <a:pt x="457" y="1314"/>
                  </a:cubicBezTo>
                  <a:cubicBezTo>
                    <a:pt x="457" y="1315"/>
                    <a:pt x="457" y="1315"/>
                    <a:pt x="457" y="1316"/>
                  </a:cubicBezTo>
                  <a:cubicBezTo>
                    <a:pt x="457" y="1317"/>
                    <a:pt x="458" y="1317"/>
                    <a:pt x="458" y="1317"/>
                  </a:cubicBezTo>
                  <a:cubicBezTo>
                    <a:pt x="458" y="1318"/>
                    <a:pt x="458" y="1319"/>
                    <a:pt x="458" y="1320"/>
                  </a:cubicBezTo>
                  <a:cubicBezTo>
                    <a:pt x="458" y="1321"/>
                    <a:pt x="458" y="1322"/>
                    <a:pt x="459" y="1323"/>
                  </a:cubicBezTo>
                  <a:cubicBezTo>
                    <a:pt x="460" y="1323"/>
                    <a:pt x="460" y="1323"/>
                    <a:pt x="460" y="1323"/>
                  </a:cubicBezTo>
                  <a:cubicBezTo>
                    <a:pt x="460" y="1324"/>
                    <a:pt x="460" y="1324"/>
                    <a:pt x="460" y="1325"/>
                  </a:cubicBezTo>
                  <a:cubicBezTo>
                    <a:pt x="461" y="1326"/>
                    <a:pt x="461" y="1326"/>
                    <a:pt x="462" y="1327"/>
                  </a:cubicBezTo>
                  <a:cubicBezTo>
                    <a:pt x="462" y="1328"/>
                    <a:pt x="463" y="1329"/>
                    <a:pt x="463" y="1329"/>
                  </a:cubicBezTo>
                  <a:cubicBezTo>
                    <a:pt x="464" y="1330"/>
                    <a:pt x="464" y="1330"/>
                    <a:pt x="464" y="1331"/>
                  </a:cubicBezTo>
                  <a:cubicBezTo>
                    <a:pt x="464" y="1331"/>
                    <a:pt x="464" y="1331"/>
                    <a:pt x="464" y="1331"/>
                  </a:cubicBezTo>
                  <a:cubicBezTo>
                    <a:pt x="465" y="1332"/>
                    <a:pt x="465" y="1332"/>
                    <a:pt x="465" y="1333"/>
                  </a:cubicBezTo>
                  <a:cubicBezTo>
                    <a:pt x="465" y="1333"/>
                    <a:pt x="465" y="1333"/>
                    <a:pt x="465" y="1333"/>
                  </a:cubicBezTo>
                  <a:cubicBezTo>
                    <a:pt x="465" y="1334"/>
                    <a:pt x="465" y="1334"/>
                    <a:pt x="466" y="1334"/>
                  </a:cubicBezTo>
                  <a:cubicBezTo>
                    <a:pt x="466" y="1335"/>
                    <a:pt x="466" y="1335"/>
                    <a:pt x="466" y="1335"/>
                  </a:cubicBezTo>
                  <a:cubicBezTo>
                    <a:pt x="466" y="1337"/>
                    <a:pt x="467" y="1337"/>
                    <a:pt x="468" y="1338"/>
                  </a:cubicBezTo>
                  <a:cubicBezTo>
                    <a:pt x="468" y="1338"/>
                    <a:pt x="469" y="1338"/>
                    <a:pt x="469" y="1339"/>
                  </a:cubicBezTo>
                  <a:cubicBezTo>
                    <a:pt x="469" y="1339"/>
                    <a:pt x="470" y="1339"/>
                    <a:pt x="470" y="1339"/>
                  </a:cubicBezTo>
                  <a:cubicBezTo>
                    <a:pt x="470" y="1339"/>
                    <a:pt x="470" y="1339"/>
                    <a:pt x="470" y="1340"/>
                  </a:cubicBezTo>
                  <a:cubicBezTo>
                    <a:pt x="471" y="1340"/>
                    <a:pt x="471" y="1340"/>
                    <a:pt x="471" y="1341"/>
                  </a:cubicBezTo>
                  <a:cubicBezTo>
                    <a:pt x="471" y="1341"/>
                    <a:pt x="472" y="1341"/>
                    <a:pt x="472" y="1341"/>
                  </a:cubicBezTo>
                  <a:cubicBezTo>
                    <a:pt x="472" y="1341"/>
                    <a:pt x="472" y="1341"/>
                    <a:pt x="471" y="1342"/>
                  </a:cubicBezTo>
                  <a:cubicBezTo>
                    <a:pt x="471" y="1342"/>
                    <a:pt x="471" y="1343"/>
                    <a:pt x="472" y="1344"/>
                  </a:cubicBezTo>
                  <a:cubicBezTo>
                    <a:pt x="472" y="1345"/>
                    <a:pt x="472" y="1345"/>
                    <a:pt x="472" y="1345"/>
                  </a:cubicBezTo>
                  <a:cubicBezTo>
                    <a:pt x="473" y="1345"/>
                    <a:pt x="473" y="1346"/>
                    <a:pt x="473" y="1346"/>
                  </a:cubicBezTo>
                  <a:cubicBezTo>
                    <a:pt x="473" y="1346"/>
                    <a:pt x="473" y="1346"/>
                    <a:pt x="472" y="1346"/>
                  </a:cubicBezTo>
                  <a:cubicBezTo>
                    <a:pt x="471" y="1348"/>
                    <a:pt x="472" y="1349"/>
                    <a:pt x="472" y="1350"/>
                  </a:cubicBezTo>
                  <a:cubicBezTo>
                    <a:pt x="473" y="1350"/>
                    <a:pt x="473" y="1351"/>
                    <a:pt x="473" y="1352"/>
                  </a:cubicBezTo>
                  <a:cubicBezTo>
                    <a:pt x="473" y="1353"/>
                    <a:pt x="474" y="1354"/>
                    <a:pt x="475" y="1355"/>
                  </a:cubicBezTo>
                  <a:cubicBezTo>
                    <a:pt x="475" y="1356"/>
                    <a:pt x="475" y="1357"/>
                    <a:pt x="476" y="1358"/>
                  </a:cubicBezTo>
                  <a:cubicBezTo>
                    <a:pt x="476" y="1358"/>
                    <a:pt x="476" y="1358"/>
                    <a:pt x="476" y="1359"/>
                  </a:cubicBezTo>
                  <a:cubicBezTo>
                    <a:pt x="476" y="1359"/>
                    <a:pt x="476" y="1360"/>
                    <a:pt x="476" y="1360"/>
                  </a:cubicBezTo>
                  <a:cubicBezTo>
                    <a:pt x="476" y="1361"/>
                    <a:pt x="477" y="1362"/>
                    <a:pt x="478" y="1363"/>
                  </a:cubicBezTo>
                  <a:cubicBezTo>
                    <a:pt x="478" y="1364"/>
                    <a:pt x="479" y="1365"/>
                    <a:pt x="479" y="1366"/>
                  </a:cubicBezTo>
                  <a:cubicBezTo>
                    <a:pt x="479" y="1367"/>
                    <a:pt x="479" y="1369"/>
                    <a:pt x="481" y="1369"/>
                  </a:cubicBezTo>
                  <a:cubicBezTo>
                    <a:pt x="481" y="1369"/>
                    <a:pt x="482" y="1368"/>
                    <a:pt x="482" y="1368"/>
                  </a:cubicBezTo>
                  <a:cubicBezTo>
                    <a:pt x="482" y="1368"/>
                    <a:pt x="482" y="1368"/>
                    <a:pt x="482" y="1368"/>
                  </a:cubicBezTo>
                  <a:cubicBezTo>
                    <a:pt x="481" y="1369"/>
                    <a:pt x="481" y="1369"/>
                    <a:pt x="481" y="1370"/>
                  </a:cubicBezTo>
                  <a:cubicBezTo>
                    <a:pt x="481" y="1372"/>
                    <a:pt x="481" y="1373"/>
                    <a:pt x="482" y="1374"/>
                  </a:cubicBezTo>
                  <a:cubicBezTo>
                    <a:pt x="482" y="1375"/>
                    <a:pt x="483" y="1376"/>
                    <a:pt x="483" y="1376"/>
                  </a:cubicBezTo>
                  <a:cubicBezTo>
                    <a:pt x="483" y="1376"/>
                    <a:pt x="483" y="1376"/>
                    <a:pt x="484" y="1377"/>
                  </a:cubicBezTo>
                  <a:cubicBezTo>
                    <a:pt x="484" y="1378"/>
                    <a:pt x="484" y="1378"/>
                    <a:pt x="485" y="1379"/>
                  </a:cubicBezTo>
                  <a:cubicBezTo>
                    <a:pt x="485" y="1379"/>
                    <a:pt x="485" y="1379"/>
                    <a:pt x="485" y="1380"/>
                  </a:cubicBezTo>
                  <a:cubicBezTo>
                    <a:pt x="486" y="1381"/>
                    <a:pt x="486" y="1382"/>
                    <a:pt x="487" y="1383"/>
                  </a:cubicBezTo>
                  <a:cubicBezTo>
                    <a:pt x="487" y="1383"/>
                    <a:pt x="487" y="1384"/>
                    <a:pt x="487" y="1384"/>
                  </a:cubicBezTo>
                  <a:cubicBezTo>
                    <a:pt x="487" y="1385"/>
                    <a:pt x="487" y="1385"/>
                    <a:pt x="487" y="1386"/>
                  </a:cubicBezTo>
                  <a:cubicBezTo>
                    <a:pt x="487" y="1387"/>
                    <a:pt x="488" y="1388"/>
                    <a:pt x="489" y="1388"/>
                  </a:cubicBezTo>
                  <a:cubicBezTo>
                    <a:pt x="489" y="1388"/>
                    <a:pt x="489" y="1388"/>
                    <a:pt x="489" y="1388"/>
                  </a:cubicBezTo>
                  <a:cubicBezTo>
                    <a:pt x="489" y="1388"/>
                    <a:pt x="489" y="1388"/>
                    <a:pt x="490" y="1389"/>
                  </a:cubicBezTo>
                  <a:cubicBezTo>
                    <a:pt x="490" y="1389"/>
                    <a:pt x="490" y="1389"/>
                    <a:pt x="490" y="1389"/>
                  </a:cubicBezTo>
                  <a:cubicBezTo>
                    <a:pt x="491" y="1389"/>
                    <a:pt x="491" y="1390"/>
                    <a:pt x="492" y="1390"/>
                  </a:cubicBezTo>
                  <a:cubicBezTo>
                    <a:pt x="492" y="1390"/>
                    <a:pt x="492" y="1390"/>
                    <a:pt x="492" y="1390"/>
                  </a:cubicBezTo>
                  <a:cubicBezTo>
                    <a:pt x="492" y="1390"/>
                    <a:pt x="493" y="1390"/>
                    <a:pt x="493" y="1389"/>
                  </a:cubicBezTo>
                  <a:cubicBezTo>
                    <a:pt x="493" y="1389"/>
                    <a:pt x="493" y="1389"/>
                    <a:pt x="493" y="1389"/>
                  </a:cubicBezTo>
                  <a:cubicBezTo>
                    <a:pt x="494" y="1389"/>
                    <a:pt x="496" y="1389"/>
                    <a:pt x="496" y="1387"/>
                  </a:cubicBezTo>
                  <a:cubicBezTo>
                    <a:pt x="496" y="1385"/>
                    <a:pt x="495" y="1384"/>
                    <a:pt x="495" y="1383"/>
                  </a:cubicBezTo>
                  <a:cubicBezTo>
                    <a:pt x="494" y="1383"/>
                    <a:pt x="494" y="1382"/>
                    <a:pt x="494" y="1382"/>
                  </a:cubicBezTo>
                  <a:cubicBezTo>
                    <a:pt x="494" y="1382"/>
                    <a:pt x="494" y="1381"/>
                    <a:pt x="494" y="1381"/>
                  </a:cubicBezTo>
                  <a:cubicBezTo>
                    <a:pt x="493" y="1380"/>
                    <a:pt x="492" y="1379"/>
                    <a:pt x="491" y="1379"/>
                  </a:cubicBezTo>
                  <a:cubicBezTo>
                    <a:pt x="491" y="1379"/>
                    <a:pt x="491" y="1379"/>
                    <a:pt x="491" y="1378"/>
                  </a:cubicBezTo>
                  <a:cubicBezTo>
                    <a:pt x="491" y="1378"/>
                    <a:pt x="490" y="1378"/>
                    <a:pt x="490" y="1378"/>
                  </a:cubicBezTo>
                  <a:cubicBezTo>
                    <a:pt x="490" y="1378"/>
                    <a:pt x="490" y="1377"/>
                    <a:pt x="490" y="1377"/>
                  </a:cubicBezTo>
                  <a:cubicBezTo>
                    <a:pt x="491" y="1377"/>
                    <a:pt x="491" y="1376"/>
                    <a:pt x="491" y="1374"/>
                  </a:cubicBezTo>
                  <a:cubicBezTo>
                    <a:pt x="490" y="1374"/>
                    <a:pt x="490" y="1373"/>
                    <a:pt x="490" y="1373"/>
                  </a:cubicBezTo>
                  <a:cubicBezTo>
                    <a:pt x="489" y="1373"/>
                    <a:pt x="489" y="1372"/>
                    <a:pt x="489" y="1372"/>
                  </a:cubicBezTo>
                  <a:cubicBezTo>
                    <a:pt x="489" y="1372"/>
                    <a:pt x="489" y="1371"/>
                    <a:pt x="489" y="1371"/>
                  </a:cubicBezTo>
                  <a:cubicBezTo>
                    <a:pt x="489" y="1371"/>
                    <a:pt x="489" y="1371"/>
                    <a:pt x="489" y="1371"/>
                  </a:cubicBezTo>
                  <a:cubicBezTo>
                    <a:pt x="489" y="1370"/>
                    <a:pt x="489" y="1370"/>
                    <a:pt x="489" y="1370"/>
                  </a:cubicBezTo>
                  <a:cubicBezTo>
                    <a:pt x="489" y="1370"/>
                    <a:pt x="489" y="1370"/>
                    <a:pt x="489" y="1370"/>
                  </a:cubicBezTo>
                  <a:cubicBezTo>
                    <a:pt x="489" y="1370"/>
                    <a:pt x="489" y="1369"/>
                    <a:pt x="489" y="1369"/>
                  </a:cubicBezTo>
                  <a:cubicBezTo>
                    <a:pt x="489" y="1369"/>
                    <a:pt x="489" y="1369"/>
                    <a:pt x="489" y="1369"/>
                  </a:cubicBezTo>
                  <a:cubicBezTo>
                    <a:pt x="490" y="1369"/>
                    <a:pt x="490" y="1369"/>
                    <a:pt x="490" y="1369"/>
                  </a:cubicBezTo>
                  <a:cubicBezTo>
                    <a:pt x="491" y="1369"/>
                    <a:pt x="491" y="1369"/>
                    <a:pt x="492" y="1369"/>
                  </a:cubicBezTo>
                  <a:cubicBezTo>
                    <a:pt x="492" y="1370"/>
                    <a:pt x="492" y="1370"/>
                    <a:pt x="492" y="1371"/>
                  </a:cubicBezTo>
                  <a:cubicBezTo>
                    <a:pt x="492" y="1372"/>
                    <a:pt x="493" y="1372"/>
                    <a:pt x="493" y="1372"/>
                  </a:cubicBezTo>
                  <a:cubicBezTo>
                    <a:pt x="493" y="1372"/>
                    <a:pt x="493" y="1372"/>
                    <a:pt x="493" y="1372"/>
                  </a:cubicBezTo>
                  <a:cubicBezTo>
                    <a:pt x="494" y="1373"/>
                    <a:pt x="494" y="1373"/>
                    <a:pt x="494" y="1373"/>
                  </a:cubicBezTo>
                  <a:cubicBezTo>
                    <a:pt x="494" y="1374"/>
                    <a:pt x="493" y="1374"/>
                    <a:pt x="493" y="1374"/>
                  </a:cubicBezTo>
                  <a:cubicBezTo>
                    <a:pt x="493" y="1375"/>
                    <a:pt x="493" y="1375"/>
                    <a:pt x="493" y="1376"/>
                  </a:cubicBezTo>
                  <a:cubicBezTo>
                    <a:pt x="493" y="1377"/>
                    <a:pt x="494" y="1378"/>
                    <a:pt x="495" y="1378"/>
                  </a:cubicBezTo>
                  <a:cubicBezTo>
                    <a:pt x="495" y="1379"/>
                    <a:pt x="495" y="1379"/>
                    <a:pt x="495" y="1379"/>
                  </a:cubicBezTo>
                  <a:cubicBezTo>
                    <a:pt x="495" y="1379"/>
                    <a:pt x="496" y="1379"/>
                    <a:pt x="496" y="1379"/>
                  </a:cubicBezTo>
                  <a:cubicBezTo>
                    <a:pt x="496" y="1380"/>
                    <a:pt x="496" y="1380"/>
                    <a:pt x="496" y="1381"/>
                  </a:cubicBezTo>
                  <a:cubicBezTo>
                    <a:pt x="496" y="1382"/>
                    <a:pt x="496" y="1383"/>
                    <a:pt x="497" y="1384"/>
                  </a:cubicBezTo>
                  <a:cubicBezTo>
                    <a:pt x="497" y="1384"/>
                    <a:pt x="497" y="1385"/>
                    <a:pt x="497" y="1386"/>
                  </a:cubicBezTo>
                  <a:cubicBezTo>
                    <a:pt x="498" y="1386"/>
                    <a:pt x="498" y="1386"/>
                    <a:pt x="498" y="1386"/>
                  </a:cubicBezTo>
                  <a:cubicBezTo>
                    <a:pt x="498" y="1386"/>
                    <a:pt x="498" y="1387"/>
                    <a:pt x="498" y="1387"/>
                  </a:cubicBezTo>
                  <a:cubicBezTo>
                    <a:pt x="498" y="1388"/>
                    <a:pt x="498" y="1388"/>
                    <a:pt x="498" y="1389"/>
                  </a:cubicBezTo>
                  <a:cubicBezTo>
                    <a:pt x="498" y="1390"/>
                    <a:pt x="499" y="1391"/>
                    <a:pt x="500" y="1391"/>
                  </a:cubicBezTo>
                  <a:cubicBezTo>
                    <a:pt x="500" y="1392"/>
                    <a:pt x="501" y="1392"/>
                    <a:pt x="501" y="1393"/>
                  </a:cubicBezTo>
                  <a:cubicBezTo>
                    <a:pt x="501" y="1393"/>
                    <a:pt x="501" y="1394"/>
                    <a:pt x="501" y="1395"/>
                  </a:cubicBezTo>
                  <a:cubicBezTo>
                    <a:pt x="501" y="1395"/>
                    <a:pt x="501" y="1395"/>
                    <a:pt x="501" y="1395"/>
                  </a:cubicBezTo>
                  <a:cubicBezTo>
                    <a:pt x="501" y="1396"/>
                    <a:pt x="501" y="1398"/>
                    <a:pt x="504" y="1398"/>
                  </a:cubicBezTo>
                  <a:cubicBezTo>
                    <a:pt x="504" y="1398"/>
                    <a:pt x="505" y="1398"/>
                    <a:pt x="505" y="1399"/>
                  </a:cubicBezTo>
                  <a:cubicBezTo>
                    <a:pt x="505" y="1399"/>
                    <a:pt x="506" y="1400"/>
                    <a:pt x="507" y="1400"/>
                  </a:cubicBezTo>
                  <a:cubicBezTo>
                    <a:pt x="507" y="1400"/>
                    <a:pt x="507" y="1400"/>
                    <a:pt x="508" y="1399"/>
                  </a:cubicBezTo>
                  <a:cubicBezTo>
                    <a:pt x="508" y="1399"/>
                    <a:pt x="508" y="1399"/>
                    <a:pt x="508" y="1399"/>
                  </a:cubicBezTo>
                  <a:cubicBezTo>
                    <a:pt x="508" y="1400"/>
                    <a:pt x="508" y="1400"/>
                    <a:pt x="508" y="1401"/>
                  </a:cubicBezTo>
                  <a:cubicBezTo>
                    <a:pt x="508" y="1401"/>
                    <a:pt x="508" y="1401"/>
                    <a:pt x="508" y="1402"/>
                  </a:cubicBezTo>
                  <a:cubicBezTo>
                    <a:pt x="508" y="1402"/>
                    <a:pt x="508" y="1403"/>
                    <a:pt x="508" y="1403"/>
                  </a:cubicBezTo>
                  <a:cubicBezTo>
                    <a:pt x="508" y="1403"/>
                    <a:pt x="508" y="1403"/>
                    <a:pt x="507" y="1403"/>
                  </a:cubicBezTo>
                  <a:cubicBezTo>
                    <a:pt x="507" y="1404"/>
                    <a:pt x="507" y="1404"/>
                    <a:pt x="506" y="1405"/>
                  </a:cubicBezTo>
                  <a:cubicBezTo>
                    <a:pt x="506" y="1406"/>
                    <a:pt x="506" y="1408"/>
                    <a:pt x="507" y="1409"/>
                  </a:cubicBezTo>
                  <a:cubicBezTo>
                    <a:pt x="507" y="1409"/>
                    <a:pt x="507" y="1409"/>
                    <a:pt x="508" y="1410"/>
                  </a:cubicBezTo>
                  <a:cubicBezTo>
                    <a:pt x="507" y="1411"/>
                    <a:pt x="508" y="1412"/>
                    <a:pt x="508" y="1412"/>
                  </a:cubicBezTo>
                  <a:cubicBezTo>
                    <a:pt x="508" y="1413"/>
                    <a:pt x="508" y="1414"/>
                    <a:pt x="509" y="1414"/>
                  </a:cubicBezTo>
                  <a:cubicBezTo>
                    <a:pt x="510" y="1415"/>
                    <a:pt x="511" y="1415"/>
                    <a:pt x="511" y="1414"/>
                  </a:cubicBezTo>
                  <a:cubicBezTo>
                    <a:pt x="511" y="1415"/>
                    <a:pt x="511" y="1415"/>
                    <a:pt x="511" y="1415"/>
                  </a:cubicBezTo>
                  <a:cubicBezTo>
                    <a:pt x="511" y="1416"/>
                    <a:pt x="511" y="1416"/>
                    <a:pt x="511" y="1416"/>
                  </a:cubicBezTo>
                  <a:cubicBezTo>
                    <a:pt x="511" y="1416"/>
                    <a:pt x="511" y="1417"/>
                    <a:pt x="511" y="1418"/>
                  </a:cubicBezTo>
                  <a:cubicBezTo>
                    <a:pt x="511" y="1418"/>
                    <a:pt x="511" y="1418"/>
                    <a:pt x="510" y="1418"/>
                  </a:cubicBezTo>
                  <a:cubicBezTo>
                    <a:pt x="510" y="1418"/>
                    <a:pt x="510" y="1418"/>
                    <a:pt x="510" y="1418"/>
                  </a:cubicBezTo>
                  <a:cubicBezTo>
                    <a:pt x="510" y="1418"/>
                    <a:pt x="510" y="1418"/>
                    <a:pt x="510" y="1418"/>
                  </a:cubicBezTo>
                  <a:cubicBezTo>
                    <a:pt x="510" y="1417"/>
                    <a:pt x="510" y="1417"/>
                    <a:pt x="509" y="1417"/>
                  </a:cubicBezTo>
                  <a:cubicBezTo>
                    <a:pt x="509" y="1416"/>
                    <a:pt x="509" y="1416"/>
                    <a:pt x="509" y="1416"/>
                  </a:cubicBezTo>
                  <a:cubicBezTo>
                    <a:pt x="508" y="1415"/>
                    <a:pt x="508" y="1415"/>
                    <a:pt x="508" y="1415"/>
                  </a:cubicBezTo>
                  <a:cubicBezTo>
                    <a:pt x="508" y="1415"/>
                    <a:pt x="507" y="1414"/>
                    <a:pt x="506" y="1415"/>
                  </a:cubicBezTo>
                  <a:cubicBezTo>
                    <a:pt x="505" y="1415"/>
                    <a:pt x="505" y="1415"/>
                    <a:pt x="504" y="1416"/>
                  </a:cubicBezTo>
                  <a:cubicBezTo>
                    <a:pt x="504" y="1415"/>
                    <a:pt x="504" y="1415"/>
                    <a:pt x="504" y="1415"/>
                  </a:cubicBezTo>
                  <a:cubicBezTo>
                    <a:pt x="503" y="1415"/>
                    <a:pt x="502" y="1415"/>
                    <a:pt x="501" y="1416"/>
                  </a:cubicBezTo>
                  <a:cubicBezTo>
                    <a:pt x="500" y="1416"/>
                    <a:pt x="500" y="1416"/>
                    <a:pt x="500" y="1417"/>
                  </a:cubicBezTo>
                  <a:cubicBezTo>
                    <a:pt x="500" y="1418"/>
                    <a:pt x="500" y="1418"/>
                    <a:pt x="500" y="1419"/>
                  </a:cubicBezTo>
                  <a:cubicBezTo>
                    <a:pt x="501" y="1419"/>
                    <a:pt x="501" y="1419"/>
                    <a:pt x="501" y="1419"/>
                  </a:cubicBezTo>
                  <a:cubicBezTo>
                    <a:pt x="502" y="1419"/>
                    <a:pt x="502" y="1419"/>
                    <a:pt x="502" y="1419"/>
                  </a:cubicBezTo>
                  <a:cubicBezTo>
                    <a:pt x="501" y="1419"/>
                    <a:pt x="501" y="1419"/>
                    <a:pt x="501" y="1419"/>
                  </a:cubicBezTo>
                  <a:cubicBezTo>
                    <a:pt x="501" y="1420"/>
                    <a:pt x="501" y="1421"/>
                    <a:pt x="501" y="1421"/>
                  </a:cubicBezTo>
                  <a:cubicBezTo>
                    <a:pt x="502" y="1422"/>
                    <a:pt x="502" y="1422"/>
                    <a:pt x="502" y="1422"/>
                  </a:cubicBezTo>
                  <a:cubicBezTo>
                    <a:pt x="502" y="1422"/>
                    <a:pt x="502" y="1422"/>
                    <a:pt x="502" y="1423"/>
                  </a:cubicBezTo>
                  <a:cubicBezTo>
                    <a:pt x="501" y="1423"/>
                    <a:pt x="502" y="1424"/>
                    <a:pt x="502" y="1425"/>
                  </a:cubicBezTo>
                  <a:cubicBezTo>
                    <a:pt x="502" y="1425"/>
                    <a:pt x="502" y="1425"/>
                    <a:pt x="502" y="1426"/>
                  </a:cubicBezTo>
                  <a:cubicBezTo>
                    <a:pt x="502" y="1426"/>
                    <a:pt x="502" y="1426"/>
                    <a:pt x="502" y="1427"/>
                  </a:cubicBezTo>
                  <a:cubicBezTo>
                    <a:pt x="502" y="1428"/>
                    <a:pt x="502" y="1428"/>
                    <a:pt x="503" y="1429"/>
                  </a:cubicBezTo>
                  <a:cubicBezTo>
                    <a:pt x="503" y="1429"/>
                    <a:pt x="503" y="1429"/>
                    <a:pt x="503" y="1429"/>
                  </a:cubicBezTo>
                  <a:cubicBezTo>
                    <a:pt x="504" y="1430"/>
                    <a:pt x="504" y="1431"/>
                    <a:pt x="506" y="1431"/>
                  </a:cubicBezTo>
                  <a:cubicBezTo>
                    <a:pt x="506" y="1431"/>
                    <a:pt x="506" y="1431"/>
                    <a:pt x="507" y="1431"/>
                  </a:cubicBezTo>
                  <a:cubicBezTo>
                    <a:pt x="508" y="1431"/>
                    <a:pt x="508" y="1430"/>
                    <a:pt x="508" y="1429"/>
                  </a:cubicBezTo>
                  <a:cubicBezTo>
                    <a:pt x="508" y="1429"/>
                    <a:pt x="508" y="1428"/>
                    <a:pt x="508" y="1428"/>
                  </a:cubicBezTo>
                  <a:cubicBezTo>
                    <a:pt x="509" y="1428"/>
                    <a:pt x="509" y="1428"/>
                    <a:pt x="509" y="1428"/>
                  </a:cubicBezTo>
                  <a:cubicBezTo>
                    <a:pt x="510" y="1429"/>
                    <a:pt x="510" y="1429"/>
                    <a:pt x="511" y="1429"/>
                  </a:cubicBezTo>
                  <a:cubicBezTo>
                    <a:pt x="511" y="1429"/>
                    <a:pt x="511" y="1429"/>
                    <a:pt x="511" y="1429"/>
                  </a:cubicBezTo>
                  <a:cubicBezTo>
                    <a:pt x="512" y="1429"/>
                    <a:pt x="512" y="1429"/>
                    <a:pt x="513" y="1429"/>
                  </a:cubicBezTo>
                  <a:cubicBezTo>
                    <a:pt x="513" y="1429"/>
                    <a:pt x="513" y="1429"/>
                    <a:pt x="513" y="1429"/>
                  </a:cubicBezTo>
                  <a:cubicBezTo>
                    <a:pt x="514" y="1429"/>
                    <a:pt x="514" y="1429"/>
                    <a:pt x="514" y="1430"/>
                  </a:cubicBezTo>
                  <a:cubicBezTo>
                    <a:pt x="514" y="1430"/>
                    <a:pt x="514" y="1430"/>
                    <a:pt x="514" y="1430"/>
                  </a:cubicBezTo>
                  <a:cubicBezTo>
                    <a:pt x="515" y="1430"/>
                    <a:pt x="515" y="1430"/>
                    <a:pt x="515" y="1431"/>
                  </a:cubicBezTo>
                  <a:cubicBezTo>
                    <a:pt x="515" y="1431"/>
                    <a:pt x="515" y="1431"/>
                    <a:pt x="514" y="1431"/>
                  </a:cubicBezTo>
                  <a:cubicBezTo>
                    <a:pt x="513" y="1432"/>
                    <a:pt x="514" y="1433"/>
                    <a:pt x="514" y="1434"/>
                  </a:cubicBezTo>
                  <a:cubicBezTo>
                    <a:pt x="514" y="1434"/>
                    <a:pt x="515" y="1436"/>
                    <a:pt x="516" y="1437"/>
                  </a:cubicBezTo>
                  <a:cubicBezTo>
                    <a:pt x="516" y="1437"/>
                    <a:pt x="516" y="1438"/>
                    <a:pt x="517" y="1439"/>
                  </a:cubicBezTo>
                  <a:cubicBezTo>
                    <a:pt x="517" y="1439"/>
                    <a:pt x="517" y="1440"/>
                    <a:pt x="518" y="1440"/>
                  </a:cubicBezTo>
                  <a:cubicBezTo>
                    <a:pt x="518" y="1440"/>
                    <a:pt x="518" y="1440"/>
                    <a:pt x="518" y="1440"/>
                  </a:cubicBezTo>
                  <a:cubicBezTo>
                    <a:pt x="517" y="1440"/>
                    <a:pt x="518" y="1441"/>
                    <a:pt x="518" y="1442"/>
                  </a:cubicBezTo>
                  <a:cubicBezTo>
                    <a:pt x="518" y="1442"/>
                    <a:pt x="519" y="1443"/>
                    <a:pt x="520" y="1443"/>
                  </a:cubicBezTo>
                  <a:cubicBezTo>
                    <a:pt x="521" y="1443"/>
                    <a:pt x="521" y="1444"/>
                    <a:pt x="521" y="1444"/>
                  </a:cubicBezTo>
                  <a:cubicBezTo>
                    <a:pt x="521" y="1444"/>
                    <a:pt x="521" y="1444"/>
                    <a:pt x="521" y="1444"/>
                  </a:cubicBezTo>
                  <a:cubicBezTo>
                    <a:pt x="522" y="1445"/>
                    <a:pt x="522" y="1446"/>
                    <a:pt x="524" y="1446"/>
                  </a:cubicBezTo>
                  <a:cubicBezTo>
                    <a:pt x="524" y="1446"/>
                    <a:pt x="524" y="1446"/>
                    <a:pt x="524" y="1446"/>
                  </a:cubicBezTo>
                  <a:cubicBezTo>
                    <a:pt x="524" y="1446"/>
                    <a:pt x="524" y="1446"/>
                    <a:pt x="524" y="1446"/>
                  </a:cubicBezTo>
                  <a:cubicBezTo>
                    <a:pt x="524" y="1447"/>
                    <a:pt x="525" y="1447"/>
                    <a:pt x="525" y="1447"/>
                  </a:cubicBezTo>
                  <a:cubicBezTo>
                    <a:pt x="525" y="1448"/>
                    <a:pt x="525" y="1448"/>
                    <a:pt x="525" y="1448"/>
                  </a:cubicBezTo>
                  <a:cubicBezTo>
                    <a:pt x="525" y="1448"/>
                    <a:pt x="525" y="1448"/>
                    <a:pt x="525" y="1448"/>
                  </a:cubicBezTo>
                  <a:cubicBezTo>
                    <a:pt x="524" y="1448"/>
                    <a:pt x="524" y="1448"/>
                    <a:pt x="523" y="1448"/>
                  </a:cubicBezTo>
                  <a:cubicBezTo>
                    <a:pt x="522" y="1448"/>
                    <a:pt x="522" y="1448"/>
                    <a:pt x="521" y="1448"/>
                  </a:cubicBezTo>
                  <a:cubicBezTo>
                    <a:pt x="521" y="1449"/>
                    <a:pt x="521" y="1449"/>
                    <a:pt x="521" y="1450"/>
                  </a:cubicBezTo>
                  <a:cubicBezTo>
                    <a:pt x="521" y="1451"/>
                    <a:pt x="522" y="1452"/>
                    <a:pt x="523" y="1452"/>
                  </a:cubicBezTo>
                  <a:cubicBezTo>
                    <a:pt x="523" y="1452"/>
                    <a:pt x="523" y="1452"/>
                    <a:pt x="523" y="1452"/>
                  </a:cubicBezTo>
                  <a:cubicBezTo>
                    <a:pt x="523" y="1452"/>
                    <a:pt x="523" y="1453"/>
                    <a:pt x="524" y="1453"/>
                  </a:cubicBezTo>
                  <a:cubicBezTo>
                    <a:pt x="523" y="1453"/>
                    <a:pt x="523" y="1453"/>
                    <a:pt x="523" y="1454"/>
                  </a:cubicBezTo>
                  <a:cubicBezTo>
                    <a:pt x="523" y="1454"/>
                    <a:pt x="523" y="1454"/>
                    <a:pt x="523" y="1454"/>
                  </a:cubicBezTo>
                  <a:cubicBezTo>
                    <a:pt x="522" y="1453"/>
                    <a:pt x="521" y="1453"/>
                    <a:pt x="520" y="1455"/>
                  </a:cubicBezTo>
                  <a:cubicBezTo>
                    <a:pt x="520" y="1456"/>
                    <a:pt x="520" y="1456"/>
                    <a:pt x="520" y="1456"/>
                  </a:cubicBezTo>
                  <a:cubicBezTo>
                    <a:pt x="521" y="1456"/>
                    <a:pt x="521" y="1456"/>
                    <a:pt x="521" y="1456"/>
                  </a:cubicBezTo>
                  <a:cubicBezTo>
                    <a:pt x="521" y="1457"/>
                    <a:pt x="521" y="1457"/>
                    <a:pt x="521" y="1457"/>
                  </a:cubicBezTo>
                  <a:cubicBezTo>
                    <a:pt x="521" y="1457"/>
                    <a:pt x="522" y="1457"/>
                    <a:pt x="522" y="1458"/>
                  </a:cubicBezTo>
                  <a:cubicBezTo>
                    <a:pt x="523" y="1459"/>
                    <a:pt x="524" y="1459"/>
                    <a:pt x="525" y="1461"/>
                  </a:cubicBezTo>
                  <a:cubicBezTo>
                    <a:pt x="525" y="1461"/>
                    <a:pt x="526" y="1462"/>
                    <a:pt x="527" y="1462"/>
                  </a:cubicBezTo>
                  <a:cubicBezTo>
                    <a:pt x="528" y="1462"/>
                    <a:pt x="528" y="1462"/>
                    <a:pt x="528" y="1462"/>
                  </a:cubicBezTo>
                  <a:cubicBezTo>
                    <a:pt x="529" y="1462"/>
                    <a:pt x="529" y="1462"/>
                    <a:pt x="529" y="1462"/>
                  </a:cubicBezTo>
                  <a:cubicBezTo>
                    <a:pt x="529" y="1462"/>
                    <a:pt x="529" y="1462"/>
                    <a:pt x="529" y="1462"/>
                  </a:cubicBezTo>
                  <a:cubicBezTo>
                    <a:pt x="529" y="1463"/>
                    <a:pt x="530" y="1464"/>
                    <a:pt x="531" y="1464"/>
                  </a:cubicBezTo>
                  <a:cubicBezTo>
                    <a:pt x="532" y="1464"/>
                    <a:pt x="532" y="1463"/>
                    <a:pt x="532" y="1463"/>
                  </a:cubicBezTo>
                  <a:cubicBezTo>
                    <a:pt x="532" y="1464"/>
                    <a:pt x="533" y="1464"/>
                    <a:pt x="533" y="1464"/>
                  </a:cubicBezTo>
                  <a:cubicBezTo>
                    <a:pt x="533" y="1465"/>
                    <a:pt x="534" y="1465"/>
                    <a:pt x="535" y="1465"/>
                  </a:cubicBezTo>
                  <a:cubicBezTo>
                    <a:pt x="535" y="1465"/>
                    <a:pt x="536" y="1465"/>
                    <a:pt x="536" y="1465"/>
                  </a:cubicBezTo>
                  <a:cubicBezTo>
                    <a:pt x="537" y="1465"/>
                    <a:pt x="537" y="1465"/>
                    <a:pt x="537" y="1465"/>
                  </a:cubicBezTo>
                  <a:cubicBezTo>
                    <a:pt x="537" y="1465"/>
                    <a:pt x="537" y="1465"/>
                    <a:pt x="537" y="1465"/>
                  </a:cubicBezTo>
                  <a:cubicBezTo>
                    <a:pt x="537" y="1465"/>
                    <a:pt x="538" y="1466"/>
                    <a:pt x="538" y="1466"/>
                  </a:cubicBezTo>
                  <a:cubicBezTo>
                    <a:pt x="538" y="1466"/>
                    <a:pt x="538" y="1466"/>
                    <a:pt x="538" y="1466"/>
                  </a:cubicBezTo>
                  <a:cubicBezTo>
                    <a:pt x="538" y="1467"/>
                    <a:pt x="538" y="1468"/>
                    <a:pt x="539" y="1469"/>
                  </a:cubicBezTo>
                  <a:cubicBezTo>
                    <a:pt x="540" y="1469"/>
                    <a:pt x="540" y="1469"/>
                    <a:pt x="540" y="1469"/>
                  </a:cubicBezTo>
                  <a:cubicBezTo>
                    <a:pt x="540" y="1470"/>
                    <a:pt x="541" y="1470"/>
                    <a:pt x="541" y="1470"/>
                  </a:cubicBezTo>
                  <a:cubicBezTo>
                    <a:pt x="541" y="1472"/>
                    <a:pt x="542" y="1472"/>
                    <a:pt x="543" y="1472"/>
                  </a:cubicBezTo>
                  <a:cubicBezTo>
                    <a:pt x="543" y="1472"/>
                    <a:pt x="543" y="1472"/>
                    <a:pt x="543" y="1472"/>
                  </a:cubicBezTo>
                  <a:cubicBezTo>
                    <a:pt x="543" y="1472"/>
                    <a:pt x="543" y="1472"/>
                    <a:pt x="543" y="1472"/>
                  </a:cubicBezTo>
                  <a:cubicBezTo>
                    <a:pt x="543" y="1473"/>
                    <a:pt x="543" y="1473"/>
                    <a:pt x="543" y="1473"/>
                  </a:cubicBezTo>
                  <a:cubicBezTo>
                    <a:pt x="544" y="1474"/>
                    <a:pt x="544" y="1475"/>
                    <a:pt x="545" y="1476"/>
                  </a:cubicBezTo>
                  <a:cubicBezTo>
                    <a:pt x="546" y="1476"/>
                    <a:pt x="546" y="1476"/>
                    <a:pt x="546" y="1476"/>
                  </a:cubicBezTo>
                  <a:cubicBezTo>
                    <a:pt x="546" y="1477"/>
                    <a:pt x="547" y="1477"/>
                    <a:pt x="547" y="1477"/>
                  </a:cubicBezTo>
                  <a:cubicBezTo>
                    <a:pt x="547" y="1477"/>
                    <a:pt x="547" y="1478"/>
                    <a:pt x="547" y="1478"/>
                  </a:cubicBezTo>
                  <a:cubicBezTo>
                    <a:pt x="548" y="1478"/>
                    <a:pt x="548" y="1478"/>
                    <a:pt x="548" y="1478"/>
                  </a:cubicBezTo>
                  <a:cubicBezTo>
                    <a:pt x="548" y="1478"/>
                    <a:pt x="548" y="1478"/>
                    <a:pt x="548" y="1479"/>
                  </a:cubicBezTo>
                  <a:cubicBezTo>
                    <a:pt x="548" y="1479"/>
                    <a:pt x="548" y="1479"/>
                    <a:pt x="549" y="1479"/>
                  </a:cubicBezTo>
                  <a:cubicBezTo>
                    <a:pt x="549" y="1480"/>
                    <a:pt x="549" y="1480"/>
                    <a:pt x="550" y="1480"/>
                  </a:cubicBezTo>
                  <a:cubicBezTo>
                    <a:pt x="550" y="1480"/>
                    <a:pt x="550" y="1481"/>
                    <a:pt x="550" y="1481"/>
                  </a:cubicBezTo>
                  <a:cubicBezTo>
                    <a:pt x="550" y="1481"/>
                    <a:pt x="551" y="1482"/>
                    <a:pt x="552" y="1482"/>
                  </a:cubicBezTo>
                  <a:cubicBezTo>
                    <a:pt x="552" y="1482"/>
                    <a:pt x="552" y="1482"/>
                    <a:pt x="552" y="1482"/>
                  </a:cubicBezTo>
                  <a:cubicBezTo>
                    <a:pt x="552" y="1482"/>
                    <a:pt x="552" y="1483"/>
                    <a:pt x="553" y="1483"/>
                  </a:cubicBezTo>
                  <a:cubicBezTo>
                    <a:pt x="553" y="1484"/>
                    <a:pt x="553" y="1486"/>
                    <a:pt x="555" y="1486"/>
                  </a:cubicBezTo>
                  <a:cubicBezTo>
                    <a:pt x="555" y="1486"/>
                    <a:pt x="555" y="1486"/>
                    <a:pt x="556" y="1485"/>
                  </a:cubicBezTo>
                  <a:cubicBezTo>
                    <a:pt x="556" y="1485"/>
                    <a:pt x="556" y="1485"/>
                    <a:pt x="556" y="1485"/>
                  </a:cubicBezTo>
                  <a:cubicBezTo>
                    <a:pt x="555" y="1486"/>
                    <a:pt x="555" y="1487"/>
                    <a:pt x="555" y="1487"/>
                  </a:cubicBezTo>
                  <a:cubicBezTo>
                    <a:pt x="555" y="1488"/>
                    <a:pt x="556" y="1489"/>
                    <a:pt x="556" y="1490"/>
                  </a:cubicBezTo>
                  <a:cubicBezTo>
                    <a:pt x="557" y="1490"/>
                    <a:pt x="557" y="1490"/>
                    <a:pt x="557" y="1490"/>
                  </a:cubicBezTo>
                  <a:cubicBezTo>
                    <a:pt x="557" y="1490"/>
                    <a:pt x="557" y="1491"/>
                    <a:pt x="559" y="1491"/>
                  </a:cubicBezTo>
                  <a:cubicBezTo>
                    <a:pt x="559" y="1491"/>
                    <a:pt x="559" y="1491"/>
                    <a:pt x="559" y="1491"/>
                  </a:cubicBezTo>
                  <a:cubicBezTo>
                    <a:pt x="559" y="1491"/>
                    <a:pt x="560" y="1491"/>
                    <a:pt x="560" y="1491"/>
                  </a:cubicBezTo>
                  <a:cubicBezTo>
                    <a:pt x="560" y="1491"/>
                    <a:pt x="560" y="1492"/>
                    <a:pt x="560" y="1492"/>
                  </a:cubicBezTo>
                  <a:cubicBezTo>
                    <a:pt x="561" y="1493"/>
                    <a:pt x="561" y="1494"/>
                    <a:pt x="562" y="1494"/>
                  </a:cubicBezTo>
                  <a:cubicBezTo>
                    <a:pt x="562" y="1494"/>
                    <a:pt x="562" y="1494"/>
                    <a:pt x="562" y="1494"/>
                  </a:cubicBezTo>
                  <a:cubicBezTo>
                    <a:pt x="562" y="1495"/>
                    <a:pt x="562" y="1495"/>
                    <a:pt x="562" y="1495"/>
                  </a:cubicBezTo>
                  <a:cubicBezTo>
                    <a:pt x="563" y="1495"/>
                    <a:pt x="563" y="1496"/>
                    <a:pt x="564" y="1497"/>
                  </a:cubicBezTo>
                  <a:cubicBezTo>
                    <a:pt x="564" y="1495"/>
                    <a:pt x="564" y="1495"/>
                    <a:pt x="564" y="1495"/>
                  </a:cubicBezTo>
                  <a:cubicBezTo>
                    <a:pt x="564" y="1496"/>
                    <a:pt x="564" y="1496"/>
                    <a:pt x="564" y="1496"/>
                  </a:cubicBezTo>
                  <a:cubicBezTo>
                    <a:pt x="564" y="1496"/>
                    <a:pt x="564" y="1496"/>
                    <a:pt x="564" y="1496"/>
                  </a:cubicBezTo>
                  <a:cubicBezTo>
                    <a:pt x="564" y="1496"/>
                    <a:pt x="564" y="1496"/>
                    <a:pt x="564" y="1497"/>
                  </a:cubicBezTo>
                  <a:cubicBezTo>
                    <a:pt x="564" y="1497"/>
                    <a:pt x="564" y="1497"/>
                    <a:pt x="564" y="1497"/>
                  </a:cubicBezTo>
                  <a:cubicBezTo>
                    <a:pt x="564" y="1497"/>
                    <a:pt x="564" y="1497"/>
                    <a:pt x="564" y="1497"/>
                  </a:cubicBezTo>
                  <a:cubicBezTo>
                    <a:pt x="564" y="1497"/>
                    <a:pt x="565" y="1497"/>
                    <a:pt x="565" y="1498"/>
                  </a:cubicBezTo>
                  <a:cubicBezTo>
                    <a:pt x="566" y="1498"/>
                    <a:pt x="566" y="1498"/>
                    <a:pt x="567" y="1498"/>
                  </a:cubicBezTo>
                  <a:cubicBezTo>
                    <a:pt x="568" y="1498"/>
                    <a:pt x="568" y="1498"/>
                    <a:pt x="568" y="1498"/>
                  </a:cubicBezTo>
                  <a:cubicBezTo>
                    <a:pt x="568" y="1498"/>
                    <a:pt x="568" y="1498"/>
                    <a:pt x="568" y="1498"/>
                  </a:cubicBezTo>
                  <a:cubicBezTo>
                    <a:pt x="566" y="1498"/>
                    <a:pt x="565" y="1499"/>
                    <a:pt x="565" y="1500"/>
                  </a:cubicBezTo>
                  <a:cubicBezTo>
                    <a:pt x="565" y="1502"/>
                    <a:pt x="566" y="1504"/>
                    <a:pt x="567" y="1505"/>
                  </a:cubicBezTo>
                  <a:cubicBezTo>
                    <a:pt x="567" y="1505"/>
                    <a:pt x="568" y="1505"/>
                    <a:pt x="568" y="1505"/>
                  </a:cubicBezTo>
                  <a:cubicBezTo>
                    <a:pt x="568" y="1505"/>
                    <a:pt x="568" y="1506"/>
                    <a:pt x="569" y="1506"/>
                  </a:cubicBezTo>
                  <a:cubicBezTo>
                    <a:pt x="569" y="1506"/>
                    <a:pt x="570" y="1507"/>
                    <a:pt x="570" y="1507"/>
                  </a:cubicBezTo>
                  <a:cubicBezTo>
                    <a:pt x="571" y="1507"/>
                    <a:pt x="571" y="1507"/>
                    <a:pt x="571" y="1507"/>
                  </a:cubicBezTo>
                  <a:cubicBezTo>
                    <a:pt x="572" y="1506"/>
                    <a:pt x="572" y="1505"/>
                    <a:pt x="572" y="1504"/>
                  </a:cubicBezTo>
                  <a:cubicBezTo>
                    <a:pt x="572" y="1505"/>
                    <a:pt x="572" y="1505"/>
                    <a:pt x="572" y="1505"/>
                  </a:cubicBezTo>
                  <a:cubicBezTo>
                    <a:pt x="573" y="1505"/>
                    <a:pt x="573" y="1506"/>
                    <a:pt x="573" y="1506"/>
                  </a:cubicBezTo>
                  <a:cubicBezTo>
                    <a:pt x="573" y="1507"/>
                    <a:pt x="574" y="1507"/>
                    <a:pt x="575" y="1507"/>
                  </a:cubicBezTo>
                  <a:cubicBezTo>
                    <a:pt x="575" y="1507"/>
                    <a:pt x="576" y="1507"/>
                    <a:pt x="576" y="1506"/>
                  </a:cubicBezTo>
                  <a:cubicBezTo>
                    <a:pt x="577" y="1506"/>
                    <a:pt x="577" y="1504"/>
                    <a:pt x="577" y="1504"/>
                  </a:cubicBezTo>
                  <a:cubicBezTo>
                    <a:pt x="577" y="1502"/>
                    <a:pt x="576" y="1501"/>
                    <a:pt x="575" y="1500"/>
                  </a:cubicBezTo>
                  <a:cubicBezTo>
                    <a:pt x="574" y="1500"/>
                    <a:pt x="574" y="1500"/>
                    <a:pt x="574" y="1500"/>
                  </a:cubicBezTo>
                  <a:cubicBezTo>
                    <a:pt x="574" y="1500"/>
                    <a:pt x="574" y="1500"/>
                    <a:pt x="573" y="1499"/>
                  </a:cubicBezTo>
                  <a:cubicBezTo>
                    <a:pt x="574" y="1500"/>
                    <a:pt x="575" y="1500"/>
                    <a:pt x="577" y="1500"/>
                  </a:cubicBezTo>
                  <a:cubicBezTo>
                    <a:pt x="578" y="1500"/>
                    <a:pt x="579" y="1501"/>
                    <a:pt x="581" y="1502"/>
                  </a:cubicBezTo>
                  <a:cubicBezTo>
                    <a:pt x="581" y="1502"/>
                    <a:pt x="581" y="1502"/>
                    <a:pt x="582" y="1502"/>
                  </a:cubicBezTo>
                  <a:cubicBezTo>
                    <a:pt x="582" y="1502"/>
                    <a:pt x="583" y="1502"/>
                    <a:pt x="583" y="1501"/>
                  </a:cubicBezTo>
                  <a:cubicBezTo>
                    <a:pt x="584" y="1500"/>
                    <a:pt x="584" y="1499"/>
                    <a:pt x="584" y="1499"/>
                  </a:cubicBezTo>
                  <a:cubicBezTo>
                    <a:pt x="584" y="1498"/>
                    <a:pt x="583" y="1497"/>
                    <a:pt x="583" y="1496"/>
                  </a:cubicBezTo>
                  <a:cubicBezTo>
                    <a:pt x="582" y="1495"/>
                    <a:pt x="582" y="1495"/>
                    <a:pt x="582" y="1495"/>
                  </a:cubicBezTo>
                  <a:cubicBezTo>
                    <a:pt x="582" y="1495"/>
                    <a:pt x="582" y="1495"/>
                    <a:pt x="582" y="1495"/>
                  </a:cubicBezTo>
                  <a:cubicBezTo>
                    <a:pt x="582" y="1495"/>
                    <a:pt x="582" y="1495"/>
                    <a:pt x="583" y="1495"/>
                  </a:cubicBezTo>
                  <a:cubicBezTo>
                    <a:pt x="583" y="1496"/>
                    <a:pt x="583" y="1496"/>
                    <a:pt x="584" y="1496"/>
                  </a:cubicBezTo>
                  <a:cubicBezTo>
                    <a:pt x="584" y="1496"/>
                    <a:pt x="584" y="1496"/>
                    <a:pt x="584" y="1496"/>
                  </a:cubicBezTo>
                  <a:cubicBezTo>
                    <a:pt x="584" y="1496"/>
                    <a:pt x="584" y="1496"/>
                    <a:pt x="585" y="1497"/>
                  </a:cubicBezTo>
                  <a:cubicBezTo>
                    <a:pt x="585" y="1497"/>
                    <a:pt x="585" y="1497"/>
                    <a:pt x="586" y="1497"/>
                  </a:cubicBezTo>
                  <a:cubicBezTo>
                    <a:pt x="587" y="1498"/>
                    <a:pt x="588" y="1497"/>
                    <a:pt x="588" y="1497"/>
                  </a:cubicBezTo>
                  <a:cubicBezTo>
                    <a:pt x="588" y="1497"/>
                    <a:pt x="589" y="1497"/>
                    <a:pt x="589" y="1497"/>
                  </a:cubicBezTo>
                  <a:cubicBezTo>
                    <a:pt x="589" y="1497"/>
                    <a:pt x="589" y="1497"/>
                    <a:pt x="589" y="1497"/>
                  </a:cubicBezTo>
                  <a:cubicBezTo>
                    <a:pt x="589" y="1497"/>
                    <a:pt x="589" y="1497"/>
                    <a:pt x="590" y="1497"/>
                  </a:cubicBezTo>
                  <a:cubicBezTo>
                    <a:pt x="589" y="1497"/>
                    <a:pt x="589" y="1497"/>
                    <a:pt x="589" y="1497"/>
                  </a:cubicBezTo>
                  <a:cubicBezTo>
                    <a:pt x="588" y="1498"/>
                    <a:pt x="588" y="1499"/>
                    <a:pt x="588" y="1499"/>
                  </a:cubicBezTo>
                  <a:cubicBezTo>
                    <a:pt x="588" y="1500"/>
                    <a:pt x="589" y="1501"/>
                    <a:pt x="589" y="1502"/>
                  </a:cubicBezTo>
                  <a:cubicBezTo>
                    <a:pt x="590" y="1502"/>
                    <a:pt x="590" y="1502"/>
                    <a:pt x="590" y="1502"/>
                  </a:cubicBezTo>
                  <a:cubicBezTo>
                    <a:pt x="590" y="1503"/>
                    <a:pt x="590" y="1503"/>
                    <a:pt x="590" y="1503"/>
                  </a:cubicBezTo>
                  <a:cubicBezTo>
                    <a:pt x="591" y="1503"/>
                    <a:pt x="591" y="1503"/>
                    <a:pt x="591" y="1503"/>
                  </a:cubicBezTo>
                  <a:cubicBezTo>
                    <a:pt x="590" y="1503"/>
                    <a:pt x="590" y="1503"/>
                    <a:pt x="590" y="1503"/>
                  </a:cubicBezTo>
                  <a:cubicBezTo>
                    <a:pt x="589" y="1503"/>
                    <a:pt x="588" y="1504"/>
                    <a:pt x="588" y="1504"/>
                  </a:cubicBezTo>
                  <a:cubicBezTo>
                    <a:pt x="588" y="1505"/>
                    <a:pt x="588" y="1506"/>
                    <a:pt x="588" y="1506"/>
                  </a:cubicBezTo>
                  <a:cubicBezTo>
                    <a:pt x="588" y="1506"/>
                    <a:pt x="588" y="1506"/>
                    <a:pt x="587" y="1506"/>
                  </a:cubicBezTo>
                  <a:cubicBezTo>
                    <a:pt x="586" y="1506"/>
                    <a:pt x="586" y="1506"/>
                    <a:pt x="585" y="1507"/>
                  </a:cubicBezTo>
                  <a:cubicBezTo>
                    <a:pt x="585" y="1507"/>
                    <a:pt x="585" y="1507"/>
                    <a:pt x="585" y="1507"/>
                  </a:cubicBezTo>
                  <a:cubicBezTo>
                    <a:pt x="584" y="1507"/>
                    <a:pt x="582" y="1508"/>
                    <a:pt x="583" y="1511"/>
                  </a:cubicBezTo>
                  <a:cubicBezTo>
                    <a:pt x="583" y="1512"/>
                    <a:pt x="583" y="1512"/>
                    <a:pt x="583" y="1512"/>
                  </a:cubicBezTo>
                  <a:cubicBezTo>
                    <a:pt x="584" y="1512"/>
                    <a:pt x="584" y="1512"/>
                    <a:pt x="584" y="1512"/>
                  </a:cubicBezTo>
                  <a:cubicBezTo>
                    <a:pt x="584" y="1512"/>
                    <a:pt x="584" y="1512"/>
                    <a:pt x="584" y="1512"/>
                  </a:cubicBezTo>
                  <a:cubicBezTo>
                    <a:pt x="584" y="1513"/>
                    <a:pt x="584" y="1513"/>
                    <a:pt x="584" y="1513"/>
                  </a:cubicBezTo>
                  <a:cubicBezTo>
                    <a:pt x="586" y="1513"/>
                    <a:pt x="586" y="1513"/>
                    <a:pt x="586" y="1513"/>
                  </a:cubicBezTo>
                  <a:cubicBezTo>
                    <a:pt x="587" y="1512"/>
                    <a:pt x="587" y="1512"/>
                    <a:pt x="587" y="1512"/>
                  </a:cubicBezTo>
                  <a:cubicBezTo>
                    <a:pt x="587" y="1512"/>
                    <a:pt x="588" y="1512"/>
                    <a:pt x="588" y="1511"/>
                  </a:cubicBezTo>
                  <a:cubicBezTo>
                    <a:pt x="588" y="1512"/>
                    <a:pt x="588" y="1512"/>
                    <a:pt x="589" y="1512"/>
                  </a:cubicBezTo>
                  <a:cubicBezTo>
                    <a:pt x="589" y="1512"/>
                    <a:pt x="589" y="1512"/>
                    <a:pt x="590" y="1512"/>
                  </a:cubicBezTo>
                  <a:cubicBezTo>
                    <a:pt x="590" y="1512"/>
                    <a:pt x="590" y="1512"/>
                    <a:pt x="590" y="1512"/>
                  </a:cubicBezTo>
                  <a:cubicBezTo>
                    <a:pt x="590" y="1512"/>
                    <a:pt x="590" y="1512"/>
                    <a:pt x="591" y="1512"/>
                  </a:cubicBezTo>
                  <a:cubicBezTo>
                    <a:pt x="591" y="1512"/>
                    <a:pt x="591" y="1512"/>
                    <a:pt x="591" y="1512"/>
                  </a:cubicBezTo>
                  <a:cubicBezTo>
                    <a:pt x="592" y="1512"/>
                    <a:pt x="593" y="1511"/>
                    <a:pt x="594" y="1511"/>
                  </a:cubicBezTo>
                  <a:cubicBezTo>
                    <a:pt x="594" y="1511"/>
                    <a:pt x="594" y="1511"/>
                    <a:pt x="594" y="1511"/>
                  </a:cubicBezTo>
                  <a:cubicBezTo>
                    <a:pt x="595" y="1512"/>
                    <a:pt x="597" y="1512"/>
                    <a:pt x="598" y="1511"/>
                  </a:cubicBezTo>
                  <a:cubicBezTo>
                    <a:pt x="598" y="1511"/>
                    <a:pt x="599" y="1511"/>
                    <a:pt x="600" y="1511"/>
                  </a:cubicBezTo>
                  <a:cubicBezTo>
                    <a:pt x="600" y="1511"/>
                    <a:pt x="601" y="1511"/>
                    <a:pt x="601" y="1511"/>
                  </a:cubicBezTo>
                  <a:cubicBezTo>
                    <a:pt x="601" y="1511"/>
                    <a:pt x="602" y="1511"/>
                    <a:pt x="602" y="1511"/>
                  </a:cubicBezTo>
                  <a:cubicBezTo>
                    <a:pt x="602" y="1512"/>
                    <a:pt x="602" y="1512"/>
                    <a:pt x="602" y="1512"/>
                  </a:cubicBezTo>
                  <a:cubicBezTo>
                    <a:pt x="601" y="1512"/>
                    <a:pt x="600" y="1513"/>
                    <a:pt x="600" y="1513"/>
                  </a:cubicBezTo>
                  <a:cubicBezTo>
                    <a:pt x="600" y="1514"/>
                    <a:pt x="600" y="1515"/>
                    <a:pt x="600" y="1516"/>
                  </a:cubicBezTo>
                  <a:cubicBezTo>
                    <a:pt x="601" y="1517"/>
                    <a:pt x="602" y="1517"/>
                    <a:pt x="603" y="1517"/>
                  </a:cubicBezTo>
                  <a:cubicBezTo>
                    <a:pt x="603" y="1518"/>
                    <a:pt x="603" y="1518"/>
                    <a:pt x="604" y="1518"/>
                  </a:cubicBezTo>
                  <a:cubicBezTo>
                    <a:pt x="604" y="1518"/>
                    <a:pt x="604" y="1518"/>
                    <a:pt x="604" y="1518"/>
                  </a:cubicBezTo>
                  <a:cubicBezTo>
                    <a:pt x="604" y="1518"/>
                    <a:pt x="604" y="1518"/>
                    <a:pt x="604" y="1518"/>
                  </a:cubicBezTo>
                  <a:cubicBezTo>
                    <a:pt x="604" y="1518"/>
                    <a:pt x="604" y="1519"/>
                    <a:pt x="606" y="1519"/>
                  </a:cubicBezTo>
                  <a:cubicBezTo>
                    <a:pt x="606" y="1519"/>
                    <a:pt x="606" y="1519"/>
                    <a:pt x="607" y="1519"/>
                  </a:cubicBezTo>
                  <a:cubicBezTo>
                    <a:pt x="607" y="1519"/>
                    <a:pt x="607" y="1519"/>
                    <a:pt x="607" y="1519"/>
                  </a:cubicBezTo>
                  <a:cubicBezTo>
                    <a:pt x="608" y="1519"/>
                    <a:pt x="609" y="1519"/>
                    <a:pt x="609" y="1518"/>
                  </a:cubicBezTo>
                  <a:cubicBezTo>
                    <a:pt x="609" y="1518"/>
                    <a:pt x="609" y="1518"/>
                    <a:pt x="609" y="1518"/>
                  </a:cubicBezTo>
                  <a:cubicBezTo>
                    <a:pt x="610" y="1519"/>
                    <a:pt x="611" y="1519"/>
                    <a:pt x="611" y="1519"/>
                  </a:cubicBezTo>
                  <a:cubicBezTo>
                    <a:pt x="612" y="1519"/>
                    <a:pt x="612" y="1519"/>
                    <a:pt x="613" y="1519"/>
                  </a:cubicBezTo>
                  <a:cubicBezTo>
                    <a:pt x="613" y="1519"/>
                    <a:pt x="613" y="1519"/>
                    <a:pt x="613" y="1519"/>
                  </a:cubicBezTo>
                  <a:cubicBezTo>
                    <a:pt x="613" y="1518"/>
                    <a:pt x="614" y="1519"/>
                    <a:pt x="614" y="1519"/>
                  </a:cubicBezTo>
                  <a:cubicBezTo>
                    <a:pt x="614" y="1519"/>
                    <a:pt x="614" y="1519"/>
                    <a:pt x="615" y="1519"/>
                  </a:cubicBezTo>
                  <a:cubicBezTo>
                    <a:pt x="615" y="1519"/>
                    <a:pt x="615" y="1519"/>
                    <a:pt x="615" y="1519"/>
                  </a:cubicBezTo>
                  <a:cubicBezTo>
                    <a:pt x="615" y="1520"/>
                    <a:pt x="616" y="1520"/>
                    <a:pt x="617" y="1520"/>
                  </a:cubicBezTo>
                  <a:cubicBezTo>
                    <a:pt x="617" y="1520"/>
                    <a:pt x="618" y="1520"/>
                    <a:pt x="618" y="1520"/>
                  </a:cubicBezTo>
                  <a:cubicBezTo>
                    <a:pt x="618" y="1519"/>
                    <a:pt x="619" y="1519"/>
                    <a:pt x="618" y="1518"/>
                  </a:cubicBezTo>
                  <a:cubicBezTo>
                    <a:pt x="618" y="1517"/>
                    <a:pt x="617" y="1516"/>
                    <a:pt x="617" y="1515"/>
                  </a:cubicBezTo>
                  <a:cubicBezTo>
                    <a:pt x="616" y="1515"/>
                    <a:pt x="616" y="1515"/>
                    <a:pt x="616" y="1515"/>
                  </a:cubicBezTo>
                  <a:cubicBezTo>
                    <a:pt x="616" y="1515"/>
                    <a:pt x="617" y="1515"/>
                    <a:pt x="617" y="1514"/>
                  </a:cubicBezTo>
                  <a:cubicBezTo>
                    <a:pt x="617" y="1515"/>
                    <a:pt x="618" y="1515"/>
                    <a:pt x="618" y="1515"/>
                  </a:cubicBezTo>
                  <a:cubicBezTo>
                    <a:pt x="618" y="1515"/>
                    <a:pt x="618" y="1515"/>
                    <a:pt x="618" y="1515"/>
                  </a:cubicBezTo>
                  <a:cubicBezTo>
                    <a:pt x="619" y="1515"/>
                    <a:pt x="620" y="1514"/>
                    <a:pt x="620" y="1514"/>
                  </a:cubicBezTo>
                  <a:cubicBezTo>
                    <a:pt x="620" y="1513"/>
                    <a:pt x="620" y="1513"/>
                    <a:pt x="620" y="1512"/>
                  </a:cubicBezTo>
                  <a:cubicBezTo>
                    <a:pt x="620" y="1511"/>
                    <a:pt x="619" y="1510"/>
                    <a:pt x="619" y="1510"/>
                  </a:cubicBezTo>
                  <a:cubicBezTo>
                    <a:pt x="619" y="1510"/>
                    <a:pt x="619" y="1510"/>
                    <a:pt x="619" y="1510"/>
                  </a:cubicBezTo>
                  <a:cubicBezTo>
                    <a:pt x="619" y="1510"/>
                    <a:pt x="619" y="1509"/>
                    <a:pt x="618" y="1509"/>
                  </a:cubicBezTo>
                  <a:cubicBezTo>
                    <a:pt x="619" y="1509"/>
                    <a:pt x="619" y="1510"/>
                    <a:pt x="619" y="1510"/>
                  </a:cubicBezTo>
                  <a:cubicBezTo>
                    <a:pt x="619" y="1510"/>
                    <a:pt x="619" y="1510"/>
                    <a:pt x="619" y="1510"/>
                  </a:cubicBezTo>
                  <a:cubicBezTo>
                    <a:pt x="620" y="1511"/>
                    <a:pt x="620" y="1511"/>
                    <a:pt x="621" y="1511"/>
                  </a:cubicBezTo>
                  <a:cubicBezTo>
                    <a:pt x="621" y="1511"/>
                    <a:pt x="622" y="1511"/>
                    <a:pt x="622" y="1511"/>
                  </a:cubicBezTo>
                  <a:cubicBezTo>
                    <a:pt x="623" y="1511"/>
                    <a:pt x="623" y="1510"/>
                    <a:pt x="624" y="1510"/>
                  </a:cubicBezTo>
                  <a:cubicBezTo>
                    <a:pt x="624" y="1510"/>
                    <a:pt x="624" y="1510"/>
                    <a:pt x="624" y="1509"/>
                  </a:cubicBezTo>
                  <a:cubicBezTo>
                    <a:pt x="624" y="1509"/>
                    <a:pt x="625" y="1509"/>
                    <a:pt x="625" y="1509"/>
                  </a:cubicBezTo>
                  <a:cubicBezTo>
                    <a:pt x="625" y="1509"/>
                    <a:pt x="626" y="1510"/>
                    <a:pt x="627" y="1510"/>
                  </a:cubicBezTo>
                  <a:cubicBezTo>
                    <a:pt x="627" y="1510"/>
                    <a:pt x="628" y="1510"/>
                    <a:pt x="629" y="1508"/>
                  </a:cubicBezTo>
                  <a:cubicBezTo>
                    <a:pt x="629" y="1508"/>
                    <a:pt x="629" y="1508"/>
                    <a:pt x="629" y="1508"/>
                  </a:cubicBezTo>
                  <a:cubicBezTo>
                    <a:pt x="629" y="1507"/>
                    <a:pt x="630" y="1505"/>
                    <a:pt x="629" y="1504"/>
                  </a:cubicBezTo>
                  <a:cubicBezTo>
                    <a:pt x="628" y="1502"/>
                    <a:pt x="626" y="1502"/>
                    <a:pt x="625" y="1502"/>
                  </a:cubicBezTo>
                  <a:cubicBezTo>
                    <a:pt x="625" y="1502"/>
                    <a:pt x="624" y="1502"/>
                    <a:pt x="624" y="1502"/>
                  </a:cubicBezTo>
                  <a:cubicBezTo>
                    <a:pt x="622" y="1502"/>
                    <a:pt x="622" y="1502"/>
                    <a:pt x="622" y="1502"/>
                  </a:cubicBezTo>
                  <a:cubicBezTo>
                    <a:pt x="622" y="1502"/>
                    <a:pt x="621" y="1502"/>
                    <a:pt x="620" y="1502"/>
                  </a:cubicBezTo>
                  <a:cubicBezTo>
                    <a:pt x="620" y="1502"/>
                    <a:pt x="620" y="1502"/>
                    <a:pt x="620" y="1502"/>
                  </a:cubicBezTo>
                  <a:cubicBezTo>
                    <a:pt x="620" y="1502"/>
                    <a:pt x="619" y="1502"/>
                    <a:pt x="619" y="1501"/>
                  </a:cubicBezTo>
                  <a:cubicBezTo>
                    <a:pt x="619" y="1501"/>
                    <a:pt x="619" y="1501"/>
                    <a:pt x="619" y="1501"/>
                  </a:cubicBezTo>
                  <a:cubicBezTo>
                    <a:pt x="619" y="1501"/>
                    <a:pt x="618" y="1501"/>
                    <a:pt x="618" y="1501"/>
                  </a:cubicBezTo>
                  <a:cubicBezTo>
                    <a:pt x="617" y="1500"/>
                    <a:pt x="616" y="1499"/>
                    <a:pt x="615" y="1499"/>
                  </a:cubicBezTo>
                  <a:cubicBezTo>
                    <a:pt x="614" y="1499"/>
                    <a:pt x="614" y="1499"/>
                    <a:pt x="614" y="1499"/>
                  </a:cubicBezTo>
                  <a:cubicBezTo>
                    <a:pt x="614" y="1499"/>
                    <a:pt x="613" y="1499"/>
                    <a:pt x="613" y="1499"/>
                  </a:cubicBezTo>
                  <a:cubicBezTo>
                    <a:pt x="612" y="1498"/>
                    <a:pt x="611" y="1498"/>
                    <a:pt x="611" y="1498"/>
                  </a:cubicBezTo>
                  <a:cubicBezTo>
                    <a:pt x="610" y="1497"/>
                    <a:pt x="610" y="1497"/>
                    <a:pt x="610" y="1497"/>
                  </a:cubicBezTo>
                  <a:cubicBezTo>
                    <a:pt x="610" y="1497"/>
                    <a:pt x="610" y="1497"/>
                    <a:pt x="609" y="1497"/>
                  </a:cubicBezTo>
                  <a:cubicBezTo>
                    <a:pt x="609" y="1496"/>
                    <a:pt x="608" y="1496"/>
                    <a:pt x="607" y="1495"/>
                  </a:cubicBezTo>
                  <a:cubicBezTo>
                    <a:pt x="607" y="1495"/>
                    <a:pt x="606" y="1495"/>
                    <a:pt x="606" y="1495"/>
                  </a:cubicBezTo>
                  <a:cubicBezTo>
                    <a:pt x="605" y="1495"/>
                    <a:pt x="604" y="1495"/>
                    <a:pt x="604" y="1494"/>
                  </a:cubicBezTo>
                  <a:cubicBezTo>
                    <a:pt x="604" y="1494"/>
                    <a:pt x="603" y="1494"/>
                    <a:pt x="603" y="1493"/>
                  </a:cubicBezTo>
                  <a:cubicBezTo>
                    <a:pt x="603" y="1493"/>
                    <a:pt x="602" y="1492"/>
                    <a:pt x="602" y="1492"/>
                  </a:cubicBezTo>
                  <a:cubicBezTo>
                    <a:pt x="601" y="1491"/>
                    <a:pt x="600" y="1491"/>
                    <a:pt x="599" y="1491"/>
                  </a:cubicBezTo>
                  <a:cubicBezTo>
                    <a:pt x="599" y="1491"/>
                    <a:pt x="599" y="1491"/>
                    <a:pt x="599" y="1491"/>
                  </a:cubicBezTo>
                  <a:cubicBezTo>
                    <a:pt x="599" y="1489"/>
                    <a:pt x="598" y="1486"/>
                    <a:pt x="596" y="1485"/>
                  </a:cubicBezTo>
                  <a:cubicBezTo>
                    <a:pt x="596" y="1485"/>
                    <a:pt x="596" y="1485"/>
                    <a:pt x="595" y="1485"/>
                  </a:cubicBezTo>
                  <a:cubicBezTo>
                    <a:pt x="595" y="1485"/>
                    <a:pt x="594" y="1484"/>
                    <a:pt x="593" y="1484"/>
                  </a:cubicBezTo>
                  <a:cubicBezTo>
                    <a:pt x="593" y="1483"/>
                    <a:pt x="592" y="1483"/>
                    <a:pt x="591" y="1483"/>
                  </a:cubicBezTo>
                  <a:cubicBezTo>
                    <a:pt x="591" y="1483"/>
                    <a:pt x="591" y="1483"/>
                    <a:pt x="591" y="1483"/>
                  </a:cubicBezTo>
                  <a:cubicBezTo>
                    <a:pt x="592" y="1482"/>
                    <a:pt x="592" y="1482"/>
                    <a:pt x="592" y="1482"/>
                  </a:cubicBezTo>
                  <a:cubicBezTo>
                    <a:pt x="591" y="1481"/>
                    <a:pt x="591" y="1481"/>
                    <a:pt x="591" y="1481"/>
                  </a:cubicBezTo>
                  <a:cubicBezTo>
                    <a:pt x="591" y="1481"/>
                    <a:pt x="591" y="1481"/>
                    <a:pt x="591" y="1481"/>
                  </a:cubicBezTo>
                  <a:cubicBezTo>
                    <a:pt x="591" y="1481"/>
                    <a:pt x="591" y="1481"/>
                    <a:pt x="591" y="1481"/>
                  </a:cubicBezTo>
                  <a:cubicBezTo>
                    <a:pt x="591" y="1480"/>
                    <a:pt x="591" y="1480"/>
                    <a:pt x="591" y="1480"/>
                  </a:cubicBezTo>
                  <a:cubicBezTo>
                    <a:pt x="591" y="1480"/>
                    <a:pt x="591" y="1480"/>
                    <a:pt x="591" y="1480"/>
                  </a:cubicBezTo>
                  <a:cubicBezTo>
                    <a:pt x="590" y="1479"/>
                    <a:pt x="589" y="1478"/>
                    <a:pt x="589" y="1478"/>
                  </a:cubicBezTo>
                  <a:cubicBezTo>
                    <a:pt x="588" y="1477"/>
                    <a:pt x="588" y="1477"/>
                    <a:pt x="588" y="1477"/>
                  </a:cubicBezTo>
                  <a:cubicBezTo>
                    <a:pt x="587" y="1476"/>
                    <a:pt x="585" y="1475"/>
                    <a:pt x="584" y="1474"/>
                  </a:cubicBezTo>
                  <a:cubicBezTo>
                    <a:pt x="583" y="1474"/>
                    <a:pt x="583" y="1474"/>
                    <a:pt x="582" y="1474"/>
                  </a:cubicBezTo>
                  <a:cubicBezTo>
                    <a:pt x="582" y="1474"/>
                    <a:pt x="582" y="1473"/>
                    <a:pt x="582" y="1473"/>
                  </a:cubicBezTo>
                  <a:cubicBezTo>
                    <a:pt x="582" y="1473"/>
                    <a:pt x="582" y="1472"/>
                    <a:pt x="582" y="1471"/>
                  </a:cubicBezTo>
                  <a:cubicBezTo>
                    <a:pt x="581" y="1471"/>
                    <a:pt x="581" y="1470"/>
                    <a:pt x="581" y="1470"/>
                  </a:cubicBezTo>
                  <a:cubicBezTo>
                    <a:pt x="580" y="1470"/>
                    <a:pt x="580" y="1470"/>
                    <a:pt x="580" y="1470"/>
                  </a:cubicBezTo>
                  <a:cubicBezTo>
                    <a:pt x="580" y="1469"/>
                    <a:pt x="579" y="1469"/>
                    <a:pt x="579" y="1469"/>
                  </a:cubicBezTo>
                  <a:cubicBezTo>
                    <a:pt x="579" y="1468"/>
                    <a:pt x="579" y="1468"/>
                    <a:pt x="579" y="1468"/>
                  </a:cubicBezTo>
                  <a:cubicBezTo>
                    <a:pt x="579" y="1468"/>
                    <a:pt x="578" y="1466"/>
                    <a:pt x="576" y="1466"/>
                  </a:cubicBezTo>
                  <a:cubicBezTo>
                    <a:pt x="576" y="1466"/>
                    <a:pt x="576" y="1466"/>
                    <a:pt x="576" y="1466"/>
                  </a:cubicBezTo>
                  <a:cubicBezTo>
                    <a:pt x="576" y="1466"/>
                    <a:pt x="576" y="1466"/>
                    <a:pt x="576" y="1465"/>
                  </a:cubicBezTo>
                  <a:cubicBezTo>
                    <a:pt x="576" y="1465"/>
                    <a:pt x="576" y="1464"/>
                    <a:pt x="576" y="1464"/>
                  </a:cubicBezTo>
                  <a:cubicBezTo>
                    <a:pt x="575" y="1463"/>
                    <a:pt x="576" y="1462"/>
                    <a:pt x="576" y="1461"/>
                  </a:cubicBezTo>
                  <a:cubicBezTo>
                    <a:pt x="576" y="1461"/>
                    <a:pt x="576" y="1461"/>
                    <a:pt x="576" y="1461"/>
                  </a:cubicBezTo>
                  <a:cubicBezTo>
                    <a:pt x="576" y="1460"/>
                    <a:pt x="576" y="1459"/>
                    <a:pt x="575" y="1458"/>
                  </a:cubicBezTo>
                  <a:cubicBezTo>
                    <a:pt x="577" y="1458"/>
                    <a:pt x="577" y="1456"/>
                    <a:pt x="577" y="1455"/>
                  </a:cubicBezTo>
                  <a:cubicBezTo>
                    <a:pt x="577" y="1455"/>
                    <a:pt x="577" y="1455"/>
                    <a:pt x="577" y="1455"/>
                  </a:cubicBezTo>
                  <a:cubicBezTo>
                    <a:pt x="578" y="1455"/>
                    <a:pt x="578" y="1454"/>
                    <a:pt x="578" y="1453"/>
                  </a:cubicBezTo>
                  <a:cubicBezTo>
                    <a:pt x="578" y="1452"/>
                    <a:pt x="577" y="1451"/>
                    <a:pt x="577" y="1451"/>
                  </a:cubicBezTo>
                  <a:cubicBezTo>
                    <a:pt x="577" y="1451"/>
                    <a:pt x="577" y="1451"/>
                    <a:pt x="577" y="1451"/>
                  </a:cubicBezTo>
                  <a:cubicBezTo>
                    <a:pt x="577" y="1451"/>
                    <a:pt x="577" y="1450"/>
                    <a:pt x="577" y="1450"/>
                  </a:cubicBezTo>
                  <a:cubicBezTo>
                    <a:pt x="577" y="1450"/>
                    <a:pt x="577" y="1449"/>
                    <a:pt x="576" y="1448"/>
                  </a:cubicBezTo>
                  <a:cubicBezTo>
                    <a:pt x="576" y="1447"/>
                    <a:pt x="575" y="1447"/>
                    <a:pt x="575" y="1447"/>
                  </a:cubicBezTo>
                  <a:cubicBezTo>
                    <a:pt x="575" y="1447"/>
                    <a:pt x="575" y="1447"/>
                    <a:pt x="575" y="1447"/>
                  </a:cubicBezTo>
                  <a:cubicBezTo>
                    <a:pt x="575" y="1447"/>
                    <a:pt x="575" y="1446"/>
                    <a:pt x="575" y="1446"/>
                  </a:cubicBezTo>
                  <a:cubicBezTo>
                    <a:pt x="575" y="1445"/>
                    <a:pt x="575" y="1445"/>
                    <a:pt x="575" y="1444"/>
                  </a:cubicBezTo>
                  <a:cubicBezTo>
                    <a:pt x="575" y="1444"/>
                    <a:pt x="576" y="1443"/>
                    <a:pt x="576" y="1443"/>
                  </a:cubicBezTo>
                  <a:cubicBezTo>
                    <a:pt x="576" y="1443"/>
                    <a:pt x="576" y="1442"/>
                    <a:pt x="576" y="1441"/>
                  </a:cubicBezTo>
                  <a:cubicBezTo>
                    <a:pt x="576" y="1441"/>
                    <a:pt x="576" y="1441"/>
                    <a:pt x="576" y="1441"/>
                  </a:cubicBezTo>
                  <a:cubicBezTo>
                    <a:pt x="576" y="1441"/>
                    <a:pt x="576" y="1440"/>
                    <a:pt x="576" y="1439"/>
                  </a:cubicBezTo>
                  <a:cubicBezTo>
                    <a:pt x="576" y="1439"/>
                    <a:pt x="576" y="1439"/>
                    <a:pt x="576" y="1438"/>
                  </a:cubicBezTo>
                  <a:cubicBezTo>
                    <a:pt x="576" y="1438"/>
                    <a:pt x="577" y="1438"/>
                    <a:pt x="577" y="1438"/>
                  </a:cubicBezTo>
                  <a:cubicBezTo>
                    <a:pt x="577" y="1437"/>
                    <a:pt x="578" y="1436"/>
                    <a:pt x="578" y="1435"/>
                  </a:cubicBezTo>
                  <a:cubicBezTo>
                    <a:pt x="578" y="1434"/>
                    <a:pt x="578" y="1433"/>
                    <a:pt x="578" y="1432"/>
                  </a:cubicBezTo>
                  <a:cubicBezTo>
                    <a:pt x="578" y="1432"/>
                    <a:pt x="578" y="1431"/>
                    <a:pt x="577" y="1430"/>
                  </a:cubicBezTo>
                  <a:cubicBezTo>
                    <a:pt x="577" y="1430"/>
                    <a:pt x="577" y="1430"/>
                    <a:pt x="577" y="1430"/>
                  </a:cubicBezTo>
                  <a:cubicBezTo>
                    <a:pt x="577" y="1430"/>
                    <a:pt x="577" y="1430"/>
                    <a:pt x="577" y="1430"/>
                  </a:cubicBezTo>
                  <a:cubicBezTo>
                    <a:pt x="578" y="1428"/>
                    <a:pt x="576" y="1426"/>
                    <a:pt x="575" y="1425"/>
                  </a:cubicBezTo>
                  <a:cubicBezTo>
                    <a:pt x="575" y="1425"/>
                    <a:pt x="575" y="1424"/>
                    <a:pt x="575" y="1424"/>
                  </a:cubicBezTo>
                  <a:cubicBezTo>
                    <a:pt x="575" y="1424"/>
                    <a:pt x="575" y="1424"/>
                    <a:pt x="575" y="1424"/>
                  </a:cubicBezTo>
                  <a:cubicBezTo>
                    <a:pt x="574" y="1423"/>
                    <a:pt x="572" y="1421"/>
                    <a:pt x="570" y="1421"/>
                  </a:cubicBezTo>
                  <a:cubicBezTo>
                    <a:pt x="570" y="1421"/>
                    <a:pt x="570" y="1421"/>
                    <a:pt x="569" y="1421"/>
                  </a:cubicBezTo>
                  <a:cubicBezTo>
                    <a:pt x="568" y="1421"/>
                    <a:pt x="568" y="1422"/>
                    <a:pt x="568" y="1422"/>
                  </a:cubicBezTo>
                  <a:cubicBezTo>
                    <a:pt x="568" y="1422"/>
                    <a:pt x="568" y="1422"/>
                    <a:pt x="567" y="1422"/>
                  </a:cubicBezTo>
                  <a:cubicBezTo>
                    <a:pt x="567" y="1422"/>
                    <a:pt x="567" y="1422"/>
                    <a:pt x="567" y="1422"/>
                  </a:cubicBezTo>
                  <a:cubicBezTo>
                    <a:pt x="567" y="1422"/>
                    <a:pt x="566" y="1422"/>
                    <a:pt x="567" y="1422"/>
                  </a:cubicBezTo>
                  <a:cubicBezTo>
                    <a:pt x="566" y="1422"/>
                    <a:pt x="566" y="1422"/>
                    <a:pt x="566" y="1422"/>
                  </a:cubicBezTo>
                  <a:cubicBezTo>
                    <a:pt x="566" y="1421"/>
                    <a:pt x="566" y="1421"/>
                    <a:pt x="565" y="1420"/>
                  </a:cubicBezTo>
                  <a:cubicBezTo>
                    <a:pt x="564" y="1419"/>
                    <a:pt x="564" y="1419"/>
                    <a:pt x="562" y="1418"/>
                  </a:cubicBezTo>
                  <a:cubicBezTo>
                    <a:pt x="562" y="1418"/>
                    <a:pt x="562" y="1418"/>
                    <a:pt x="561" y="1417"/>
                  </a:cubicBezTo>
                  <a:cubicBezTo>
                    <a:pt x="561" y="1417"/>
                    <a:pt x="561" y="1417"/>
                    <a:pt x="560" y="1416"/>
                  </a:cubicBezTo>
                  <a:cubicBezTo>
                    <a:pt x="560" y="1416"/>
                    <a:pt x="560" y="1416"/>
                    <a:pt x="560" y="1416"/>
                  </a:cubicBezTo>
                  <a:cubicBezTo>
                    <a:pt x="559" y="1415"/>
                    <a:pt x="559" y="1415"/>
                    <a:pt x="559" y="1415"/>
                  </a:cubicBezTo>
                  <a:cubicBezTo>
                    <a:pt x="558" y="1414"/>
                    <a:pt x="558" y="1414"/>
                    <a:pt x="558" y="1413"/>
                  </a:cubicBezTo>
                  <a:cubicBezTo>
                    <a:pt x="558" y="1413"/>
                    <a:pt x="558" y="1413"/>
                    <a:pt x="558" y="1413"/>
                  </a:cubicBezTo>
                  <a:cubicBezTo>
                    <a:pt x="558" y="1413"/>
                    <a:pt x="558" y="1413"/>
                    <a:pt x="558" y="1412"/>
                  </a:cubicBezTo>
                  <a:cubicBezTo>
                    <a:pt x="558" y="1412"/>
                    <a:pt x="557" y="1412"/>
                    <a:pt x="557" y="1412"/>
                  </a:cubicBezTo>
                  <a:cubicBezTo>
                    <a:pt x="557" y="1411"/>
                    <a:pt x="557" y="1411"/>
                    <a:pt x="557" y="1411"/>
                  </a:cubicBezTo>
                  <a:cubicBezTo>
                    <a:pt x="556" y="1411"/>
                    <a:pt x="556" y="1411"/>
                    <a:pt x="556" y="1410"/>
                  </a:cubicBezTo>
                  <a:cubicBezTo>
                    <a:pt x="556" y="1410"/>
                    <a:pt x="556" y="1410"/>
                    <a:pt x="556" y="1409"/>
                  </a:cubicBezTo>
                  <a:cubicBezTo>
                    <a:pt x="556" y="1409"/>
                    <a:pt x="556" y="1409"/>
                    <a:pt x="556" y="1409"/>
                  </a:cubicBezTo>
                  <a:cubicBezTo>
                    <a:pt x="556" y="1408"/>
                    <a:pt x="555" y="1408"/>
                    <a:pt x="555" y="1407"/>
                  </a:cubicBezTo>
                  <a:cubicBezTo>
                    <a:pt x="555" y="1407"/>
                    <a:pt x="555" y="1407"/>
                    <a:pt x="555" y="1406"/>
                  </a:cubicBezTo>
                  <a:cubicBezTo>
                    <a:pt x="554" y="1406"/>
                    <a:pt x="554" y="1405"/>
                    <a:pt x="554" y="1404"/>
                  </a:cubicBezTo>
                  <a:cubicBezTo>
                    <a:pt x="554" y="1404"/>
                    <a:pt x="554" y="1404"/>
                    <a:pt x="555" y="1404"/>
                  </a:cubicBezTo>
                  <a:cubicBezTo>
                    <a:pt x="556" y="1404"/>
                    <a:pt x="556" y="1404"/>
                    <a:pt x="557" y="1404"/>
                  </a:cubicBezTo>
                  <a:cubicBezTo>
                    <a:pt x="557" y="1403"/>
                    <a:pt x="557" y="1401"/>
                    <a:pt x="557" y="1401"/>
                  </a:cubicBezTo>
                  <a:cubicBezTo>
                    <a:pt x="557" y="1401"/>
                    <a:pt x="557" y="1401"/>
                    <a:pt x="557" y="1401"/>
                  </a:cubicBezTo>
                  <a:cubicBezTo>
                    <a:pt x="557" y="1401"/>
                    <a:pt x="557" y="1401"/>
                    <a:pt x="558" y="1401"/>
                  </a:cubicBezTo>
                  <a:cubicBezTo>
                    <a:pt x="558" y="1400"/>
                    <a:pt x="558" y="1400"/>
                    <a:pt x="559" y="1400"/>
                  </a:cubicBezTo>
                  <a:cubicBezTo>
                    <a:pt x="560" y="1400"/>
                    <a:pt x="561" y="1400"/>
                    <a:pt x="562" y="1398"/>
                  </a:cubicBezTo>
                  <a:cubicBezTo>
                    <a:pt x="562" y="1397"/>
                    <a:pt x="561" y="1396"/>
                    <a:pt x="561" y="1395"/>
                  </a:cubicBezTo>
                  <a:cubicBezTo>
                    <a:pt x="560" y="1395"/>
                    <a:pt x="560" y="1395"/>
                    <a:pt x="560" y="1395"/>
                  </a:cubicBezTo>
                  <a:cubicBezTo>
                    <a:pt x="560" y="1395"/>
                    <a:pt x="560" y="1394"/>
                    <a:pt x="560" y="1393"/>
                  </a:cubicBezTo>
                  <a:cubicBezTo>
                    <a:pt x="560" y="1392"/>
                    <a:pt x="560" y="1391"/>
                    <a:pt x="560" y="1390"/>
                  </a:cubicBezTo>
                  <a:cubicBezTo>
                    <a:pt x="560" y="1389"/>
                    <a:pt x="559" y="1388"/>
                    <a:pt x="559" y="1386"/>
                  </a:cubicBezTo>
                  <a:cubicBezTo>
                    <a:pt x="559" y="1386"/>
                    <a:pt x="558" y="1385"/>
                    <a:pt x="558" y="1385"/>
                  </a:cubicBezTo>
                  <a:cubicBezTo>
                    <a:pt x="558" y="1384"/>
                    <a:pt x="558" y="1384"/>
                    <a:pt x="558" y="1384"/>
                  </a:cubicBezTo>
                  <a:cubicBezTo>
                    <a:pt x="557" y="1383"/>
                    <a:pt x="557" y="1382"/>
                    <a:pt x="557" y="1380"/>
                  </a:cubicBezTo>
                  <a:cubicBezTo>
                    <a:pt x="557" y="1379"/>
                    <a:pt x="557" y="1378"/>
                    <a:pt x="557" y="1378"/>
                  </a:cubicBezTo>
                  <a:cubicBezTo>
                    <a:pt x="557" y="1378"/>
                    <a:pt x="557" y="1377"/>
                    <a:pt x="558" y="1377"/>
                  </a:cubicBezTo>
                  <a:cubicBezTo>
                    <a:pt x="558" y="1376"/>
                    <a:pt x="558" y="1376"/>
                    <a:pt x="558" y="1375"/>
                  </a:cubicBezTo>
                  <a:cubicBezTo>
                    <a:pt x="558" y="1374"/>
                    <a:pt x="557" y="1374"/>
                    <a:pt x="556" y="1374"/>
                  </a:cubicBezTo>
                  <a:cubicBezTo>
                    <a:pt x="556" y="1374"/>
                    <a:pt x="556" y="1374"/>
                    <a:pt x="555" y="1374"/>
                  </a:cubicBezTo>
                  <a:cubicBezTo>
                    <a:pt x="555" y="1374"/>
                    <a:pt x="554" y="1374"/>
                    <a:pt x="554" y="1374"/>
                  </a:cubicBezTo>
                  <a:cubicBezTo>
                    <a:pt x="554" y="1374"/>
                    <a:pt x="554" y="1373"/>
                    <a:pt x="554" y="1373"/>
                  </a:cubicBezTo>
                  <a:cubicBezTo>
                    <a:pt x="554" y="1373"/>
                    <a:pt x="554" y="1373"/>
                    <a:pt x="554" y="1372"/>
                  </a:cubicBezTo>
                  <a:cubicBezTo>
                    <a:pt x="554" y="1372"/>
                    <a:pt x="554" y="1372"/>
                    <a:pt x="554" y="1372"/>
                  </a:cubicBezTo>
                  <a:cubicBezTo>
                    <a:pt x="554" y="1372"/>
                    <a:pt x="554" y="1372"/>
                    <a:pt x="555" y="1372"/>
                  </a:cubicBezTo>
                  <a:cubicBezTo>
                    <a:pt x="556" y="1372"/>
                    <a:pt x="556" y="1372"/>
                    <a:pt x="557" y="1373"/>
                  </a:cubicBezTo>
                  <a:cubicBezTo>
                    <a:pt x="557" y="1373"/>
                    <a:pt x="557" y="1373"/>
                    <a:pt x="557" y="1373"/>
                  </a:cubicBezTo>
                  <a:cubicBezTo>
                    <a:pt x="558" y="1374"/>
                    <a:pt x="559" y="1375"/>
                    <a:pt x="560" y="1374"/>
                  </a:cubicBezTo>
                  <a:cubicBezTo>
                    <a:pt x="561" y="1374"/>
                    <a:pt x="561" y="1373"/>
                    <a:pt x="561" y="1373"/>
                  </a:cubicBezTo>
                  <a:cubicBezTo>
                    <a:pt x="561" y="1372"/>
                    <a:pt x="561" y="1371"/>
                    <a:pt x="561" y="1370"/>
                  </a:cubicBezTo>
                  <a:cubicBezTo>
                    <a:pt x="560" y="1369"/>
                    <a:pt x="560" y="1369"/>
                    <a:pt x="560" y="1368"/>
                  </a:cubicBezTo>
                  <a:cubicBezTo>
                    <a:pt x="560" y="1368"/>
                    <a:pt x="560" y="1368"/>
                    <a:pt x="560" y="1368"/>
                  </a:cubicBezTo>
                  <a:cubicBezTo>
                    <a:pt x="560" y="1367"/>
                    <a:pt x="561" y="1366"/>
                    <a:pt x="560" y="1365"/>
                  </a:cubicBezTo>
                  <a:cubicBezTo>
                    <a:pt x="559" y="1364"/>
                    <a:pt x="558" y="1364"/>
                    <a:pt x="557" y="1364"/>
                  </a:cubicBezTo>
                  <a:cubicBezTo>
                    <a:pt x="556" y="1364"/>
                    <a:pt x="556" y="1364"/>
                    <a:pt x="556" y="1364"/>
                  </a:cubicBezTo>
                  <a:cubicBezTo>
                    <a:pt x="556" y="1364"/>
                    <a:pt x="556" y="1364"/>
                    <a:pt x="555" y="1364"/>
                  </a:cubicBezTo>
                  <a:cubicBezTo>
                    <a:pt x="555" y="1364"/>
                    <a:pt x="555" y="1364"/>
                    <a:pt x="555" y="1364"/>
                  </a:cubicBezTo>
                  <a:cubicBezTo>
                    <a:pt x="554" y="1364"/>
                    <a:pt x="553" y="1365"/>
                    <a:pt x="553" y="1365"/>
                  </a:cubicBezTo>
                  <a:cubicBezTo>
                    <a:pt x="553" y="1365"/>
                    <a:pt x="553" y="1365"/>
                    <a:pt x="553" y="1365"/>
                  </a:cubicBezTo>
                  <a:cubicBezTo>
                    <a:pt x="553" y="1365"/>
                    <a:pt x="552" y="1365"/>
                    <a:pt x="552" y="1365"/>
                  </a:cubicBezTo>
                  <a:cubicBezTo>
                    <a:pt x="551" y="1365"/>
                    <a:pt x="551" y="1365"/>
                    <a:pt x="551" y="1365"/>
                  </a:cubicBezTo>
                  <a:cubicBezTo>
                    <a:pt x="551" y="1365"/>
                    <a:pt x="550" y="1365"/>
                    <a:pt x="550" y="1365"/>
                  </a:cubicBezTo>
                  <a:cubicBezTo>
                    <a:pt x="550" y="1365"/>
                    <a:pt x="549" y="1365"/>
                    <a:pt x="549" y="1365"/>
                  </a:cubicBezTo>
                  <a:cubicBezTo>
                    <a:pt x="549" y="1365"/>
                    <a:pt x="548" y="1365"/>
                    <a:pt x="548" y="1365"/>
                  </a:cubicBezTo>
                  <a:cubicBezTo>
                    <a:pt x="548" y="1365"/>
                    <a:pt x="548" y="1364"/>
                    <a:pt x="548" y="1364"/>
                  </a:cubicBezTo>
                  <a:cubicBezTo>
                    <a:pt x="548" y="1363"/>
                    <a:pt x="548" y="1363"/>
                    <a:pt x="548" y="1363"/>
                  </a:cubicBezTo>
                  <a:cubicBezTo>
                    <a:pt x="547" y="1363"/>
                    <a:pt x="547" y="1362"/>
                    <a:pt x="546" y="1361"/>
                  </a:cubicBezTo>
                  <a:cubicBezTo>
                    <a:pt x="546" y="1361"/>
                    <a:pt x="546" y="1361"/>
                    <a:pt x="546" y="1361"/>
                  </a:cubicBezTo>
                  <a:cubicBezTo>
                    <a:pt x="546" y="1360"/>
                    <a:pt x="546" y="1360"/>
                    <a:pt x="546" y="1360"/>
                  </a:cubicBezTo>
                  <a:cubicBezTo>
                    <a:pt x="545" y="1359"/>
                    <a:pt x="545" y="1359"/>
                    <a:pt x="544" y="1358"/>
                  </a:cubicBezTo>
                  <a:cubicBezTo>
                    <a:pt x="544" y="1358"/>
                    <a:pt x="544" y="1357"/>
                    <a:pt x="544" y="1357"/>
                  </a:cubicBezTo>
                  <a:cubicBezTo>
                    <a:pt x="544" y="1357"/>
                    <a:pt x="543" y="1357"/>
                    <a:pt x="543" y="1357"/>
                  </a:cubicBezTo>
                  <a:cubicBezTo>
                    <a:pt x="543" y="1356"/>
                    <a:pt x="543" y="1356"/>
                    <a:pt x="543" y="1356"/>
                  </a:cubicBezTo>
                  <a:cubicBezTo>
                    <a:pt x="543" y="1356"/>
                    <a:pt x="543" y="1355"/>
                    <a:pt x="542" y="1355"/>
                  </a:cubicBezTo>
                  <a:cubicBezTo>
                    <a:pt x="543" y="1355"/>
                    <a:pt x="544" y="1355"/>
                    <a:pt x="545" y="1355"/>
                  </a:cubicBezTo>
                  <a:cubicBezTo>
                    <a:pt x="545" y="1354"/>
                    <a:pt x="545" y="1354"/>
                    <a:pt x="546" y="1354"/>
                  </a:cubicBezTo>
                  <a:cubicBezTo>
                    <a:pt x="547" y="1355"/>
                    <a:pt x="547" y="1355"/>
                    <a:pt x="547" y="1355"/>
                  </a:cubicBezTo>
                  <a:cubicBezTo>
                    <a:pt x="547" y="1354"/>
                    <a:pt x="547" y="1354"/>
                    <a:pt x="547" y="1354"/>
                  </a:cubicBezTo>
                  <a:cubicBezTo>
                    <a:pt x="547" y="1354"/>
                    <a:pt x="548" y="1355"/>
                    <a:pt x="548" y="1355"/>
                  </a:cubicBezTo>
                  <a:cubicBezTo>
                    <a:pt x="548" y="1355"/>
                    <a:pt x="549" y="1355"/>
                    <a:pt x="549" y="1355"/>
                  </a:cubicBezTo>
                  <a:cubicBezTo>
                    <a:pt x="550" y="1355"/>
                    <a:pt x="550" y="1355"/>
                    <a:pt x="550" y="1355"/>
                  </a:cubicBezTo>
                  <a:cubicBezTo>
                    <a:pt x="550" y="1356"/>
                    <a:pt x="551" y="1356"/>
                    <a:pt x="552" y="1356"/>
                  </a:cubicBezTo>
                  <a:cubicBezTo>
                    <a:pt x="553" y="1356"/>
                    <a:pt x="553" y="1355"/>
                    <a:pt x="554" y="1355"/>
                  </a:cubicBezTo>
                  <a:cubicBezTo>
                    <a:pt x="554" y="1355"/>
                    <a:pt x="554" y="1355"/>
                    <a:pt x="554" y="1355"/>
                  </a:cubicBezTo>
                  <a:cubicBezTo>
                    <a:pt x="554" y="1355"/>
                    <a:pt x="555" y="1355"/>
                    <a:pt x="555" y="1355"/>
                  </a:cubicBezTo>
                  <a:cubicBezTo>
                    <a:pt x="558" y="1355"/>
                    <a:pt x="559" y="1353"/>
                    <a:pt x="559" y="1353"/>
                  </a:cubicBezTo>
                  <a:cubicBezTo>
                    <a:pt x="559" y="1353"/>
                    <a:pt x="559" y="1353"/>
                    <a:pt x="559" y="1353"/>
                  </a:cubicBezTo>
                  <a:cubicBezTo>
                    <a:pt x="560" y="1353"/>
                    <a:pt x="562" y="1352"/>
                    <a:pt x="562" y="1350"/>
                  </a:cubicBezTo>
                  <a:cubicBezTo>
                    <a:pt x="562" y="1350"/>
                    <a:pt x="561" y="1349"/>
                    <a:pt x="560" y="1347"/>
                  </a:cubicBezTo>
                  <a:cubicBezTo>
                    <a:pt x="560" y="1347"/>
                    <a:pt x="560" y="1347"/>
                    <a:pt x="560" y="1347"/>
                  </a:cubicBezTo>
                  <a:cubicBezTo>
                    <a:pt x="560" y="1346"/>
                    <a:pt x="559" y="1346"/>
                    <a:pt x="559" y="1346"/>
                  </a:cubicBezTo>
                  <a:cubicBezTo>
                    <a:pt x="559" y="1345"/>
                    <a:pt x="559" y="1345"/>
                    <a:pt x="558" y="1345"/>
                  </a:cubicBezTo>
                  <a:cubicBezTo>
                    <a:pt x="558" y="1345"/>
                    <a:pt x="558" y="1345"/>
                    <a:pt x="558" y="1345"/>
                  </a:cubicBezTo>
                  <a:cubicBezTo>
                    <a:pt x="558" y="1344"/>
                    <a:pt x="557" y="1344"/>
                    <a:pt x="557" y="1344"/>
                  </a:cubicBezTo>
                  <a:cubicBezTo>
                    <a:pt x="557" y="1344"/>
                    <a:pt x="557" y="1344"/>
                    <a:pt x="557" y="1344"/>
                  </a:cubicBezTo>
                  <a:cubicBezTo>
                    <a:pt x="558" y="1344"/>
                    <a:pt x="558" y="1343"/>
                    <a:pt x="558" y="1343"/>
                  </a:cubicBezTo>
                  <a:cubicBezTo>
                    <a:pt x="558" y="1343"/>
                    <a:pt x="558" y="1343"/>
                    <a:pt x="558" y="1343"/>
                  </a:cubicBezTo>
                  <a:cubicBezTo>
                    <a:pt x="558" y="1342"/>
                    <a:pt x="558" y="1340"/>
                    <a:pt x="557" y="1340"/>
                  </a:cubicBezTo>
                  <a:cubicBezTo>
                    <a:pt x="557" y="1339"/>
                    <a:pt x="557" y="1339"/>
                    <a:pt x="557" y="1339"/>
                  </a:cubicBezTo>
                  <a:cubicBezTo>
                    <a:pt x="558" y="1339"/>
                    <a:pt x="558" y="1338"/>
                    <a:pt x="558" y="1337"/>
                  </a:cubicBezTo>
                  <a:cubicBezTo>
                    <a:pt x="557" y="1337"/>
                    <a:pt x="557" y="1337"/>
                    <a:pt x="557" y="1336"/>
                  </a:cubicBezTo>
                  <a:cubicBezTo>
                    <a:pt x="557" y="1336"/>
                    <a:pt x="557" y="1336"/>
                    <a:pt x="557" y="1336"/>
                  </a:cubicBezTo>
                  <a:cubicBezTo>
                    <a:pt x="557" y="1334"/>
                    <a:pt x="557" y="1333"/>
                    <a:pt x="556" y="1332"/>
                  </a:cubicBezTo>
                  <a:cubicBezTo>
                    <a:pt x="555" y="1332"/>
                    <a:pt x="555" y="1332"/>
                    <a:pt x="554" y="1331"/>
                  </a:cubicBezTo>
                  <a:cubicBezTo>
                    <a:pt x="554" y="1331"/>
                    <a:pt x="553" y="1330"/>
                    <a:pt x="553" y="1329"/>
                  </a:cubicBezTo>
                  <a:cubicBezTo>
                    <a:pt x="553" y="1329"/>
                    <a:pt x="553" y="1329"/>
                    <a:pt x="553" y="1329"/>
                  </a:cubicBezTo>
                  <a:cubicBezTo>
                    <a:pt x="554" y="1329"/>
                    <a:pt x="554" y="1329"/>
                    <a:pt x="555" y="1329"/>
                  </a:cubicBezTo>
                  <a:cubicBezTo>
                    <a:pt x="555" y="1329"/>
                    <a:pt x="555" y="1330"/>
                    <a:pt x="556" y="1330"/>
                  </a:cubicBezTo>
                  <a:cubicBezTo>
                    <a:pt x="557" y="1330"/>
                    <a:pt x="557" y="1330"/>
                    <a:pt x="558" y="1329"/>
                  </a:cubicBezTo>
                  <a:cubicBezTo>
                    <a:pt x="558" y="1329"/>
                    <a:pt x="558" y="1329"/>
                    <a:pt x="558" y="1329"/>
                  </a:cubicBezTo>
                  <a:cubicBezTo>
                    <a:pt x="558" y="1329"/>
                    <a:pt x="559" y="1329"/>
                    <a:pt x="560" y="1328"/>
                  </a:cubicBezTo>
                  <a:cubicBezTo>
                    <a:pt x="560" y="1328"/>
                    <a:pt x="561" y="1328"/>
                    <a:pt x="561" y="1327"/>
                  </a:cubicBezTo>
                  <a:cubicBezTo>
                    <a:pt x="562" y="1327"/>
                    <a:pt x="562" y="1327"/>
                    <a:pt x="562" y="1327"/>
                  </a:cubicBezTo>
                  <a:cubicBezTo>
                    <a:pt x="562" y="1327"/>
                    <a:pt x="562" y="1327"/>
                    <a:pt x="562" y="1327"/>
                  </a:cubicBezTo>
                  <a:cubicBezTo>
                    <a:pt x="563" y="1327"/>
                    <a:pt x="563" y="1327"/>
                    <a:pt x="563" y="1327"/>
                  </a:cubicBezTo>
                  <a:cubicBezTo>
                    <a:pt x="564" y="1327"/>
                    <a:pt x="564" y="1327"/>
                    <a:pt x="564" y="1327"/>
                  </a:cubicBezTo>
                  <a:cubicBezTo>
                    <a:pt x="565" y="1327"/>
                    <a:pt x="566" y="1327"/>
                    <a:pt x="567" y="1327"/>
                  </a:cubicBezTo>
                  <a:cubicBezTo>
                    <a:pt x="567" y="1327"/>
                    <a:pt x="568" y="1327"/>
                    <a:pt x="569" y="1326"/>
                  </a:cubicBezTo>
                  <a:cubicBezTo>
                    <a:pt x="570" y="1326"/>
                    <a:pt x="570" y="1326"/>
                    <a:pt x="571" y="1325"/>
                  </a:cubicBezTo>
                  <a:cubicBezTo>
                    <a:pt x="571" y="1325"/>
                    <a:pt x="571" y="1325"/>
                    <a:pt x="571" y="1325"/>
                  </a:cubicBezTo>
                  <a:cubicBezTo>
                    <a:pt x="572" y="1325"/>
                    <a:pt x="572" y="1324"/>
                    <a:pt x="572" y="1324"/>
                  </a:cubicBezTo>
                  <a:cubicBezTo>
                    <a:pt x="573" y="1324"/>
                    <a:pt x="573" y="1324"/>
                    <a:pt x="573" y="1324"/>
                  </a:cubicBezTo>
                  <a:cubicBezTo>
                    <a:pt x="573" y="1323"/>
                    <a:pt x="574" y="1323"/>
                    <a:pt x="574" y="1323"/>
                  </a:cubicBezTo>
                  <a:cubicBezTo>
                    <a:pt x="574" y="1323"/>
                    <a:pt x="574" y="1323"/>
                    <a:pt x="574" y="1323"/>
                  </a:cubicBezTo>
                  <a:cubicBezTo>
                    <a:pt x="576" y="1322"/>
                    <a:pt x="577" y="1322"/>
                    <a:pt x="578" y="1321"/>
                  </a:cubicBezTo>
                  <a:cubicBezTo>
                    <a:pt x="579" y="1320"/>
                    <a:pt x="579" y="1320"/>
                    <a:pt x="579" y="1319"/>
                  </a:cubicBezTo>
                  <a:cubicBezTo>
                    <a:pt x="579" y="1319"/>
                    <a:pt x="580" y="1319"/>
                    <a:pt x="580" y="1318"/>
                  </a:cubicBezTo>
                  <a:cubicBezTo>
                    <a:pt x="580" y="1318"/>
                    <a:pt x="581" y="1318"/>
                    <a:pt x="581" y="1318"/>
                  </a:cubicBezTo>
                  <a:cubicBezTo>
                    <a:pt x="581" y="1317"/>
                    <a:pt x="581" y="1316"/>
                    <a:pt x="582" y="1316"/>
                  </a:cubicBezTo>
                  <a:cubicBezTo>
                    <a:pt x="582" y="1315"/>
                    <a:pt x="582" y="1314"/>
                    <a:pt x="582" y="1313"/>
                  </a:cubicBezTo>
                  <a:cubicBezTo>
                    <a:pt x="582" y="1313"/>
                    <a:pt x="582" y="1312"/>
                    <a:pt x="582" y="1312"/>
                  </a:cubicBezTo>
                  <a:cubicBezTo>
                    <a:pt x="582" y="1311"/>
                    <a:pt x="582" y="1311"/>
                    <a:pt x="582" y="1311"/>
                  </a:cubicBezTo>
                  <a:cubicBezTo>
                    <a:pt x="582" y="1311"/>
                    <a:pt x="582" y="1311"/>
                    <a:pt x="582" y="1311"/>
                  </a:cubicBezTo>
                  <a:cubicBezTo>
                    <a:pt x="582" y="1311"/>
                    <a:pt x="582" y="1310"/>
                    <a:pt x="582" y="1309"/>
                  </a:cubicBezTo>
                  <a:cubicBezTo>
                    <a:pt x="582" y="1309"/>
                    <a:pt x="582" y="1309"/>
                    <a:pt x="582" y="1309"/>
                  </a:cubicBezTo>
                  <a:cubicBezTo>
                    <a:pt x="582" y="1308"/>
                    <a:pt x="583" y="1307"/>
                    <a:pt x="583" y="1306"/>
                  </a:cubicBezTo>
                  <a:cubicBezTo>
                    <a:pt x="583" y="1305"/>
                    <a:pt x="584" y="1304"/>
                    <a:pt x="584" y="1303"/>
                  </a:cubicBezTo>
                  <a:cubicBezTo>
                    <a:pt x="584" y="1302"/>
                    <a:pt x="584" y="1300"/>
                    <a:pt x="582" y="1299"/>
                  </a:cubicBezTo>
                  <a:cubicBezTo>
                    <a:pt x="582" y="1298"/>
                    <a:pt x="582" y="1298"/>
                    <a:pt x="581" y="1297"/>
                  </a:cubicBezTo>
                  <a:cubicBezTo>
                    <a:pt x="581" y="1297"/>
                    <a:pt x="581" y="1297"/>
                    <a:pt x="581" y="1297"/>
                  </a:cubicBezTo>
                  <a:cubicBezTo>
                    <a:pt x="581" y="1296"/>
                    <a:pt x="581" y="1294"/>
                    <a:pt x="580" y="1293"/>
                  </a:cubicBezTo>
                  <a:cubicBezTo>
                    <a:pt x="578" y="1293"/>
                    <a:pt x="577" y="1294"/>
                    <a:pt x="577" y="1294"/>
                  </a:cubicBezTo>
                  <a:cubicBezTo>
                    <a:pt x="577" y="1294"/>
                    <a:pt x="577" y="1294"/>
                    <a:pt x="577" y="1294"/>
                  </a:cubicBezTo>
                  <a:cubicBezTo>
                    <a:pt x="577" y="1294"/>
                    <a:pt x="577" y="1294"/>
                    <a:pt x="577" y="1294"/>
                  </a:cubicBezTo>
                  <a:cubicBezTo>
                    <a:pt x="576" y="1294"/>
                    <a:pt x="576" y="1294"/>
                    <a:pt x="576" y="1294"/>
                  </a:cubicBezTo>
                  <a:cubicBezTo>
                    <a:pt x="576" y="1293"/>
                    <a:pt x="575" y="1292"/>
                    <a:pt x="574" y="1291"/>
                  </a:cubicBezTo>
                  <a:cubicBezTo>
                    <a:pt x="574" y="1291"/>
                    <a:pt x="574" y="1291"/>
                    <a:pt x="574" y="1291"/>
                  </a:cubicBezTo>
                  <a:cubicBezTo>
                    <a:pt x="574" y="1290"/>
                    <a:pt x="574" y="1290"/>
                    <a:pt x="573" y="1290"/>
                  </a:cubicBezTo>
                  <a:cubicBezTo>
                    <a:pt x="573" y="1290"/>
                    <a:pt x="573" y="1290"/>
                    <a:pt x="574" y="1289"/>
                  </a:cubicBezTo>
                  <a:cubicBezTo>
                    <a:pt x="574" y="1289"/>
                    <a:pt x="574" y="1289"/>
                    <a:pt x="574" y="1289"/>
                  </a:cubicBezTo>
                  <a:cubicBezTo>
                    <a:pt x="574" y="1288"/>
                    <a:pt x="574" y="1288"/>
                    <a:pt x="574" y="1287"/>
                  </a:cubicBezTo>
                  <a:cubicBezTo>
                    <a:pt x="574" y="1286"/>
                    <a:pt x="574" y="1285"/>
                    <a:pt x="573" y="1285"/>
                  </a:cubicBezTo>
                  <a:cubicBezTo>
                    <a:pt x="572" y="1284"/>
                    <a:pt x="571" y="1283"/>
                    <a:pt x="571" y="1282"/>
                  </a:cubicBezTo>
                  <a:cubicBezTo>
                    <a:pt x="570" y="1281"/>
                    <a:pt x="570" y="1281"/>
                    <a:pt x="570" y="1281"/>
                  </a:cubicBezTo>
                  <a:cubicBezTo>
                    <a:pt x="570" y="1281"/>
                    <a:pt x="570" y="1281"/>
                    <a:pt x="569" y="1280"/>
                  </a:cubicBezTo>
                  <a:cubicBezTo>
                    <a:pt x="569" y="1280"/>
                    <a:pt x="568" y="1280"/>
                    <a:pt x="568" y="1279"/>
                  </a:cubicBezTo>
                  <a:cubicBezTo>
                    <a:pt x="567" y="1279"/>
                    <a:pt x="567" y="1279"/>
                    <a:pt x="567" y="1279"/>
                  </a:cubicBezTo>
                  <a:cubicBezTo>
                    <a:pt x="567" y="1279"/>
                    <a:pt x="566" y="1279"/>
                    <a:pt x="565" y="1278"/>
                  </a:cubicBezTo>
                  <a:cubicBezTo>
                    <a:pt x="565" y="1278"/>
                    <a:pt x="565" y="1278"/>
                    <a:pt x="565" y="1278"/>
                  </a:cubicBezTo>
                  <a:cubicBezTo>
                    <a:pt x="565" y="1278"/>
                    <a:pt x="565" y="1278"/>
                    <a:pt x="565" y="1278"/>
                  </a:cubicBezTo>
                  <a:cubicBezTo>
                    <a:pt x="566" y="1278"/>
                    <a:pt x="566" y="1278"/>
                    <a:pt x="566" y="1278"/>
                  </a:cubicBezTo>
                  <a:cubicBezTo>
                    <a:pt x="567" y="1278"/>
                    <a:pt x="568" y="1278"/>
                    <a:pt x="569" y="1278"/>
                  </a:cubicBezTo>
                  <a:cubicBezTo>
                    <a:pt x="570" y="1279"/>
                    <a:pt x="570" y="1279"/>
                    <a:pt x="571" y="1279"/>
                  </a:cubicBezTo>
                  <a:cubicBezTo>
                    <a:pt x="571" y="1280"/>
                    <a:pt x="571" y="1280"/>
                    <a:pt x="572" y="1280"/>
                  </a:cubicBezTo>
                  <a:cubicBezTo>
                    <a:pt x="572" y="1281"/>
                    <a:pt x="573" y="1281"/>
                    <a:pt x="574" y="1282"/>
                  </a:cubicBezTo>
                  <a:cubicBezTo>
                    <a:pt x="575" y="1282"/>
                    <a:pt x="576" y="1282"/>
                    <a:pt x="577" y="1282"/>
                  </a:cubicBezTo>
                  <a:cubicBezTo>
                    <a:pt x="577" y="1282"/>
                    <a:pt x="578" y="1282"/>
                    <a:pt x="579" y="1282"/>
                  </a:cubicBezTo>
                  <a:cubicBezTo>
                    <a:pt x="579" y="1282"/>
                    <a:pt x="579" y="1282"/>
                    <a:pt x="580" y="1281"/>
                  </a:cubicBezTo>
                  <a:cubicBezTo>
                    <a:pt x="580" y="1281"/>
                    <a:pt x="580" y="1281"/>
                    <a:pt x="580" y="1281"/>
                  </a:cubicBezTo>
                  <a:cubicBezTo>
                    <a:pt x="581" y="1281"/>
                    <a:pt x="581" y="1281"/>
                    <a:pt x="582" y="1281"/>
                  </a:cubicBezTo>
                  <a:cubicBezTo>
                    <a:pt x="582" y="1281"/>
                    <a:pt x="583" y="1281"/>
                    <a:pt x="584" y="1281"/>
                  </a:cubicBezTo>
                  <a:cubicBezTo>
                    <a:pt x="585" y="1281"/>
                    <a:pt x="585" y="1281"/>
                    <a:pt x="586" y="1281"/>
                  </a:cubicBezTo>
                  <a:cubicBezTo>
                    <a:pt x="587" y="1281"/>
                    <a:pt x="588" y="1281"/>
                    <a:pt x="589" y="1281"/>
                  </a:cubicBezTo>
                  <a:cubicBezTo>
                    <a:pt x="590" y="1280"/>
                    <a:pt x="590" y="1280"/>
                    <a:pt x="591" y="1279"/>
                  </a:cubicBezTo>
                  <a:cubicBezTo>
                    <a:pt x="590" y="1278"/>
                    <a:pt x="590" y="1278"/>
                    <a:pt x="590" y="1278"/>
                  </a:cubicBezTo>
                  <a:cubicBezTo>
                    <a:pt x="590" y="1278"/>
                    <a:pt x="590" y="1278"/>
                    <a:pt x="590" y="1278"/>
                  </a:cubicBezTo>
                  <a:cubicBezTo>
                    <a:pt x="591" y="1279"/>
                    <a:pt x="591" y="1279"/>
                    <a:pt x="591" y="1279"/>
                  </a:cubicBezTo>
                  <a:cubicBezTo>
                    <a:pt x="591" y="1278"/>
                    <a:pt x="592" y="1278"/>
                    <a:pt x="593" y="1277"/>
                  </a:cubicBezTo>
                  <a:cubicBezTo>
                    <a:pt x="593" y="1277"/>
                    <a:pt x="594" y="1276"/>
                    <a:pt x="594" y="1275"/>
                  </a:cubicBezTo>
                  <a:cubicBezTo>
                    <a:pt x="595" y="1274"/>
                    <a:pt x="595" y="1273"/>
                    <a:pt x="595" y="1273"/>
                  </a:cubicBezTo>
                  <a:cubicBezTo>
                    <a:pt x="595" y="1272"/>
                    <a:pt x="595" y="1272"/>
                    <a:pt x="595" y="1272"/>
                  </a:cubicBezTo>
                  <a:cubicBezTo>
                    <a:pt x="595" y="1272"/>
                    <a:pt x="595" y="1271"/>
                    <a:pt x="595" y="1270"/>
                  </a:cubicBezTo>
                  <a:cubicBezTo>
                    <a:pt x="595" y="1270"/>
                    <a:pt x="595" y="1270"/>
                    <a:pt x="595" y="1270"/>
                  </a:cubicBezTo>
                  <a:cubicBezTo>
                    <a:pt x="595" y="1269"/>
                    <a:pt x="595" y="1269"/>
                    <a:pt x="596" y="1269"/>
                  </a:cubicBezTo>
                  <a:cubicBezTo>
                    <a:pt x="596" y="1268"/>
                    <a:pt x="596" y="1268"/>
                    <a:pt x="596" y="1267"/>
                  </a:cubicBezTo>
                  <a:cubicBezTo>
                    <a:pt x="596" y="1267"/>
                    <a:pt x="596" y="1266"/>
                    <a:pt x="596" y="1266"/>
                  </a:cubicBezTo>
                  <a:cubicBezTo>
                    <a:pt x="596" y="1266"/>
                    <a:pt x="597" y="1265"/>
                    <a:pt x="597" y="1265"/>
                  </a:cubicBezTo>
                  <a:cubicBezTo>
                    <a:pt x="597" y="1265"/>
                    <a:pt x="597" y="1265"/>
                    <a:pt x="597" y="1264"/>
                  </a:cubicBezTo>
                  <a:cubicBezTo>
                    <a:pt x="598" y="1264"/>
                    <a:pt x="598" y="1264"/>
                    <a:pt x="598" y="1263"/>
                  </a:cubicBezTo>
                  <a:cubicBezTo>
                    <a:pt x="599" y="1262"/>
                    <a:pt x="599" y="1262"/>
                    <a:pt x="599" y="1261"/>
                  </a:cubicBezTo>
                  <a:cubicBezTo>
                    <a:pt x="600" y="1259"/>
                    <a:pt x="600" y="1258"/>
                    <a:pt x="600" y="1256"/>
                  </a:cubicBezTo>
                  <a:cubicBezTo>
                    <a:pt x="600" y="1255"/>
                    <a:pt x="599" y="1254"/>
                    <a:pt x="599" y="1253"/>
                  </a:cubicBezTo>
                  <a:cubicBezTo>
                    <a:pt x="600" y="1252"/>
                    <a:pt x="600" y="1252"/>
                    <a:pt x="600" y="1252"/>
                  </a:cubicBezTo>
                  <a:cubicBezTo>
                    <a:pt x="600" y="1252"/>
                    <a:pt x="600" y="1251"/>
                    <a:pt x="600" y="1251"/>
                  </a:cubicBezTo>
                  <a:cubicBezTo>
                    <a:pt x="599" y="1250"/>
                    <a:pt x="599" y="1250"/>
                    <a:pt x="599" y="1249"/>
                  </a:cubicBezTo>
                  <a:cubicBezTo>
                    <a:pt x="599" y="1249"/>
                    <a:pt x="599" y="1248"/>
                    <a:pt x="599" y="1248"/>
                  </a:cubicBezTo>
                  <a:cubicBezTo>
                    <a:pt x="600" y="1247"/>
                    <a:pt x="600" y="1247"/>
                    <a:pt x="600" y="1246"/>
                  </a:cubicBezTo>
                  <a:cubicBezTo>
                    <a:pt x="600" y="1246"/>
                    <a:pt x="600" y="1246"/>
                    <a:pt x="600" y="1246"/>
                  </a:cubicBezTo>
                  <a:cubicBezTo>
                    <a:pt x="601" y="1246"/>
                    <a:pt x="601" y="1246"/>
                    <a:pt x="601" y="1245"/>
                  </a:cubicBezTo>
                  <a:cubicBezTo>
                    <a:pt x="601" y="1245"/>
                    <a:pt x="601" y="1245"/>
                    <a:pt x="601" y="1245"/>
                  </a:cubicBezTo>
                  <a:cubicBezTo>
                    <a:pt x="602" y="1244"/>
                    <a:pt x="602" y="1244"/>
                    <a:pt x="603" y="1243"/>
                  </a:cubicBezTo>
                  <a:cubicBezTo>
                    <a:pt x="603" y="1243"/>
                    <a:pt x="603" y="1242"/>
                    <a:pt x="603" y="1242"/>
                  </a:cubicBezTo>
                  <a:cubicBezTo>
                    <a:pt x="603" y="1242"/>
                    <a:pt x="603" y="1242"/>
                    <a:pt x="603" y="1241"/>
                  </a:cubicBezTo>
                  <a:cubicBezTo>
                    <a:pt x="604" y="1240"/>
                    <a:pt x="604" y="1240"/>
                    <a:pt x="605" y="1239"/>
                  </a:cubicBezTo>
                  <a:cubicBezTo>
                    <a:pt x="605" y="1238"/>
                    <a:pt x="605" y="1238"/>
                    <a:pt x="605" y="1237"/>
                  </a:cubicBezTo>
                  <a:cubicBezTo>
                    <a:pt x="605" y="1236"/>
                    <a:pt x="605" y="1235"/>
                    <a:pt x="606" y="1235"/>
                  </a:cubicBezTo>
                  <a:cubicBezTo>
                    <a:pt x="604" y="1234"/>
                    <a:pt x="604" y="1234"/>
                    <a:pt x="604" y="1234"/>
                  </a:cubicBezTo>
                  <a:cubicBezTo>
                    <a:pt x="606" y="1234"/>
                    <a:pt x="606" y="1234"/>
                    <a:pt x="606" y="1234"/>
                  </a:cubicBezTo>
                  <a:cubicBezTo>
                    <a:pt x="606" y="1234"/>
                    <a:pt x="606" y="1234"/>
                    <a:pt x="606" y="1234"/>
                  </a:cubicBezTo>
                  <a:cubicBezTo>
                    <a:pt x="606" y="1234"/>
                    <a:pt x="606" y="1233"/>
                    <a:pt x="606" y="1233"/>
                  </a:cubicBezTo>
                  <a:cubicBezTo>
                    <a:pt x="606" y="1233"/>
                    <a:pt x="606" y="1233"/>
                    <a:pt x="606" y="1233"/>
                  </a:cubicBezTo>
                  <a:cubicBezTo>
                    <a:pt x="606" y="1232"/>
                    <a:pt x="607" y="1231"/>
                    <a:pt x="607" y="1230"/>
                  </a:cubicBezTo>
                  <a:cubicBezTo>
                    <a:pt x="607" y="1229"/>
                    <a:pt x="607" y="1229"/>
                    <a:pt x="607" y="1228"/>
                  </a:cubicBezTo>
                  <a:cubicBezTo>
                    <a:pt x="607" y="1227"/>
                    <a:pt x="607" y="1227"/>
                    <a:pt x="607" y="1227"/>
                  </a:cubicBezTo>
                  <a:cubicBezTo>
                    <a:pt x="607" y="1227"/>
                    <a:pt x="607" y="1226"/>
                    <a:pt x="607" y="1226"/>
                  </a:cubicBezTo>
                  <a:cubicBezTo>
                    <a:pt x="607" y="1225"/>
                    <a:pt x="607" y="1225"/>
                    <a:pt x="607" y="1224"/>
                  </a:cubicBezTo>
                  <a:cubicBezTo>
                    <a:pt x="607" y="1224"/>
                    <a:pt x="607" y="1224"/>
                    <a:pt x="607" y="1223"/>
                  </a:cubicBezTo>
                  <a:cubicBezTo>
                    <a:pt x="607" y="1223"/>
                    <a:pt x="607" y="1223"/>
                    <a:pt x="608" y="1222"/>
                  </a:cubicBezTo>
                  <a:cubicBezTo>
                    <a:pt x="608" y="1220"/>
                    <a:pt x="608" y="1220"/>
                    <a:pt x="608" y="1220"/>
                  </a:cubicBezTo>
                  <a:cubicBezTo>
                    <a:pt x="608" y="1219"/>
                    <a:pt x="608" y="1219"/>
                    <a:pt x="609" y="1217"/>
                  </a:cubicBezTo>
                  <a:cubicBezTo>
                    <a:pt x="609" y="1217"/>
                    <a:pt x="609" y="1217"/>
                    <a:pt x="609" y="1217"/>
                  </a:cubicBezTo>
                  <a:cubicBezTo>
                    <a:pt x="609" y="1216"/>
                    <a:pt x="609" y="1215"/>
                    <a:pt x="609" y="1214"/>
                  </a:cubicBezTo>
                  <a:cubicBezTo>
                    <a:pt x="609" y="1214"/>
                    <a:pt x="610" y="1214"/>
                    <a:pt x="610" y="1214"/>
                  </a:cubicBezTo>
                  <a:cubicBezTo>
                    <a:pt x="610" y="1213"/>
                    <a:pt x="610" y="1213"/>
                    <a:pt x="610" y="1213"/>
                  </a:cubicBezTo>
                  <a:cubicBezTo>
                    <a:pt x="610" y="1213"/>
                    <a:pt x="610" y="1213"/>
                    <a:pt x="610" y="1212"/>
                  </a:cubicBezTo>
                  <a:cubicBezTo>
                    <a:pt x="610" y="1212"/>
                    <a:pt x="610" y="1212"/>
                    <a:pt x="610" y="1211"/>
                  </a:cubicBezTo>
                  <a:cubicBezTo>
                    <a:pt x="611" y="1211"/>
                    <a:pt x="611" y="1211"/>
                    <a:pt x="611" y="1211"/>
                  </a:cubicBezTo>
                  <a:cubicBezTo>
                    <a:pt x="611" y="1211"/>
                    <a:pt x="611" y="1210"/>
                    <a:pt x="611" y="1210"/>
                  </a:cubicBezTo>
                  <a:cubicBezTo>
                    <a:pt x="611" y="1210"/>
                    <a:pt x="611" y="1210"/>
                    <a:pt x="612" y="1210"/>
                  </a:cubicBezTo>
                  <a:cubicBezTo>
                    <a:pt x="612" y="1210"/>
                    <a:pt x="612" y="1209"/>
                    <a:pt x="612" y="1209"/>
                  </a:cubicBezTo>
                  <a:cubicBezTo>
                    <a:pt x="612" y="1209"/>
                    <a:pt x="613" y="1208"/>
                    <a:pt x="613" y="1207"/>
                  </a:cubicBezTo>
                  <a:cubicBezTo>
                    <a:pt x="613" y="1206"/>
                    <a:pt x="613" y="1206"/>
                    <a:pt x="613" y="1205"/>
                  </a:cubicBezTo>
                  <a:cubicBezTo>
                    <a:pt x="613" y="1205"/>
                    <a:pt x="613" y="1205"/>
                    <a:pt x="613" y="1204"/>
                  </a:cubicBezTo>
                  <a:cubicBezTo>
                    <a:pt x="613" y="1204"/>
                    <a:pt x="613" y="1203"/>
                    <a:pt x="613" y="1202"/>
                  </a:cubicBezTo>
                  <a:cubicBezTo>
                    <a:pt x="613" y="1201"/>
                    <a:pt x="612" y="1200"/>
                    <a:pt x="612" y="1200"/>
                  </a:cubicBezTo>
                  <a:cubicBezTo>
                    <a:pt x="611" y="1199"/>
                    <a:pt x="611" y="1199"/>
                    <a:pt x="611" y="1199"/>
                  </a:cubicBezTo>
                  <a:cubicBezTo>
                    <a:pt x="611" y="1199"/>
                    <a:pt x="611" y="1199"/>
                    <a:pt x="611" y="1199"/>
                  </a:cubicBezTo>
                  <a:cubicBezTo>
                    <a:pt x="611" y="1199"/>
                    <a:pt x="611" y="1199"/>
                    <a:pt x="611" y="1198"/>
                  </a:cubicBezTo>
                  <a:cubicBezTo>
                    <a:pt x="611" y="1198"/>
                    <a:pt x="610" y="1197"/>
                    <a:pt x="610" y="1197"/>
                  </a:cubicBezTo>
                  <a:cubicBezTo>
                    <a:pt x="610" y="1196"/>
                    <a:pt x="610" y="1196"/>
                    <a:pt x="610" y="1196"/>
                  </a:cubicBezTo>
                  <a:cubicBezTo>
                    <a:pt x="610" y="1195"/>
                    <a:pt x="610" y="1195"/>
                    <a:pt x="610" y="1195"/>
                  </a:cubicBezTo>
                  <a:cubicBezTo>
                    <a:pt x="611" y="1194"/>
                    <a:pt x="611" y="1193"/>
                    <a:pt x="610" y="1191"/>
                  </a:cubicBezTo>
                  <a:cubicBezTo>
                    <a:pt x="609" y="1191"/>
                    <a:pt x="609" y="1191"/>
                    <a:pt x="609" y="1191"/>
                  </a:cubicBezTo>
                  <a:cubicBezTo>
                    <a:pt x="609" y="1191"/>
                    <a:pt x="609" y="1191"/>
                    <a:pt x="609" y="1191"/>
                  </a:cubicBezTo>
                  <a:cubicBezTo>
                    <a:pt x="609" y="1191"/>
                    <a:pt x="609" y="1190"/>
                    <a:pt x="609" y="1190"/>
                  </a:cubicBezTo>
                  <a:cubicBezTo>
                    <a:pt x="609" y="1190"/>
                    <a:pt x="609" y="1190"/>
                    <a:pt x="609" y="1190"/>
                  </a:cubicBezTo>
                  <a:cubicBezTo>
                    <a:pt x="609" y="1189"/>
                    <a:pt x="609" y="1189"/>
                    <a:pt x="609" y="1189"/>
                  </a:cubicBezTo>
                  <a:cubicBezTo>
                    <a:pt x="609" y="1188"/>
                    <a:pt x="610" y="1187"/>
                    <a:pt x="609" y="1186"/>
                  </a:cubicBezTo>
                  <a:cubicBezTo>
                    <a:pt x="609" y="1185"/>
                    <a:pt x="608" y="1185"/>
                    <a:pt x="607" y="1184"/>
                  </a:cubicBezTo>
                  <a:cubicBezTo>
                    <a:pt x="607" y="1184"/>
                    <a:pt x="607" y="1184"/>
                    <a:pt x="607" y="1184"/>
                  </a:cubicBezTo>
                  <a:cubicBezTo>
                    <a:pt x="607" y="1183"/>
                    <a:pt x="607" y="1183"/>
                    <a:pt x="607" y="1183"/>
                  </a:cubicBezTo>
                  <a:cubicBezTo>
                    <a:pt x="607" y="1182"/>
                    <a:pt x="607" y="1181"/>
                    <a:pt x="607" y="1180"/>
                  </a:cubicBezTo>
                  <a:cubicBezTo>
                    <a:pt x="607" y="1180"/>
                    <a:pt x="607" y="1180"/>
                    <a:pt x="607" y="1180"/>
                  </a:cubicBezTo>
                  <a:cubicBezTo>
                    <a:pt x="607" y="1180"/>
                    <a:pt x="607" y="1180"/>
                    <a:pt x="607" y="1179"/>
                  </a:cubicBezTo>
                  <a:cubicBezTo>
                    <a:pt x="606" y="1179"/>
                    <a:pt x="606" y="1179"/>
                    <a:pt x="606" y="1179"/>
                  </a:cubicBezTo>
                  <a:cubicBezTo>
                    <a:pt x="606" y="1179"/>
                    <a:pt x="607" y="1179"/>
                    <a:pt x="607" y="1178"/>
                  </a:cubicBezTo>
                  <a:cubicBezTo>
                    <a:pt x="607" y="1178"/>
                    <a:pt x="607" y="1177"/>
                    <a:pt x="607" y="1176"/>
                  </a:cubicBezTo>
                  <a:cubicBezTo>
                    <a:pt x="607" y="1176"/>
                    <a:pt x="608" y="1175"/>
                    <a:pt x="608" y="1174"/>
                  </a:cubicBezTo>
                  <a:cubicBezTo>
                    <a:pt x="609" y="1174"/>
                    <a:pt x="609" y="1173"/>
                    <a:pt x="609" y="1172"/>
                  </a:cubicBezTo>
                  <a:cubicBezTo>
                    <a:pt x="609" y="1172"/>
                    <a:pt x="609" y="1172"/>
                    <a:pt x="609" y="1172"/>
                  </a:cubicBezTo>
                  <a:cubicBezTo>
                    <a:pt x="609" y="1171"/>
                    <a:pt x="609" y="1171"/>
                    <a:pt x="609" y="1171"/>
                  </a:cubicBezTo>
                  <a:cubicBezTo>
                    <a:pt x="609" y="1170"/>
                    <a:pt x="609" y="1170"/>
                    <a:pt x="609" y="1170"/>
                  </a:cubicBezTo>
                  <a:cubicBezTo>
                    <a:pt x="609" y="1170"/>
                    <a:pt x="609" y="1170"/>
                    <a:pt x="610" y="1169"/>
                  </a:cubicBezTo>
                  <a:cubicBezTo>
                    <a:pt x="610" y="1170"/>
                    <a:pt x="611" y="1169"/>
                    <a:pt x="611" y="1169"/>
                  </a:cubicBezTo>
                  <a:cubicBezTo>
                    <a:pt x="612" y="1168"/>
                    <a:pt x="612" y="1168"/>
                    <a:pt x="612" y="1168"/>
                  </a:cubicBezTo>
                  <a:cubicBezTo>
                    <a:pt x="612" y="1167"/>
                    <a:pt x="612" y="1167"/>
                    <a:pt x="612" y="1167"/>
                  </a:cubicBezTo>
                  <a:cubicBezTo>
                    <a:pt x="613" y="1167"/>
                    <a:pt x="613" y="1166"/>
                    <a:pt x="613" y="1166"/>
                  </a:cubicBezTo>
                  <a:cubicBezTo>
                    <a:pt x="613" y="1166"/>
                    <a:pt x="613" y="1166"/>
                    <a:pt x="613" y="1165"/>
                  </a:cubicBezTo>
                  <a:cubicBezTo>
                    <a:pt x="614" y="1165"/>
                    <a:pt x="614" y="1165"/>
                    <a:pt x="614" y="1165"/>
                  </a:cubicBezTo>
                  <a:cubicBezTo>
                    <a:pt x="614" y="1165"/>
                    <a:pt x="614" y="1164"/>
                    <a:pt x="614" y="1164"/>
                  </a:cubicBezTo>
                  <a:cubicBezTo>
                    <a:pt x="614" y="1164"/>
                    <a:pt x="615" y="1164"/>
                    <a:pt x="615" y="1163"/>
                  </a:cubicBezTo>
                  <a:cubicBezTo>
                    <a:pt x="615" y="1163"/>
                    <a:pt x="615" y="1163"/>
                    <a:pt x="615" y="1163"/>
                  </a:cubicBezTo>
                  <a:cubicBezTo>
                    <a:pt x="616" y="1163"/>
                    <a:pt x="616" y="1162"/>
                    <a:pt x="616" y="1162"/>
                  </a:cubicBezTo>
                  <a:cubicBezTo>
                    <a:pt x="616" y="1162"/>
                    <a:pt x="617" y="1161"/>
                    <a:pt x="617" y="1161"/>
                  </a:cubicBezTo>
                  <a:cubicBezTo>
                    <a:pt x="616" y="1160"/>
                    <a:pt x="616" y="1160"/>
                    <a:pt x="616" y="1160"/>
                  </a:cubicBezTo>
                  <a:cubicBezTo>
                    <a:pt x="616" y="1161"/>
                    <a:pt x="616" y="1161"/>
                    <a:pt x="616" y="1161"/>
                  </a:cubicBezTo>
                  <a:cubicBezTo>
                    <a:pt x="617" y="1162"/>
                    <a:pt x="618" y="1162"/>
                    <a:pt x="619" y="1161"/>
                  </a:cubicBezTo>
                  <a:cubicBezTo>
                    <a:pt x="619" y="1161"/>
                    <a:pt x="619" y="1160"/>
                    <a:pt x="620" y="1160"/>
                  </a:cubicBezTo>
                  <a:cubicBezTo>
                    <a:pt x="620" y="1159"/>
                    <a:pt x="621" y="1159"/>
                    <a:pt x="621" y="1158"/>
                  </a:cubicBezTo>
                  <a:cubicBezTo>
                    <a:pt x="622" y="1158"/>
                    <a:pt x="622" y="1158"/>
                    <a:pt x="623" y="1158"/>
                  </a:cubicBezTo>
                  <a:cubicBezTo>
                    <a:pt x="624" y="1158"/>
                    <a:pt x="625" y="1158"/>
                    <a:pt x="626" y="1156"/>
                  </a:cubicBezTo>
                  <a:cubicBezTo>
                    <a:pt x="626" y="1156"/>
                    <a:pt x="626" y="1156"/>
                    <a:pt x="626" y="1155"/>
                  </a:cubicBezTo>
                  <a:cubicBezTo>
                    <a:pt x="626" y="1155"/>
                    <a:pt x="626" y="1155"/>
                    <a:pt x="626" y="1155"/>
                  </a:cubicBezTo>
                  <a:cubicBezTo>
                    <a:pt x="627" y="1155"/>
                    <a:pt x="627" y="1155"/>
                    <a:pt x="627" y="1154"/>
                  </a:cubicBezTo>
                  <a:cubicBezTo>
                    <a:pt x="628" y="1154"/>
                    <a:pt x="628" y="1154"/>
                    <a:pt x="628" y="1154"/>
                  </a:cubicBezTo>
                  <a:cubicBezTo>
                    <a:pt x="629" y="1153"/>
                    <a:pt x="629" y="1152"/>
                    <a:pt x="629" y="1152"/>
                  </a:cubicBezTo>
                  <a:cubicBezTo>
                    <a:pt x="630" y="1152"/>
                    <a:pt x="630" y="1152"/>
                    <a:pt x="630" y="1152"/>
                  </a:cubicBezTo>
                  <a:cubicBezTo>
                    <a:pt x="630" y="1152"/>
                    <a:pt x="630" y="1151"/>
                    <a:pt x="631" y="1151"/>
                  </a:cubicBezTo>
                  <a:cubicBezTo>
                    <a:pt x="631" y="1150"/>
                    <a:pt x="631" y="1150"/>
                    <a:pt x="631" y="1149"/>
                  </a:cubicBezTo>
                  <a:cubicBezTo>
                    <a:pt x="631" y="1149"/>
                    <a:pt x="631" y="1149"/>
                    <a:pt x="631" y="1149"/>
                  </a:cubicBezTo>
                  <a:cubicBezTo>
                    <a:pt x="631" y="1149"/>
                    <a:pt x="631" y="1149"/>
                    <a:pt x="631" y="1149"/>
                  </a:cubicBezTo>
                  <a:cubicBezTo>
                    <a:pt x="632" y="1149"/>
                    <a:pt x="632" y="1149"/>
                    <a:pt x="632" y="1149"/>
                  </a:cubicBezTo>
                  <a:cubicBezTo>
                    <a:pt x="633" y="1149"/>
                    <a:pt x="633" y="1149"/>
                    <a:pt x="633" y="1149"/>
                  </a:cubicBezTo>
                  <a:cubicBezTo>
                    <a:pt x="632" y="1150"/>
                    <a:pt x="632" y="1150"/>
                    <a:pt x="632" y="1150"/>
                  </a:cubicBezTo>
                  <a:cubicBezTo>
                    <a:pt x="635" y="1150"/>
                    <a:pt x="635" y="1150"/>
                    <a:pt x="635" y="1150"/>
                  </a:cubicBezTo>
                  <a:cubicBezTo>
                    <a:pt x="635" y="1150"/>
                    <a:pt x="636" y="1150"/>
                    <a:pt x="636" y="1150"/>
                  </a:cubicBezTo>
                  <a:cubicBezTo>
                    <a:pt x="638" y="1150"/>
                    <a:pt x="639" y="1149"/>
                    <a:pt x="641" y="1148"/>
                  </a:cubicBezTo>
                  <a:cubicBezTo>
                    <a:pt x="641" y="1147"/>
                    <a:pt x="641" y="1147"/>
                    <a:pt x="641" y="1147"/>
                  </a:cubicBezTo>
                  <a:cubicBezTo>
                    <a:pt x="642" y="1147"/>
                    <a:pt x="643" y="1146"/>
                    <a:pt x="644" y="1146"/>
                  </a:cubicBezTo>
                  <a:cubicBezTo>
                    <a:pt x="644" y="1146"/>
                    <a:pt x="645" y="1146"/>
                    <a:pt x="645" y="1146"/>
                  </a:cubicBezTo>
                  <a:cubicBezTo>
                    <a:pt x="646" y="1146"/>
                    <a:pt x="647" y="1146"/>
                    <a:pt x="649" y="1145"/>
                  </a:cubicBezTo>
                  <a:cubicBezTo>
                    <a:pt x="651" y="1144"/>
                    <a:pt x="652" y="1142"/>
                    <a:pt x="652" y="1140"/>
                  </a:cubicBezTo>
                  <a:cubicBezTo>
                    <a:pt x="652" y="1140"/>
                    <a:pt x="652" y="1139"/>
                    <a:pt x="653" y="1139"/>
                  </a:cubicBezTo>
                  <a:cubicBezTo>
                    <a:pt x="653" y="1139"/>
                    <a:pt x="653" y="1138"/>
                    <a:pt x="654" y="1138"/>
                  </a:cubicBezTo>
                  <a:cubicBezTo>
                    <a:pt x="654" y="1138"/>
                    <a:pt x="654" y="1138"/>
                    <a:pt x="654" y="1138"/>
                  </a:cubicBezTo>
                  <a:cubicBezTo>
                    <a:pt x="655" y="1137"/>
                    <a:pt x="656" y="1136"/>
                    <a:pt x="656" y="1135"/>
                  </a:cubicBezTo>
                  <a:cubicBezTo>
                    <a:pt x="656" y="1135"/>
                    <a:pt x="656" y="1134"/>
                    <a:pt x="656" y="1134"/>
                  </a:cubicBezTo>
                  <a:cubicBezTo>
                    <a:pt x="656" y="1134"/>
                    <a:pt x="656" y="1133"/>
                    <a:pt x="656" y="1133"/>
                  </a:cubicBezTo>
                  <a:cubicBezTo>
                    <a:pt x="656" y="1133"/>
                    <a:pt x="656" y="1133"/>
                    <a:pt x="656" y="1132"/>
                  </a:cubicBezTo>
                  <a:cubicBezTo>
                    <a:pt x="656" y="1132"/>
                    <a:pt x="656" y="1132"/>
                    <a:pt x="656" y="1131"/>
                  </a:cubicBezTo>
                  <a:cubicBezTo>
                    <a:pt x="656" y="1131"/>
                    <a:pt x="656" y="1130"/>
                    <a:pt x="655" y="1130"/>
                  </a:cubicBezTo>
                  <a:cubicBezTo>
                    <a:pt x="655" y="1129"/>
                    <a:pt x="655" y="1129"/>
                    <a:pt x="654" y="1129"/>
                  </a:cubicBezTo>
                  <a:cubicBezTo>
                    <a:pt x="654" y="1129"/>
                    <a:pt x="654" y="1129"/>
                    <a:pt x="654" y="1129"/>
                  </a:cubicBezTo>
                  <a:cubicBezTo>
                    <a:pt x="654" y="1129"/>
                    <a:pt x="654" y="1129"/>
                    <a:pt x="654" y="1128"/>
                  </a:cubicBezTo>
                  <a:cubicBezTo>
                    <a:pt x="655" y="1128"/>
                    <a:pt x="655" y="1128"/>
                    <a:pt x="655" y="1128"/>
                  </a:cubicBezTo>
                  <a:cubicBezTo>
                    <a:pt x="656" y="1127"/>
                    <a:pt x="656" y="1126"/>
                    <a:pt x="656" y="1125"/>
                  </a:cubicBezTo>
                  <a:cubicBezTo>
                    <a:pt x="656" y="1125"/>
                    <a:pt x="656" y="1124"/>
                    <a:pt x="656" y="1124"/>
                  </a:cubicBezTo>
                  <a:cubicBezTo>
                    <a:pt x="656" y="1124"/>
                    <a:pt x="656" y="1123"/>
                    <a:pt x="656" y="1123"/>
                  </a:cubicBezTo>
                  <a:cubicBezTo>
                    <a:pt x="656" y="1123"/>
                    <a:pt x="656" y="1122"/>
                    <a:pt x="656" y="1122"/>
                  </a:cubicBezTo>
                  <a:cubicBezTo>
                    <a:pt x="657" y="1122"/>
                    <a:pt x="657" y="1122"/>
                    <a:pt x="657" y="1122"/>
                  </a:cubicBezTo>
                  <a:cubicBezTo>
                    <a:pt x="658" y="1121"/>
                    <a:pt x="658" y="1121"/>
                    <a:pt x="658" y="1120"/>
                  </a:cubicBezTo>
                  <a:cubicBezTo>
                    <a:pt x="658" y="1120"/>
                    <a:pt x="658" y="1119"/>
                    <a:pt x="658" y="1119"/>
                  </a:cubicBezTo>
                  <a:cubicBezTo>
                    <a:pt x="658" y="1119"/>
                    <a:pt x="658" y="1118"/>
                    <a:pt x="658" y="1118"/>
                  </a:cubicBezTo>
                  <a:cubicBezTo>
                    <a:pt x="658" y="1118"/>
                    <a:pt x="658" y="1117"/>
                    <a:pt x="658" y="1117"/>
                  </a:cubicBezTo>
                  <a:cubicBezTo>
                    <a:pt x="658" y="1117"/>
                    <a:pt x="659" y="1117"/>
                    <a:pt x="659" y="1116"/>
                  </a:cubicBezTo>
                  <a:cubicBezTo>
                    <a:pt x="659" y="1115"/>
                    <a:pt x="659" y="1114"/>
                    <a:pt x="659" y="1114"/>
                  </a:cubicBezTo>
                  <a:cubicBezTo>
                    <a:pt x="659" y="1113"/>
                    <a:pt x="659" y="1113"/>
                    <a:pt x="659" y="1113"/>
                  </a:cubicBezTo>
                  <a:cubicBezTo>
                    <a:pt x="659" y="1113"/>
                    <a:pt x="659" y="1112"/>
                    <a:pt x="659" y="1112"/>
                  </a:cubicBezTo>
                  <a:cubicBezTo>
                    <a:pt x="659" y="1112"/>
                    <a:pt x="659" y="1111"/>
                    <a:pt x="659" y="1111"/>
                  </a:cubicBezTo>
                  <a:cubicBezTo>
                    <a:pt x="659" y="1110"/>
                    <a:pt x="659" y="1110"/>
                    <a:pt x="660" y="1109"/>
                  </a:cubicBezTo>
                  <a:cubicBezTo>
                    <a:pt x="660" y="1108"/>
                    <a:pt x="660" y="1108"/>
                    <a:pt x="661" y="1107"/>
                  </a:cubicBezTo>
                  <a:cubicBezTo>
                    <a:pt x="661" y="1106"/>
                    <a:pt x="661" y="1104"/>
                    <a:pt x="661" y="1104"/>
                  </a:cubicBezTo>
                  <a:cubicBezTo>
                    <a:pt x="661" y="1103"/>
                    <a:pt x="661" y="1103"/>
                    <a:pt x="661" y="1102"/>
                  </a:cubicBezTo>
                  <a:cubicBezTo>
                    <a:pt x="661" y="1102"/>
                    <a:pt x="661" y="1102"/>
                    <a:pt x="661" y="1101"/>
                  </a:cubicBezTo>
                  <a:cubicBezTo>
                    <a:pt x="661" y="1101"/>
                    <a:pt x="661" y="1101"/>
                    <a:pt x="661" y="1101"/>
                  </a:cubicBezTo>
                  <a:cubicBezTo>
                    <a:pt x="661" y="1100"/>
                    <a:pt x="660" y="1099"/>
                    <a:pt x="660" y="1099"/>
                  </a:cubicBezTo>
                  <a:cubicBezTo>
                    <a:pt x="660" y="1098"/>
                    <a:pt x="660" y="1098"/>
                    <a:pt x="660" y="1098"/>
                  </a:cubicBezTo>
                  <a:cubicBezTo>
                    <a:pt x="660" y="1097"/>
                    <a:pt x="660" y="1096"/>
                    <a:pt x="660" y="1096"/>
                  </a:cubicBezTo>
                  <a:cubicBezTo>
                    <a:pt x="660" y="1095"/>
                    <a:pt x="660" y="1095"/>
                    <a:pt x="660" y="1094"/>
                  </a:cubicBezTo>
                  <a:cubicBezTo>
                    <a:pt x="660" y="1094"/>
                    <a:pt x="660" y="1094"/>
                    <a:pt x="660" y="1094"/>
                  </a:cubicBezTo>
                  <a:cubicBezTo>
                    <a:pt x="660" y="1094"/>
                    <a:pt x="661" y="1093"/>
                    <a:pt x="661" y="1093"/>
                  </a:cubicBezTo>
                  <a:cubicBezTo>
                    <a:pt x="661" y="1092"/>
                    <a:pt x="661" y="1092"/>
                    <a:pt x="661" y="1092"/>
                  </a:cubicBezTo>
                  <a:cubicBezTo>
                    <a:pt x="661" y="1092"/>
                    <a:pt x="661" y="1092"/>
                    <a:pt x="661" y="1092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1" y="1091"/>
                    <a:pt x="661" y="1091"/>
                    <a:pt x="661" y="1091"/>
                  </a:cubicBezTo>
                  <a:cubicBezTo>
                    <a:pt x="662" y="1090"/>
                    <a:pt x="662" y="1089"/>
                    <a:pt x="662" y="1088"/>
                  </a:cubicBezTo>
                  <a:cubicBezTo>
                    <a:pt x="662" y="1087"/>
                    <a:pt x="662" y="1086"/>
                    <a:pt x="661" y="1086"/>
                  </a:cubicBezTo>
                  <a:cubicBezTo>
                    <a:pt x="661" y="1085"/>
                    <a:pt x="661" y="1085"/>
                    <a:pt x="661" y="1084"/>
                  </a:cubicBezTo>
                  <a:cubicBezTo>
                    <a:pt x="661" y="1083"/>
                    <a:pt x="661" y="1083"/>
                    <a:pt x="661" y="1083"/>
                  </a:cubicBezTo>
                  <a:cubicBezTo>
                    <a:pt x="661" y="1083"/>
                    <a:pt x="661" y="1083"/>
                    <a:pt x="661" y="1083"/>
                  </a:cubicBezTo>
                  <a:cubicBezTo>
                    <a:pt x="661" y="1082"/>
                    <a:pt x="661" y="1082"/>
                    <a:pt x="661" y="1082"/>
                  </a:cubicBezTo>
                  <a:cubicBezTo>
                    <a:pt x="661" y="1082"/>
                    <a:pt x="661" y="1082"/>
                    <a:pt x="661" y="1082"/>
                  </a:cubicBezTo>
                  <a:cubicBezTo>
                    <a:pt x="661" y="1081"/>
                    <a:pt x="661" y="1081"/>
                    <a:pt x="661" y="1081"/>
                  </a:cubicBezTo>
                  <a:cubicBezTo>
                    <a:pt x="661" y="1080"/>
                    <a:pt x="661" y="1080"/>
                    <a:pt x="661" y="1079"/>
                  </a:cubicBezTo>
                  <a:cubicBezTo>
                    <a:pt x="661" y="1078"/>
                    <a:pt x="661" y="1078"/>
                    <a:pt x="661" y="1077"/>
                  </a:cubicBezTo>
                  <a:cubicBezTo>
                    <a:pt x="661" y="1077"/>
                    <a:pt x="661" y="1077"/>
                    <a:pt x="661" y="1077"/>
                  </a:cubicBezTo>
                  <a:cubicBezTo>
                    <a:pt x="661" y="1076"/>
                    <a:pt x="661" y="1076"/>
                    <a:pt x="661" y="1076"/>
                  </a:cubicBezTo>
                  <a:cubicBezTo>
                    <a:pt x="661" y="1075"/>
                    <a:pt x="661" y="1075"/>
                    <a:pt x="662" y="1075"/>
                  </a:cubicBezTo>
                  <a:cubicBezTo>
                    <a:pt x="662" y="1074"/>
                    <a:pt x="662" y="1074"/>
                    <a:pt x="662" y="1074"/>
                  </a:cubicBezTo>
                  <a:cubicBezTo>
                    <a:pt x="662" y="1073"/>
                    <a:pt x="662" y="1073"/>
                    <a:pt x="662" y="1073"/>
                  </a:cubicBezTo>
                  <a:cubicBezTo>
                    <a:pt x="662" y="1073"/>
                    <a:pt x="662" y="1073"/>
                    <a:pt x="662" y="1073"/>
                  </a:cubicBezTo>
                  <a:cubicBezTo>
                    <a:pt x="662" y="1072"/>
                    <a:pt x="663" y="1072"/>
                    <a:pt x="663" y="1071"/>
                  </a:cubicBezTo>
                  <a:cubicBezTo>
                    <a:pt x="663" y="1070"/>
                    <a:pt x="663" y="1070"/>
                    <a:pt x="662" y="1069"/>
                  </a:cubicBezTo>
                  <a:cubicBezTo>
                    <a:pt x="662" y="1068"/>
                    <a:pt x="662" y="1068"/>
                    <a:pt x="662" y="1068"/>
                  </a:cubicBezTo>
                  <a:cubicBezTo>
                    <a:pt x="662" y="1067"/>
                    <a:pt x="662" y="1067"/>
                    <a:pt x="662" y="1066"/>
                  </a:cubicBezTo>
                  <a:cubicBezTo>
                    <a:pt x="662" y="1066"/>
                    <a:pt x="662" y="1066"/>
                    <a:pt x="662" y="1066"/>
                  </a:cubicBezTo>
                  <a:cubicBezTo>
                    <a:pt x="662" y="1065"/>
                    <a:pt x="662" y="1065"/>
                    <a:pt x="662" y="1065"/>
                  </a:cubicBezTo>
                  <a:cubicBezTo>
                    <a:pt x="662" y="1065"/>
                    <a:pt x="662" y="1065"/>
                    <a:pt x="662" y="1064"/>
                  </a:cubicBezTo>
                  <a:cubicBezTo>
                    <a:pt x="662" y="1064"/>
                    <a:pt x="662" y="1063"/>
                    <a:pt x="662" y="1063"/>
                  </a:cubicBezTo>
                  <a:cubicBezTo>
                    <a:pt x="662" y="1063"/>
                    <a:pt x="662" y="1062"/>
                    <a:pt x="661" y="1062"/>
                  </a:cubicBezTo>
                  <a:cubicBezTo>
                    <a:pt x="661" y="1061"/>
                    <a:pt x="661" y="1061"/>
                    <a:pt x="661" y="1061"/>
                  </a:cubicBezTo>
                  <a:cubicBezTo>
                    <a:pt x="660" y="1061"/>
                    <a:pt x="660" y="1061"/>
                    <a:pt x="660" y="1061"/>
                  </a:cubicBezTo>
                  <a:cubicBezTo>
                    <a:pt x="661" y="1060"/>
                    <a:pt x="661" y="1060"/>
                    <a:pt x="661" y="1060"/>
                  </a:cubicBezTo>
                  <a:cubicBezTo>
                    <a:pt x="661" y="1060"/>
                    <a:pt x="661" y="1060"/>
                    <a:pt x="661" y="1059"/>
                  </a:cubicBezTo>
                  <a:cubicBezTo>
                    <a:pt x="661" y="1059"/>
                    <a:pt x="661" y="1059"/>
                    <a:pt x="661" y="1059"/>
                  </a:cubicBezTo>
                  <a:cubicBezTo>
                    <a:pt x="661" y="1059"/>
                    <a:pt x="661" y="1058"/>
                    <a:pt x="661" y="1058"/>
                  </a:cubicBezTo>
                  <a:cubicBezTo>
                    <a:pt x="660" y="1058"/>
                    <a:pt x="660" y="1058"/>
                    <a:pt x="660" y="1058"/>
                  </a:cubicBezTo>
                  <a:cubicBezTo>
                    <a:pt x="660" y="1057"/>
                    <a:pt x="660" y="1057"/>
                    <a:pt x="660" y="1057"/>
                  </a:cubicBezTo>
                  <a:cubicBezTo>
                    <a:pt x="660" y="1056"/>
                    <a:pt x="660" y="1056"/>
                    <a:pt x="660" y="1056"/>
                  </a:cubicBezTo>
                  <a:cubicBezTo>
                    <a:pt x="660" y="1056"/>
                    <a:pt x="660" y="1055"/>
                    <a:pt x="660" y="1055"/>
                  </a:cubicBezTo>
                  <a:cubicBezTo>
                    <a:pt x="659" y="1055"/>
                    <a:pt x="660" y="1054"/>
                    <a:pt x="660" y="1054"/>
                  </a:cubicBezTo>
                  <a:cubicBezTo>
                    <a:pt x="660" y="1054"/>
                    <a:pt x="660" y="1054"/>
                    <a:pt x="660" y="1053"/>
                  </a:cubicBezTo>
                  <a:cubicBezTo>
                    <a:pt x="660" y="1053"/>
                    <a:pt x="660" y="1053"/>
                    <a:pt x="660" y="1052"/>
                  </a:cubicBezTo>
                  <a:cubicBezTo>
                    <a:pt x="660" y="1052"/>
                    <a:pt x="660" y="1051"/>
                    <a:pt x="660" y="1050"/>
                  </a:cubicBezTo>
                  <a:cubicBezTo>
                    <a:pt x="660" y="1050"/>
                    <a:pt x="660" y="1049"/>
                    <a:pt x="660" y="1049"/>
                  </a:cubicBezTo>
                  <a:cubicBezTo>
                    <a:pt x="660" y="1049"/>
                    <a:pt x="660" y="1048"/>
                    <a:pt x="660" y="1047"/>
                  </a:cubicBezTo>
                  <a:cubicBezTo>
                    <a:pt x="660" y="1047"/>
                    <a:pt x="659" y="1047"/>
                    <a:pt x="659" y="1047"/>
                  </a:cubicBezTo>
                  <a:cubicBezTo>
                    <a:pt x="659" y="1047"/>
                    <a:pt x="659" y="1046"/>
                    <a:pt x="659" y="1046"/>
                  </a:cubicBezTo>
                  <a:cubicBezTo>
                    <a:pt x="659" y="1045"/>
                    <a:pt x="659" y="1045"/>
                    <a:pt x="658" y="1044"/>
                  </a:cubicBezTo>
                  <a:cubicBezTo>
                    <a:pt x="658" y="1044"/>
                    <a:pt x="658" y="1044"/>
                    <a:pt x="658" y="1044"/>
                  </a:cubicBezTo>
                  <a:cubicBezTo>
                    <a:pt x="658" y="1043"/>
                    <a:pt x="659" y="1043"/>
                    <a:pt x="659" y="1042"/>
                  </a:cubicBezTo>
                  <a:cubicBezTo>
                    <a:pt x="659" y="1041"/>
                    <a:pt x="659" y="1041"/>
                    <a:pt x="658" y="1040"/>
                  </a:cubicBezTo>
                  <a:cubicBezTo>
                    <a:pt x="658" y="1040"/>
                    <a:pt x="658" y="1040"/>
                    <a:pt x="658" y="1040"/>
                  </a:cubicBezTo>
                  <a:cubicBezTo>
                    <a:pt x="658" y="1039"/>
                    <a:pt x="659" y="1039"/>
                    <a:pt x="659" y="1039"/>
                  </a:cubicBezTo>
                  <a:cubicBezTo>
                    <a:pt x="659" y="1038"/>
                    <a:pt x="660" y="1038"/>
                    <a:pt x="660" y="1037"/>
                  </a:cubicBezTo>
                  <a:cubicBezTo>
                    <a:pt x="660" y="1037"/>
                    <a:pt x="660" y="1038"/>
                    <a:pt x="660" y="1038"/>
                  </a:cubicBezTo>
                  <a:cubicBezTo>
                    <a:pt x="660" y="1038"/>
                    <a:pt x="660" y="1038"/>
                    <a:pt x="660" y="1038"/>
                  </a:cubicBezTo>
                  <a:cubicBezTo>
                    <a:pt x="660" y="1039"/>
                    <a:pt x="661" y="1040"/>
                    <a:pt x="662" y="1040"/>
                  </a:cubicBezTo>
                  <a:cubicBezTo>
                    <a:pt x="663" y="1040"/>
                    <a:pt x="664" y="1039"/>
                    <a:pt x="664" y="1038"/>
                  </a:cubicBezTo>
                  <a:cubicBezTo>
                    <a:pt x="664" y="1038"/>
                    <a:pt x="664" y="1038"/>
                    <a:pt x="664" y="1038"/>
                  </a:cubicBezTo>
                  <a:cubicBezTo>
                    <a:pt x="664" y="1038"/>
                    <a:pt x="664" y="1037"/>
                    <a:pt x="665" y="1037"/>
                  </a:cubicBezTo>
                  <a:cubicBezTo>
                    <a:pt x="665" y="1037"/>
                    <a:pt x="665" y="1037"/>
                    <a:pt x="665" y="1037"/>
                  </a:cubicBezTo>
                  <a:cubicBezTo>
                    <a:pt x="665" y="1036"/>
                    <a:pt x="666" y="1036"/>
                    <a:pt x="666" y="1035"/>
                  </a:cubicBezTo>
                  <a:cubicBezTo>
                    <a:pt x="667" y="1034"/>
                    <a:pt x="667" y="1033"/>
                    <a:pt x="667" y="1032"/>
                  </a:cubicBezTo>
                  <a:cubicBezTo>
                    <a:pt x="667" y="1032"/>
                    <a:pt x="667" y="1031"/>
                    <a:pt x="667" y="1031"/>
                  </a:cubicBezTo>
                  <a:cubicBezTo>
                    <a:pt x="667" y="1030"/>
                    <a:pt x="667" y="1030"/>
                    <a:pt x="668" y="1030"/>
                  </a:cubicBezTo>
                  <a:cubicBezTo>
                    <a:pt x="668" y="1029"/>
                    <a:pt x="668" y="1028"/>
                    <a:pt x="668" y="1027"/>
                  </a:cubicBezTo>
                  <a:cubicBezTo>
                    <a:pt x="668" y="1026"/>
                    <a:pt x="668" y="1025"/>
                    <a:pt x="668" y="1025"/>
                  </a:cubicBezTo>
                  <a:cubicBezTo>
                    <a:pt x="668" y="1025"/>
                    <a:pt x="669" y="1025"/>
                    <a:pt x="669" y="1024"/>
                  </a:cubicBezTo>
                  <a:cubicBezTo>
                    <a:pt x="669" y="1024"/>
                    <a:pt x="670" y="1023"/>
                    <a:pt x="670" y="1022"/>
                  </a:cubicBezTo>
                  <a:cubicBezTo>
                    <a:pt x="670" y="1022"/>
                    <a:pt x="670" y="1021"/>
                    <a:pt x="670" y="1021"/>
                  </a:cubicBezTo>
                  <a:cubicBezTo>
                    <a:pt x="670" y="1021"/>
                    <a:pt x="670" y="1020"/>
                    <a:pt x="670" y="1020"/>
                  </a:cubicBezTo>
                  <a:cubicBezTo>
                    <a:pt x="670" y="1020"/>
                    <a:pt x="670" y="1020"/>
                    <a:pt x="671" y="1020"/>
                  </a:cubicBezTo>
                  <a:cubicBezTo>
                    <a:pt x="671" y="1020"/>
                    <a:pt x="671" y="1019"/>
                    <a:pt x="671" y="1019"/>
                  </a:cubicBezTo>
                  <a:cubicBezTo>
                    <a:pt x="671" y="1019"/>
                    <a:pt x="671" y="1018"/>
                    <a:pt x="672" y="1017"/>
                  </a:cubicBezTo>
                  <a:cubicBezTo>
                    <a:pt x="672" y="1017"/>
                    <a:pt x="672" y="1017"/>
                    <a:pt x="672" y="1017"/>
                  </a:cubicBezTo>
                  <a:cubicBezTo>
                    <a:pt x="673" y="1016"/>
                    <a:pt x="674" y="1015"/>
                    <a:pt x="674" y="1015"/>
                  </a:cubicBezTo>
                  <a:cubicBezTo>
                    <a:pt x="674" y="1014"/>
                    <a:pt x="674" y="1014"/>
                    <a:pt x="674" y="1014"/>
                  </a:cubicBezTo>
                  <a:cubicBezTo>
                    <a:pt x="675" y="1014"/>
                    <a:pt x="675" y="1014"/>
                    <a:pt x="675" y="1013"/>
                  </a:cubicBezTo>
                  <a:cubicBezTo>
                    <a:pt x="676" y="1013"/>
                    <a:pt x="676" y="1013"/>
                    <a:pt x="677" y="1012"/>
                  </a:cubicBezTo>
                  <a:cubicBezTo>
                    <a:pt x="677" y="1011"/>
                    <a:pt x="678" y="1010"/>
                    <a:pt x="678" y="1009"/>
                  </a:cubicBezTo>
                  <a:cubicBezTo>
                    <a:pt x="678" y="1008"/>
                    <a:pt x="679" y="1007"/>
                    <a:pt x="679" y="1007"/>
                  </a:cubicBezTo>
                  <a:cubicBezTo>
                    <a:pt x="680" y="1006"/>
                    <a:pt x="680" y="1005"/>
                    <a:pt x="680" y="1004"/>
                  </a:cubicBezTo>
                  <a:cubicBezTo>
                    <a:pt x="681" y="1004"/>
                    <a:pt x="681" y="1004"/>
                    <a:pt x="681" y="1004"/>
                  </a:cubicBezTo>
                  <a:cubicBezTo>
                    <a:pt x="681" y="1003"/>
                    <a:pt x="681" y="1003"/>
                    <a:pt x="681" y="1003"/>
                  </a:cubicBezTo>
                  <a:cubicBezTo>
                    <a:pt x="681" y="1002"/>
                    <a:pt x="682" y="1002"/>
                    <a:pt x="682" y="1002"/>
                  </a:cubicBezTo>
                  <a:cubicBezTo>
                    <a:pt x="683" y="1001"/>
                    <a:pt x="683" y="1001"/>
                    <a:pt x="683" y="1000"/>
                  </a:cubicBezTo>
                  <a:cubicBezTo>
                    <a:pt x="683" y="1000"/>
                    <a:pt x="683" y="999"/>
                    <a:pt x="683" y="999"/>
                  </a:cubicBezTo>
                  <a:cubicBezTo>
                    <a:pt x="683" y="998"/>
                    <a:pt x="684" y="998"/>
                    <a:pt x="684" y="997"/>
                  </a:cubicBezTo>
                  <a:cubicBezTo>
                    <a:pt x="684" y="996"/>
                    <a:pt x="684" y="995"/>
                    <a:pt x="685" y="994"/>
                  </a:cubicBezTo>
                  <a:cubicBezTo>
                    <a:pt x="685" y="994"/>
                    <a:pt x="686" y="993"/>
                    <a:pt x="686" y="992"/>
                  </a:cubicBezTo>
                  <a:cubicBezTo>
                    <a:pt x="686" y="991"/>
                    <a:pt x="686" y="990"/>
                    <a:pt x="686" y="990"/>
                  </a:cubicBezTo>
                  <a:cubicBezTo>
                    <a:pt x="686" y="989"/>
                    <a:pt x="686" y="989"/>
                    <a:pt x="686" y="989"/>
                  </a:cubicBezTo>
                  <a:cubicBezTo>
                    <a:pt x="686" y="989"/>
                    <a:pt x="686" y="989"/>
                    <a:pt x="686" y="989"/>
                  </a:cubicBezTo>
                  <a:cubicBezTo>
                    <a:pt x="686" y="988"/>
                    <a:pt x="686" y="987"/>
                    <a:pt x="686" y="986"/>
                  </a:cubicBezTo>
                  <a:cubicBezTo>
                    <a:pt x="686" y="986"/>
                    <a:pt x="686" y="985"/>
                    <a:pt x="686" y="985"/>
                  </a:cubicBezTo>
                  <a:cubicBezTo>
                    <a:pt x="686" y="984"/>
                    <a:pt x="686" y="984"/>
                    <a:pt x="686" y="983"/>
                  </a:cubicBezTo>
                  <a:cubicBezTo>
                    <a:pt x="686" y="983"/>
                    <a:pt x="686" y="983"/>
                    <a:pt x="686" y="982"/>
                  </a:cubicBezTo>
                  <a:cubicBezTo>
                    <a:pt x="686" y="982"/>
                    <a:pt x="686" y="982"/>
                    <a:pt x="687" y="982"/>
                  </a:cubicBezTo>
                  <a:cubicBezTo>
                    <a:pt x="688" y="981"/>
                    <a:pt x="687" y="979"/>
                    <a:pt x="687" y="979"/>
                  </a:cubicBezTo>
                  <a:cubicBezTo>
                    <a:pt x="687" y="978"/>
                    <a:pt x="687" y="978"/>
                    <a:pt x="687" y="978"/>
                  </a:cubicBezTo>
                  <a:cubicBezTo>
                    <a:pt x="687" y="977"/>
                    <a:pt x="687" y="976"/>
                    <a:pt x="686" y="975"/>
                  </a:cubicBezTo>
                  <a:cubicBezTo>
                    <a:pt x="686" y="974"/>
                    <a:pt x="685" y="974"/>
                    <a:pt x="685" y="973"/>
                  </a:cubicBezTo>
                  <a:cubicBezTo>
                    <a:pt x="685" y="973"/>
                    <a:pt x="685" y="973"/>
                    <a:pt x="685" y="972"/>
                  </a:cubicBezTo>
                  <a:cubicBezTo>
                    <a:pt x="684" y="972"/>
                    <a:pt x="684" y="971"/>
                    <a:pt x="684" y="971"/>
                  </a:cubicBezTo>
                  <a:cubicBezTo>
                    <a:pt x="684" y="970"/>
                    <a:pt x="684" y="970"/>
                    <a:pt x="684" y="969"/>
                  </a:cubicBezTo>
                  <a:cubicBezTo>
                    <a:pt x="684" y="969"/>
                    <a:pt x="684" y="968"/>
                    <a:pt x="684" y="968"/>
                  </a:cubicBezTo>
                  <a:cubicBezTo>
                    <a:pt x="684" y="967"/>
                    <a:pt x="684" y="966"/>
                    <a:pt x="684" y="965"/>
                  </a:cubicBezTo>
                  <a:cubicBezTo>
                    <a:pt x="684" y="964"/>
                    <a:pt x="684" y="964"/>
                    <a:pt x="683" y="963"/>
                  </a:cubicBezTo>
                  <a:cubicBezTo>
                    <a:pt x="683" y="962"/>
                    <a:pt x="683" y="961"/>
                    <a:pt x="682" y="959"/>
                  </a:cubicBezTo>
                  <a:cubicBezTo>
                    <a:pt x="682" y="959"/>
                    <a:pt x="682" y="958"/>
                    <a:pt x="681" y="957"/>
                  </a:cubicBezTo>
                  <a:cubicBezTo>
                    <a:pt x="680" y="957"/>
                    <a:pt x="680" y="957"/>
                    <a:pt x="680" y="957"/>
                  </a:cubicBezTo>
                  <a:cubicBezTo>
                    <a:pt x="680" y="956"/>
                    <a:pt x="679" y="955"/>
                    <a:pt x="678" y="955"/>
                  </a:cubicBezTo>
                  <a:cubicBezTo>
                    <a:pt x="677" y="955"/>
                    <a:pt x="677" y="954"/>
                    <a:pt x="676" y="954"/>
                  </a:cubicBezTo>
                  <a:cubicBezTo>
                    <a:pt x="675" y="955"/>
                    <a:pt x="675" y="955"/>
                    <a:pt x="675" y="955"/>
                  </a:cubicBezTo>
                  <a:cubicBezTo>
                    <a:pt x="675" y="954"/>
                    <a:pt x="674" y="954"/>
                    <a:pt x="674" y="954"/>
                  </a:cubicBezTo>
                  <a:cubicBezTo>
                    <a:pt x="674" y="954"/>
                    <a:pt x="674" y="954"/>
                    <a:pt x="674" y="954"/>
                  </a:cubicBezTo>
                  <a:cubicBezTo>
                    <a:pt x="673" y="954"/>
                    <a:pt x="673" y="954"/>
                    <a:pt x="672" y="954"/>
                  </a:cubicBezTo>
                  <a:cubicBezTo>
                    <a:pt x="671" y="954"/>
                    <a:pt x="671" y="955"/>
                    <a:pt x="671" y="955"/>
                  </a:cubicBezTo>
                  <a:cubicBezTo>
                    <a:pt x="670" y="955"/>
                    <a:pt x="670" y="955"/>
                    <a:pt x="670" y="955"/>
                  </a:cubicBezTo>
                  <a:cubicBezTo>
                    <a:pt x="670" y="955"/>
                    <a:pt x="670" y="955"/>
                    <a:pt x="670" y="954"/>
                  </a:cubicBezTo>
                  <a:cubicBezTo>
                    <a:pt x="670" y="954"/>
                    <a:pt x="670" y="954"/>
                    <a:pt x="669" y="954"/>
                  </a:cubicBezTo>
                  <a:cubicBezTo>
                    <a:pt x="669" y="953"/>
                    <a:pt x="668" y="952"/>
                    <a:pt x="667" y="952"/>
                  </a:cubicBezTo>
                  <a:cubicBezTo>
                    <a:pt x="667" y="952"/>
                    <a:pt x="666" y="952"/>
                    <a:pt x="666" y="951"/>
                  </a:cubicBezTo>
                  <a:cubicBezTo>
                    <a:pt x="665" y="951"/>
                    <a:pt x="664" y="951"/>
                    <a:pt x="663" y="950"/>
                  </a:cubicBezTo>
                  <a:cubicBezTo>
                    <a:pt x="662" y="949"/>
                    <a:pt x="662" y="949"/>
                    <a:pt x="662" y="949"/>
                  </a:cubicBezTo>
                  <a:cubicBezTo>
                    <a:pt x="662" y="949"/>
                    <a:pt x="661" y="949"/>
                    <a:pt x="661" y="948"/>
                  </a:cubicBezTo>
                  <a:cubicBezTo>
                    <a:pt x="660" y="948"/>
                    <a:pt x="659" y="947"/>
                    <a:pt x="659" y="947"/>
                  </a:cubicBezTo>
                  <a:cubicBezTo>
                    <a:pt x="659" y="946"/>
                    <a:pt x="659" y="946"/>
                    <a:pt x="659" y="946"/>
                  </a:cubicBezTo>
                  <a:cubicBezTo>
                    <a:pt x="658" y="946"/>
                    <a:pt x="658" y="945"/>
                    <a:pt x="657" y="944"/>
                  </a:cubicBezTo>
                  <a:cubicBezTo>
                    <a:pt x="657" y="944"/>
                    <a:pt x="656" y="944"/>
                    <a:pt x="656" y="943"/>
                  </a:cubicBezTo>
                  <a:cubicBezTo>
                    <a:pt x="655" y="942"/>
                    <a:pt x="655" y="942"/>
                    <a:pt x="655" y="942"/>
                  </a:cubicBezTo>
                  <a:cubicBezTo>
                    <a:pt x="655" y="942"/>
                    <a:pt x="655" y="942"/>
                    <a:pt x="655" y="942"/>
                  </a:cubicBezTo>
                  <a:cubicBezTo>
                    <a:pt x="654" y="942"/>
                    <a:pt x="654" y="942"/>
                    <a:pt x="654" y="942"/>
                  </a:cubicBezTo>
                  <a:cubicBezTo>
                    <a:pt x="654" y="942"/>
                    <a:pt x="654" y="942"/>
                    <a:pt x="654" y="941"/>
                  </a:cubicBezTo>
                  <a:cubicBezTo>
                    <a:pt x="653" y="941"/>
                    <a:pt x="653" y="940"/>
                    <a:pt x="652" y="940"/>
                  </a:cubicBezTo>
                  <a:cubicBezTo>
                    <a:pt x="652" y="940"/>
                    <a:pt x="651" y="939"/>
                    <a:pt x="651" y="939"/>
                  </a:cubicBezTo>
                  <a:cubicBezTo>
                    <a:pt x="650" y="939"/>
                    <a:pt x="650" y="939"/>
                    <a:pt x="650" y="939"/>
                  </a:cubicBezTo>
                  <a:cubicBezTo>
                    <a:pt x="649" y="938"/>
                    <a:pt x="649" y="938"/>
                    <a:pt x="648" y="937"/>
                  </a:cubicBezTo>
                  <a:cubicBezTo>
                    <a:pt x="648" y="937"/>
                    <a:pt x="648" y="937"/>
                    <a:pt x="647" y="936"/>
                  </a:cubicBezTo>
                  <a:cubicBezTo>
                    <a:pt x="647" y="936"/>
                    <a:pt x="647" y="936"/>
                    <a:pt x="646" y="935"/>
                  </a:cubicBezTo>
                  <a:cubicBezTo>
                    <a:pt x="646" y="935"/>
                    <a:pt x="645" y="934"/>
                    <a:pt x="644" y="934"/>
                  </a:cubicBezTo>
                  <a:cubicBezTo>
                    <a:pt x="644" y="933"/>
                    <a:pt x="643" y="933"/>
                    <a:pt x="643" y="933"/>
                  </a:cubicBezTo>
                  <a:cubicBezTo>
                    <a:pt x="643" y="933"/>
                    <a:pt x="643" y="933"/>
                    <a:pt x="643" y="933"/>
                  </a:cubicBezTo>
                  <a:cubicBezTo>
                    <a:pt x="642" y="931"/>
                    <a:pt x="641" y="931"/>
                    <a:pt x="640" y="931"/>
                  </a:cubicBezTo>
                  <a:cubicBezTo>
                    <a:pt x="640" y="931"/>
                    <a:pt x="639" y="931"/>
                    <a:pt x="638" y="931"/>
                  </a:cubicBezTo>
                  <a:cubicBezTo>
                    <a:pt x="638" y="931"/>
                    <a:pt x="638" y="931"/>
                    <a:pt x="637" y="931"/>
                  </a:cubicBezTo>
                  <a:cubicBezTo>
                    <a:pt x="636" y="931"/>
                    <a:pt x="636" y="931"/>
                    <a:pt x="636" y="931"/>
                  </a:cubicBezTo>
                  <a:cubicBezTo>
                    <a:pt x="636" y="931"/>
                    <a:pt x="635" y="931"/>
                    <a:pt x="635" y="932"/>
                  </a:cubicBezTo>
                  <a:cubicBezTo>
                    <a:pt x="636" y="932"/>
                    <a:pt x="636" y="932"/>
                    <a:pt x="636" y="932"/>
                  </a:cubicBezTo>
                  <a:cubicBezTo>
                    <a:pt x="635" y="932"/>
                    <a:pt x="635" y="932"/>
                    <a:pt x="635" y="932"/>
                  </a:cubicBezTo>
                  <a:cubicBezTo>
                    <a:pt x="634" y="932"/>
                    <a:pt x="634" y="932"/>
                    <a:pt x="634" y="932"/>
                  </a:cubicBezTo>
                  <a:cubicBezTo>
                    <a:pt x="634" y="932"/>
                    <a:pt x="634" y="932"/>
                    <a:pt x="634" y="932"/>
                  </a:cubicBezTo>
                  <a:cubicBezTo>
                    <a:pt x="633" y="932"/>
                    <a:pt x="632" y="932"/>
                    <a:pt x="632" y="932"/>
                  </a:cubicBezTo>
                  <a:cubicBezTo>
                    <a:pt x="630" y="932"/>
                    <a:pt x="630" y="932"/>
                    <a:pt x="630" y="932"/>
                  </a:cubicBezTo>
                  <a:cubicBezTo>
                    <a:pt x="629" y="932"/>
                    <a:pt x="629" y="932"/>
                    <a:pt x="628" y="932"/>
                  </a:cubicBezTo>
                  <a:cubicBezTo>
                    <a:pt x="628" y="932"/>
                    <a:pt x="628" y="931"/>
                    <a:pt x="628" y="931"/>
                  </a:cubicBezTo>
                  <a:cubicBezTo>
                    <a:pt x="627" y="931"/>
                    <a:pt x="627" y="931"/>
                    <a:pt x="627" y="931"/>
                  </a:cubicBezTo>
                  <a:cubicBezTo>
                    <a:pt x="626" y="930"/>
                    <a:pt x="626" y="930"/>
                    <a:pt x="625" y="930"/>
                  </a:cubicBezTo>
                  <a:cubicBezTo>
                    <a:pt x="625" y="930"/>
                    <a:pt x="624" y="930"/>
                    <a:pt x="624" y="932"/>
                  </a:cubicBezTo>
                  <a:cubicBezTo>
                    <a:pt x="624" y="932"/>
                    <a:pt x="624" y="932"/>
                    <a:pt x="623" y="932"/>
                  </a:cubicBezTo>
                  <a:cubicBezTo>
                    <a:pt x="623" y="932"/>
                    <a:pt x="623" y="932"/>
                    <a:pt x="623" y="932"/>
                  </a:cubicBezTo>
                  <a:cubicBezTo>
                    <a:pt x="623" y="932"/>
                    <a:pt x="622" y="932"/>
                    <a:pt x="622" y="932"/>
                  </a:cubicBezTo>
                  <a:cubicBezTo>
                    <a:pt x="622" y="932"/>
                    <a:pt x="621" y="932"/>
                    <a:pt x="621" y="932"/>
                  </a:cubicBezTo>
                  <a:cubicBezTo>
                    <a:pt x="621" y="932"/>
                    <a:pt x="621" y="932"/>
                    <a:pt x="621" y="932"/>
                  </a:cubicBezTo>
                  <a:cubicBezTo>
                    <a:pt x="621" y="931"/>
                    <a:pt x="621" y="930"/>
                    <a:pt x="621" y="930"/>
                  </a:cubicBezTo>
                  <a:cubicBezTo>
                    <a:pt x="620" y="929"/>
                    <a:pt x="619" y="929"/>
                    <a:pt x="619" y="929"/>
                  </a:cubicBezTo>
                  <a:cubicBezTo>
                    <a:pt x="619" y="929"/>
                    <a:pt x="619" y="929"/>
                    <a:pt x="618" y="928"/>
                  </a:cubicBezTo>
                  <a:cubicBezTo>
                    <a:pt x="617" y="927"/>
                    <a:pt x="616" y="927"/>
                    <a:pt x="615" y="927"/>
                  </a:cubicBezTo>
                  <a:cubicBezTo>
                    <a:pt x="614" y="927"/>
                    <a:pt x="614" y="927"/>
                    <a:pt x="614" y="927"/>
                  </a:cubicBezTo>
                  <a:cubicBezTo>
                    <a:pt x="613" y="927"/>
                    <a:pt x="613" y="927"/>
                    <a:pt x="612" y="927"/>
                  </a:cubicBezTo>
                  <a:cubicBezTo>
                    <a:pt x="612" y="927"/>
                    <a:pt x="611" y="928"/>
                    <a:pt x="611" y="928"/>
                  </a:cubicBezTo>
                  <a:cubicBezTo>
                    <a:pt x="611" y="928"/>
                    <a:pt x="611" y="928"/>
                    <a:pt x="611" y="928"/>
                  </a:cubicBezTo>
                  <a:cubicBezTo>
                    <a:pt x="611" y="929"/>
                    <a:pt x="611" y="929"/>
                    <a:pt x="611" y="929"/>
                  </a:cubicBezTo>
                  <a:cubicBezTo>
                    <a:pt x="610" y="928"/>
                    <a:pt x="610" y="928"/>
                    <a:pt x="610" y="928"/>
                  </a:cubicBezTo>
                  <a:cubicBezTo>
                    <a:pt x="610" y="928"/>
                    <a:pt x="610" y="928"/>
                    <a:pt x="609" y="928"/>
                  </a:cubicBezTo>
                  <a:cubicBezTo>
                    <a:pt x="609" y="928"/>
                    <a:pt x="609" y="927"/>
                    <a:pt x="608" y="927"/>
                  </a:cubicBezTo>
                  <a:cubicBezTo>
                    <a:pt x="607" y="926"/>
                    <a:pt x="606" y="927"/>
                    <a:pt x="606" y="927"/>
                  </a:cubicBezTo>
                  <a:cubicBezTo>
                    <a:pt x="606" y="927"/>
                    <a:pt x="605" y="927"/>
                    <a:pt x="605" y="927"/>
                  </a:cubicBezTo>
                  <a:cubicBezTo>
                    <a:pt x="605" y="926"/>
                    <a:pt x="605" y="926"/>
                    <a:pt x="605" y="926"/>
                  </a:cubicBezTo>
                  <a:cubicBezTo>
                    <a:pt x="605" y="926"/>
                    <a:pt x="605" y="926"/>
                    <a:pt x="605" y="926"/>
                  </a:cubicBezTo>
                  <a:cubicBezTo>
                    <a:pt x="605" y="926"/>
                    <a:pt x="605" y="925"/>
                    <a:pt x="605" y="924"/>
                  </a:cubicBezTo>
                  <a:cubicBezTo>
                    <a:pt x="604" y="923"/>
                    <a:pt x="603" y="922"/>
                    <a:pt x="603" y="922"/>
                  </a:cubicBezTo>
                  <a:cubicBezTo>
                    <a:pt x="602" y="922"/>
                    <a:pt x="602" y="922"/>
                    <a:pt x="602" y="922"/>
                  </a:cubicBezTo>
                  <a:cubicBezTo>
                    <a:pt x="602" y="922"/>
                    <a:pt x="602" y="921"/>
                    <a:pt x="602" y="921"/>
                  </a:cubicBezTo>
                  <a:cubicBezTo>
                    <a:pt x="602" y="920"/>
                    <a:pt x="602" y="919"/>
                    <a:pt x="600" y="918"/>
                  </a:cubicBezTo>
                  <a:cubicBezTo>
                    <a:pt x="600" y="918"/>
                    <a:pt x="600" y="918"/>
                    <a:pt x="600" y="918"/>
                  </a:cubicBezTo>
                  <a:cubicBezTo>
                    <a:pt x="600" y="918"/>
                    <a:pt x="600" y="918"/>
                    <a:pt x="600" y="918"/>
                  </a:cubicBezTo>
                  <a:cubicBezTo>
                    <a:pt x="599" y="918"/>
                    <a:pt x="599" y="917"/>
                    <a:pt x="598" y="917"/>
                  </a:cubicBezTo>
                  <a:cubicBezTo>
                    <a:pt x="598" y="917"/>
                    <a:pt x="598" y="917"/>
                    <a:pt x="598" y="917"/>
                  </a:cubicBezTo>
                  <a:cubicBezTo>
                    <a:pt x="598" y="916"/>
                    <a:pt x="596" y="915"/>
                    <a:pt x="595" y="916"/>
                  </a:cubicBezTo>
                  <a:cubicBezTo>
                    <a:pt x="595" y="916"/>
                    <a:pt x="594" y="916"/>
                    <a:pt x="594" y="916"/>
                  </a:cubicBezTo>
                  <a:cubicBezTo>
                    <a:pt x="594" y="916"/>
                    <a:pt x="594" y="916"/>
                    <a:pt x="594" y="916"/>
                  </a:cubicBezTo>
                  <a:cubicBezTo>
                    <a:pt x="594" y="916"/>
                    <a:pt x="594" y="916"/>
                    <a:pt x="594" y="916"/>
                  </a:cubicBezTo>
                  <a:cubicBezTo>
                    <a:pt x="593" y="915"/>
                    <a:pt x="592" y="915"/>
                    <a:pt x="592" y="915"/>
                  </a:cubicBezTo>
                  <a:cubicBezTo>
                    <a:pt x="591" y="915"/>
                    <a:pt x="591" y="915"/>
                    <a:pt x="591" y="915"/>
                  </a:cubicBezTo>
                  <a:cubicBezTo>
                    <a:pt x="591" y="915"/>
                    <a:pt x="591" y="915"/>
                    <a:pt x="590" y="915"/>
                  </a:cubicBezTo>
                  <a:cubicBezTo>
                    <a:pt x="590" y="914"/>
                    <a:pt x="590" y="914"/>
                    <a:pt x="589" y="914"/>
                  </a:cubicBezTo>
                  <a:cubicBezTo>
                    <a:pt x="589" y="914"/>
                    <a:pt x="588" y="914"/>
                    <a:pt x="588" y="914"/>
                  </a:cubicBezTo>
                  <a:cubicBezTo>
                    <a:pt x="587" y="914"/>
                    <a:pt x="587" y="913"/>
                    <a:pt x="587" y="914"/>
                  </a:cubicBezTo>
                  <a:cubicBezTo>
                    <a:pt x="587" y="913"/>
                    <a:pt x="587" y="913"/>
                    <a:pt x="587" y="913"/>
                  </a:cubicBezTo>
                  <a:cubicBezTo>
                    <a:pt x="587" y="913"/>
                    <a:pt x="587" y="911"/>
                    <a:pt x="585" y="911"/>
                  </a:cubicBezTo>
                  <a:cubicBezTo>
                    <a:pt x="585" y="910"/>
                    <a:pt x="584" y="911"/>
                    <a:pt x="583" y="911"/>
                  </a:cubicBezTo>
                  <a:cubicBezTo>
                    <a:pt x="583" y="911"/>
                    <a:pt x="583" y="911"/>
                    <a:pt x="583" y="911"/>
                  </a:cubicBezTo>
                  <a:cubicBezTo>
                    <a:pt x="583" y="911"/>
                    <a:pt x="582" y="911"/>
                    <a:pt x="582" y="910"/>
                  </a:cubicBezTo>
                  <a:cubicBezTo>
                    <a:pt x="581" y="910"/>
                    <a:pt x="580" y="909"/>
                    <a:pt x="578" y="910"/>
                  </a:cubicBezTo>
                  <a:cubicBezTo>
                    <a:pt x="578" y="910"/>
                    <a:pt x="578" y="910"/>
                    <a:pt x="578" y="910"/>
                  </a:cubicBezTo>
                  <a:cubicBezTo>
                    <a:pt x="578" y="910"/>
                    <a:pt x="578" y="910"/>
                    <a:pt x="578" y="910"/>
                  </a:cubicBezTo>
                  <a:cubicBezTo>
                    <a:pt x="577" y="910"/>
                    <a:pt x="576" y="910"/>
                    <a:pt x="575" y="910"/>
                  </a:cubicBezTo>
                  <a:cubicBezTo>
                    <a:pt x="575" y="910"/>
                    <a:pt x="575" y="910"/>
                    <a:pt x="575" y="910"/>
                  </a:cubicBezTo>
                  <a:cubicBezTo>
                    <a:pt x="574" y="910"/>
                    <a:pt x="574" y="910"/>
                    <a:pt x="574" y="910"/>
                  </a:cubicBezTo>
                  <a:cubicBezTo>
                    <a:pt x="573" y="910"/>
                    <a:pt x="572" y="911"/>
                    <a:pt x="572" y="911"/>
                  </a:cubicBezTo>
                  <a:cubicBezTo>
                    <a:pt x="572" y="911"/>
                    <a:pt x="572" y="911"/>
                    <a:pt x="572" y="911"/>
                  </a:cubicBezTo>
                  <a:cubicBezTo>
                    <a:pt x="572" y="910"/>
                    <a:pt x="572" y="910"/>
                    <a:pt x="572" y="909"/>
                  </a:cubicBezTo>
                  <a:cubicBezTo>
                    <a:pt x="573" y="908"/>
                    <a:pt x="572" y="906"/>
                    <a:pt x="570" y="905"/>
                  </a:cubicBezTo>
                  <a:cubicBezTo>
                    <a:pt x="570" y="905"/>
                    <a:pt x="569" y="905"/>
                    <a:pt x="568" y="905"/>
                  </a:cubicBezTo>
                  <a:cubicBezTo>
                    <a:pt x="568" y="905"/>
                    <a:pt x="568" y="905"/>
                    <a:pt x="567" y="905"/>
                  </a:cubicBezTo>
                  <a:cubicBezTo>
                    <a:pt x="567" y="905"/>
                    <a:pt x="566" y="905"/>
                    <a:pt x="566" y="905"/>
                  </a:cubicBezTo>
                  <a:cubicBezTo>
                    <a:pt x="566" y="905"/>
                    <a:pt x="565" y="905"/>
                    <a:pt x="565" y="905"/>
                  </a:cubicBezTo>
                  <a:cubicBezTo>
                    <a:pt x="564" y="904"/>
                    <a:pt x="562" y="904"/>
                    <a:pt x="561" y="905"/>
                  </a:cubicBezTo>
                  <a:cubicBezTo>
                    <a:pt x="560" y="905"/>
                    <a:pt x="560" y="905"/>
                    <a:pt x="560" y="905"/>
                  </a:cubicBezTo>
                  <a:cubicBezTo>
                    <a:pt x="560" y="905"/>
                    <a:pt x="560" y="905"/>
                    <a:pt x="560" y="905"/>
                  </a:cubicBezTo>
                  <a:cubicBezTo>
                    <a:pt x="560" y="906"/>
                    <a:pt x="560" y="906"/>
                    <a:pt x="560" y="906"/>
                  </a:cubicBezTo>
                  <a:cubicBezTo>
                    <a:pt x="560" y="905"/>
                    <a:pt x="560" y="905"/>
                    <a:pt x="560" y="905"/>
                  </a:cubicBezTo>
                  <a:cubicBezTo>
                    <a:pt x="559" y="905"/>
                    <a:pt x="559" y="904"/>
                    <a:pt x="557" y="904"/>
                  </a:cubicBezTo>
                  <a:cubicBezTo>
                    <a:pt x="557" y="904"/>
                    <a:pt x="554" y="904"/>
                    <a:pt x="552" y="906"/>
                  </a:cubicBezTo>
                  <a:cubicBezTo>
                    <a:pt x="551" y="907"/>
                    <a:pt x="551" y="908"/>
                    <a:pt x="551" y="909"/>
                  </a:cubicBezTo>
                  <a:cubicBezTo>
                    <a:pt x="551" y="910"/>
                    <a:pt x="551" y="910"/>
                    <a:pt x="551" y="911"/>
                  </a:cubicBezTo>
                  <a:cubicBezTo>
                    <a:pt x="550" y="912"/>
                    <a:pt x="550" y="913"/>
                    <a:pt x="550" y="914"/>
                  </a:cubicBezTo>
                  <a:cubicBezTo>
                    <a:pt x="549" y="914"/>
                    <a:pt x="548" y="915"/>
                    <a:pt x="548" y="915"/>
                  </a:cubicBezTo>
                  <a:cubicBezTo>
                    <a:pt x="548" y="915"/>
                    <a:pt x="548" y="915"/>
                    <a:pt x="547" y="915"/>
                  </a:cubicBezTo>
                  <a:cubicBezTo>
                    <a:pt x="547" y="915"/>
                    <a:pt x="547" y="915"/>
                    <a:pt x="547" y="915"/>
                  </a:cubicBezTo>
                  <a:cubicBezTo>
                    <a:pt x="547" y="915"/>
                    <a:pt x="546" y="916"/>
                    <a:pt x="546" y="916"/>
                  </a:cubicBezTo>
                  <a:cubicBezTo>
                    <a:pt x="545" y="916"/>
                    <a:pt x="544" y="917"/>
                    <a:pt x="544" y="918"/>
                  </a:cubicBezTo>
                  <a:cubicBezTo>
                    <a:pt x="543" y="918"/>
                    <a:pt x="543" y="919"/>
                    <a:pt x="543" y="919"/>
                  </a:cubicBezTo>
                  <a:cubicBezTo>
                    <a:pt x="543" y="919"/>
                    <a:pt x="543" y="919"/>
                    <a:pt x="542" y="919"/>
                  </a:cubicBezTo>
                  <a:cubicBezTo>
                    <a:pt x="542" y="920"/>
                    <a:pt x="541" y="920"/>
                    <a:pt x="541" y="920"/>
                  </a:cubicBezTo>
                  <a:cubicBezTo>
                    <a:pt x="541" y="920"/>
                    <a:pt x="541" y="920"/>
                    <a:pt x="541" y="920"/>
                  </a:cubicBezTo>
                  <a:cubicBezTo>
                    <a:pt x="542" y="919"/>
                    <a:pt x="543" y="917"/>
                    <a:pt x="543" y="916"/>
                  </a:cubicBezTo>
                  <a:cubicBezTo>
                    <a:pt x="543" y="916"/>
                    <a:pt x="543" y="916"/>
                    <a:pt x="543" y="916"/>
                  </a:cubicBezTo>
                  <a:cubicBezTo>
                    <a:pt x="544" y="915"/>
                    <a:pt x="544" y="915"/>
                    <a:pt x="544" y="915"/>
                  </a:cubicBezTo>
                  <a:cubicBezTo>
                    <a:pt x="544" y="915"/>
                    <a:pt x="545" y="914"/>
                    <a:pt x="545" y="914"/>
                  </a:cubicBezTo>
                  <a:cubicBezTo>
                    <a:pt x="546" y="913"/>
                    <a:pt x="546" y="912"/>
                    <a:pt x="546" y="912"/>
                  </a:cubicBezTo>
                  <a:cubicBezTo>
                    <a:pt x="545" y="911"/>
                    <a:pt x="545" y="911"/>
                    <a:pt x="545" y="911"/>
                  </a:cubicBezTo>
                  <a:cubicBezTo>
                    <a:pt x="546" y="911"/>
                    <a:pt x="546" y="911"/>
                    <a:pt x="546" y="911"/>
                  </a:cubicBezTo>
                  <a:cubicBezTo>
                    <a:pt x="546" y="910"/>
                    <a:pt x="547" y="909"/>
                    <a:pt x="547" y="908"/>
                  </a:cubicBezTo>
                  <a:cubicBezTo>
                    <a:pt x="548" y="906"/>
                    <a:pt x="549" y="906"/>
                    <a:pt x="550" y="905"/>
                  </a:cubicBezTo>
                  <a:cubicBezTo>
                    <a:pt x="551" y="904"/>
                    <a:pt x="552" y="903"/>
                    <a:pt x="553" y="902"/>
                  </a:cubicBezTo>
                  <a:cubicBezTo>
                    <a:pt x="553" y="902"/>
                    <a:pt x="554" y="901"/>
                    <a:pt x="554" y="900"/>
                  </a:cubicBezTo>
                  <a:cubicBezTo>
                    <a:pt x="554" y="899"/>
                    <a:pt x="555" y="899"/>
                    <a:pt x="555" y="898"/>
                  </a:cubicBezTo>
                  <a:cubicBezTo>
                    <a:pt x="555" y="898"/>
                    <a:pt x="555" y="898"/>
                    <a:pt x="555" y="898"/>
                  </a:cubicBezTo>
                  <a:cubicBezTo>
                    <a:pt x="556" y="898"/>
                    <a:pt x="556" y="897"/>
                    <a:pt x="556" y="896"/>
                  </a:cubicBezTo>
                  <a:cubicBezTo>
                    <a:pt x="557" y="895"/>
                    <a:pt x="557" y="895"/>
                    <a:pt x="557" y="895"/>
                  </a:cubicBezTo>
                  <a:cubicBezTo>
                    <a:pt x="559" y="894"/>
                    <a:pt x="561" y="892"/>
                    <a:pt x="559" y="889"/>
                  </a:cubicBezTo>
                  <a:cubicBezTo>
                    <a:pt x="559" y="889"/>
                    <a:pt x="559" y="889"/>
                    <a:pt x="558" y="888"/>
                  </a:cubicBezTo>
                  <a:cubicBezTo>
                    <a:pt x="558" y="888"/>
                    <a:pt x="558" y="888"/>
                    <a:pt x="558" y="888"/>
                  </a:cubicBezTo>
                  <a:cubicBezTo>
                    <a:pt x="559" y="887"/>
                    <a:pt x="559" y="886"/>
                    <a:pt x="558" y="885"/>
                  </a:cubicBezTo>
                  <a:cubicBezTo>
                    <a:pt x="558" y="884"/>
                    <a:pt x="556" y="884"/>
                    <a:pt x="556" y="884"/>
                  </a:cubicBezTo>
                  <a:cubicBezTo>
                    <a:pt x="556" y="884"/>
                    <a:pt x="555" y="884"/>
                    <a:pt x="555" y="884"/>
                  </a:cubicBezTo>
                  <a:cubicBezTo>
                    <a:pt x="555" y="884"/>
                    <a:pt x="554" y="883"/>
                    <a:pt x="554" y="883"/>
                  </a:cubicBezTo>
                  <a:cubicBezTo>
                    <a:pt x="554" y="883"/>
                    <a:pt x="554" y="882"/>
                    <a:pt x="553" y="882"/>
                  </a:cubicBezTo>
                  <a:cubicBezTo>
                    <a:pt x="553" y="881"/>
                    <a:pt x="553" y="881"/>
                    <a:pt x="552" y="880"/>
                  </a:cubicBezTo>
                  <a:cubicBezTo>
                    <a:pt x="552" y="880"/>
                    <a:pt x="552" y="880"/>
                    <a:pt x="552" y="880"/>
                  </a:cubicBezTo>
                  <a:cubicBezTo>
                    <a:pt x="552" y="880"/>
                    <a:pt x="552" y="880"/>
                    <a:pt x="552" y="880"/>
                  </a:cubicBezTo>
                  <a:cubicBezTo>
                    <a:pt x="552" y="878"/>
                    <a:pt x="552" y="877"/>
                    <a:pt x="552" y="877"/>
                  </a:cubicBezTo>
                  <a:cubicBezTo>
                    <a:pt x="552" y="877"/>
                    <a:pt x="552" y="876"/>
                    <a:pt x="552" y="876"/>
                  </a:cubicBezTo>
                  <a:cubicBezTo>
                    <a:pt x="552" y="876"/>
                    <a:pt x="552" y="876"/>
                    <a:pt x="552" y="875"/>
                  </a:cubicBezTo>
                  <a:cubicBezTo>
                    <a:pt x="552" y="874"/>
                    <a:pt x="552" y="874"/>
                    <a:pt x="551" y="873"/>
                  </a:cubicBezTo>
                  <a:cubicBezTo>
                    <a:pt x="551" y="872"/>
                    <a:pt x="551" y="872"/>
                    <a:pt x="551" y="871"/>
                  </a:cubicBezTo>
                  <a:cubicBezTo>
                    <a:pt x="551" y="870"/>
                    <a:pt x="551" y="870"/>
                    <a:pt x="551" y="869"/>
                  </a:cubicBezTo>
                  <a:cubicBezTo>
                    <a:pt x="551" y="869"/>
                    <a:pt x="551" y="868"/>
                    <a:pt x="551" y="868"/>
                  </a:cubicBezTo>
                  <a:cubicBezTo>
                    <a:pt x="551" y="867"/>
                    <a:pt x="551" y="867"/>
                    <a:pt x="551" y="867"/>
                  </a:cubicBezTo>
                  <a:cubicBezTo>
                    <a:pt x="551" y="866"/>
                    <a:pt x="551" y="865"/>
                    <a:pt x="550" y="864"/>
                  </a:cubicBezTo>
                  <a:cubicBezTo>
                    <a:pt x="550" y="863"/>
                    <a:pt x="550" y="863"/>
                    <a:pt x="550" y="863"/>
                  </a:cubicBezTo>
                  <a:cubicBezTo>
                    <a:pt x="549" y="863"/>
                    <a:pt x="549" y="863"/>
                    <a:pt x="549" y="863"/>
                  </a:cubicBezTo>
                  <a:cubicBezTo>
                    <a:pt x="549" y="863"/>
                    <a:pt x="549" y="863"/>
                    <a:pt x="549" y="863"/>
                  </a:cubicBezTo>
                  <a:cubicBezTo>
                    <a:pt x="549" y="863"/>
                    <a:pt x="549" y="862"/>
                    <a:pt x="549" y="862"/>
                  </a:cubicBezTo>
                  <a:cubicBezTo>
                    <a:pt x="549" y="862"/>
                    <a:pt x="549" y="861"/>
                    <a:pt x="548" y="861"/>
                  </a:cubicBezTo>
                  <a:cubicBezTo>
                    <a:pt x="549" y="861"/>
                    <a:pt x="549" y="861"/>
                    <a:pt x="549" y="861"/>
                  </a:cubicBezTo>
                  <a:cubicBezTo>
                    <a:pt x="548" y="861"/>
                    <a:pt x="548" y="861"/>
                    <a:pt x="548" y="861"/>
                  </a:cubicBezTo>
                  <a:cubicBezTo>
                    <a:pt x="548" y="860"/>
                    <a:pt x="547" y="860"/>
                    <a:pt x="547" y="860"/>
                  </a:cubicBezTo>
                  <a:cubicBezTo>
                    <a:pt x="547" y="860"/>
                    <a:pt x="546" y="860"/>
                    <a:pt x="546" y="861"/>
                  </a:cubicBezTo>
                  <a:cubicBezTo>
                    <a:pt x="546" y="860"/>
                    <a:pt x="546" y="860"/>
                    <a:pt x="546" y="860"/>
                  </a:cubicBezTo>
                  <a:cubicBezTo>
                    <a:pt x="545" y="859"/>
                    <a:pt x="545" y="858"/>
                    <a:pt x="545" y="858"/>
                  </a:cubicBezTo>
                  <a:cubicBezTo>
                    <a:pt x="544" y="857"/>
                    <a:pt x="544" y="857"/>
                    <a:pt x="544" y="857"/>
                  </a:cubicBezTo>
                  <a:cubicBezTo>
                    <a:pt x="544" y="856"/>
                    <a:pt x="543" y="855"/>
                    <a:pt x="542" y="854"/>
                  </a:cubicBezTo>
                  <a:cubicBezTo>
                    <a:pt x="541" y="854"/>
                    <a:pt x="541" y="854"/>
                    <a:pt x="541" y="854"/>
                  </a:cubicBezTo>
                  <a:cubicBezTo>
                    <a:pt x="541" y="853"/>
                    <a:pt x="540" y="853"/>
                    <a:pt x="540" y="853"/>
                  </a:cubicBezTo>
                  <a:cubicBezTo>
                    <a:pt x="539" y="852"/>
                    <a:pt x="539" y="852"/>
                    <a:pt x="539" y="851"/>
                  </a:cubicBezTo>
                  <a:cubicBezTo>
                    <a:pt x="539" y="851"/>
                    <a:pt x="539" y="851"/>
                    <a:pt x="538" y="850"/>
                  </a:cubicBezTo>
                  <a:cubicBezTo>
                    <a:pt x="538" y="849"/>
                    <a:pt x="538" y="848"/>
                    <a:pt x="536" y="847"/>
                  </a:cubicBezTo>
                  <a:cubicBezTo>
                    <a:pt x="535" y="846"/>
                    <a:pt x="534" y="846"/>
                    <a:pt x="533" y="846"/>
                  </a:cubicBezTo>
                  <a:cubicBezTo>
                    <a:pt x="533" y="846"/>
                    <a:pt x="532" y="845"/>
                    <a:pt x="532" y="845"/>
                  </a:cubicBezTo>
                  <a:cubicBezTo>
                    <a:pt x="531" y="845"/>
                    <a:pt x="531" y="845"/>
                    <a:pt x="531" y="844"/>
                  </a:cubicBezTo>
                  <a:cubicBezTo>
                    <a:pt x="530" y="844"/>
                    <a:pt x="530" y="844"/>
                    <a:pt x="529" y="843"/>
                  </a:cubicBezTo>
                  <a:cubicBezTo>
                    <a:pt x="529" y="843"/>
                    <a:pt x="528" y="843"/>
                    <a:pt x="528" y="843"/>
                  </a:cubicBezTo>
                  <a:cubicBezTo>
                    <a:pt x="528" y="843"/>
                    <a:pt x="527" y="843"/>
                    <a:pt x="527" y="842"/>
                  </a:cubicBezTo>
                  <a:cubicBezTo>
                    <a:pt x="527" y="842"/>
                    <a:pt x="527" y="842"/>
                    <a:pt x="527" y="842"/>
                  </a:cubicBezTo>
                  <a:cubicBezTo>
                    <a:pt x="527" y="842"/>
                    <a:pt x="527" y="842"/>
                    <a:pt x="527" y="842"/>
                  </a:cubicBezTo>
                  <a:cubicBezTo>
                    <a:pt x="527" y="842"/>
                    <a:pt x="527" y="842"/>
                    <a:pt x="527" y="842"/>
                  </a:cubicBezTo>
                  <a:cubicBezTo>
                    <a:pt x="527" y="841"/>
                    <a:pt x="526" y="841"/>
                    <a:pt x="526" y="840"/>
                  </a:cubicBezTo>
                  <a:cubicBezTo>
                    <a:pt x="525" y="840"/>
                    <a:pt x="524" y="840"/>
                    <a:pt x="523" y="840"/>
                  </a:cubicBezTo>
                  <a:cubicBezTo>
                    <a:pt x="523" y="840"/>
                    <a:pt x="523" y="840"/>
                    <a:pt x="523" y="840"/>
                  </a:cubicBezTo>
                  <a:cubicBezTo>
                    <a:pt x="523" y="840"/>
                    <a:pt x="522" y="840"/>
                    <a:pt x="522" y="840"/>
                  </a:cubicBezTo>
                  <a:cubicBezTo>
                    <a:pt x="521" y="839"/>
                    <a:pt x="521" y="839"/>
                    <a:pt x="520" y="839"/>
                  </a:cubicBezTo>
                  <a:cubicBezTo>
                    <a:pt x="520" y="839"/>
                    <a:pt x="519" y="839"/>
                    <a:pt x="518" y="839"/>
                  </a:cubicBezTo>
                  <a:cubicBezTo>
                    <a:pt x="518" y="839"/>
                    <a:pt x="518" y="839"/>
                    <a:pt x="518" y="840"/>
                  </a:cubicBezTo>
                  <a:cubicBezTo>
                    <a:pt x="517" y="840"/>
                    <a:pt x="517" y="840"/>
                    <a:pt x="517" y="840"/>
                  </a:cubicBezTo>
                  <a:cubicBezTo>
                    <a:pt x="517" y="840"/>
                    <a:pt x="516" y="840"/>
                    <a:pt x="516" y="839"/>
                  </a:cubicBezTo>
                  <a:cubicBezTo>
                    <a:pt x="516" y="839"/>
                    <a:pt x="515" y="839"/>
                    <a:pt x="515" y="839"/>
                  </a:cubicBezTo>
                  <a:cubicBezTo>
                    <a:pt x="513" y="839"/>
                    <a:pt x="511" y="840"/>
                    <a:pt x="511" y="841"/>
                  </a:cubicBezTo>
                  <a:cubicBezTo>
                    <a:pt x="510" y="841"/>
                    <a:pt x="510" y="841"/>
                    <a:pt x="510" y="841"/>
                  </a:cubicBezTo>
                  <a:cubicBezTo>
                    <a:pt x="510" y="841"/>
                    <a:pt x="510" y="841"/>
                    <a:pt x="510" y="840"/>
                  </a:cubicBezTo>
                  <a:cubicBezTo>
                    <a:pt x="509" y="840"/>
                    <a:pt x="509" y="839"/>
                    <a:pt x="507" y="839"/>
                  </a:cubicBezTo>
                  <a:cubicBezTo>
                    <a:pt x="505" y="839"/>
                    <a:pt x="505" y="839"/>
                    <a:pt x="505" y="839"/>
                  </a:cubicBezTo>
                  <a:cubicBezTo>
                    <a:pt x="505" y="839"/>
                    <a:pt x="505" y="839"/>
                    <a:pt x="505" y="839"/>
                  </a:cubicBezTo>
                  <a:cubicBezTo>
                    <a:pt x="505" y="839"/>
                    <a:pt x="504" y="839"/>
                    <a:pt x="504" y="838"/>
                  </a:cubicBezTo>
                  <a:cubicBezTo>
                    <a:pt x="503" y="838"/>
                    <a:pt x="502" y="839"/>
                    <a:pt x="501" y="839"/>
                  </a:cubicBezTo>
                  <a:cubicBezTo>
                    <a:pt x="501" y="839"/>
                    <a:pt x="501" y="839"/>
                    <a:pt x="501" y="838"/>
                  </a:cubicBezTo>
                  <a:cubicBezTo>
                    <a:pt x="501" y="838"/>
                    <a:pt x="501" y="837"/>
                    <a:pt x="501" y="836"/>
                  </a:cubicBezTo>
                  <a:cubicBezTo>
                    <a:pt x="500" y="835"/>
                    <a:pt x="500" y="835"/>
                    <a:pt x="500" y="835"/>
                  </a:cubicBezTo>
                  <a:cubicBezTo>
                    <a:pt x="500" y="835"/>
                    <a:pt x="500" y="835"/>
                    <a:pt x="500" y="835"/>
                  </a:cubicBezTo>
                  <a:cubicBezTo>
                    <a:pt x="500" y="835"/>
                    <a:pt x="499" y="835"/>
                    <a:pt x="499" y="834"/>
                  </a:cubicBezTo>
                  <a:cubicBezTo>
                    <a:pt x="499" y="834"/>
                    <a:pt x="498" y="834"/>
                    <a:pt x="498" y="834"/>
                  </a:cubicBezTo>
                  <a:cubicBezTo>
                    <a:pt x="497" y="833"/>
                    <a:pt x="497" y="833"/>
                    <a:pt x="497" y="833"/>
                  </a:cubicBezTo>
                  <a:cubicBezTo>
                    <a:pt x="497" y="832"/>
                    <a:pt x="496" y="830"/>
                    <a:pt x="495" y="830"/>
                  </a:cubicBezTo>
                  <a:cubicBezTo>
                    <a:pt x="494" y="830"/>
                    <a:pt x="494" y="830"/>
                    <a:pt x="493" y="830"/>
                  </a:cubicBezTo>
                  <a:cubicBezTo>
                    <a:pt x="493" y="830"/>
                    <a:pt x="492" y="830"/>
                    <a:pt x="491" y="830"/>
                  </a:cubicBezTo>
                  <a:cubicBezTo>
                    <a:pt x="491" y="830"/>
                    <a:pt x="491" y="830"/>
                    <a:pt x="491" y="830"/>
                  </a:cubicBezTo>
                  <a:cubicBezTo>
                    <a:pt x="491" y="830"/>
                    <a:pt x="491" y="830"/>
                    <a:pt x="491" y="830"/>
                  </a:cubicBezTo>
                  <a:cubicBezTo>
                    <a:pt x="491" y="830"/>
                    <a:pt x="491" y="830"/>
                    <a:pt x="492" y="829"/>
                  </a:cubicBezTo>
                  <a:cubicBezTo>
                    <a:pt x="493" y="828"/>
                    <a:pt x="493" y="826"/>
                    <a:pt x="492" y="825"/>
                  </a:cubicBezTo>
                  <a:cubicBezTo>
                    <a:pt x="492" y="823"/>
                    <a:pt x="491" y="823"/>
                    <a:pt x="491" y="822"/>
                  </a:cubicBezTo>
                  <a:cubicBezTo>
                    <a:pt x="490" y="822"/>
                    <a:pt x="490" y="822"/>
                    <a:pt x="490" y="822"/>
                  </a:cubicBezTo>
                  <a:cubicBezTo>
                    <a:pt x="490" y="821"/>
                    <a:pt x="490" y="821"/>
                    <a:pt x="489" y="820"/>
                  </a:cubicBezTo>
                  <a:cubicBezTo>
                    <a:pt x="489" y="819"/>
                    <a:pt x="489" y="819"/>
                    <a:pt x="489" y="819"/>
                  </a:cubicBezTo>
                  <a:cubicBezTo>
                    <a:pt x="489" y="819"/>
                    <a:pt x="489" y="818"/>
                    <a:pt x="488" y="817"/>
                  </a:cubicBezTo>
                  <a:cubicBezTo>
                    <a:pt x="488" y="817"/>
                    <a:pt x="488" y="817"/>
                    <a:pt x="488" y="817"/>
                  </a:cubicBezTo>
                  <a:cubicBezTo>
                    <a:pt x="487" y="816"/>
                    <a:pt x="487" y="816"/>
                    <a:pt x="487" y="816"/>
                  </a:cubicBezTo>
                  <a:cubicBezTo>
                    <a:pt x="487" y="816"/>
                    <a:pt x="487" y="816"/>
                    <a:pt x="487" y="815"/>
                  </a:cubicBezTo>
                  <a:cubicBezTo>
                    <a:pt x="487" y="815"/>
                    <a:pt x="486" y="814"/>
                    <a:pt x="486" y="814"/>
                  </a:cubicBezTo>
                  <a:cubicBezTo>
                    <a:pt x="486" y="814"/>
                    <a:pt x="486" y="814"/>
                    <a:pt x="486" y="814"/>
                  </a:cubicBezTo>
                  <a:cubicBezTo>
                    <a:pt x="485" y="814"/>
                    <a:pt x="485" y="813"/>
                    <a:pt x="485" y="813"/>
                  </a:cubicBezTo>
                  <a:cubicBezTo>
                    <a:pt x="485" y="813"/>
                    <a:pt x="485" y="813"/>
                    <a:pt x="485" y="813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3" y="812"/>
                    <a:pt x="483" y="812"/>
                    <a:pt x="483" y="812"/>
                  </a:cubicBezTo>
                  <a:cubicBezTo>
                    <a:pt x="482" y="812"/>
                    <a:pt x="482" y="812"/>
                    <a:pt x="482" y="812"/>
                  </a:cubicBezTo>
                  <a:cubicBezTo>
                    <a:pt x="482" y="812"/>
                    <a:pt x="482" y="812"/>
                    <a:pt x="482" y="812"/>
                  </a:cubicBezTo>
                  <a:cubicBezTo>
                    <a:pt x="482" y="811"/>
                    <a:pt x="482" y="811"/>
                    <a:pt x="482" y="811"/>
                  </a:cubicBezTo>
                  <a:cubicBezTo>
                    <a:pt x="481" y="809"/>
                    <a:pt x="479" y="809"/>
                    <a:pt x="477" y="809"/>
                  </a:cubicBezTo>
                  <a:cubicBezTo>
                    <a:pt x="477" y="809"/>
                    <a:pt x="476" y="810"/>
                    <a:pt x="476" y="810"/>
                  </a:cubicBezTo>
                  <a:cubicBezTo>
                    <a:pt x="475" y="810"/>
                    <a:pt x="475" y="810"/>
                    <a:pt x="474" y="810"/>
                  </a:cubicBezTo>
                  <a:cubicBezTo>
                    <a:pt x="475" y="809"/>
                    <a:pt x="475" y="808"/>
                    <a:pt x="474" y="807"/>
                  </a:cubicBezTo>
                  <a:cubicBezTo>
                    <a:pt x="474" y="807"/>
                    <a:pt x="474" y="807"/>
                    <a:pt x="474" y="807"/>
                  </a:cubicBezTo>
                  <a:cubicBezTo>
                    <a:pt x="474" y="807"/>
                    <a:pt x="474" y="806"/>
                    <a:pt x="474" y="807"/>
                  </a:cubicBezTo>
                  <a:cubicBezTo>
                    <a:pt x="474" y="806"/>
                    <a:pt x="474" y="806"/>
                    <a:pt x="474" y="806"/>
                  </a:cubicBezTo>
                  <a:cubicBezTo>
                    <a:pt x="475" y="806"/>
                    <a:pt x="475" y="806"/>
                    <a:pt x="475" y="805"/>
                  </a:cubicBezTo>
                  <a:cubicBezTo>
                    <a:pt x="476" y="803"/>
                    <a:pt x="475" y="802"/>
                    <a:pt x="474" y="801"/>
                  </a:cubicBezTo>
                  <a:cubicBezTo>
                    <a:pt x="474" y="800"/>
                    <a:pt x="474" y="800"/>
                    <a:pt x="473" y="799"/>
                  </a:cubicBezTo>
                  <a:cubicBezTo>
                    <a:pt x="472" y="799"/>
                    <a:pt x="472" y="799"/>
                    <a:pt x="472" y="799"/>
                  </a:cubicBezTo>
                  <a:cubicBezTo>
                    <a:pt x="471" y="799"/>
                    <a:pt x="471" y="799"/>
                    <a:pt x="471" y="799"/>
                  </a:cubicBezTo>
                  <a:cubicBezTo>
                    <a:pt x="471" y="799"/>
                    <a:pt x="470" y="798"/>
                    <a:pt x="470" y="798"/>
                  </a:cubicBezTo>
                  <a:cubicBezTo>
                    <a:pt x="470" y="797"/>
                    <a:pt x="469" y="797"/>
                    <a:pt x="468" y="796"/>
                  </a:cubicBezTo>
                  <a:cubicBezTo>
                    <a:pt x="468" y="796"/>
                    <a:pt x="468" y="796"/>
                    <a:pt x="468" y="796"/>
                  </a:cubicBezTo>
                  <a:cubicBezTo>
                    <a:pt x="468" y="796"/>
                    <a:pt x="468" y="796"/>
                    <a:pt x="468" y="796"/>
                  </a:cubicBezTo>
                  <a:cubicBezTo>
                    <a:pt x="468" y="796"/>
                    <a:pt x="468" y="796"/>
                    <a:pt x="468" y="796"/>
                  </a:cubicBezTo>
                  <a:cubicBezTo>
                    <a:pt x="469" y="796"/>
                    <a:pt x="469" y="796"/>
                    <a:pt x="469" y="796"/>
                  </a:cubicBezTo>
                  <a:cubicBezTo>
                    <a:pt x="469" y="796"/>
                    <a:pt x="469" y="796"/>
                    <a:pt x="469" y="796"/>
                  </a:cubicBezTo>
                  <a:cubicBezTo>
                    <a:pt x="469" y="796"/>
                    <a:pt x="469" y="796"/>
                    <a:pt x="469" y="796"/>
                  </a:cubicBezTo>
                  <a:cubicBezTo>
                    <a:pt x="470" y="796"/>
                    <a:pt x="470" y="796"/>
                    <a:pt x="471" y="796"/>
                  </a:cubicBezTo>
                  <a:cubicBezTo>
                    <a:pt x="472" y="796"/>
                    <a:pt x="472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4" y="795"/>
                    <a:pt x="474" y="795"/>
                    <a:pt x="474" y="795"/>
                  </a:cubicBezTo>
                  <a:cubicBezTo>
                    <a:pt x="474" y="795"/>
                    <a:pt x="475" y="795"/>
                    <a:pt x="475" y="795"/>
                  </a:cubicBezTo>
                  <a:cubicBezTo>
                    <a:pt x="476" y="794"/>
                    <a:pt x="476" y="793"/>
                    <a:pt x="476" y="793"/>
                  </a:cubicBezTo>
                  <a:cubicBezTo>
                    <a:pt x="476" y="792"/>
                    <a:pt x="475" y="791"/>
                    <a:pt x="475" y="790"/>
                  </a:cubicBezTo>
                  <a:cubicBezTo>
                    <a:pt x="475" y="790"/>
                    <a:pt x="475" y="790"/>
                    <a:pt x="475" y="790"/>
                  </a:cubicBezTo>
                  <a:cubicBezTo>
                    <a:pt x="475" y="789"/>
                    <a:pt x="476" y="788"/>
                    <a:pt x="476" y="788"/>
                  </a:cubicBezTo>
                  <a:cubicBezTo>
                    <a:pt x="476" y="787"/>
                    <a:pt x="476" y="787"/>
                    <a:pt x="475" y="786"/>
                  </a:cubicBezTo>
                  <a:cubicBezTo>
                    <a:pt x="475" y="786"/>
                    <a:pt x="474" y="786"/>
                    <a:pt x="473" y="786"/>
                  </a:cubicBezTo>
                  <a:cubicBezTo>
                    <a:pt x="471" y="786"/>
                    <a:pt x="471" y="786"/>
                    <a:pt x="471" y="786"/>
                  </a:cubicBezTo>
                  <a:cubicBezTo>
                    <a:pt x="470" y="786"/>
                    <a:pt x="469" y="786"/>
                    <a:pt x="468" y="787"/>
                  </a:cubicBezTo>
                  <a:cubicBezTo>
                    <a:pt x="468" y="788"/>
                    <a:pt x="468" y="788"/>
                    <a:pt x="468" y="789"/>
                  </a:cubicBezTo>
                  <a:cubicBezTo>
                    <a:pt x="468" y="788"/>
                    <a:pt x="467" y="788"/>
                    <a:pt x="467" y="787"/>
                  </a:cubicBezTo>
                  <a:cubicBezTo>
                    <a:pt x="466" y="787"/>
                    <a:pt x="466" y="787"/>
                    <a:pt x="465" y="788"/>
                  </a:cubicBezTo>
                  <a:cubicBezTo>
                    <a:pt x="465" y="788"/>
                    <a:pt x="464" y="788"/>
                    <a:pt x="464" y="787"/>
                  </a:cubicBezTo>
                  <a:cubicBezTo>
                    <a:pt x="464" y="787"/>
                    <a:pt x="464" y="787"/>
                    <a:pt x="463" y="787"/>
                  </a:cubicBezTo>
                  <a:cubicBezTo>
                    <a:pt x="463" y="787"/>
                    <a:pt x="463" y="787"/>
                    <a:pt x="463" y="787"/>
                  </a:cubicBezTo>
                  <a:cubicBezTo>
                    <a:pt x="462" y="787"/>
                    <a:pt x="462" y="787"/>
                    <a:pt x="462" y="787"/>
                  </a:cubicBezTo>
                  <a:cubicBezTo>
                    <a:pt x="462" y="787"/>
                    <a:pt x="462" y="787"/>
                    <a:pt x="462" y="787"/>
                  </a:cubicBezTo>
                  <a:cubicBezTo>
                    <a:pt x="462" y="787"/>
                    <a:pt x="461" y="786"/>
                    <a:pt x="460" y="786"/>
                  </a:cubicBezTo>
                  <a:cubicBezTo>
                    <a:pt x="460" y="786"/>
                    <a:pt x="459" y="786"/>
                    <a:pt x="459" y="786"/>
                  </a:cubicBezTo>
                  <a:cubicBezTo>
                    <a:pt x="458" y="787"/>
                    <a:pt x="458" y="787"/>
                    <a:pt x="458" y="787"/>
                  </a:cubicBezTo>
                  <a:cubicBezTo>
                    <a:pt x="458" y="787"/>
                    <a:pt x="458" y="787"/>
                    <a:pt x="458" y="787"/>
                  </a:cubicBezTo>
                  <a:cubicBezTo>
                    <a:pt x="457" y="787"/>
                    <a:pt x="457" y="787"/>
                    <a:pt x="456" y="787"/>
                  </a:cubicBezTo>
                  <a:cubicBezTo>
                    <a:pt x="456" y="787"/>
                    <a:pt x="455" y="787"/>
                    <a:pt x="455" y="787"/>
                  </a:cubicBezTo>
                  <a:cubicBezTo>
                    <a:pt x="454" y="787"/>
                    <a:pt x="454" y="787"/>
                    <a:pt x="454" y="787"/>
                  </a:cubicBezTo>
                  <a:cubicBezTo>
                    <a:pt x="454" y="788"/>
                    <a:pt x="454" y="788"/>
                    <a:pt x="454" y="788"/>
                  </a:cubicBezTo>
                  <a:cubicBezTo>
                    <a:pt x="453" y="788"/>
                    <a:pt x="452" y="787"/>
                    <a:pt x="451" y="788"/>
                  </a:cubicBezTo>
                  <a:cubicBezTo>
                    <a:pt x="451" y="788"/>
                    <a:pt x="451" y="788"/>
                    <a:pt x="451" y="788"/>
                  </a:cubicBezTo>
                  <a:cubicBezTo>
                    <a:pt x="451" y="788"/>
                    <a:pt x="451" y="788"/>
                    <a:pt x="451" y="788"/>
                  </a:cubicBezTo>
                  <a:cubicBezTo>
                    <a:pt x="451" y="788"/>
                    <a:pt x="450" y="788"/>
                    <a:pt x="450" y="788"/>
                  </a:cubicBezTo>
                  <a:cubicBezTo>
                    <a:pt x="449" y="787"/>
                    <a:pt x="449" y="787"/>
                    <a:pt x="448" y="787"/>
                  </a:cubicBezTo>
                  <a:cubicBezTo>
                    <a:pt x="448" y="787"/>
                    <a:pt x="448" y="787"/>
                    <a:pt x="448" y="787"/>
                  </a:cubicBezTo>
                  <a:cubicBezTo>
                    <a:pt x="446" y="787"/>
                    <a:pt x="446" y="788"/>
                    <a:pt x="445" y="789"/>
                  </a:cubicBezTo>
                  <a:cubicBezTo>
                    <a:pt x="445" y="789"/>
                    <a:pt x="445" y="790"/>
                    <a:pt x="445" y="790"/>
                  </a:cubicBezTo>
                  <a:cubicBezTo>
                    <a:pt x="445" y="790"/>
                    <a:pt x="445" y="790"/>
                    <a:pt x="444" y="790"/>
                  </a:cubicBezTo>
                  <a:cubicBezTo>
                    <a:pt x="444" y="791"/>
                    <a:pt x="444" y="791"/>
                    <a:pt x="444" y="791"/>
                  </a:cubicBezTo>
                  <a:cubicBezTo>
                    <a:pt x="443" y="791"/>
                    <a:pt x="442" y="791"/>
                    <a:pt x="441" y="792"/>
                  </a:cubicBezTo>
                  <a:cubicBezTo>
                    <a:pt x="441" y="792"/>
                    <a:pt x="441" y="792"/>
                    <a:pt x="441" y="792"/>
                  </a:cubicBezTo>
                  <a:cubicBezTo>
                    <a:pt x="441" y="792"/>
                    <a:pt x="440" y="792"/>
                    <a:pt x="440" y="792"/>
                  </a:cubicBezTo>
                  <a:cubicBezTo>
                    <a:pt x="439" y="792"/>
                    <a:pt x="439" y="792"/>
                    <a:pt x="439" y="792"/>
                  </a:cubicBezTo>
                  <a:cubicBezTo>
                    <a:pt x="438" y="792"/>
                    <a:pt x="438" y="792"/>
                    <a:pt x="438" y="792"/>
                  </a:cubicBezTo>
                  <a:cubicBezTo>
                    <a:pt x="438" y="792"/>
                    <a:pt x="438" y="792"/>
                    <a:pt x="437" y="792"/>
                  </a:cubicBezTo>
                  <a:cubicBezTo>
                    <a:pt x="437" y="792"/>
                    <a:pt x="437" y="792"/>
                    <a:pt x="437" y="792"/>
                  </a:cubicBezTo>
                  <a:cubicBezTo>
                    <a:pt x="437" y="791"/>
                    <a:pt x="436" y="791"/>
                    <a:pt x="436" y="791"/>
                  </a:cubicBezTo>
                  <a:cubicBezTo>
                    <a:pt x="436" y="791"/>
                    <a:pt x="436" y="791"/>
                    <a:pt x="435" y="791"/>
                  </a:cubicBezTo>
                  <a:cubicBezTo>
                    <a:pt x="435" y="791"/>
                    <a:pt x="435" y="790"/>
                    <a:pt x="435" y="790"/>
                  </a:cubicBezTo>
                  <a:cubicBezTo>
                    <a:pt x="434" y="790"/>
                    <a:pt x="434" y="790"/>
                    <a:pt x="434" y="790"/>
                  </a:cubicBezTo>
                  <a:cubicBezTo>
                    <a:pt x="434" y="790"/>
                    <a:pt x="434" y="790"/>
                    <a:pt x="434" y="790"/>
                  </a:cubicBezTo>
                  <a:cubicBezTo>
                    <a:pt x="434" y="789"/>
                    <a:pt x="434" y="789"/>
                    <a:pt x="434" y="789"/>
                  </a:cubicBezTo>
                  <a:cubicBezTo>
                    <a:pt x="434" y="789"/>
                    <a:pt x="434" y="787"/>
                    <a:pt x="432" y="787"/>
                  </a:cubicBezTo>
                  <a:cubicBezTo>
                    <a:pt x="432" y="788"/>
                    <a:pt x="432" y="788"/>
                    <a:pt x="432" y="788"/>
                  </a:cubicBezTo>
                  <a:cubicBezTo>
                    <a:pt x="432" y="787"/>
                    <a:pt x="432" y="787"/>
                    <a:pt x="432" y="787"/>
                  </a:cubicBezTo>
                  <a:cubicBezTo>
                    <a:pt x="431" y="787"/>
                    <a:pt x="431" y="787"/>
                    <a:pt x="430" y="787"/>
                  </a:cubicBezTo>
                  <a:cubicBezTo>
                    <a:pt x="430" y="787"/>
                    <a:pt x="430" y="787"/>
                    <a:pt x="430" y="787"/>
                  </a:cubicBezTo>
                  <a:cubicBezTo>
                    <a:pt x="429" y="787"/>
                    <a:pt x="429" y="787"/>
                    <a:pt x="429" y="787"/>
                  </a:cubicBezTo>
                  <a:cubicBezTo>
                    <a:pt x="429" y="787"/>
                    <a:pt x="428" y="787"/>
                    <a:pt x="428" y="787"/>
                  </a:cubicBezTo>
                  <a:cubicBezTo>
                    <a:pt x="427" y="788"/>
                    <a:pt x="427" y="788"/>
                    <a:pt x="427" y="788"/>
                  </a:cubicBezTo>
                  <a:cubicBezTo>
                    <a:pt x="427" y="787"/>
                    <a:pt x="427" y="787"/>
                    <a:pt x="427" y="787"/>
                  </a:cubicBezTo>
                  <a:cubicBezTo>
                    <a:pt x="426" y="787"/>
                    <a:pt x="425" y="787"/>
                    <a:pt x="424" y="787"/>
                  </a:cubicBezTo>
                  <a:cubicBezTo>
                    <a:pt x="424" y="787"/>
                    <a:pt x="423" y="787"/>
                    <a:pt x="423" y="787"/>
                  </a:cubicBezTo>
                  <a:cubicBezTo>
                    <a:pt x="423" y="788"/>
                    <a:pt x="423" y="788"/>
                    <a:pt x="423" y="788"/>
                  </a:cubicBezTo>
                  <a:cubicBezTo>
                    <a:pt x="423" y="787"/>
                    <a:pt x="423" y="787"/>
                    <a:pt x="423" y="787"/>
                  </a:cubicBezTo>
                  <a:cubicBezTo>
                    <a:pt x="422" y="787"/>
                    <a:pt x="422" y="787"/>
                    <a:pt x="422" y="787"/>
                  </a:cubicBezTo>
                  <a:cubicBezTo>
                    <a:pt x="422" y="787"/>
                    <a:pt x="421" y="787"/>
                    <a:pt x="421" y="787"/>
                  </a:cubicBezTo>
                  <a:cubicBezTo>
                    <a:pt x="421" y="788"/>
                    <a:pt x="421" y="788"/>
                    <a:pt x="421" y="788"/>
                  </a:cubicBezTo>
                  <a:cubicBezTo>
                    <a:pt x="421" y="787"/>
                    <a:pt x="421" y="787"/>
                    <a:pt x="421" y="787"/>
                  </a:cubicBezTo>
                  <a:cubicBezTo>
                    <a:pt x="420" y="787"/>
                    <a:pt x="420" y="787"/>
                    <a:pt x="420" y="787"/>
                  </a:cubicBezTo>
                  <a:cubicBezTo>
                    <a:pt x="420" y="787"/>
                    <a:pt x="420" y="787"/>
                    <a:pt x="420" y="787"/>
                  </a:cubicBezTo>
                  <a:cubicBezTo>
                    <a:pt x="419" y="786"/>
                    <a:pt x="419" y="786"/>
                    <a:pt x="418" y="786"/>
                  </a:cubicBezTo>
                  <a:cubicBezTo>
                    <a:pt x="417" y="786"/>
                    <a:pt x="417" y="786"/>
                    <a:pt x="417" y="786"/>
                  </a:cubicBezTo>
                  <a:cubicBezTo>
                    <a:pt x="417" y="785"/>
                    <a:pt x="417" y="785"/>
                    <a:pt x="417" y="784"/>
                  </a:cubicBezTo>
                  <a:cubicBezTo>
                    <a:pt x="416" y="784"/>
                    <a:pt x="416" y="783"/>
                    <a:pt x="416" y="783"/>
                  </a:cubicBezTo>
                  <a:cubicBezTo>
                    <a:pt x="415" y="783"/>
                    <a:pt x="415" y="783"/>
                    <a:pt x="415" y="783"/>
                  </a:cubicBezTo>
                  <a:cubicBezTo>
                    <a:pt x="415" y="782"/>
                    <a:pt x="414" y="782"/>
                    <a:pt x="414" y="782"/>
                  </a:cubicBezTo>
                  <a:cubicBezTo>
                    <a:pt x="414" y="783"/>
                    <a:pt x="414" y="783"/>
                    <a:pt x="414" y="783"/>
                  </a:cubicBezTo>
                  <a:cubicBezTo>
                    <a:pt x="414" y="783"/>
                    <a:pt x="414" y="783"/>
                    <a:pt x="414" y="783"/>
                  </a:cubicBezTo>
                  <a:cubicBezTo>
                    <a:pt x="414" y="782"/>
                    <a:pt x="414" y="782"/>
                    <a:pt x="414" y="782"/>
                  </a:cubicBezTo>
                  <a:cubicBezTo>
                    <a:pt x="414" y="782"/>
                    <a:pt x="414" y="782"/>
                    <a:pt x="414" y="781"/>
                  </a:cubicBezTo>
                  <a:cubicBezTo>
                    <a:pt x="414" y="781"/>
                    <a:pt x="414" y="781"/>
                    <a:pt x="414" y="781"/>
                  </a:cubicBezTo>
                  <a:cubicBezTo>
                    <a:pt x="413" y="779"/>
                    <a:pt x="412" y="778"/>
                    <a:pt x="411" y="778"/>
                  </a:cubicBezTo>
                  <a:cubicBezTo>
                    <a:pt x="411" y="778"/>
                    <a:pt x="411" y="778"/>
                    <a:pt x="411" y="778"/>
                  </a:cubicBezTo>
                  <a:cubicBezTo>
                    <a:pt x="410" y="777"/>
                    <a:pt x="410" y="777"/>
                    <a:pt x="409" y="776"/>
                  </a:cubicBezTo>
                  <a:cubicBezTo>
                    <a:pt x="408" y="776"/>
                    <a:pt x="408" y="776"/>
                    <a:pt x="408" y="776"/>
                  </a:cubicBezTo>
                  <a:cubicBezTo>
                    <a:pt x="408" y="776"/>
                    <a:pt x="407" y="777"/>
                    <a:pt x="406" y="778"/>
                  </a:cubicBezTo>
                  <a:cubicBezTo>
                    <a:pt x="406" y="778"/>
                    <a:pt x="406" y="778"/>
                    <a:pt x="406" y="778"/>
                  </a:cubicBezTo>
                  <a:cubicBezTo>
                    <a:pt x="406" y="778"/>
                    <a:pt x="406" y="777"/>
                    <a:pt x="406" y="777"/>
                  </a:cubicBezTo>
                  <a:cubicBezTo>
                    <a:pt x="406" y="777"/>
                    <a:pt x="406" y="776"/>
                    <a:pt x="406" y="775"/>
                  </a:cubicBezTo>
                  <a:cubicBezTo>
                    <a:pt x="406" y="775"/>
                    <a:pt x="406" y="775"/>
                    <a:pt x="406" y="774"/>
                  </a:cubicBezTo>
                  <a:cubicBezTo>
                    <a:pt x="406" y="774"/>
                    <a:pt x="406" y="773"/>
                    <a:pt x="406" y="773"/>
                  </a:cubicBezTo>
                  <a:cubicBezTo>
                    <a:pt x="406" y="773"/>
                    <a:pt x="406" y="773"/>
                    <a:pt x="406" y="773"/>
                  </a:cubicBezTo>
                  <a:cubicBezTo>
                    <a:pt x="406" y="772"/>
                    <a:pt x="407" y="771"/>
                    <a:pt x="406" y="770"/>
                  </a:cubicBezTo>
                  <a:cubicBezTo>
                    <a:pt x="405" y="769"/>
                    <a:pt x="404" y="769"/>
                    <a:pt x="403" y="769"/>
                  </a:cubicBezTo>
                  <a:cubicBezTo>
                    <a:pt x="403" y="769"/>
                    <a:pt x="403" y="769"/>
                    <a:pt x="403" y="769"/>
                  </a:cubicBezTo>
                  <a:cubicBezTo>
                    <a:pt x="402" y="769"/>
                    <a:pt x="402" y="769"/>
                    <a:pt x="401" y="769"/>
                  </a:cubicBezTo>
                  <a:cubicBezTo>
                    <a:pt x="400" y="770"/>
                    <a:pt x="400" y="770"/>
                    <a:pt x="399" y="771"/>
                  </a:cubicBezTo>
                  <a:cubicBezTo>
                    <a:pt x="399" y="772"/>
                    <a:pt x="399" y="772"/>
                    <a:pt x="399" y="773"/>
                  </a:cubicBezTo>
                  <a:cubicBezTo>
                    <a:pt x="399" y="774"/>
                    <a:pt x="399" y="774"/>
                    <a:pt x="399" y="774"/>
                  </a:cubicBezTo>
                  <a:cubicBezTo>
                    <a:pt x="399" y="774"/>
                    <a:pt x="399" y="774"/>
                    <a:pt x="399" y="774"/>
                  </a:cubicBezTo>
                  <a:cubicBezTo>
                    <a:pt x="399" y="775"/>
                    <a:pt x="399" y="776"/>
                    <a:pt x="399" y="776"/>
                  </a:cubicBezTo>
                  <a:cubicBezTo>
                    <a:pt x="400" y="777"/>
                    <a:pt x="400" y="777"/>
                    <a:pt x="400" y="777"/>
                  </a:cubicBezTo>
                  <a:cubicBezTo>
                    <a:pt x="400" y="777"/>
                    <a:pt x="400" y="777"/>
                    <a:pt x="400" y="777"/>
                  </a:cubicBezTo>
                  <a:cubicBezTo>
                    <a:pt x="400" y="777"/>
                    <a:pt x="400" y="777"/>
                    <a:pt x="400" y="777"/>
                  </a:cubicBezTo>
                  <a:cubicBezTo>
                    <a:pt x="399" y="777"/>
                    <a:pt x="399" y="777"/>
                    <a:pt x="399" y="777"/>
                  </a:cubicBezTo>
                  <a:cubicBezTo>
                    <a:pt x="399" y="778"/>
                    <a:pt x="399" y="778"/>
                    <a:pt x="399" y="778"/>
                  </a:cubicBezTo>
                  <a:cubicBezTo>
                    <a:pt x="399" y="778"/>
                    <a:pt x="399" y="778"/>
                    <a:pt x="399" y="778"/>
                  </a:cubicBezTo>
                  <a:cubicBezTo>
                    <a:pt x="398" y="778"/>
                    <a:pt x="398" y="778"/>
                    <a:pt x="398" y="778"/>
                  </a:cubicBezTo>
                  <a:cubicBezTo>
                    <a:pt x="398" y="778"/>
                    <a:pt x="398" y="778"/>
                    <a:pt x="398" y="778"/>
                  </a:cubicBezTo>
                  <a:cubicBezTo>
                    <a:pt x="397" y="778"/>
                    <a:pt x="397" y="779"/>
                    <a:pt x="397" y="779"/>
                  </a:cubicBezTo>
                  <a:cubicBezTo>
                    <a:pt x="397" y="779"/>
                    <a:pt x="396" y="779"/>
                    <a:pt x="396" y="779"/>
                  </a:cubicBezTo>
                  <a:cubicBezTo>
                    <a:pt x="395" y="779"/>
                    <a:pt x="395" y="779"/>
                    <a:pt x="395" y="779"/>
                  </a:cubicBezTo>
                  <a:cubicBezTo>
                    <a:pt x="394" y="779"/>
                    <a:pt x="394" y="779"/>
                    <a:pt x="394" y="780"/>
                  </a:cubicBezTo>
                  <a:cubicBezTo>
                    <a:pt x="393" y="780"/>
                    <a:pt x="393" y="780"/>
                    <a:pt x="392" y="781"/>
                  </a:cubicBezTo>
                  <a:cubicBezTo>
                    <a:pt x="392" y="781"/>
                    <a:pt x="392" y="781"/>
                    <a:pt x="392" y="781"/>
                  </a:cubicBezTo>
                  <a:cubicBezTo>
                    <a:pt x="392" y="781"/>
                    <a:pt x="392" y="781"/>
                    <a:pt x="392" y="782"/>
                  </a:cubicBezTo>
                  <a:cubicBezTo>
                    <a:pt x="392" y="782"/>
                    <a:pt x="391" y="782"/>
                    <a:pt x="391" y="782"/>
                  </a:cubicBezTo>
                  <a:cubicBezTo>
                    <a:pt x="391" y="782"/>
                    <a:pt x="391" y="782"/>
                    <a:pt x="390" y="782"/>
                  </a:cubicBezTo>
                  <a:cubicBezTo>
                    <a:pt x="390" y="782"/>
                    <a:pt x="389" y="782"/>
                    <a:pt x="388" y="782"/>
                  </a:cubicBezTo>
                  <a:cubicBezTo>
                    <a:pt x="388" y="782"/>
                    <a:pt x="388" y="782"/>
                    <a:pt x="388" y="782"/>
                  </a:cubicBezTo>
                  <a:cubicBezTo>
                    <a:pt x="389" y="781"/>
                    <a:pt x="389" y="780"/>
                    <a:pt x="389" y="780"/>
                  </a:cubicBezTo>
                  <a:cubicBezTo>
                    <a:pt x="389" y="779"/>
                    <a:pt x="389" y="779"/>
                    <a:pt x="389" y="779"/>
                  </a:cubicBezTo>
                  <a:cubicBezTo>
                    <a:pt x="389" y="779"/>
                    <a:pt x="389" y="779"/>
                    <a:pt x="389" y="778"/>
                  </a:cubicBezTo>
                  <a:cubicBezTo>
                    <a:pt x="389" y="778"/>
                    <a:pt x="389" y="778"/>
                    <a:pt x="389" y="778"/>
                  </a:cubicBezTo>
                  <a:cubicBezTo>
                    <a:pt x="389" y="778"/>
                    <a:pt x="389" y="778"/>
                    <a:pt x="389" y="778"/>
                  </a:cubicBezTo>
                  <a:cubicBezTo>
                    <a:pt x="389" y="777"/>
                    <a:pt x="389" y="777"/>
                    <a:pt x="389" y="777"/>
                  </a:cubicBezTo>
                  <a:cubicBezTo>
                    <a:pt x="390" y="778"/>
                    <a:pt x="390" y="778"/>
                    <a:pt x="390" y="778"/>
                  </a:cubicBezTo>
                  <a:cubicBezTo>
                    <a:pt x="390" y="777"/>
                    <a:pt x="390" y="777"/>
                    <a:pt x="390" y="777"/>
                  </a:cubicBezTo>
                  <a:cubicBezTo>
                    <a:pt x="390" y="777"/>
                    <a:pt x="391" y="777"/>
                    <a:pt x="391" y="777"/>
                  </a:cubicBezTo>
                  <a:cubicBezTo>
                    <a:pt x="391" y="777"/>
                    <a:pt x="391" y="777"/>
                    <a:pt x="391" y="777"/>
                  </a:cubicBezTo>
                  <a:cubicBezTo>
                    <a:pt x="392" y="776"/>
                    <a:pt x="393" y="776"/>
                    <a:pt x="393" y="775"/>
                  </a:cubicBezTo>
                  <a:cubicBezTo>
                    <a:pt x="393" y="775"/>
                    <a:pt x="393" y="775"/>
                    <a:pt x="393" y="775"/>
                  </a:cubicBezTo>
                  <a:cubicBezTo>
                    <a:pt x="393" y="774"/>
                    <a:pt x="393" y="774"/>
                    <a:pt x="394" y="774"/>
                  </a:cubicBezTo>
                  <a:cubicBezTo>
                    <a:pt x="394" y="774"/>
                    <a:pt x="394" y="774"/>
                    <a:pt x="394" y="774"/>
                  </a:cubicBezTo>
                  <a:cubicBezTo>
                    <a:pt x="394" y="773"/>
                    <a:pt x="395" y="772"/>
                    <a:pt x="395" y="771"/>
                  </a:cubicBezTo>
                  <a:cubicBezTo>
                    <a:pt x="395" y="771"/>
                    <a:pt x="395" y="771"/>
                    <a:pt x="395" y="771"/>
                  </a:cubicBezTo>
                  <a:cubicBezTo>
                    <a:pt x="395" y="771"/>
                    <a:pt x="395" y="771"/>
                    <a:pt x="395" y="771"/>
                  </a:cubicBezTo>
                  <a:cubicBezTo>
                    <a:pt x="395" y="771"/>
                    <a:pt x="395" y="770"/>
                    <a:pt x="395" y="769"/>
                  </a:cubicBezTo>
                  <a:cubicBezTo>
                    <a:pt x="394" y="769"/>
                    <a:pt x="394" y="768"/>
                    <a:pt x="393" y="768"/>
                  </a:cubicBezTo>
                  <a:cubicBezTo>
                    <a:pt x="393" y="768"/>
                    <a:pt x="393" y="768"/>
                    <a:pt x="393" y="768"/>
                  </a:cubicBezTo>
                  <a:cubicBezTo>
                    <a:pt x="393" y="767"/>
                    <a:pt x="393" y="767"/>
                    <a:pt x="392" y="766"/>
                  </a:cubicBezTo>
                  <a:cubicBezTo>
                    <a:pt x="391" y="766"/>
                    <a:pt x="391" y="766"/>
                    <a:pt x="390" y="766"/>
                  </a:cubicBezTo>
                  <a:cubicBezTo>
                    <a:pt x="389" y="766"/>
                    <a:pt x="388" y="766"/>
                    <a:pt x="388" y="767"/>
                  </a:cubicBezTo>
                  <a:cubicBezTo>
                    <a:pt x="388" y="767"/>
                    <a:pt x="388" y="767"/>
                    <a:pt x="388" y="767"/>
                  </a:cubicBezTo>
                  <a:cubicBezTo>
                    <a:pt x="387" y="767"/>
                    <a:pt x="387" y="767"/>
                    <a:pt x="387" y="767"/>
                  </a:cubicBezTo>
                  <a:cubicBezTo>
                    <a:pt x="387" y="767"/>
                    <a:pt x="387" y="767"/>
                    <a:pt x="386" y="767"/>
                  </a:cubicBezTo>
                  <a:cubicBezTo>
                    <a:pt x="386" y="767"/>
                    <a:pt x="386" y="767"/>
                    <a:pt x="386" y="767"/>
                  </a:cubicBezTo>
                  <a:cubicBezTo>
                    <a:pt x="385" y="767"/>
                    <a:pt x="385" y="767"/>
                    <a:pt x="384" y="768"/>
                  </a:cubicBezTo>
                  <a:cubicBezTo>
                    <a:pt x="383" y="768"/>
                    <a:pt x="383" y="769"/>
                    <a:pt x="383" y="770"/>
                  </a:cubicBezTo>
                  <a:cubicBezTo>
                    <a:pt x="383" y="770"/>
                    <a:pt x="383" y="771"/>
                    <a:pt x="383" y="772"/>
                  </a:cubicBezTo>
                  <a:cubicBezTo>
                    <a:pt x="383" y="772"/>
                    <a:pt x="383" y="772"/>
                    <a:pt x="383" y="772"/>
                  </a:cubicBezTo>
                  <a:cubicBezTo>
                    <a:pt x="383" y="773"/>
                    <a:pt x="383" y="773"/>
                    <a:pt x="383" y="773"/>
                  </a:cubicBezTo>
                  <a:cubicBezTo>
                    <a:pt x="383" y="773"/>
                    <a:pt x="383" y="773"/>
                    <a:pt x="382" y="773"/>
                  </a:cubicBezTo>
                  <a:cubicBezTo>
                    <a:pt x="382" y="773"/>
                    <a:pt x="382" y="773"/>
                    <a:pt x="382" y="773"/>
                  </a:cubicBezTo>
                  <a:cubicBezTo>
                    <a:pt x="381" y="773"/>
                    <a:pt x="381" y="773"/>
                    <a:pt x="381" y="773"/>
                  </a:cubicBezTo>
                  <a:cubicBezTo>
                    <a:pt x="381" y="774"/>
                    <a:pt x="381" y="774"/>
                    <a:pt x="380" y="774"/>
                  </a:cubicBezTo>
                  <a:cubicBezTo>
                    <a:pt x="380" y="774"/>
                    <a:pt x="379" y="774"/>
                    <a:pt x="379" y="774"/>
                  </a:cubicBezTo>
                  <a:cubicBezTo>
                    <a:pt x="378" y="775"/>
                    <a:pt x="378" y="775"/>
                    <a:pt x="378" y="775"/>
                  </a:cubicBezTo>
                  <a:cubicBezTo>
                    <a:pt x="378" y="775"/>
                    <a:pt x="378" y="775"/>
                    <a:pt x="377" y="775"/>
                  </a:cubicBezTo>
                  <a:cubicBezTo>
                    <a:pt x="377" y="775"/>
                    <a:pt x="376" y="776"/>
                    <a:pt x="376" y="776"/>
                  </a:cubicBezTo>
                  <a:cubicBezTo>
                    <a:pt x="376" y="777"/>
                    <a:pt x="376" y="777"/>
                    <a:pt x="376" y="777"/>
                  </a:cubicBezTo>
                  <a:cubicBezTo>
                    <a:pt x="375" y="777"/>
                    <a:pt x="375" y="777"/>
                    <a:pt x="375" y="778"/>
                  </a:cubicBezTo>
                  <a:cubicBezTo>
                    <a:pt x="374" y="778"/>
                    <a:pt x="374" y="778"/>
                    <a:pt x="374" y="778"/>
                  </a:cubicBezTo>
                  <a:cubicBezTo>
                    <a:pt x="374" y="779"/>
                    <a:pt x="374" y="779"/>
                    <a:pt x="374" y="779"/>
                  </a:cubicBezTo>
                  <a:cubicBezTo>
                    <a:pt x="374" y="779"/>
                    <a:pt x="373" y="779"/>
                    <a:pt x="373" y="779"/>
                  </a:cubicBezTo>
                  <a:cubicBezTo>
                    <a:pt x="373" y="779"/>
                    <a:pt x="373" y="778"/>
                    <a:pt x="373" y="778"/>
                  </a:cubicBezTo>
                  <a:cubicBezTo>
                    <a:pt x="372" y="778"/>
                    <a:pt x="372" y="778"/>
                    <a:pt x="372" y="778"/>
                  </a:cubicBezTo>
                  <a:cubicBezTo>
                    <a:pt x="372" y="779"/>
                    <a:pt x="372" y="778"/>
                    <a:pt x="371" y="778"/>
                  </a:cubicBezTo>
                  <a:cubicBezTo>
                    <a:pt x="371" y="778"/>
                    <a:pt x="371" y="778"/>
                    <a:pt x="370" y="778"/>
                  </a:cubicBezTo>
                  <a:cubicBezTo>
                    <a:pt x="370" y="779"/>
                    <a:pt x="370" y="779"/>
                    <a:pt x="370" y="779"/>
                  </a:cubicBezTo>
                  <a:cubicBezTo>
                    <a:pt x="369" y="778"/>
                    <a:pt x="369" y="778"/>
                    <a:pt x="369" y="779"/>
                  </a:cubicBezTo>
                  <a:cubicBezTo>
                    <a:pt x="368" y="779"/>
                    <a:pt x="368" y="779"/>
                    <a:pt x="368" y="779"/>
                  </a:cubicBezTo>
                  <a:cubicBezTo>
                    <a:pt x="367" y="779"/>
                    <a:pt x="367" y="779"/>
                    <a:pt x="366" y="780"/>
                  </a:cubicBezTo>
                  <a:cubicBezTo>
                    <a:pt x="366" y="780"/>
                    <a:pt x="366" y="780"/>
                    <a:pt x="366" y="781"/>
                  </a:cubicBezTo>
                  <a:cubicBezTo>
                    <a:pt x="365" y="780"/>
                    <a:pt x="364" y="780"/>
                    <a:pt x="363" y="780"/>
                  </a:cubicBezTo>
                  <a:cubicBezTo>
                    <a:pt x="363" y="781"/>
                    <a:pt x="362" y="781"/>
                    <a:pt x="362" y="781"/>
                  </a:cubicBezTo>
                  <a:cubicBezTo>
                    <a:pt x="362" y="781"/>
                    <a:pt x="362" y="781"/>
                    <a:pt x="362" y="781"/>
                  </a:cubicBezTo>
                  <a:cubicBezTo>
                    <a:pt x="361" y="782"/>
                    <a:pt x="361" y="782"/>
                    <a:pt x="361" y="782"/>
                  </a:cubicBezTo>
                  <a:cubicBezTo>
                    <a:pt x="361" y="782"/>
                    <a:pt x="360" y="782"/>
                    <a:pt x="360" y="782"/>
                  </a:cubicBezTo>
                  <a:cubicBezTo>
                    <a:pt x="360" y="783"/>
                    <a:pt x="359" y="783"/>
                    <a:pt x="359" y="783"/>
                  </a:cubicBezTo>
                  <a:cubicBezTo>
                    <a:pt x="359" y="783"/>
                    <a:pt x="358" y="784"/>
                    <a:pt x="358" y="784"/>
                  </a:cubicBezTo>
                  <a:cubicBezTo>
                    <a:pt x="357" y="785"/>
                    <a:pt x="357" y="785"/>
                    <a:pt x="357" y="785"/>
                  </a:cubicBezTo>
                  <a:cubicBezTo>
                    <a:pt x="357" y="785"/>
                    <a:pt x="357" y="785"/>
                    <a:pt x="357" y="785"/>
                  </a:cubicBezTo>
                  <a:cubicBezTo>
                    <a:pt x="356" y="785"/>
                    <a:pt x="356" y="786"/>
                    <a:pt x="356" y="786"/>
                  </a:cubicBezTo>
                  <a:cubicBezTo>
                    <a:pt x="356" y="786"/>
                    <a:pt x="356" y="786"/>
                    <a:pt x="356" y="787"/>
                  </a:cubicBezTo>
                  <a:cubicBezTo>
                    <a:pt x="355" y="787"/>
                    <a:pt x="355" y="787"/>
                    <a:pt x="355" y="787"/>
                  </a:cubicBezTo>
                  <a:cubicBezTo>
                    <a:pt x="354" y="788"/>
                    <a:pt x="354" y="788"/>
                    <a:pt x="354" y="788"/>
                  </a:cubicBezTo>
                  <a:cubicBezTo>
                    <a:pt x="354" y="788"/>
                    <a:pt x="354" y="788"/>
                    <a:pt x="354" y="788"/>
                  </a:cubicBezTo>
                  <a:cubicBezTo>
                    <a:pt x="354" y="789"/>
                    <a:pt x="352" y="789"/>
                    <a:pt x="352" y="790"/>
                  </a:cubicBezTo>
                  <a:cubicBezTo>
                    <a:pt x="352" y="791"/>
                    <a:pt x="353" y="791"/>
                    <a:pt x="353" y="791"/>
                  </a:cubicBezTo>
                  <a:cubicBezTo>
                    <a:pt x="352" y="792"/>
                    <a:pt x="352" y="792"/>
                    <a:pt x="352" y="793"/>
                  </a:cubicBezTo>
                  <a:cubicBezTo>
                    <a:pt x="352" y="793"/>
                    <a:pt x="353" y="794"/>
                    <a:pt x="354" y="794"/>
                  </a:cubicBezTo>
                  <a:cubicBezTo>
                    <a:pt x="353" y="794"/>
                    <a:pt x="353" y="794"/>
                    <a:pt x="353" y="795"/>
                  </a:cubicBezTo>
                  <a:cubicBezTo>
                    <a:pt x="351" y="796"/>
                    <a:pt x="351" y="797"/>
                    <a:pt x="352" y="797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2" y="798"/>
                    <a:pt x="352" y="798"/>
                  </a:cubicBezTo>
                  <a:cubicBezTo>
                    <a:pt x="352" y="798"/>
                    <a:pt x="351" y="797"/>
                    <a:pt x="350" y="797"/>
                  </a:cubicBezTo>
                  <a:cubicBezTo>
                    <a:pt x="350" y="797"/>
                    <a:pt x="350" y="798"/>
                    <a:pt x="349" y="798"/>
                  </a:cubicBezTo>
                  <a:cubicBezTo>
                    <a:pt x="349" y="798"/>
                    <a:pt x="349" y="798"/>
                    <a:pt x="348" y="799"/>
                  </a:cubicBezTo>
                  <a:cubicBezTo>
                    <a:pt x="348" y="799"/>
                    <a:pt x="347" y="800"/>
                    <a:pt x="347" y="800"/>
                  </a:cubicBezTo>
                  <a:cubicBezTo>
                    <a:pt x="347" y="801"/>
                    <a:pt x="347" y="801"/>
                    <a:pt x="347" y="801"/>
                  </a:cubicBezTo>
                  <a:cubicBezTo>
                    <a:pt x="347" y="801"/>
                    <a:pt x="347" y="801"/>
                    <a:pt x="347" y="801"/>
                  </a:cubicBezTo>
                  <a:cubicBezTo>
                    <a:pt x="347" y="801"/>
                    <a:pt x="346" y="801"/>
                    <a:pt x="346" y="801"/>
                  </a:cubicBezTo>
                  <a:cubicBezTo>
                    <a:pt x="346" y="802"/>
                    <a:pt x="346" y="802"/>
                    <a:pt x="346" y="803"/>
                  </a:cubicBezTo>
                  <a:cubicBezTo>
                    <a:pt x="346" y="803"/>
                    <a:pt x="346" y="803"/>
                    <a:pt x="345" y="803"/>
                  </a:cubicBezTo>
                  <a:cubicBezTo>
                    <a:pt x="345" y="803"/>
                    <a:pt x="345" y="804"/>
                    <a:pt x="345" y="804"/>
                  </a:cubicBezTo>
                  <a:cubicBezTo>
                    <a:pt x="344" y="804"/>
                    <a:pt x="344" y="804"/>
                    <a:pt x="344" y="804"/>
                  </a:cubicBezTo>
                  <a:cubicBezTo>
                    <a:pt x="344" y="805"/>
                    <a:pt x="344" y="805"/>
                    <a:pt x="343" y="806"/>
                  </a:cubicBezTo>
                  <a:cubicBezTo>
                    <a:pt x="343" y="806"/>
                    <a:pt x="343" y="806"/>
                    <a:pt x="343" y="806"/>
                  </a:cubicBezTo>
                  <a:cubicBezTo>
                    <a:pt x="343" y="806"/>
                    <a:pt x="343" y="806"/>
                    <a:pt x="343" y="806"/>
                  </a:cubicBezTo>
                  <a:cubicBezTo>
                    <a:pt x="343" y="806"/>
                    <a:pt x="343" y="807"/>
                    <a:pt x="343" y="807"/>
                  </a:cubicBezTo>
                  <a:cubicBezTo>
                    <a:pt x="343" y="807"/>
                    <a:pt x="342" y="807"/>
                    <a:pt x="342" y="807"/>
                  </a:cubicBezTo>
                  <a:cubicBezTo>
                    <a:pt x="342" y="807"/>
                    <a:pt x="342" y="807"/>
                    <a:pt x="341" y="807"/>
                  </a:cubicBezTo>
                  <a:cubicBezTo>
                    <a:pt x="341" y="807"/>
                    <a:pt x="341" y="808"/>
                    <a:pt x="340" y="808"/>
                  </a:cubicBezTo>
                  <a:cubicBezTo>
                    <a:pt x="340" y="808"/>
                    <a:pt x="340" y="808"/>
                    <a:pt x="340" y="808"/>
                  </a:cubicBezTo>
                  <a:cubicBezTo>
                    <a:pt x="340" y="808"/>
                    <a:pt x="340" y="808"/>
                    <a:pt x="340" y="807"/>
                  </a:cubicBezTo>
                  <a:cubicBezTo>
                    <a:pt x="340" y="807"/>
                    <a:pt x="340" y="807"/>
                    <a:pt x="340" y="807"/>
                  </a:cubicBezTo>
                  <a:cubicBezTo>
                    <a:pt x="340" y="807"/>
                    <a:pt x="340" y="807"/>
                    <a:pt x="340" y="807"/>
                  </a:cubicBezTo>
                  <a:cubicBezTo>
                    <a:pt x="340" y="805"/>
                    <a:pt x="340" y="805"/>
                    <a:pt x="340" y="805"/>
                  </a:cubicBezTo>
                  <a:cubicBezTo>
                    <a:pt x="339" y="805"/>
                    <a:pt x="339" y="805"/>
                    <a:pt x="339" y="805"/>
                  </a:cubicBezTo>
                  <a:cubicBezTo>
                    <a:pt x="338" y="805"/>
                    <a:pt x="338" y="805"/>
                    <a:pt x="337" y="805"/>
                  </a:cubicBezTo>
                  <a:cubicBezTo>
                    <a:pt x="337" y="805"/>
                    <a:pt x="337" y="805"/>
                    <a:pt x="337" y="805"/>
                  </a:cubicBezTo>
                  <a:cubicBezTo>
                    <a:pt x="337" y="805"/>
                    <a:pt x="337" y="805"/>
                    <a:pt x="337" y="805"/>
                  </a:cubicBezTo>
                  <a:cubicBezTo>
                    <a:pt x="336" y="804"/>
                    <a:pt x="336" y="804"/>
                    <a:pt x="336" y="804"/>
                  </a:cubicBezTo>
                  <a:cubicBezTo>
                    <a:pt x="336" y="804"/>
                    <a:pt x="336" y="804"/>
                    <a:pt x="336" y="804"/>
                  </a:cubicBezTo>
                  <a:cubicBezTo>
                    <a:pt x="336" y="804"/>
                    <a:pt x="336" y="804"/>
                    <a:pt x="336" y="804"/>
                  </a:cubicBezTo>
                  <a:cubicBezTo>
                    <a:pt x="335" y="802"/>
                    <a:pt x="334" y="801"/>
                    <a:pt x="333" y="800"/>
                  </a:cubicBezTo>
                  <a:cubicBezTo>
                    <a:pt x="333" y="800"/>
                    <a:pt x="333" y="800"/>
                    <a:pt x="332" y="800"/>
                  </a:cubicBezTo>
                  <a:cubicBezTo>
                    <a:pt x="332" y="799"/>
                    <a:pt x="330" y="798"/>
                    <a:pt x="329" y="797"/>
                  </a:cubicBezTo>
                  <a:cubicBezTo>
                    <a:pt x="328" y="797"/>
                    <a:pt x="328" y="797"/>
                    <a:pt x="328" y="797"/>
                  </a:cubicBezTo>
                  <a:cubicBezTo>
                    <a:pt x="328" y="797"/>
                    <a:pt x="327" y="796"/>
                    <a:pt x="327" y="796"/>
                  </a:cubicBezTo>
                  <a:cubicBezTo>
                    <a:pt x="327" y="796"/>
                    <a:pt x="326" y="796"/>
                    <a:pt x="326" y="796"/>
                  </a:cubicBezTo>
                  <a:cubicBezTo>
                    <a:pt x="325" y="796"/>
                    <a:pt x="325" y="796"/>
                    <a:pt x="324" y="796"/>
                  </a:cubicBezTo>
                  <a:cubicBezTo>
                    <a:pt x="324" y="796"/>
                    <a:pt x="324" y="796"/>
                    <a:pt x="324" y="796"/>
                  </a:cubicBezTo>
                  <a:cubicBezTo>
                    <a:pt x="323" y="795"/>
                    <a:pt x="323" y="795"/>
                    <a:pt x="323" y="795"/>
                  </a:cubicBezTo>
                  <a:cubicBezTo>
                    <a:pt x="323" y="795"/>
                    <a:pt x="323" y="795"/>
                    <a:pt x="322" y="795"/>
                  </a:cubicBezTo>
                  <a:cubicBezTo>
                    <a:pt x="322" y="795"/>
                    <a:pt x="322" y="795"/>
                    <a:pt x="321" y="795"/>
                  </a:cubicBezTo>
                  <a:cubicBezTo>
                    <a:pt x="320" y="795"/>
                    <a:pt x="319" y="795"/>
                    <a:pt x="319" y="796"/>
                  </a:cubicBezTo>
                  <a:cubicBezTo>
                    <a:pt x="320" y="797"/>
                    <a:pt x="320" y="797"/>
                    <a:pt x="320" y="797"/>
                  </a:cubicBezTo>
                  <a:cubicBezTo>
                    <a:pt x="319" y="796"/>
                    <a:pt x="319" y="796"/>
                    <a:pt x="319" y="796"/>
                  </a:cubicBezTo>
                  <a:cubicBezTo>
                    <a:pt x="319" y="796"/>
                    <a:pt x="319" y="796"/>
                    <a:pt x="318" y="796"/>
                  </a:cubicBezTo>
                  <a:cubicBezTo>
                    <a:pt x="318" y="797"/>
                    <a:pt x="317" y="798"/>
                    <a:pt x="317" y="798"/>
                  </a:cubicBezTo>
                  <a:cubicBezTo>
                    <a:pt x="317" y="798"/>
                    <a:pt x="317" y="798"/>
                    <a:pt x="317" y="799"/>
                  </a:cubicBezTo>
                  <a:cubicBezTo>
                    <a:pt x="317" y="799"/>
                    <a:pt x="317" y="799"/>
                    <a:pt x="317" y="799"/>
                  </a:cubicBezTo>
                  <a:cubicBezTo>
                    <a:pt x="317" y="799"/>
                    <a:pt x="317" y="799"/>
                    <a:pt x="316" y="799"/>
                  </a:cubicBezTo>
                  <a:cubicBezTo>
                    <a:pt x="316" y="799"/>
                    <a:pt x="316" y="799"/>
                    <a:pt x="316" y="799"/>
                  </a:cubicBezTo>
                  <a:cubicBezTo>
                    <a:pt x="315" y="799"/>
                    <a:pt x="315" y="800"/>
                    <a:pt x="314" y="800"/>
                  </a:cubicBezTo>
                  <a:cubicBezTo>
                    <a:pt x="314" y="800"/>
                    <a:pt x="313" y="800"/>
                    <a:pt x="313" y="801"/>
                  </a:cubicBezTo>
                  <a:cubicBezTo>
                    <a:pt x="312" y="801"/>
                    <a:pt x="312" y="801"/>
                    <a:pt x="312" y="801"/>
                  </a:cubicBezTo>
                  <a:cubicBezTo>
                    <a:pt x="311" y="801"/>
                    <a:pt x="310" y="801"/>
                    <a:pt x="310" y="802"/>
                  </a:cubicBezTo>
                  <a:cubicBezTo>
                    <a:pt x="309" y="802"/>
                    <a:pt x="309" y="803"/>
                    <a:pt x="308" y="803"/>
                  </a:cubicBezTo>
                  <a:cubicBezTo>
                    <a:pt x="308" y="803"/>
                    <a:pt x="308" y="803"/>
                    <a:pt x="308" y="803"/>
                  </a:cubicBezTo>
                  <a:cubicBezTo>
                    <a:pt x="308" y="804"/>
                    <a:pt x="307" y="804"/>
                    <a:pt x="307" y="804"/>
                  </a:cubicBezTo>
                  <a:cubicBezTo>
                    <a:pt x="306" y="804"/>
                    <a:pt x="306" y="804"/>
                    <a:pt x="306" y="804"/>
                  </a:cubicBezTo>
                  <a:cubicBezTo>
                    <a:pt x="306" y="804"/>
                    <a:pt x="306" y="804"/>
                    <a:pt x="305" y="804"/>
                  </a:cubicBezTo>
                  <a:cubicBezTo>
                    <a:pt x="305" y="804"/>
                    <a:pt x="305" y="803"/>
                    <a:pt x="304" y="803"/>
                  </a:cubicBezTo>
                  <a:cubicBezTo>
                    <a:pt x="304" y="802"/>
                    <a:pt x="304" y="802"/>
                    <a:pt x="303" y="802"/>
                  </a:cubicBezTo>
                  <a:cubicBezTo>
                    <a:pt x="302" y="802"/>
                    <a:pt x="302" y="802"/>
                    <a:pt x="302" y="802"/>
                  </a:cubicBezTo>
                  <a:cubicBezTo>
                    <a:pt x="302" y="802"/>
                    <a:pt x="301" y="802"/>
                    <a:pt x="301" y="802"/>
                  </a:cubicBezTo>
                  <a:cubicBezTo>
                    <a:pt x="301" y="802"/>
                    <a:pt x="301" y="802"/>
                    <a:pt x="300" y="802"/>
                  </a:cubicBezTo>
                  <a:cubicBezTo>
                    <a:pt x="300" y="802"/>
                    <a:pt x="300" y="802"/>
                    <a:pt x="300" y="802"/>
                  </a:cubicBezTo>
                  <a:cubicBezTo>
                    <a:pt x="300" y="802"/>
                    <a:pt x="300" y="802"/>
                    <a:pt x="300" y="802"/>
                  </a:cubicBezTo>
                  <a:cubicBezTo>
                    <a:pt x="300" y="801"/>
                    <a:pt x="300" y="801"/>
                    <a:pt x="300" y="800"/>
                  </a:cubicBezTo>
                  <a:cubicBezTo>
                    <a:pt x="300" y="800"/>
                    <a:pt x="300" y="800"/>
                    <a:pt x="300" y="800"/>
                  </a:cubicBezTo>
                  <a:cubicBezTo>
                    <a:pt x="300" y="798"/>
                    <a:pt x="300" y="798"/>
                    <a:pt x="300" y="798"/>
                  </a:cubicBezTo>
                  <a:cubicBezTo>
                    <a:pt x="300" y="798"/>
                    <a:pt x="300" y="798"/>
                    <a:pt x="300" y="798"/>
                  </a:cubicBezTo>
                  <a:cubicBezTo>
                    <a:pt x="300" y="798"/>
                    <a:pt x="300" y="797"/>
                    <a:pt x="300" y="797"/>
                  </a:cubicBezTo>
                  <a:cubicBezTo>
                    <a:pt x="300" y="797"/>
                    <a:pt x="300" y="797"/>
                    <a:pt x="300" y="797"/>
                  </a:cubicBezTo>
                  <a:cubicBezTo>
                    <a:pt x="299" y="797"/>
                    <a:pt x="299" y="797"/>
                    <a:pt x="299" y="797"/>
                  </a:cubicBezTo>
                  <a:cubicBezTo>
                    <a:pt x="299" y="796"/>
                    <a:pt x="299" y="795"/>
                    <a:pt x="298" y="795"/>
                  </a:cubicBezTo>
                  <a:cubicBezTo>
                    <a:pt x="298" y="794"/>
                    <a:pt x="298" y="794"/>
                    <a:pt x="297" y="793"/>
                  </a:cubicBezTo>
                  <a:cubicBezTo>
                    <a:pt x="297" y="793"/>
                    <a:pt x="297" y="793"/>
                    <a:pt x="297" y="793"/>
                  </a:cubicBezTo>
                  <a:cubicBezTo>
                    <a:pt x="297" y="793"/>
                    <a:pt x="297" y="792"/>
                    <a:pt x="297" y="792"/>
                  </a:cubicBezTo>
                  <a:cubicBezTo>
                    <a:pt x="297" y="791"/>
                    <a:pt x="297" y="790"/>
                    <a:pt x="296" y="789"/>
                  </a:cubicBezTo>
                  <a:cubicBezTo>
                    <a:pt x="296" y="789"/>
                    <a:pt x="295" y="788"/>
                    <a:pt x="294" y="788"/>
                  </a:cubicBezTo>
                  <a:cubicBezTo>
                    <a:pt x="294" y="788"/>
                    <a:pt x="294" y="788"/>
                    <a:pt x="293" y="788"/>
                  </a:cubicBezTo>
                  <a:cubicBezTo>
                    <a:pt x="293" y="787"/>
                    <a:pt x="293" y="787"/>
                    <a:pt x="293" y="787"/>
                  </a:cubicBezTo>
                  <a:cubicBezTo>
                    <a:pt x="293" y="787"/>
                    <a:pt x="293" y="787"/>
                    <a:pt x="293" y="787"/>
                  </a:cubicBezTo>
                  <a:cubicBezTo>
                    <a:pt x="293" y="786"/>
                    <a:pt x="293" y="786"/>
                    <a:pt x="293" y="785"/>
                  </a:cubicBezTo>
                  <a:cubicBezTo>
                    <a:pt x="293" y="785"/>
                    <a:pt x="293" y="785"/>
                    <a:pt x="293" y="785"/>
                  </a:cubicBezTo>
                  <a:cubicBezTo>
                    <a:pt x="293" y="784"/>
                    <a:pt x="293" y="784"/>
                    <a:pt x="293" y="783"/>
                  </a:cubicBezTo>
                  <a:cubicBezTo>
                    <a:pt x="293" y="783"/>
                    <a:pt x="293" y="783"/>
                    <a:pt x="293" y="783"/>
                  </a:cubicBezTo>
                  <a:cubicBezTo>
                    <a:pt x="293" y="782"/>
                    <a:pt x="293" y="782"/>
                    <a:pt x="293" y="782"/>
                  </a:cubicBezTo>
                  <a:cubicBezTo>
                    <a:pt x="293" y="782"/>
                    <a:pt x="293" y="782"/>
                    <a:pt x="293" y="782"/>
                  </a:cubicBezTo>
                  <a:cubicBezTo>
                    <a:pt x="292" y="780"/>
                    <a:pt x="292" y="780"/>
                    <a:pt x="292" y="780"/>
                  </a:cubicBezTo>
                  <a:cubicBezTo>
                    <a:pt x="292" y="781"/>
                    <a:pt x="292" y="781"/>
                    <a:pt x="292" y="781"/>
                  </a:cubicBezTo>
                  <a:cubicBezTo>
                    <a:pt x="292" y="781"/>
                    <a:pt x="292" y="781"/>
                    <a:pt x="292" y="781"/>
                  </a:cubicBezTo>
                  <a:cubicBezTo>
                    <a:pt x="292" y="780"/>
                    <a:pt x="292" y="780"/>
                    <a:pt x="292" y="780"/>
                  </a:cubicBezTo>
                  <a:cubicBezTo>
                    <a:pt x="292" y="779"/>
                    <a:pt x="292" y="779"/>
                    <a:pt x="292" y="779"/>
                  </a:cubicBezTo>
                  <a:cubicBezTo>
                    <a:pt x="292" y="778"/>
                    <a:pt x="292" y="778"/>
                    <a:pt x="292" y="778"/>
                  </a:cubicBezTo>
                  <a:cubicBezTo>
                    <a:pt x="292" y="778"/>
                    <a:pt x="292" y="777"/>
                    <a:pt x="291" y="776"/>
                  </a:cubicBezTo>
                  <a:cubicBezTo>
                    <a:pt x="291" y="776"/>
                    <a:pt x="291" y="776"/>
                    <a:pt x="291" y="775"/>
                  </a:cubicBezTo>
                  <a:cubicBezTo>
                    <a:pt x="291" y="775"/>
                    <a:pt x="291" y="775"/>
                    <a:pt x="291" y="775"/>
                  </a:cubicBezTo>
                  <a:cubicBezTo>
                    <a:pt x="291" y="774"/>
                    <a:pt x="291" y="774"/>
                    <a:pt x="292" y="774"/>
                  </a:cubicBezTo>
                  <a:cubicBezTo>
                    <a:pt x="292" y="774"/>
                    <a:pt x="292" y="774"/>
                    <a:pt x="292" y="774"/>
                  </a:cubicBezTo>
                  <a:cubicBezTo>
                    <a:pt x="292" y="773"/>
                    <a:pt x="293" y="773"/>
                    <a:pt x="293" y="772"/>
                  </a:cubicBezTo>
                  <a:cubicBezTo>
                    <a:pt x="294" y="771"/>
                    <a:pt x="294" y="770"/>
                    <a:pt x="294" y="769"/>
                  </a:cubicBezTo>
                  <a:cubicBezTo>
                    <a:pt x="293" y="769"/>
                    <a:pt x="293" y="768"/>
                    <a:pt x="293" y="768"/>
                  </a:cubicBezTo>
                  <a:cubicBezTo>
                    <a:pt x="293" y="768"/>
                    <a:pt x="293" y="768"/>
                    <a:pt x="293" y="768"/>
                  </a:cubicBezTo>
                  <a:cubicBezTo>
                    <a:pt x="294" y="767"/>
                    <a:pt x="295" y="767"/>
                    <a:pt x="295" y="765"/>
                  </a:cubicBezTo>
                  <a:cubicBezTo>
                    <a:pt x="294" y="765"/>
                    <a:pt x="294" y="764"/>
                    <a:pt x="294" y="764"/>
                  </a:cubicBezTo>
                  <a:cubicBezTo>
                    <a:pt x="294" y="764"/>
                    <a:pt x="294" y="764"/>
                    <a:pt x="294" y="763"/>
                  </a:cubicBezTo>
                  <a:cubicBezTo>
                    <a:pt x="294" y="763"/>
                    <a:pt x="294" y="763"/>
                    <a:pt x="294" y="762"/>
                  </a:cubicBezTo>
                  <a:cubicBezTo>
                    <a:pt x="294" y="762"/>
                    <a:pt x="294" y="762"/>
                    <a:pt x="294" y="761"/>
                  </a:cubicBezTo>
                  <a:cubicBezTo>
                    <a:pt x="294" y="761"/>
                    <a:pt x="294" y="761"/>
                    <a:pt x="294" y="761"/>
                  </a:cubicBezTo>
                  <a:cubicBezTo>
                    <a:pt x="294" y="761"/>
                    <a:pt x="295" y="761"/>
                    <a:pt x="295" y="761"/>
                  </a:cubicBezTo>
                  <a:cubicBezTo>
                    <a:pt x="296" y="760"/>
                    <a:pt x="296" y="759"/>
                    <a:pt x="296" y="758"/>
                  </a:cubicBezTo>
                  <a:cubicBezTo>
                    <a:pt x="296" y="758"/>
                    <a:pt x="296" y="758"/>
                    <a:pt x="296" y="757"/>
                  </a:cubicBezTo>
                  <a:cubicBezTo>
                    <a:pt x="296" y="757"/>
                    <a:pt x="296" y="756"/>
                    <a:pt x="296" y="756"/>
                  </a:cubicBezTo>
                  <a:cubicBezTo>
                    <a:pt x="296" y="756"/>
                    <a:pt x="296" y="755"/>
                    <a:pt x="297" y="755"/>
                  </a:cubicBezTo>
                  <a:cubicBezTo>
                    <a:pt x="297" y="754"/>
                    <a:pt x="297" y="753"/>
                    <a:pt x="297" y="752"/>
                  </a:cubicBezTo>
                  <a:cubicBezTo>
                    <a:pt x="297" y="751"/>
                    <a:pt x="298" y="751"/>
                    <a:pt x="298" y="751"/>
                  </a:cubicBezTo>
                  <a:cubicBezTo>
                    <a:pt x="299" y="750"/>
                    <a:pt x="299" y="749"/>
                    <a:pt x="299" y="748"/>
                  </a:cubicBezTo>
                  <a:cubicBezTo>
                    <a:pt x="299" y="748"/>
                    <a:pt x="299" y="748"/>
                    <a:pt x="299" y="748"/>
                  </a:cubicBezTo>
                  <a:cubicBezTo>
                    <a:pt x="299" y="747"/>
                    <a:pt x="299" y="746"/>
                    <a:pt x="299" y="745"/>
                  </a:cubicBezTo>
                  <a:cubicBezTo>
                    <a:pt x="299" y="745"/>
                    <a:pt x="299" y="745"/>
                    <a:pt x="299" y="745"/>
                  </a:cubicBezTo>
                  <a:cubicBezTo>
                    <a:pt x="299" y="744"/>
                    <a:pt x="299" y="744"/>
                    <a:pt x="299" y="744"/>
                  </a:cubicBezTo>
                  <a:cubicBezTo>
                    <a:pt x="299" y="744"/>
                    <a:pt x="299" y="744"/>
                    <a:pt x="299" y="744"/>
                  </a:cubicBezTo>
                  <a:cubicBezTo>
                    <a:pt x="300" y="744"/>
                    <a:pt x="300" y="744"/>
                    <a:pt x="300" y="744"/>
                  </a:cubicBezTo>
                  <a:cubicBezTo>
                    <a:pt x="300" y="744"/>
                    <a:pt x="301" y="744"/>
                    <a:pt x="302" y="743"/>
                  </a:cubicBezTo>
                  <a:cubicBezTo>
                    <a:pt x="302" y="742"/>
                    <a:pt x="302" y="742"/>
                    <a:pt x="302" y="742"/>
                  </a:cubicBezTo>
                  <a:cubicBezTo>
                    <a:pt x="302" y="742"/>
                    <a:pt x="302" y="742"/>
                    <a:pt x="302" y="741"/>
                  </a:cubicBezTo>
                  <a:cubicBezTo>
                    <a:pt x="302" y="741"/>
                    <a:pt x="302" y="740"/>
                    <a:pt x="301" y="739"/>
                  </a:cubicBezTo>
                  <a:cubicBezTo>
                    <a:pt x="301" y="739"/>
                    <a:pt x="301" y="739"/>
                    <a:pt x="301" y="739"/>
                  </a:cubicBezTo>
                  <a:cubicBezTo>
                    <a:pt x="301" y="738"/>
                    <a:pt x="301" y="737"/>
                    <a:pt x="301" y="737"/>
                  </a:cubicBezTo>
                  <a:cubicBezTo>
                    <a:pt x="301" y="737"/>
                    <a:pt x="301" y="736"/>
                    <a:pt x="301" y="736"/>
                  </a:cubicBezTo>
                  <a:cubicBezTo>
                    <a:pt x="302" y="736"/>
                    <a:pt x="302" y="736"/>
                    <a:pt x="302" y="735"/>
                  </a:cubicBezTo>
                  <a:cubicBezTo>
                    <a:pt x="303" y="735"/>
                    <a:pt x="303" y="735"/>
                    <a:pt x="303" y="735"/>
                  </a:cubicBezTo>
                  <a:cubicBezTo>
                    <a:pt x="303" y="734"/>
                    <a:pt x="303" y="734"/>
                    <a:pt x="303" y="734"/>
                  </a:cubicBezTo>
                  <a:cubicBezTo>
                    <a:pt x="303" y="733"/>
                    <a:pt x="303" y="732"/>
                    <a:pt x="303" y="732"/>
                  </a:cubicBezTo>
                  <a:cubicBezTo>
                    <a:pt x="302" y="731"/>
                    <a:pt x="302" y="730"/>
                    <a:pt x="301" y="729"/>
                  </a:cubicBezTo>
                  <a:cubicBezTo>
                    <a:pt x="301" y="729"/>
                    <a:pt x="301" y="729"/>
                    <a:pt x="301" y="729"/>
                  </a:cubicBezTo>
                  <a:cubicBezTo>
                    <a:pt x="300" y="728"/>
                    <a:pt x="300" y="728"/>
                    <a:pt x="299" y="728"/>
                  </a:cubicBezTo>
                  <a:cubicBezTo>
                    <a:pt x="299" y="727"/>
                    <a:pt x="299" y="727"/>
                    <a:pt x="299" y="727"/>
                  </a:cubicBezTo>
                  <a:cubicBezTo>
                    <a:pt x="298" y="727"/>
                    <a:pt x="298" y="727"/>
                    <a:pt x="298" y="728"/>
                  </a:cubicBezTo>
                  <a:cubicBezTo>
                    <a:pt x="298" y="727"/>
                    <a:pt x="298" y="727"/>
                    <a:pt x="298" y="727"/>
                  </a:cubicBezTo>
                  <a:cubicBezTo>
                    <a:pt x="298" y="726"/>
                    <a:pt x="297" y="726"/>
                    <a:pt x="297" y="725"/>
                  </a:cubicBezTo>
                  <a:cubicBezTo>
                    <a:pt x="297" y="725"/>
                    <a:pt x="297" y="725"/>
                    <a:pt x="296" y="725"/>
                  </a:cubicBezTo>
                  <a:cubicBezTo>
                    <a:pt x="296" y="724"/>
                    <a:pt x="296" y="724"/>
                    <a:pt x="296" y="724"/>
                  </a:cubicBezTo>
                  <a:cubicBezTo>
                    <a:pt x="295" y="723"/>
                    <a:pt x="295" y="723"/>
                    <a:pt x="295" y="723"/>
                  </a:cubicBezTo>
                  <a:cubicBezTo>
                    <a:pt x="294" y="722"/>
                    <a:pt x="294" y="722"/>
                    <a:pt x="293" y="722"/>
                  </a:cubicBezTo>
                  <a:cubicBezTo>
                    <a:pt x="293" y="722"/>
                    <a:pt x="293" y="722"/>
                    <a:pt x="292" y="722"/>
                  </a:cubicBezTo>
                  <a:cubicBezTo>
                    <a:pt x="292" y="722"/>
                    <a:pt x="292" y="722"/>
                    <a:pt x="292" y="722"/>
                  </a:cubicBezTo>
                  <a:cubicBezTo>
                    <a:pt x="292" y="722"/>
                    <a:pt x="292" y="721"/>
                    <a:pt x="291" y="721"/>
                  </a:cubicBezTo>
                  <a:cubicBezTo>
                    <a:pt x="290" y="721"/>
                    <a:pt x="289" y="721"/>
                    <a:pt x="289" y="722"/>
                  </a:cubicBezTo>
                  <a:cubicBezTo>
                    <a:pt x="289" y="722"/>
                    <a:pt x="289" y="722"/>
                    <a:pt x="288" y="722"/>
                  </a:cubicBezTo>
                  <a:cubicBezTo>
                    <a:pt x="288" y="722"/>
                    <a:pt x="288" y="722"/>
                    <a:pt x="287" y="722"/>
                  </a:cubicBezTo>
                  <a:cubicBezTo>
                    <a:pt x="286" y="722"/>
                    <a:pt x="285" y="722"/>
                    <a:pt x="285" y="721"/>
                  </a:cubicBezTo>
                  <a:cubicBezTo>
                    <a:pt x="285" y="721"/>
                    <a:pt x="284" y="721"/>
                    <a:pt x="284" y="721"/>
                  </a:cubicBezTo>
                  <a:cubicBezTo>
                    <a:pt x="284" y="721"/>
                    <a:pt x="284" y="721"/>
                    <a:pt x="284" y="721"/>
                  </a:cubicBezTo>
                  <a:cubicBezTo>
                    <a:pt x="283" y="721"/>
                    <a:pt x="283" y="720"/>
                    <a:pt x="282" y="720"/>
                  </a:cubicBezTo>
                  <a:cubicBezTo>
                    <a:pt x="282" y="720"/>
                    <a:pt x="281" y="720"/>
                    <a:pt x="281" y="720"/>
                  </a:cubicBezTo>
                  <a:cubicBezTo>
                    <a:pt x="281" y="720"/>
                    <a:pt x="281" y="720"/>
                    <a:pt x="281" y="720"/>
                  </a:cubicBezTo>
                  <a:cubicBezTo>
                    <a:pt x="280" y="721"/>
                    <a:pt x="280" y="721"/>
                    <a:pt x="280" y="721"/>
                  </a:cubicBezTo>
                  <a:cubicBezTo>
                    <a:pt x="280" y="721"/>
                    <a:pt x="280" y="721"/>
                    <a:pt x="280" y="721"/>
                  </a:cubicBezTo>
                  <a:cubicBezTo>
                    <a:pt x="279" y="721"/>
                    <a:pt x="279" y="721"/>
                    <a:pt x="279" y="721"/>
                  </a:cubicBezTo>
                  <a:cubicBezTo>
                    <a:pt x="279" y="721"/>
                    <a:pt x="278" y="721"/>
                    <a:pt x="278" y="722"/>
                  </a:cubicBezTo>
                  <a:cubicBezTo>
                    <a:pt x="278" y="722"/>
                    <a:pt x="277" y="722"/>
                    <a:pt x="277" y="722"/>
                  </a:cubicBezTo>
                  <a:cubicBezTo>
                    <a:pt x="277" y="722"/>
                    <a:pt x="277" y="722"/>
                    <a:pt x="277" y="722"/>
                  </a:cubicBezTo>
                  <a:cubicBezTo>
                    <a:pt x="277" y="722"/>
                    <a:pt x="276" y="722"/>
                    <a:pt x="276" y="722"/>
                  </a:cubicBezTo>
                  <a:cubicBezTo>
                    <a:pt x="276" y="722"/>
                    <a:pt x="276" y="722"/>
                    <a:pt x="275" y="722"/>
                  </a:cubicBezTo>
                  <a:cubicBezTo>
                    <a:pt x="275" y="722"/>
                    <a:pt x="275" y="722"/>
                    <a:pt x="274" y="722"/>
                  </a:cubicBezTo>
                  <a:cubicBezTo>
                    <a:pt x="273" y="722"/>
                    <a:pt x="272" y="722"/>
                    <a:pt x="272" y="722"/>
                  </a:cubicBezTo>
                  <a:cubicBezTo>
                    <a:pt x="272" y="722"/>
                    <a:pt x="272" y="722"/>
                    <a:pt x="272" y="722"/>
                  </a:cubicBezTo>
                  <a:cubicBezTo>
                    <a:pt x="272" y="722"/>
                    <a:pt x="271" y="722"/>
                    <a:pt x="271" y="722"/>
                  </a:cubicBezTo>
                  <a:cubicBezTo>
                    <a:pt x="271" y="722"/>
                    <a:pt x="271" y="721"/>
                    <a:pt x="270" y="721"/>
                  </a:cubicBezTo>
                  <a:cubicBezTo>
                    <a:pt x="270" y="721"/>
                    <a:pt x="269" y="721"/>
                    <a:pt x="268" y="721"/>
                  </a:cubicBezTo>
                  <a:cubicBezTo>
                    <a:pt x="268" y="721"/>
                    <a:pt x="268" y="721"/>
                    <a:pt x="268" y="721"/>
                  </a:cubicBezTo>
                  <a:cubicBezTo>
                    <a:pt x="267" y="721"/>
                    <a:pt x="267" y="721"/>
                    <a:pt x="267" y="720"/>
                  </a:cubicBezTo>
                  <a:cubicBezTo>
                    <a:pt x="267" y="720"/>
                    <a:pt x="266" y="720"/>
                    <a:pt x="266" y="720"/>
                  </a:cubicBezTo>
                  <a:cubicBezTo>
                    <a:pt x="265" y="720"/>
                    <a:pt x="264" y="721"/>
                    <a:pt x="264" y="721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3" y="722"/>
                    <a:pt x="263" y="722"/>
                    <a:pt x="263" y="722"/>
                  </a:cubicBezTo>
                  <a:cubicBezTo>
                    <a:pt x="262" y="721"/>
                    <a:pt x="262" y="721"/>
                    <a:pt x="262" y="721"/>
                  </a:cubicBezTo>
                  <a:cubicBezTo>
                    <a:pt x="261" y="720"/>
                    <a:pt x="261" y="720"/>
                    <a:pt x="260" y="720"/>
                  </a:cubicBezTo>
                  <a:cubicBezTo>
                    <a:pt x="260" y="720"/>
                    <a:pt x="260" y="720"/>
                    <a:pt x="260" y="719"/>
                  </a:cubicBezTo>
                  <a:cubicBezTo>
                    <a:pt x="260" y="719"/>
                    <a:pt x="260" y="719"/>
                    <a:pt x="260" y="719"/>
                  </a:cubicBezTo>
                  <a:cubicBezTo>
                    <a:pt x="261" y="719"/>
                    <a:pt x="261" y="719"/>
                    <a:pt x="261" y="719"/>
                  </a:cubicBezTo>
                  <a:cubicBezTo>
                    <a:pt x="262" y="719"/>
                    <a:pt x="263" y="718"/>
                    <a:pt x="263" y="717"/>
                  </a:cubicBezTo>
                  <a:cubicBezTo>
                    <a:pt x="263" y="717"/>
                    <a:pt x="263" y="717"/>
                    <a:pt x="263" y="716"/>
                  </a:cubicBezTo>
                  <a:cubicBezTo>
                    <a:pt x="264" y="716"/>
                    <a:pt x="264" y="716"/>
                    <a:pt x="264" y="716"/>
                  </a:cubicBezTo>
                  <a:cubicBezTo>
                    <a:pt x="264" y="716"/>
                    <a:pt x="264" y="715"/>
                    <a:pt x="264" y="715"/>
                  </a:cubicBezTo>
                  <a:cubicBezTo>
                    <a:pt x="264" y="714"/>
                    <a:pt x="264" y="714"/>
                    <a:pt x="265" y="714"/>
                  </a:cubicBezTo>
                  <a:cubicBezTo>
                    <a:pt x="265" y="714"/>
                    <a:pt x="265" y="714"/>
                    <a:pt x="265" y="714"/>
                  </a:cubicBezTo>
                  <a:cubicBezTo>
                    <a:pt x="266" y="713"/>
                    <a:pt x="266" y="713"/>
                    <a:pt x="267" y="712"/>
                  </a:cubicBezTo>
                  <a:cubicBezTo>
                    <a:pt x="267" y="711"/>
                    <a:pt x="267" y="710"/>
                    <a:pt x="267" y="709"/>
                  </a:cubicBezTo>
                  <a:cubicBezTo>
                    <a:pt x="267" y="708"/>
                    <a:pt x="267" y="708"/>
                    <a:pt x="267" y="708"/>
                  </a:cubicBezTo>
                  <a:cubicBezTo>
                    <a:pt x="267" y="708"/>
                    <a:pt x="268" y="707"/>
                    <a:pt x="268" y="706"/>
                  </a:cubicBezTo>
                  <a:cubicBezTo>
                    <a:pt x="268" y="706"/>
                    <a:pt x="268" y="706"/>
                    <a:pt x="268" y="706"/>
                  </a:cubicBezTo>
                  <a:cubicBezTo>
                    <a:pt x="268" y="706"/>
                    <a:pt x="268" y="705"/>
                    <a:pt x="268" y="705"/>
                  </a:cubicBezTo>
                  <a:cubicBezTo>
                    <a:pt x="268" y="705"/>
                    <a:pt x="269" y="705"/>
                    <a:pt x="269" y="704"/>
                  </a:cubicBezTo>
                  <a:cubicBezTo>
                    <a:pt x="269" y="704"/>
                    <a:pt x="269" y="703"/>
                    <a:pt x="269" y="703"/>
                  </a:cubicBezTo>
                  <a:cubicBezTo>
                    <a:pt x="268" y="703"/>
                    <a:pt x="268" y="703"/>
                    <a:pt x="268" y="703"/>
                  </a:cubicBezTo>
                  <a:cubicBezTo>
                    <a:pt x="269" y="703"/>
                    <a:pt x="269" y="703"/>
                    <a:pt x="269" y="703"/>
                  </a:cubicBezTo>
                  <a:cubicBezTo>
                    <a:pt x="269" y="702"/>
                    <a:pt x="269" y="702"/>
                    <a:pt x="269" y="702"/>
                  </a:cubicBezTo>
                  <a:cubicBezTo>
                    <a:pt x="269" y="701"/>
                    <a:pt x="269" y="701"/>
                    <a:pt x="269" y="700"/>
                  </a:cubicBezTo>
                  <a:cubicBezTo>
                    <a:pt x="269" y="699"/>
                    <a:pt x="269" y="699"/>
                    <a:pt x="270" y="699"/>
                  </a:cubicBezTo>
                  <a:cubicBezTo>
                    <a:pt x="270" y="698"/>
                    <a:pt x="270" y="698"/>
                    <a:pt x="270" y="697"/>
                  </a:cubicBezTo>
                  <a:cubicBezTo>
                    <a:pt x="270" y="697"/>
                    <a:pt x="270" y="697"/>
                    <a:pt x="270" y="697"/>
                  </a:cubicBezTo>
                  <a:cubicBezTo>
                    <a:pt x="271" y="697"/>
                    <a:pt x="271" y="696"/>
                    <a:pt x="272" y="696"/>
                  </a:cubicBezTo>
                  <a:cubicBezTo>
                    <a:pt x="272" y="696"/>
                    <a:pt x="272" y="696"/>
                    <a:pt x="272" y="696"/>
                  </a:cubicBezTo>
                  <a:cubicBezTo>
                    <a:pt x="273" y="695"/>
                    <a:pt x="273" y="695"/>
                    <a:pt x="274" y="695"/>
                  </a:cubicBezTo>
                  <a:cubicBezTo>
                    <a:pt x="274" y="694"/>
                    <a:pt x="274" y="694"/>
                    <a:pt x="275" y="693"/>
                  </a:cubicBezTo>
                  <a:cubicBezTo>
                    <a:pt x="275" y="693"/>
                    <a:pt x="275" y="693"/>
                    <a:pt x="275" y="692"/>
                  </a:cubicBezTo>
                  <a:cubicBezTo>
                    <a:pt x="275" y="692"/>
                    <a:pt x="275" y="692"/>
                    <a:pt x="275" y="692"/>
                  </a:cubicBezTo>
                  <a:cubicBezTo>
                    <a:pt x="274" y="691"/>
                    <a:pt x="274" y="691"/>
                    <a:pt x="274" y="691"/>
                  </a:cubicBezTo>
                  <a:cubicBezTo>
                    <a:pt x="275" y="692"/>
                    <a:pt x="275" y="692"/>
                    <a:pt x="275" y="692"/>
                  </a:cubicBezTo>
                  <a:cubicBezTo>
                    <a:pt x="276" y="691"/>
                    <a:pt x="276" y="691"/>
                    <a:pt x="276" y="690"/>
                  </a:cubicBezTo>
                  <a:cubicBezTo>
                    <a:pt x="277" y="690"/>
                    <a:pt x="277" y="689"/>
                    <a:pt x="278" y="688"/>
                  </a:cubicBezTo>
                  <a:cubicBezTo>
                    <a:pt x="278" y="688"/>
                    <a:pt x="278" y="688"/>
                    <a:pt x="278" y="688"/>
                  </a:cubicBezTo>
                  <a:cubicBezTo>
                    <a:pt x="278" y="687"/>
                    <a:pt x="278" y="687"/>
                    <a:pt x="278" y="686"/>
                  </a:cubicBezTo>
                  <a:cubicBezTo>
                    <a:pt x="279" y="686"/>
                    <a:pt x="279" y="686"/>
                    <a:pt x="279" y="685"/>
                  </a:cubicBezTo>
                  <a:cubicBezTo>
                    <a:pt x="279" y="685"/>
                    <a:pt x="279" y="684"/>
                    <a:pt x="279" y="684"/>
                  </a:cubicBezTo>
                  <a:cubicBezTo>
                    <a:pt x="280" y="683"/>
                    <a:pt x="280" y="682"/>
                    <a:pt x="280" y="681"/>
                  </a:cubicBezTo>
                  <a:cubicBezTo>
                    <a:pt x="279" y="680"/>
                    <a:pt x="279" y="680"/>
                    <a:pt x="279" y="680"/>
                  </a:cubicBezTo>
                  <a:cubicBezTo>
                    <a:pt x="279" y="680"/>
                    <a:pt x="279" y="680"/>
                    <a:pt x="279" y="680"/>
                  </a:cubicBezTo>
                  <a:cubicBezTo>
                    <a:pt x="278" y="680"/>
                    <a:pt x="278" y="680"/>
                    <a:pt x="278" y="680"/>
                  </a:cubicBezTo>
                  <a:cubicBezTo>
                    <a:pt x="278" y="680"/>
                    <a:pt x="279" y="680"/>
                    <a:pt x="279" y="679"/>
                  </a:cubicBezTo>
                  <a:cubicBezTo>
                    <a:pt x="279" y="679"/>
                    <a:pt x="280" y="679"/>
                    <a:pt x="280" y="678"/>
                  </a:cubicBezTo>
                  <a:cubicBezTo>
                    <a:pt x="281" y="678"/>
                    <a:pt x="282" y="676"/>
                    <a:pt x="282" y="675"/>
                  </a:cubicBezTo>
                  <a:cubicBezTo>
                    <a:pt x="282" y="675"/>
                    <a:pt x="283" y="674"/>
                    <a:pt x="283" y="673"/>
                  </a:cubicBezTo>
                  <a:cubicBezTo>
                    <a:pt x="283" y="673"/>
                    <a:pt x="284" y="673"/>
                    <a:pt x="284" y="672"/>
                  </a:cubicBezTo>
                  <a:cubicBezTo>
                    <a:pt x="285" y="672"/>
                    <a:pt x="285" y="671"/>
                    <a:pt x="285" y="671"/>
                  </a:cubicBezTo>
                  <a:cubicBezTo>
                    <a:pt x="286" y="671"/>
                    <a:pt x="286" y="671"/>
                    <a:pt x="286" y="670"/>
                  </a:cubicBezTo>
                  <a:cubicBezTo>
                    <a:pt x="287" y="670"/>
                    <a:pt x="287" y="669"/>
                    <a:pt x="287" y="669"/>
                  </a:cubicBezTo>
                  <a:cubicBezTo>
                    <a:pt x="288" y="669"/>
                    <a:pt x="288" y="669"/>
                    <a:pt x="288" y="668"/>
                  </a:cubicBezTo>
                  <a:cubicBezTo>
                    <a:pt x="289" y="668"/>
                    <a:pt x="289" y="668"/>
                    <a:pt x="290" y="667"/>
                  </a:cubicBezTo>
                  <a:cubicBezTo>
                    <a:pt x="291" y="666"/>
                    <a:pt x="291" y="665"/>
                    <a:pt x="291" y="663"/>
                  </a:cubicBezTo>
                  <a:cubicBezTo>
                    <a:pt x="291" y="663"/>
                    <a:pt x="291" y="662"/>
                    <a:pt x="292" y="662"/>
                  </a:cubicBezTo>
                  <a:cubicBezTo>
                    <a:pt x="292" y="661"/>
                    <a:pt x="292" y="660"/>
                    <a:pt x="292" y="660"/>
                  </a:cubicBezTo>
                  <a:cubicBezTo>
                    <a:pt x="292" y="658"/>
                    <a:pt x="291" y="657"/>
                    <a:pt x="289" y="656"/>
                  </a:cubicBezTo>
                  <a:cubicBezTo>
                    <a:pt x="289" y="656"/>
                    <a:pt x="288" y="656"/>
                    <a:pt x="288" y="656"/>
                  </a:cubicBezTo>
                  <a:cubicBezTo>
                    <a:pt x="287" y="656"/>
                    <a:pt x="286" y="657"/>
                    <a:pt x="286" y="657"/>
                  </a:cubicBezTo>
                  <a:cubicBezTo>
                    <a:pt x="285" y="657"/>
                    <a:pt x="285" y="658"/>
                    <a:pt x="285" y="658"/>
                  </a:cubicBezTo>
                  <a:cubicBezTo>
                    <a:pt x="285" y="658"/>
                    <a:pt x="285" y="659"/>
                    <a:pt x="285" y="659"/>
                  </a:cubicBezTo>
                  <a:cubicBezTo>
                    <a:pt x="285" y="659"/>
                    <a:pt x="284" y="659"/>
                    <a:pt x="284" y="658"/>
                  </a:cubicBezTo>
                  <a:cubicBezTo>
                    <a:pt x="284" y="658"/>
                    <a:pt x="283" y="657"/>
                    <a:pt x="281" y="657"/>
                  </a:cubicBezTo>
                  <a:cubicBezTo>
                    <a:pt x="280" y="657"/>
                    <a:pt x="280" y="657"/>
                    <a:pt x="279" y="657"/>
                  </a:cubicBezTo>
                  <a:cubicBezTo>
                    <a:pt x="279" y="658"/>
                    <a:pt x="278" y="658"/>
                    <a:pt x="278" y="658"/>
                  </a:cubicBezTo>
                  <a:cubicBezTo>
                    <a:pt x="277" y="658"/>
                    <a:pt x="276" y="658"/>
                    <a:pt x="276" y="658"/>
                  </a:cubicBezTo>
                  <a:cubicBezTo>
                    <a:pt x="275" y="658"/>
                    <a:pt x="274" y="658"/>
                    <a:pt x="274" y="659"/>
                  </a:cubicBezTo>
                  <a:cubicBezTo>
                    <a:pt x="273" y="659"/>
                    <a:pt x="273" y="659"/>
                    <a:pt x="273" y="659"/>
                  </a:cubicBezTo>
                  <a:cubicBezTo>
                    <a:pt x="272" y="659"/>
                    <a:pt x="272" y="659"/>
                    <a:pt x="271" y="659"/>
                  </a:cubicBezTo>
                  <a:cubicBezTo>
                    <a:pt x="270" y="658"/>
                    <a:pt x="269" y="658"/>
                    <a:pt x="268" y="658"/>
                  </a:cubicBezTo>
                  <a:cubicBezTo>
                    <a:pt x="268" y="659"/>
                    <a:pt x="267" y="659"/>
                    <a:pt x="267" y="659"/>
                  </a:cubicBezTo>
                  <a:cubicBezTo>
                    <a:pt x="266" y="659"/>
                    <a:pt x="266" y="659"/>
                    <a:pt x="266" y="659"/>
                  </a:cubicBezTo>
                  <a:cubicBezTo>
                    <a:pt x="266" y="659"/>
                    <a:pt x="266" y="659"/>
                    <a:pt x="266" y="659"/>
                  </a:cubicBezTo>
                  <a:cubicBezTo>
                    <a:pt x="265" y="659"/>
                    <a:pt x="265" y="660"/>
                    <a:pt x="265" y="660"/>
                  </a:cubicBezTo>
                  <a:cubicBezTo>
                    <a:pt x="264" y="660"/>
                    <a:pt x="264" y="660"/>
                    <a:pt x="263" y="660"/>
                  </a:cubicBezTo>
                  <a:cubicBezTo>
                    <a:pt x="263" y="661"/>
                    <a:pt x="263" y="661"/>
                    <a:pt x="263" y="661"/>
                  </a:cubicBezTo>
                  <a:cubicBezTo>
                    <a:pt x="263" y="661"/>
                    <a:pt x="262" y="661"/>
                    <a:pt x="262" y="661"/>
                  </a:cubicBezTo>
                  <a:cubicBezTo>
                    <a:pt x="262" y="661"/>
                    <a:pt x="262" y="661"/>
                    <a:pt x="262" y="661"/>
                  </a:cubicBezTo>
                  <a:cubicBezTo>
                    <a:pt x="261" y="661"/>
                    <a:pt x="260" y="662"/>
                    <a:pt x="260" y="663"/>
                  </a:cubicBezTo>
                  <a:cubicBezTo>
                    <a:pt x="259" y="663"/>
                    <a:pt x="259" y="664"/>
                    <a:pt x="258" y="664"/>
                  </a:cubicBezTo>
                  <a:cubicBezTo>
                    <a:pt x="258" y="665"/>
                    <a:pt x="258" y="665"/>
                    <a:pt x="258" y="665"/>
                  </a:cubicBezTo>
                  <a:cubicBezTo>
                    <a:pt x="258" y="665"/>
                    <a:pt x="258" y="666"/>
                    <a:pt x="257" y="666"/>
                  </a:cubicBezTo>
                  <a:cubicBezTo>
                    <a:pt x="257" y="666"/>
                    <a:pt x="257" y="666"/>
                    <a:pt x="257" y="667"/>
                  </a:cubicBezTo>
                  <a:cubicBezTo>
                    <a:pt x="257" y="667"/>
                    <a:pt x="257" y="667"/>
                    <a:pt x="256" y="668"/>
                  </a:cubicBezTo>
                  <a:cubicBezTo>
                    <a:pt x="256" y="668"/>
                    <a:pt x="256" y="669"/>
                    <a:pt x="255" y="670"/>
                  </a:cubicBezTo>
                  <a:cubicBezTo>
                    <a:pt x="255" y="670"/>
                    <a:pt x="255" y="670"/>
                    <a:pt x="255" y="670"/>
                  </a:cubicBezTo>
                  <a:cubicBezTo>
                    <a:pt x="255" y="671"/>
                    <a:pt x="255" y="671"/>
                    <a:pt x="255" y="671"/>
                  </a:cubicBezTo>
                  <a:cubicBezTo>
                    <a:pt x="255" y="671"/>
                    <a:pt x="255" y="672"/>
                    <a:pt x="255" y="673"/>
                  </a:cubicBezTo>
                  <a:cubicBezTo>
                    <a:pt x="255" y="673"/>
                    <a:pt x="254" y="673"/>
                    <a:pt x="254" y="674"/>
                  </a:cubicBezTo>
                  <a:cubicBezTo>
                    <a:pt x="254" y="674"/>
                    <a:pt x="254" y="674"/>
                    <a:pt x="253" y="674"/>
                  </a:cubicBezTo>
                  <a:cubicBezTo>
                    <a:pt x="253" y="675"/>
                    <a:pt x="253" y="675"/>
                    <a:pt x="253" y="676"/>
                  </a:cubicBezTo>
                  <a:cubicBezTo>
                    <a:pt x="252" y="676"/>
                    <a:pt x="252" y="676"/>
                    <a:pt x="252" y="676"/>
                  </a:cubicBezTo>
                  <a:cubicBezTo>
                    <a:pt x="252" y="677"/>
                    <a:pt x="252" y="677"/>
                    <a:pt x="252" y="677"/>
                  </a:cubicBezTo>
                  <a:cubicBezTo>
                    <a:pt x="252" y="677"/>
                    <a:pt x="252" y="677"/>
                    <a:pt x="251" y="677"/>
                  </a:cubicBezTo>
                  <a:cubicBezTo>
                    <a:pt x="251" y="678"/>
                    <a:pt x="251" y="678"/>
                    <a:pt x="251" y="678"/>
                  </a:cubicBezTo>
                  <a:cubicBezTo>
                    <a:pt x="251" y="678"/>
                    <a:pt x="251" y="678"/>
                    <a:pt x="251" y="678"/>
                  </a:cubicBezTo>
                  <a:cubicBezTo>
                    <a:pt x="251" y="679"/>
                    <a:pt x="250" y="679"/>
                    <a:pt x="250" y="680"/>
                  </a:cubicBezTo>
                  <a:cubicBezTo>
                    <a:pt x="251" y="680"/>
                    <a:pt x="251" y="680"/>
                    <a:pt x="251" y="680"/>
                  </a:cubicBezTo>
                  <a:cubicBezTo>
                    <a:pt x="251" y="680"/>
                    <a:pt x="251" y="680"/>
                    <a:pt x="251" y="680"/>
                  </a:cubicBezTo>
                  <a:cubicBezTo>
                    <a:pt x="250" y="680"/>
                    <a:pt x="250" y="680"/>
                    <a:pt x="250" y="680"/>
                  </a:cubicBezTo>
                  <a:cubicBezTo>
                    <a:pt x="250" y="680"/>
                    <a:pt x="250" y="680"/>
                    <a:pt x="250" y="680"/>
                  </a:cubicBezTo>
                  <a:cubicBezTo>
                    <a:pt x="250" y="680"/>
                    <a:pt x="249" y="681"/>
                    <a:pt x="249" y="681"/>
                  </a:cubicBezTo>
                  <a:cubicBezTo>
                    <a:pt x="249" y="681"/>
                    <a:pt x="249" y="682"/>
                    <a:pt x="248" y="682"/>
                  </a:cubicBezTo>
                  <a:cubicBezTo>
                    <a:pt x="248" y="683"/>
                    <a:pt x="248" y="683"/>
                    <a:pt x="248" y="683"/>
                  </a:cubicBezTo>
                  <a:cubicBezTo>
                    <a:pt x="247" y="683"/>
                    <a:pt x="247" y="683"/>
                    <a:pt x="247" y="684"/>
                  </a:cubicBezTo>
                  <a:cubicBezTo>
                    <a:pt x="247" y="684"/>
                    <a:pt x="247" y="684"/>
                    <a:pt x="246" y="684"/>
                  </a:cubicBezTo>
                  <a:cubicBezTo>
                    <a:pt x="246" y="684"/>
                    <a:pt x="246" y="684"/>
                    <a:pt x="246" y="684"/>
                  </a:cubicBezTo>
                  <a:cubicBezTo>
                    <a:pt x="246" y="685"/>
                    <a:pt x="245" y="685"/>
                    <a:pt x="245" y="685"/>
                  </a:cubicBezTo>
                  <a:cubicBezTo>
                    <a:pt x="245" y="686"/>
                    <a:pt x="245" y="686"/>
                    <a:pt x="245" y="686"/>
                  </a:cubicBezTo>
                  <a:cubicBezTo>
                    <a:pt x="244" y="686"/>
                    <a:pt x="244" y="686"/>
                    <a:pt x="244" y="686"/>
                  </a:cubicBezTo>
                  <a:cubicBezTo>
                    <a:pt x="242" y="688"/>
                    <a:pt x="242" y="688"/>
                    <a:pt x="242" y="688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4" y="689"/>
                    <a:pt x="244" y="689"/>
                    <a:pt x="244" y="689"/>
                  </a:cubicBezTo>
                  <a:cubicBezTo>
                    <a:pt x="243" y="689"/>
                    <a:pt x="243" y="689"/>
                    <a:pt x="242" y="689"/>
                  </a:cubicBezTo>
                  <a:cubicBezTo>
                    <a:pt x="242" y="689"/>
                    <a:pt x="242" y="690"/>
                    <a:pt x="242" y="690"/>
                  </a:cubicBezTo>
                  <a:cubicBezTo>
                    <a:pt x="242" y="689"/>
                    <a:pt x="242" y="689"/>
                    <a:pt x="241" y="688"/>
                  </a:cubicBezTo>
                  <a:cubicBezTo>
                    <a:pt x="241" y="688"/>
                    <a:pt x="240" y="687"/>
                    <a:pt x="240" y="687"/>
                  </a:cubicBezTo>
                  <a:cubicBezTo>
                    <a:pt x="239" y="687"/>
                    <a:pt x="239" y="687"/>
                    <a:pt x="239" y="687"/>
                  </a:cubicBezTo>
                  <a:cubicBezTo>
                    <a:pt x="238" y="687"/>
                    <a:pt x="238" y="687"/>
                    <a:pt x="237" y="687"/>
                  </a:cubicBezTo>
                  <a:cubicBezTo>
                    <a:pt x="237" y="687"/>
                    <a:pt x="237" y="687"/>
                    <a:pt x="236" y="687"/>
                  </a:cubicBezTo>
                  <a:cubicBezTo>
                    <a:pt x="236" y="687"/>
                    <a:pt x="236" y="688"/>
                    <a:pt x="236" y="688"/>
                  </a:cubicBezTo>
                  <a:cubicBezTo>
                    <a:pt x="235" y="688"/>
                    <a:pt x="235" y="688"/>
                    <a:pt x="234" y="688"/>
                  </a:cubicBezTo>
                  <a:cubicBezTo>
                    <a:pt x="234" y="688"/>
                    <a:pt x="234" y="688"/>
                    <a:pt x="234" y="689"/>
                  </a:cubicBezTo>
                  <a:cubicBezTo>
                    <a:pt x="233" y="689"/>
                    <a:pt x="233" y="689"/>
                    <a:pt x="233" y="689"/>
                  </a:cubicBezTo>
                  <a:cubicBezTo>
                    <a:pt x="232" y="689"/>
                    <a:pt x="232" y="689"/>
                    <a:pt x="232" y="689"/>
                  </a:cubicBezTo>
                  <a:cubicBezTo>
                    <a:pt x="231" y="690"/>
                    <a:pt x="230" y="690"/>
                    <a:pt x="230" y="690"/>
                  </a:cubicBezTo>
                  <a:cubicBezTo>
                    <a:pt x="229" y="690"/>
                    <a:pt x="229" y="690"/>
                    <a:pt x="229" y="690"/>
                  </a:cubicBezTo>
                  <a:cubicBezTo>
                    <a:pt x="229" y="690"/>
                    <a:pt x="228" y="689"/>
                    <a:pt x="227" y="689"/>
                  </a:cubicBezTo>
                  <a:cubicBezTo>
                    <a:pt x="226" y="689"/>
                    <a:pt x="225" y="690"/>
                    <a:pt x="225" y="690"/>
                  </a:cubicBezTo>
                  <a:cubicBezTo>
                    <a:pt x="224" y="691"/>
                    <a:pt x="224" y="691"/>
                    <a:pt x="224" y="691"/>
                  </a:cubicBezTo>
                  <a:cubicBezTo>
                    <a:pt x="224" y="691"/>
                    <a:pt x="224" y="691"/>
                    <a:pt x="223" y="691"/>
                  </a:cubicBezTo>
                  <a:cubicBezTo>
                    <a:pt x="223" y="691"/>
                    <a:pt x="223" y="691"/>
                    <a:pt x="222" y="691"/>
                  </a:cubicBezTo>
                  <a:cubicBezTo>
                    <a:pt x="222" y="692"/>
                    <a:pt x="222" y="692"/>
                    <a:pt x="222" y="692"/>
                  </a:cubicBezTo>
                  <a:cubicBezTo>
                    <a:pt x="222" y="692"/>
                    <a:pt x="221" y="692"/>
                    <a:pt x="221" y="692"/>
                  </a:cubicBezTo>
                  <a:cubicBezTo>
                    <a:pt x="220" y="692"/>
                    <a:pt x="220" y="692"/>
                    <a:pt x="219" y="692"/>
                  </a:cubicBezTo>
                  <a:cubicBezTo>
                    <a:pt x="219" y="692"/>
                    <a:pt x="219" y="692"/>
                    <a:pt x="219" y="692"/>
                  </a:cubicBezTo>
                  <a:cubicBezTo>
                    <a:pt x="219" y="691"/>
                    <a:pt x="219" y="690"/>
                    <a:pt x="218" y="689"/>
                  </a:cubicBezTo>
                  <a:cubicBezTo>
                    <a:pt x="218" y="689"/>
                    <a:pt x="217" y="689"/>
                    <a:pt x="217" y="688"/>
                  </a:cubicBezTo>
                  <a:cubicBezTo>
                    <a:pt x="217" y="688"/>
                    <a:pt x="216" y="688"/>
                    <a:pt x="216" y="688"/>
                  </a:cubicBezTo>
                  <a:cubicBezTo>
                    <a:pt x="216" y="688"/>
                    <a:pt x="216" y="687"/>
                    <a:pt x="216" y="687"/>
                  </a:cubicBezTo>
                  <a:cubicBezTo>
                    <a:pt x="215" y="686"/>
                    <a:pt x="215" y="686"/>
                    <a:pt x="215" y="686"/>
                  </a:cubicBezTo>
                  <a:cubicBezTo>
                    <a:pt x="215" y="685"/>
                    <a:pt x="214" y="685"/>
                    <a:pt x="213" y="685"/>
                  </a:cubicBezTo>
                  <a:cubicBezTo>
                    <a:pt x="213" y="685"/>
                    <a:pt x="213" y="685"/>
                    <a:pt x="212" y="685"/>
                  </a:cubicBezTo>
                  <a:cubicBezTo>
                    <a:pt x="212" y="685"/>
                    <a:pt x="212" y="685"/>
                    <a:pt x="212" y="685"/>
                  </a:cubicBezTo>
                  <a:cubicBezTo>
                    <a:pt x="212" y="684"/>
                    <a:pt x="212" y="684"/>
                    <a:pt x="212" y="684"/>
                  </a:cubicBezTo>
                  <a:cubicBezTo>
                    <a:pt x="212" y="683"/>
                    <a:pt x="212" y="682"/>
                    <a:pt x="211" y="681"/>
                  </a:cubicBezTo>
                  <a:cubicBezTo>
                    <a:pt x="211" y="680"/>
                    <a:pt x="211" y="680"/>
                    <a:pt x="211" y="680"/>
                  </a:cubicBezTo>
                  <a:cubicBezTo>
                    <a:pt x="211" y="680"/>
                    <a:pt x="210" y="679"/>
                    <a:pt x="210" y="679"/>
                  </a:cubicBezTo>
                  <a:cubicBezTo>
                    <a:pt x="210" y="679"/>
                    <a:pt x="210" y="678"/>
                    <a:pt x="210" y="677"/>
                  </a:cubicBezTo>
                  <a:cubicBezTo>
                    <a:pt x="210" y="676"/>
                    <a:pt x="210" y="675"/>
                    <a:pt x="210" y="674"/>
                  </a:cubicBezTo>
                  <a:cubicBezTo>
                    <a:pt x="210" y="674"/>
                    <a:pt x="210" y="673"/>
                    <a:pt x="210" y="673"/>
                  </a:cubicBezTo>
                  <a:cubicBezTo>
                    <a:pt x="210" y="672"/>
                    <a:pt x="210" y="672"/>
                    <a:pt x="210" y="671"/>
                  </a:cubicBezTo>
                  <a:cubicBezTo>
                    <a:pt x="210" y="670"/>
                    <a:pt x="209" y="669"/>
                    <a:pt x="208" y="668"/>
                  </a:cubicBezTo>
                  <a:cubicBezTo>
                    <a:pt x="208" y="668"/>
                    <a:pt x="207" y="667"/>
                    <a:pt x="207" y="666"/>
                  </a:cubicBezTo>
                  <a:cubicBezTo>
                    <a:pt x="207" y="666"/>
                    <a:pt x="207" y="665"/>
                    <a:pt x="207" y="665"/>
                  </a:cubicBezTo>
                  <a:cubicBezTo>
                    <a:pt x="207" y="664"/>
                    <a:pt x="207" y="664"/>
                    <a:pt x="207" y="664"/>
                  </a:cubicBezTo>
                  <a:cubicBezTo>
                    <a:pt x="207" y="663"/>
                    <a:pt x="206" y="662"/>
                    <a:pt x="206" y="661"/>
                  </a:cubicBezTo>
                  <a:cubicBezTo>
                    <a:pt x="205" y="661"/>
                    <a:pt x="205" y="661"/>
                    <a:pt x="205" y="661"/>
                  </a:cubicBezTo>
                  <a:cubicBezTo>
                    <a:pt x="205" y="660"/>
                    <a:pt x="205" y="660"/>
                    <a:pt x="205" y="660"/>
                  </a:cubicBezTo>
                  <a:cubicBezTo>
                    <a:pt x="205" y="659"/>
                    <a:pt x="205" y="659"/>
                    <a:pt x="205" y="658"/>
                  </a:cubicBezTo>
                  <a:cubicBezTo>
                    <a:pt x="205" y="658"/>
                    <a:pt x="205" y="658"/>
                    <a:pt x="205" y="657"/>
                  </a:cubicBezTo>
                  <a:cubicBezTo>
                    <a:pt x="205" y="657"/>
                    <a:pt x="205" y="656"/>
                    <a:pt x="205" y="656"/>
                  </a:cubicBezTo>
                  <a:cubicBezTo>
                    <a:pt x="205" y="656"/>
                    <a:pt x="205" y="655"/>
                    <a:pt x="205" y="655"/>
                  </a:cubicBezTo>
                  <a:cubicBezTo>
                    <a:pt x="205" y="655"/>
                    <a:pt x="205" y="654"/>
                    <a:pt x="206" y="654"/>
                  </a:cubicBezTo>
                  <a:cubicBezTo>
                    <a:pt x="206" y="653"/>
                    <a:pt x="206" y="652"/>
                    <a:pt x="206" y="651"/>
                  </a:cubicBezTo>
                  <a:cubicBezTo>
                    <a:pt x="206" y="651"/>
                    <a:pt x="206" y="651"/>
                    <a:pt x="206" y="651"/>
                  </a:cubicBezTo>
                  <a:cubicBezTo>
                    <a:pt x="206" y="650"/>
                    <a:pt x="206" y="649"/>
                    <a:pt x="206" y="649"/>
                  </a:cubicBezTo>
                  <a:cubicBezTo>
                    <a:pt x="206" y="649"/>
                    <a:pt x="206" y="648"/>
                    <a:pt x="206" y="648"/>
                  </a:cubicBezTo>
                  <a:cubicBezTo>
                    <a:pt x="206" y="647"/>
                    <a:pt x="206" y="647"/>
                    <a:pt x="206" y="647"/>
                  </a:cubicBezTo>
                  <a:cubicBezTo>
                    <a:pt x="207" y="646"/>
                    <a:pt x="207" y="645"/>
                    <a:pt x="207" y="644"/>
                  </a:cubicBezTo>
                  <a:cubicBezTo>
                    <a:pt x="207" y="643"/>
                    <a:pt x="207" y="643"/>
                    <a:pt x="207" y="642"/>
                  </a:cubicBezTo>
                  <a:cubicBezTo>
                    <a:pt x="207" y="642"/>
                    <a:pt x="207" y="642"/>
                    <a:pt x="207" y="641"/>
                  </a:cubicBezTo>
                  <a:cubicBezTo>
                    <a:pt x="207" y="640"/>
                    <a:pt x="208" y="638"/>
                    <a:pt x="209" y="637"/>
                  </a:cubicBezTo>
                  <a:cubicBezTo>
                    <a:pt x="209" y="637"/>
                    <a:pt x="209" y="636"/>
                    <a:pt x="209" y="636"/>
                  </a:cubicBezTo>
                  <a:cubicBezTo>
                    <a:pt x="208" y="635"/>
                    <a:pt x="208" y="635"/>
                    <a:pt x="208" y="635"/>
                  </a:cubicBezTo>
                  <a:cubicBezTo>
                    <a:pt x="210" y="635"/>
                    <a:pt x="210" y="635"/>
                    <a:pt x="210" y="635"/>
                  </a:cubicBezTo>
                  <a:cubicBezTo>
                    <a:pt x="210" y="635"/>
                    <a:pt x="210" y="635"/>
                    <a:pt x="210" y="634"/>
                  </a:cubicBezTo>
                  <a:cubicBezTo>
                    <a:pt x="210" y="634"/>
                    <a:pt x="210" y="634"/>
                    <a:pt x="211" y="633"/>
                  </a:cubicBezTo>
                  <a:cubicBezTo>
                    <a:pt x="211" y="633"/>
                    <a:pt x="211" y="632"/>
                    <a:pt x="211" y="631"/>
                  </a:cubicBezTo>
                  <a:cubicBezTo>
                    <a:pt x="211" y="631"/>
                    <a:pt x="211" y="631"/>
                    <a:pt x="211" y="631"/>
                  </a:cubicBezTo>
                  <a:cubicBezTo>
                    <a:pt x="212" y="630"/>
                    <a:pt x="212" y="629"/>
                    <a:pt x="212" y="629"/>
                  </a:cubicBezTo>
                  <a:cubicBezTo>
                    <a:pt x="212" y="629"/>
                    <a:pt x="212" y="628"/>
                    <a:pt x="212" y="628"/>
                  </a:cubicBezTo>
                  <a:cubicBezTo>
                    <a:pt x="212" y="628"/>
                    <a:pt x="212" y="628"/>
                    <a:pt x="212" y="628"/>
                  </a:cubicBezTo>
                  <a:cubicBezTo>
                    <a:pt x="212" y="627"/>
                    <a:pt x="212" y="627"/>
                    <a:pt x="212" y="627"/>
                  </a:cubicBezTo>
                  <a:cubicBezTo>
                    <a:pt x="213" y="626"/>
                    <a:pt x="213" y="625"/>
                    <a:pt x="213" y="624"/>
                  </a:cubicBezTo>
                  <a:cubicBezTo>
                    <a:pt x="213" y="624"/>
                    <a:pt x="213" y="623"/>
                    <a:pt x="214" y="623"/>
                  </a:cubicBezTo>
                  <a:cubicBezTo>
                    <a:pt x="214" y="622"/>
                    <a:pt x="214" y="622"/>
                    <a:pt x="214" y="622"/>
                  </a:cubicBezTo>
                  <a:cubicBezTo>
                    <a:pt x="214" y="622"/>
                    <a:pt x="215" y="621"/>
                    <a:pt x="215" y="621"/>
                  </a:cubicBezTo>
                  <a:cubicBezTo>
                    <a:pt x="215" y="620"/>
                    <a:pt x="215" y="620"/>
                    <a:pt x="215" y="620"/>
                  </a:cubicBezTo>
                  <a:cubicBezTo>
                    <a:pt x="215" y="620"/>
                    <a:pt x="215" y="619"/>
                    <a:pt x="215" y="619"/>
                  </a:cubicBezTo>
                  <a:cubicBezTo>
                    <a:pt x="215" y="619"/>
                    <a:pt x="215" y="619"/>
                    <a:pt x="216" y="619"/>
                  </a:cubicBezTo>
                  <a:cubicBezTo>
                    <a:pt x="216" y="619"/>
                    <a:pt x="216" y="619"/>
                    <a:pt x="216" y="619"/>
                  </a:cubicBezTo>
                  <a:cubicBezTo>
                    <a:pt x="217" y="618"/>
                    <a:pt x="217" y="617"/>
                    <a:pt x="217" y="617"/>
                  </a:cubicBezTo>
                  <a:cubicBezTo>
                    <a:pt x="218" y="616"/>
                    <a:pt x="219" y="614"/>
                    <a:pt x="219" y="613"/>
                  </a:cubicBezTo>
                  <a:cubicBezTo>
                    <a:pt x="219" y="613"/>
                    <a:pt x="219" y="613"/>
                    <a:pt x="219" y="613"/>
                  </a:cubicBezTo>
                  <a:cubicBezTo>
                    <a:pt x="220" y="613"/>
                    <a:pt x="220" y="613"/>
                    <a:pt x="220" y="613"/>
                  </a:cubicBezTo>
                  <a:cubicBezTo>
                    <a:pt x="221" y="613"/>
                    <a:pt x="221" y="613"/>
                    <a:pt x="222" y="612"/>
                  </a:cubicBezTo>
                  <a:cubicBezTo>
                    <a:pt x="222" y="611"/>
                    <a:pt x="222" y="611"/>
                    <a:pt x="222" y="611"/>
                  </a:cubicBezTo>
                  <a:cubicBezTo>
                    <a:pt x="222" y="611"/>
                    <a:pt x="223" y="611"/>
                    <a:pt x="223" y="611"/>
                  </a:cubicBezTo>
                  <a:cubicBezTo>
                    <a:pt x="223" y="610"/>
                    <a:pt x="223" y="610"/>
                    <a:pt x="224" y="610"/>
                  </a:cubicBezTo>
                  <a:cubicBezTo>
                    <a:pt x="224" y="609"/>
                    <a:pt x="224" y="609"/>
                    <a:pt x="224" y="608"/>
                  </a:cubicBezTo>
                  <a:cubicBezTo>
                    <a:pt x="224" y="608"/>
                    <a:pt x="224" y="608"/>
                    <a:pt x="224" y="608"/>
                  </a:cubicBezTo>
                  <a:cubicBezTo>
                    <a:pt x="224" y="608"/>
                    <a:pt x="225" y="607"/>
                    <a:pt x="225" y="607"/>
                  </a:cubicBezTo>
                  <a:cubicBezTo>
                    <a:pt x="225" y="607"/>
                    <a:pt x="225" y="606"/>
                    <a:pt x="225" y="606"/>
                  </a:cubicBezTo>
                  <a:cubicBezTo>
                    <a:pt x="226" y="605"/>
                    <a:pt x="226" y="605"/>
                    <a:pt x="226" y="605"/>
                  </a:cubicBezTo>
                  <a:cubicBezTo>
                    <a:pt x="226" y="605"/>
                    <a:pt x="226" y="604"/>
                    <a:pt x="226" y="604"/>
                  </a:cubicBezTo>
                  <a:cubicBezTo>
                    <a:pt x="226" y="604"/>
                    <a:pt x="226" y="604"/>
                    <a:pt x="226" y="604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3"/>
                    <a:pt x="226" y="603"/>
                    <a:pt x="226" y="603"/>
                  </a:cubicBezTo>
                  <a:cubicBezTo>
                    <a:pt x="226" y="602"/>
                    <a:pt x="226" y="602"/>
                    <a:pt x="226" y="602"/>
                  </a:cubicBezTo>
                  <a:cubicBezTo>
                    <a:pt x="227" y="601"/>
                    <a:pt x="227" y="601"/>
                    <a:pt x="227" y="600"/>
                  </a:cubicBezTo>
                  <a:cubicBezTo>
                    <a:pt x="227" y="599"/>
                    <a:pt x="227" y="599"/>
                    <a:pt x="227" y="598"/>
                  </a:cubicBezTo>
                  <a:cubicBezTo>
                    <a:pt x="227" y="598"/>
                    <a:pt x="227" y="597"/>
                    <a:pt x="227" y="597"/>
                  </a:cubicBezTo>
                  <a:cubicBezTo>
                    <a:pt x="227" y="597"/>
                    <a:pt x="227" y="596"/>
                    <a:pt x="227" y="596"/>
                  </a:cubicBezTo>
                  <a:cubicBezTo>
                    <a:pt x="227" y="595"/>
                    <a:pt x="227" y="595"/>
                    <a:pt x="227" y="594"/>
                  </a:cubicBezTo>
                  <a:cubicBezTo>
                    <a:pt x="227" y="594"/>
                    <a:pt x="227" y="594"/>
                    <a:pt x="227" y="594"/>
                  </a:cubicBezTo>
                  <a:cubicBezTo>
                    <a:pt x="227" y="594"/>
                    <a:pt x="227" y="593"/>
                    <a:pt x="227" y="593"/>
                  </a:cubicBezTo>
                  <a:cubicBezTo>
                    <a:pt x="227" y="593"/>
                    <a:pt x="227" y="592"/>
                    <a:pt x="227" y="592"/>
                  </a:cubicBezTo>
                  <a:cubicBezTo>
                    <a:pt x="227" y="591"/>
                    <a:pt x="227" y="591"/>
                    <a:pt x="227" y="591"/>
                  </a:cubicBezTo>
                  <a:cubicBezTo>
                    <a:pt x="227" y="591"/>
                    <a:pt x="227" y="590"/>
                    <a:pt x="227" y="590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228" y="590"/>
                    <a:pt x="228" y="590"/>
                    <a:pt x="228" y="589"/>
                  </a:cubicBezTo>
                  <a:cubicBezTo>
                    <a:pt x="228" y="589"/>
                    <a:pt x="228" y="588"/>
                    <a:pt x="228" y="587"/>
                  </a:cubicBezTo>
                  <a:cubicBezTo>
                    <a:pt x="228" y="587"/>
                    <a:pt x="229" y="587"/>
                    <a:pt x="229" y="587"/>
                  </a:cubicBezTo>
                  <a:cubicBezTo>
                    <a:pt x="229" y="587"/>
                    <a:pt x="230" y="587"/>
                    <a:pt x="231" y="585"/>
                  </a:cubicBezTo>
                  <a:cubicBezTo>
                    <a:pt x="231" y="585"/>
                    <a:pt x="231" y="585"/>
                    <a:pt x="231" y="585"/>
                  </a:cubicBezTo>
                  <a:cubicBezTo>
                    <a:pt x="231" y="584"/>
                    <a:pt x="231" y="584"/>
                    <a:pt x="231" y="584"/>
                  </a:cubicBezTo>
                  <a:cubicBezTo>
                    <a:pt x="231" y="584"/>
                    <a:pt x="231" y="584"/>
                    <a:pt x="232" y="583"/>
                  </a:cubicBezTo>
                  <a:cubicBezTo>
                    <a:pt x="232" y="583"/>
                    <a:pt x="232" y="583"/>
                    <a:pt x="232" y="583"/>
                  </a:cubicBezTo>
                  <a:cubicBezTo>
                    <a:pt x="231" y="582"/>
                    <a:pt x="231" y="582"/>
                    <a:pt x="231" y="582"/>
                  </a:cubicBezTo>
                  <a:cubicBezTo>
                    <a:pt x="232" y="582"/>
                    <a:pt x="232" y="582"/>
                    <a:pt x="232" y="582"/>
                  </a:cubicBezTo>
                  <a:cubicBezTo>
                    <a:pt x="232" y="582"/>
                    <a:pt x="232" y="582"/>
                    <a:pt x="232" y="582"/>
                  </a:cubicBezTo>
                  <a:cubicBezTo>
                    <a:pt x="231" y="581"/>
                    <a:pt x="231" y="581"/>
                    <a:pt x="231" y="581"/>
                  </a:cubicBezTo>
                  <a:cubicBezTo>
                    <a:pt x="233" y="582"/>
                    <a:pt x="233" y="582"/>
                    <a:pt x="233" y="582"/>
                  </a:cubicBezTo>
                  <a:cubicBezTo>
                    <a:pt x="233" y="581"/>
                    <a:pt x="233" y="581"/>
                    <a:pt x="233" y="581"/>
                  </a:cubicBezTo>
                  <a:cubicBezTo>
                    <a:pt x="233" y="581"/>
                    <a:pt x="234" y="581"/>
                    <a:pt x="234" y="580"/>
                  </a:cubicBezTo>
                  <a:cubicBezTo>
                    <a:pt x="235" y="580"/>
                    <a:pt x="235" y="580"/>
                    <a:pt x="235" y="579"/>
                  </a:cubicBezTo>
                  <a:cubicBezTo>
                    <a:pt x="235" y="579"/>
                    <a:pt x="235" y="579"/>
                    <a:pt x="236" y="579"/>
                  </a:cubicBezTo>
                  <a:cubicBezTo>
                    <a:pt x="236" y="579"/>
                    <a:pt x="236" y="579"/>
                    <a:pt x="236" y="579"/>
                  </a:cubicBezTo>
                  <a:cubicBezTo>
                    <a:pt x="236" y="578"/>
                    <a:pt x="237" y="577"/>
                    <a:pt x="237" y="577"/>
                  </a:cubicBezTo>
                  <a:cubicBezTo>
                    <a:pt x="237" y="577"/>
                    <a:pt x="237" y="577"/>
                    <a:pt x="237" y="577"/>
                  </a:cubicBezTo>
                  <a:cubicBezTo>
                    <a:pt x="237" y="577"/>
                    <a:pt x="238" y="576"/>
                    <a:pt x="238" y="576"/>
                  </a:cubicBezTo>
                  <a:cubicBezTo>
                    <a:pt x="239" y="576"/>
                    <a:pt x="240" y="576"/>
                    <a:pt x="241" y="575"/>
                  </a:cubicBezTo>
                  <a:cubicBezTo>
                    <a:pt x="241" y="575"/>
                    <a:pt x="241" y="575"/>
                    <a:pt x="241" y="575"/>
                  </a:cubicBezTo>
                  <a:cubicBezTo>
                    <a:pt x="242" y="574"/>
                    <a:pt x="242" y="574"/>
                    <a:pt x="242" y="574"/>
                  </a:cubicBezTo>
                  <a:cubicBezTo>
                    <a:pt x="242" y="574"/>
                    <a:pt x="242" y="574"/>
                    <a:pt x="242" y="574"/>
                  </a:cubicBezTo>
                  <a:cubicBezTo>
                    <a:pt x="243" y="574"/>
                    <a:pt x="243" y="574"/>
                    <a:pt x="243" y="574"/>
                  </a:cubicBezTo>
                  <a:cubicBezTo>
                    <a:pt x="243" y="574"/>
                    <a:pt x="243" y="574"/>
                    <a:pt x="243" y="574"/>
                  </a:cubicBezTo>
                  <a:cubicBezTo>
                    <a:pt x="244" y="574"/>
                    <a:pt x="245" y="573"/>
                    <a:pt x="245" y="573"/>
                  </a:cubicBezTo>
                  <a:cubicBezTo>
                    <a:pt x="245" y="573"/>
                    <a:pt x="245" y="573"/>
                    <a:pt x="245" y="573"/>
                  </a:cubicBezTo>
                  <a:cubicBezTo>
                    <a:pt x="245" y="574"/>
                    <a:pt x="245" y="574"/>
                    <a:pt x="245" y="574"/>
                  </a:cubicBezTo>
                  <a:cubicBezTo>
                    <a:pt x="249" y="571"/>
                    <a:pt x="249" y="571"/>
                    <a:pt x="249" y="571"/>
                  </a:cubicBezTo>
                  <a:cubicBezTo>
                    <a:pt x="249" y="571"/>
                    <a:pt x="250" y="571"/>
                    <a:pt x="250" y="571"/>
                  </a:cubicBezTo>
                  <a:cubicBezTo>
                    <a:pt x="250" y="571"/>
                    <a:pt x="250" y="571"/>
                    <a:pt x="250" y="571"/>
                  </a:cubicBezTo>
                  <a:cubicBezTo>
                    <a:pt x="251" y="570"/>
                    <a:pt x="251" y="570"/>
                    <a:pt x="251" y="570"/>
                  </a:cubicBezTo>
                  <a:cubicBezTo>
                    <a:pt x="252" y="570"/>
                    <a:pt x="253" y="570"/>
                    <a:pt x="254" y="569"/>
                  </a:cubicBezTo>
                  <a:cubicBezTo>
                    <a:pt x="254" y="569"/>
                    <a:pt x="254" y="568"/>
                    <a:pt x="254" y="568"/>
                  </a:cubicBezTo>
                  <a:cubicBezTo>
                    <a:pt x="255" y="568"/>
                    <a:pt x="255" y="568"/>
                    <a:pt x="255" y="568"/>
                  </a:cubicBezTo>
                  <a:cubicBezTo>
                    <a:pt x="255" y="567"/>
                    <a:pt x="256" y="567"/>
                    <a:pt x="256" y="567"/>
                  </a:cubicBezTo>
                  <a:cubicBezTo>
                    <a:pt x="256" y="567"/>
                    <a:pt x="256" y="567"/>
                    <a:pt x="256" y="566"/>
                  </a:cubicBezTo>
                  <a:cubicBezTo>
                    <a:pt x="256" y="566"/>
                    <a:pt x="257" y="566"/>
                    <a:pt x="257" y="566"/>
                  </a:cubicBezTo>
                  <a:cubicBezTo>
                    <a:pt x="257" y="566"/>
                    <a:pt x="257" y="566"/>
                    <a:pt x="258" y="566"/>
                  </a:cubicBezTo>
                  <a:cubicBezTo>
                    <a:pt x="258" y="565"/>
                    <a:pt x="258" y="565"/>
                    <a:pt x="258" y="565"/>
                  </a:cubicBezTo>
                  <a:cubicBezTo>
                    <a:pt x="259" y="565"/>
                    <a:pt x="259" y="565"/>
                    <a:pt x="259" y="565"/>
                  </a:cubicBezTo>
                  <a:cubicBezTo>
                    <a:pt x="260" y="565"/>
                    <a:pt x="260" y="565"/>
                    <a:pt x="261" y="565"/>
                  </a:cubicBezTo>
                  <a:cubicBezTo>
                    <a:pt x="262" y="565"/>
                    <a:pt x="262" y="564"/>
                    <a:pt x="262" y="564"/>
                  </a:cubicBezTo>
                  <a:cubicBezTo>
                    <a:pt x="262" y="563"/>
                    <a:pt x="262" y="563"/>
                    <a:pt x="262" y="563"/>
                  </a:cubicBezTo>
                  <a:cubicBezTo>
                    <a:pt x="263" y="564"/>
                    <a:pt x="263" y="564"/>
                    <a:pt x="263" y="564"/>
                  </a:cubicBezTo>
                  <a:cubicBezTo>
                    <a:pt x="264" y="563"/>
                    <a:pt x="264" y="563"/>
                    <a:pt x="264" y="563"/>
                  </a:cubicBezTo>
                  <a:cubicBezTo>
                    <a:pt x="265" y="563"/>
                    <a:pt x="265" y="563"/>
                    <a:pt x="265" y="563"/>
                  </a:cubicBezTo>
                  <a:cubicBezTo>
                    <a:pt x="266" y="563"/>
                    <a:pt x="266" y="563"/>
                    <a:pt x="267" y="563"/>
                  </a:cubicBezTo>
                  <a:cubicBezTo>
                    <a:pt x="267" y="563"/>
                    <a:pt x="267" y="563"/>
                    <a:pt x="268" y="563"/>
                  </a:cubicBezTo>
                  <a:cubicBezTo>
                    <a:pt x="268" y="563"/>
                    <a:pt x="268" y="563"/>
                    <a:pt x="269" y="563"/>
                  </a:cubicBezTo>
                  <a:cubicBezTo>
                    <a:pt x="269" y="562"/>
                    <a:pt x="270" y="562"/>
                    <a:pt x="271" y="562"/>
                  </a:cubicBezTo>
                  <a:cubicBezTo>
                    <a:pt x="271" y="562"/>
                    <a:pt x="272" y="562"/>
                    <a:pt x="272" y="562"/>
                  </a:cubicBezTo>
                  <a:cubicBezTo>
                    <a:pt x="272" y="562"/>
                    <a:pt x="273" y="563"/>
                    <a:pt x="273" y="563"/>
                  </a:cubicBezTo>
                  <a:cubicBezTo>
                    <a:pt x="274" y="563"/>
                    <a:pt x="274" y="564"/>
                    <a:pt x="274" y="564"/>
                  </a:cubicBezTo>
                  <a:cubicBezTo>
                    <a:pt x="275" y="564"/>
                    <a:pt x="275" y="564"/>
                    <a:pt x="276" y="565"/>
                  </a:cubicBezTo>
                  <a:cubicBezTo>
                    <a:pt x="277" y="565"/>
                    <a:pt x="277" y="564"/>
                    <a:pt x="277" y="564"/>
                  </a:cubicBezTo>
                  <a:cubicBezTo>
                    <a:pt x="277" y="564"/>
                    <a:pt x="277" y="564"/>
                    <a:pt x="277" y="564"/>
                  </a:cubicBezTo>
                  <a:cubicBezTo>
                    <a:pt x="278" y="564"/>
                    <a:pt x="278" y="565"/>
                    <a:pt x="279" y="565"/>
                  </a:cubicBezTo>
                  <a:cubicBezTo>
                    <a:pt x="279" y="565"/>
                    <a:pt x="280" y="565"/>
                    <a:pt x="281" y="565"/>
                  </a:cubicBezTo>
                  <a:cubicBezTo>
                    <a:pt x="281" y="564"/>
                    <a:pt x="282" y="563"/>
                    <a:pt x="282" y="563"/>
                  </a:cubicBezTo>
                  <a:cubicBezTo>
                    <a:pt x="282" y="563"/>
                    <a:pt x="282" y="563"/>
                    <a:pt x="282" y="563"/>
                  </a:cubicBezTo>
                  <a:cubicBezTo>
                    <a:pt x="282" y="563"/>
                    <a:pt x="282" y="563"/>
                    <a:pt x="282" y="563"/>
                  </a:cubicBezTo>
                  <a:cubicBezTo>
                    <a:pt x="282" y="563"/>
                    <a:pt x="282" y="563"/>
                    <a:pt x="282" y="564"/>
                  </a:cubicBezTo>
                  <a:cubicBezTo>
                    <a:pt x="282" y="564"/>
                    <a:pt x="282" y="564"/>
                    <a:pt x="282" y="564"/>
                  </a:cubicBezTo>
                  <a:cubicBezTo>
                    <a:pt x="282" y="565"/>
                    <a:pt x="283" y="566"/>
                    <a:pt x="283" y="566"/>
                  </a:cubicBezTo>
                  <a:cubicBezTo>
                    <a:pt x="283" y="566"/>
                    <a:pt x="284" y="566"/>
                    <a:pt x="284" y="567"/>
                  </a:cubicBezTo>
                  <a:cubicBezTo>
                    <a:pt x="284" y="567"/>
                    <a:pt x="284" y="567"/>
                    <a:pt x="284" y="567"/>
                  </a:cubicBezTo>
                  <a:cubicBezTo>
                    <a:pt x="285" y="567"/>
                    <a:pt x="285" y="568"/>
                    <a:pt x="285" y="568"/>
                  </a:cubicBezTo>
                  <a:cubicBezTo>
                    <a:pt x="285" y="569"/>
                    <a:pt x="286" y="571"/>
                    <a:pt x="288" y="570"/>
                  </a:cubicBezTo>
                  <a:cubicBezTo>
                    <a:pt x="289" y="570"/>
                    <a:pt x="290" y="570"/>
                    <a:pt x="290" y="569"/>
                  </a:cubicBezTo>
                  <a:cubicBezTo>
                    <a:pt x="290" y="569"/>
                    <a:pt x="290" y="569"/>
                    <a:pt x="290" y="569"/>
                  </a:cubicBezTo>
                  <a:cubicBezTo>
                    <a:pt x="291" y="569"/>
                    <a:pt x="291" y="569"/>
                    <a:pt x="291" y="569"/>
                  </a:cubicBezTo>
                  <a:cubicBezTo>
                    <a:pt x="291" y="568"/>
                    <a:pt x="291" y="568"/>
                    <a:pt x="291" y="568"/>
                  </a:cubicBezTo>
                  <a:cubicBezTo>
                    <a:pt x="291" y="569"/>
                    <a:pt x="291" y="569"/>
                    <a:pt x="291" y="569"/>
                  </a:cubicBezTo>
                  <a:cubicBezTo>
                    <a:pt x="291" y="569"/>
                    <a:pt x="292" y="570"/>
                    <a:pt x="293" y="570"/>
                  </a:cubicBezTo>
                  <a:cubicBezTo>
                    <a:pt x="294" y="570"/>
                    <a:pt x="295" y="569"/>
                    <a:pt x="295" y="568"/>
                  </a:cubicBezTo>
                  <a:cubicBezTo>
                    <a:pt x="295" y="568"/>
                    <a:pt x="295" y="568"/>
                    <a:pt x="295" y="568"/>
                  </a:cubicBezTo>
                  <a:cubicBezTo>
                    <a:pt x="295" y="568"/>
                    <a:pt x="295" y="568"/>
                    <a:pt x="295" y="569"/>
                  </a:cubicBezTo>
                  <a:cubicBezTo>
                    <a:pt x="295" y="570"/>
                    <a:pt x="296" y="570"/>
                    <a:pt x="297" y="570"/>
                  </a:cubicBezTo>
                  <a:cubicBezTo>
                    <a:pt x="297" y="570"/>
                    <a:pt x="297" y="570"/>
                    <a:pt x="297" y="570"/>
                  </a:cubicBezTo>
                  <a:cubicBezTo>
                    <a:pt x="297" y="570"/>
                    <a:pt x="297" y="570"/>
                    <a:pt x="297" y="570"/>
                  </a:cubicBezTo>
                  <a:cubicBezTo>
                    <a:pt x="297" y="571"/>
                    <a:pt x="296" y="571"/>
                    <a:pt x="296" y="572"/>
                  </a:cubicBezTo>
                  <a:cubicBezTo>
                    <a:pt x="296" y="573"/>
                    <a:pt x="296" y="574"/>
                    <a:pt x="298" y="574"/>
                  </a:cubicBezTo>
                  <a:cubicBezTo>
                    <a:pt x="299" y="574"/>
                    <a:pt x="299" y="574"/>
                    <a:pt x="300" y="574"/>
                  </a:cubicBezTo>
                  <a:cubicBezTo>
                    <a:pt x="301" y="574"/>
                    <a:pt x="302" y="574"/>
                    <a:pt x="302" y="573"/>
                  </a:cubicBezTo>
                  <a:cubicBezTo>
                    <a:pt x="302" y="572"/>
                    <a:pt x="302" y="572"/>
                    <a:pt x="302" y="572"/>
                  </a:cubicBezTo>
                  <a:cubicBezTo>
                    <a:pt x="302" y="572"/>
                    <a:pt x="302" y="571"/>
                    <a:pt x="302" y="571"/>
                  </a:cubicBezTo>
                  <a:cubicBezTo>
                    <a:pt x="302" y="571"/>
                    <a:pt x="302" y="571"/>
                    <a:pt x="303" y="570"/>
                  </a:cubicBezTo>
                  <a:cubicBezTo>
                    <a:pt x="303" y="569"/>
                    <a:pt x="303" y="568"/>
                    <a:pt x="303" y="568"/>
                  </a:cubicBezTo>
                  <a:cubicBezTo>
                    <a:pt x="302" y="567"/>
                    <a:pt x="302" y="567"/>
                    <a:pt x="301" y="567"/>
                  </a:cubicBezTo>
                  <a:cubicBezTo>
                    <a:pt x="301" y="567"/>
                    <a:pt x="301" y="566"/>
                    <a:pt x="301" y="566"/>
                  </a:cubicBezTo>
                  <a:cubicBezTo>
                    <a:pt x="301" y="566"/>
                    <a:pt x="301" y="566"/>
                    <a:pt x="301" y="566"/>
                  </a:cubicBezTo>
                  <a:cubicBezTo>
                    <a:pt x="301" y="565"/>
                    <a:pt x="301" y="565"/>
                    <a:pt x="301" y="565"/>
                  </a:cubicBezTo>
                  <a:cubicBezTo>
                    <a:pt x="301" y="565"/>
                    <a:pt x="301" y="564"/>
                    <a:pt x="301" y="564"/>
                  </a:cubicBezTo>
                  <a:cubicBezTo>
                    <a:pt x="302" y="564"/>
                    <a:pt x="303" y="564"/>
                    <a:pt x="304" y="563"/>
                  </a:cubicBezTo>
                  <a:cubicBezTo>
                    <a:pt x="304" y="562"/>
                    <a:pt x="304" y="560"/>
                    <a:pt x="303" y="560"/>
                  </a:cubicBezTo>
                  <a:cubicBezTo>
                    <a:pt x="303" y="559"/>
                    <a:pt x="304" y="559"/>
                    <a:pt x="304" y="559"/>
                  </a:cubicBezTo>
                  <a:cubicBezTo>
                    <a:pt x="304" y="559"/>
                    <a:pt x="304" y="559"/>
                    <a:pt x="304" y="559"/>
                  </a:cubicBezTo>
                  <a:cubicBezTo>
                    <a:pt x="304" y="558"/>
                    <a:pt x="305" y="558"/>
                    <a:pt x="305" y="558"/>
                  </a:cubicBezTo>
                  <a:cubicBezTo>
                    <a:pt x="305" y="558"/>
                    <a:pt x="305" y="558"/>
                    <a:pt x="305" y="558"/>
                  </a:cubicBezTo>
                  <a:cubicBezTo>
                    <a:pt x="306" y="558"/>
                    <a:pt x="306" y="558"/>
                    <a:pt x="306" y="558"/>
                  </a:cubicBezTo>
                  <a:cubicBezTo>
                    <a:pt x="306" y="558"/>
                    <a:pt x="307" y="558"/>
                    <a:pt x="307" y="558"/>
                  </a:cubicBezTo>
                  <a:cubicBezTo>
                    <a:pt x="308" y="558"/>
                    <a:pt x="308" y="557"/>
                    <a:pt x="309" y="557"/>
                  </a:cubicBezTo>
                  <a:cubicBezTo>
                    <a:pt x="309" y="557"/>
                    <a:pt x="309" y="557"/>
                    <a:pt x="309" y="557"/>
                  </a:cubicBezTo>
                  <a:cubicBezTo>
                    <a:pt x="309" y="557"/>
                    <a:pt x="309" y="557"/>
                    <a:pt x="309" y="557"/>
                  </a:cubicBezTo>
                  <a:cubicBezTo>
                    <a:pt x="310" y="557"/>
                    <a:pt x="310" y="557"/>
                    <a:pt x="310" y="557"/>
                  </a:cubicBezTo>
                  <a:cubicBezTo>
                    <a:pt x="311" y="557"/>
                    <a:pt x="312" y="557"/>
                    <a:pt x="313" y="557"/>
                  </a:cubicBezTo>
                  <a:cubicBezTo>
                    <a:pt x="313" y="557"/>
                    <a:pt x="313" y="557"/>
                    <a:pt x="313" y="557"/>
                  </a:cubicBezTo>
                  <a:cubicBezTo>
                    <a:pt x="314" y="557"/>
                    <a:pt x="315" y="557"/>
                    <a:pt x="316" y="556"/>
                  </a:cubicBezTo>
                  <a:cubicBezTo>
                    <a:pt x="317" y="556"/>
                    <a:pt x="317" y="557"/>
                    <a:pt x="317" y="557"/>
                  </a:cubicBezTo>
                  <a:cubicBezTo>
                    <a:pt x="318" y="556"/>
                    <a:pt x="318" y="556"/>
                    <a:pt x="318" y="556"/>
                  </a:cubicBezTo>
                  <a:cubicBezTo>
                    <a:pt x="317" y="557"/>
                    <a:pt x="317" y="557"/>
                    <a:pt x="317" y="557"/>
                  </a:cubicBezTo>
                  <a:cubicBezTo>
                    <a:pt x="317" y="557"/>
                    <a:pt x="318" y="558"/>
                    <a:pt x="318" y="558"/>
                  </a:cubicBezTo>
                  <a:cubicBezTo>
                    <a:pt x="319" y="558"/>
                    <a:pt x="319" y="558"/>
                    <a:pt x="319" y="558"/>
                  </a:cubicBezTo>
                  <a:cubicBezTo>
                    <a:pt x="319" y="558"/>
                    <a:pt x="319" y="558"/>
                    <a:pt x="319" y="558"/>
                  </a:cubicBezTo>
                  <a:cubicBezTo>
                    <a:pt x="319" y="558"/>
                    <a:pt x="320" y="558"/>
                    <a:pt x="320" y="558"/>
                  </a:cubicBezTo>
                  <a:cubicBezTo>
                    <a:pt x="320" y="559"/>
                    <a:pt x="321" y="559"/>
                    <a:pt x="321" y="559"/>
                  </a:cubicBezTo>
                  <a:cubicBezTo>
                    <a:pt x="321" y="559"/>
                    <a:pt x="321" y="559"/>
                    <a:pt x="322" y="559"/>
                  </a:cubicBezTo>
                  <a:cubicBezTo>
                    <a:pt x="322" y="559"/>
                    <a:pt x="322" y="559"/>
                    <a:pt x="322" y="559"/>
                  </a:cubicBezTo>
                  <a:cubicBezTo>
                    <a:pt x="322" y="559"/>
                    <a:pt x="322" y="559"/>
                    <a:pt x="323" y="559"/>
                  </a:cubicBezTo>
                  <a:cubicBezTo>
                    <a:pt x="323" y="559"/>
                    <a:pt x="323" y="559"/>
                    <a:pt x="323" y="559"/>
                  </a:cubicBezTo>
                  <a:cubicBezTo>
                    <a:pt x="324" y="559"/>
                    <a:pt x="324" y="559"/>
                    <a:pt x="325" y="559"/>
                  </a:cubicBezTo>
                  <a:cubicBezTo>
                    <a:pt x="325" y="559"/>
                    <a:pt x="325" y="559"/>
                    <a:pt x="325" y="559"/>
                  </a:cubicBezTo>
                  <a:cubicBezTo>
                    <a:pt x="326" y="559"/>
                    <a:pt x="327" y="558"/>
                    <a:pt x="327" y="558"/>
                  </a:cubicBezTo>
                  <a:cubicBezTo>
                    <a:pt x="327" y="559"/>
                    <a:pt x="327" y="559"/>
                    <a:pt x="328" y="560"/>
                  </a:cubicBezTo>
                  <a:cubicBezTo>
                    <a:pt x="328" y="560"/>
                    <a:pt x="328" y="560"/>
                    <a:pt x="328" y="560"/>
                  </a:cubicBezTo>
                  <a:cubicBezTo>
                    <a:pt x="328" y="560"/>
                    <a:pt x="328" y="560"/>
                    <a:pt x="329" y="561"/>
                  </a:cubicBezTo>
                  <a:cubicBezTo>
                    <a:pt x="329" y="561"/>
                    <a:pt x="329" y="562"/>
                    <a:pt x="330" y="562"/>
                  </a:cubicBezTo>
                  <a:cubicBezTo>
                    <a:pt x="330" y="562"/>
                    <a:pt x="330" y="562"/>
                    <a:pt x="330" y="562"/>
                  </a:cubicBezTo>
                  <a:cubicBezTo>
                    <a:pt x="331" y="562"/>
                    <a:pt x="331" y="562"/>
                    <a:pt x="331" y="562"/>
                  </a:cubicBezTo>
                  <a:cubicBezTo>
                    <a:pt x="331" y="562"/>
                    <a:pt x="331" y="562"/>
                    <a:pt x="331" y="562"/>
                  </a:cubicBezTo>
                  <a:cubicBezTo>
                    <a:pt x="331" y="563"/>
                    <a:pt x="331" y="564"/>
                    <a:pt x="332" y="564"/>
                  </a:cubicBezTo>
                  <a:cubicBezTo>
                    <a:pt x="332" y="565"/>
                    <a:pt x="332" y="565"/>
                    <a:pt x="332" y="565"/>
                  </a:cubicBezTo>
                  <a:cubicBezTo>
                    <a:pt x="333" y="565"/>
                    <a:pt x="333" y="565"/>
                    <a:pt x="333" y="565"/>
                  </a:cubicBezTo>
                  <a:cubicBezTo>
                    <a:pt x="333" y="565"/>
                    <a:pt x="333" y="565"/>
                    <a:pt x="333" y="565"/>
                  </a:cubicBezTo>
                  <a:cubicBezTo>
                    <a:pt x="333" y="566"/>
                    <a:pt x="333" y="566"/>
                    <a:pt x="334" y="567"/>
                  </a:cubicBezTo>
                  <a:cubicBezTo>
                    <a:pt x="334" y="568"/>
                    <a:pt x="336" y="568"/>
                    <a:pt x="337" y="567"/>
                  </a:cubicBezTo>
                  <a:cubicBezTo>
                    <a:pt x="337" y="567"/>
                    <a:pt x="337" y="567"/>
                    <a:pt x="338" y="566"/>
                  </a:cubicBezTo>
                  <a:cubicBezTo>
                    <a:pt x="338" y="566"/>
                    <a:pt x="338" y="566"/>
                    <a:pt x="338" y="566"/>
                  </a:cubicBezTo>
                  <a:cubicBezTo>
                    <a:pt x="338" y="566"/>
                    <a:pt x="338" y="566"/>
                    <a:pt x="339" y="566"/>
                  </a:cubicBezTo>
                  <a:cubicBezTo>
                    <a:pt x="340" y="567"/>
                    <a:pt x="340" y="567"/>
                    <a:pt x="341" y="566"/>
                  </a:cubicBezTo>
                  <a:cubicBezTo>
                    <a:pt x="341" y="566"/>
                    <a:pt x="342" y="566"/>
                    <a:pt x="342" y="566"/>
                  </a:cubicBezTo>
                  <a:cubicBezTo>
                    <a:pt x="342" y="566"/>
                    <a:pt x="343" y="565"/>
                    <a:pt x="343" y="565"/>
                  </a:cubicBezTo>
                  <a:cubicBezTo>
                    <a:pt x="343" y="565"/>
                    <a:pt x="343" y="565"/>
                    <a:pt x="343" y="565"/>
                  </a:cubicBezTo>
                  <a:cubicBezTo>
                    <a:pt x="343" y="565"/>
                    <a:pt x="344" y="565"/>
                    <a:pt x="344" y="565"/>
                  </a:cubicBezTo>
                  <a:cubicBezTo>
                    <a:pt x="345" y="565"/>
                    <a:pt x="345" y="565"/>
                    <a:pt x="345" y="565"/>
                  </a:cubicBezTo>
                  <a:cubicBezTo>
                    <a:pt x="345" y="565"/>
                    <a:pt x="345" y="565"/>
                    <a:pt x="345" y="565"/>
                  </a:cubicBezTo>
                  <a:cubicBezTo>
                    <a:pt x="345" y="566"/>
                    <a:pt x="345" y="566"/>
                    <a:pt x="345" y="566"/>
                  </a:cubicBezTo>
                  <a:cubicBezTo>
                    <a:pt x="345" y="567"/>
                    <a:pt x="345" y="567"/>
                    <a:pt x="345" y="568"/>
                  </a:cubicBezTo>
                  <a:cubicBezTo>
                    <a:pt x="345" y="568"/>
                    <a:pt x="345" y="568"/>
                    <a:pt x="345" y="568"/>
                  </a:cubicBezTo>
                  <a:cubicBezTo>
                    <a:pt x="345" y="568"/>
                    <a:pt x="345" y="569"/>
                    <a:pt x="345" y="569"/>
                  </a:cubicBezTo>
                  <a:cubicBezTo>
                    <a:pt x="346" y="569"/>
                    <a:pt x="346" y="569"/>
                    <a:pt x="346" y="570"/>
                  </a:cubicBezTo>
                  <a:cubicBezTo>
                    <a:pt x="346" y="570"/>
                    <a:pt x="346" y="570"/>
                    <a:pt x="346" y="571"/>
                  </a:cubicBezTo>
                  <a:cubicBezTo>
                    <a:pt x="346" y="572"/>
                    <a:pt x="347" y="573"/>
                    <a:pt x="347" y="573"/>
                  </a:cubicBezTo>
                  <a:cubicBezTo>
                    <a:pt x="347" y="574"/>
                    <a:pt x="347" y="574"/>
                    <a:pt x="347" y="574"/>
                  </a:cubicBezTo>
                  <a:cubicBezTo>
                    <a:pt x="348" y="573"/>
                    <a:pt x="348" y="573"/>
                    <a:pt x="348" y="573"/>
                  </a:cubicBezTo>
                  <a:cubicBezTo>
                    <a:pt x="348" y="573"/>
                    <a:pt x="348" y="573"/>
                    <a:pt x="348" y="573"/>
                  </a:cubicBezTo>
                  <a:cubicBezTo>
                    <a:pt x="347" y="574"/>
                    <a:pt x="347" y="574"/>
                    <a:pt x="347" y="574"/>
                  </a:cubicBezTo>
                  <a:cubicBezTo>
                    <a:pt x="348" y="574"/>
                    <a:pt x="348" y="574"/>
                    <a:pt x="348" y="575"/>
                  </a:cubicBezTo>
                  <a:cubicBezTo>
                    <a:pt x="348" y="575"/>
                    <a:pt x="348" y="576"/>
                    <a:pt x="348" y="576"/>
                  </a:cubicBezTo>
                  <a:cubicBezTo>
                    <a:pt x="348" y="577"/>
                    <a:pt x="348" y="577"/>
                    <a:pt x="348" y="577"/>
                  </a:cubicBezTo>
                  <a:cubicBezTo>
                    <a:pt x="348" y="578"/>
                    <a:pt x="347" y="578"/>
                    <a:pt x="347" y="578"/>
                  </a:cubicBezTo>
                  <a:cubicBezTo>
                    <a:pt x="347" y="579"/>
                    <a:pt x="347" y="579"/>
                    <a:pt x="347" y="579"/>
                  </a:cubicBezTo>
                  <a:cubicBezTo>
                    <a:pt x="347" y="580"/>
                    <a:pt x="347" y="580"/>
                    <a:pt x="347" y="580"/>
                  </a:cubicBezTo>
                  <a:cubicBezTo>
                    <a:pt x="347" y="581"/>
                    <a:pt x="347" y="581"/>
                    <a:pt x="347" y="581"/>
                  </a:cubicBezTo>
                  <a:cubicBezTo>
                    <a:pt x="347" y="581"/>
                    <a:pt x="346" y="581"/>
                    <a:pt x="346" y="582"/>
                  </a:cubicBezTo>
                  <a:cubicBezTo>
                    <a:pt x="346" y="582"/>
                    <a:pt x="346" y="582"/>
                    <a:pt x="345" y="583"/>
                  </a:cubicBezTo>
                  <a:cubicBezTo>
                    <a:pt x="345" y="583"/>
                    <a:pt x="345" y="583"/>
                    <a:pt x="345" y="584"/>
                  </a:cubicBezTo>
                  <a:cubicBezTo>
                    <a:pt x="345" y="584"/>
                    <a:pt x="345" y="584"/>
                    <a:pt x="345" y="584"/>
                  </a:cubicBezTo>
                  <a:cubicBezTo>
                    <a:pt x="344" y="585"/>
                    <a:pt x="344" y="586"/>
                    <a:pt x="343" y="587"/>
                  </a:cubicBezTo>
                  <a:cubicBezTo>
                    <a:pt x="343" y="588"/>
                    <a:pt x="343" y="589"/>
                    <a:pt x="344" y="589"/>
                  </a:cubicBezTo>
                  <a:cubicBezTo>
                    <a:pt x="344" y="590"/>
                    <a:pt x="344" y="590"/>
                    <a:pt x="344" y="591"/>
                  </a:cubicBezTo>
                  <a:cubicBezTo>
                    <a:pt x="344" y="591"/>
                    <a:pt x="345" y="591"/>
                    <a:pt x="345" y="591"/>
                  </a:cubicBezTo>
                  <a:cubicBezTo>
                    <a:pt x="345" y="591"/>
                    <a:pt x="345" y="591"/>
                    <a:pt x="345" y="591"/>
                  </a:cubicBezTo>
                  <a:cubicBezTo>
                    <a:pt x="345" y="592"/>
                    <a:pt x="345" y="592"/>
                    <a:pt x="345" y="592"/>
                  </a:cubicBezTo>
                  <a:cubicBezTo>
                    <a:pt x="344" y="591"/>
                    <a:pt x="344" y="591"/>
                    <a:pt x="344" y="591"/>
                  </a:cubicBezTo>
                  <a:cubicBezTo>
                    <a:pt x="344" y="591"/>
                    <a:pt x="344" y="591"/>
                    <a:pt x="344" y="592"/>
                  </a:cubicBezTo>
                  <a:cubicBezTo>
                    <a:pt x="344" y="592"/>
                    <a:pt x="343" y="592"/>
                    <a:pt x="343" y="592"/>
                  </a:cubicBezTo>
                  <a:cubicBezTo>
                    <a:pt x="343" y="593"/>
                    <a:pt x="343" y="594"/>
                    <a:pt x="343" y="594"/>
                  </a:cubicBezTo>
                  <a:cubicBezTo>
                    <a:pt x="343" y="595"/>
                    <a:pt x="343" y="596"/>
                    <a:pt x="343" y="596"/>
                  </a:cubicBezTo>
                  <a:cubicBezTo>
                    <a:pt x="343" y="596"/>
                    <a:pt x="343" y="597"/>
                    <a:pt x="343" y="597"/>
                  </a:cubicBezTo>
                  <a:cubicBezTo>
                    <a:pt x="342" y="597"/>
                    <a:pt x="342" y="597"/>
                    <a:pt x="342" y="597"/>
                  </a:cubicBezTo>
                  <a:cubicBezTo>
                    <a:pt x="342" y="598"/>
                    <a:pt x="342" y="599"/>
                    <a:pt x="342" y="600"/>
                  </a:cubicBezTo>
                  <a:cubicBezTo>
                    <a:pt x="342" y="600"/>
                    <a:pt x="343" y="601"/>
                    <a:pt x="343" y="601"/>
                  </a:cubicBezTo>
                  <a:cubicBezTo>
                    <a:pt x="343" y="601"/>
                    <a:pt x="344" y="602"/>
                    <a:pt x="344" y="602"/>
                  </a:cubicBezTo>
                  <a:cubicBezTo>
                    <a:pt x="344" y="602"/>
                    <a:pt x="344" y="602"/>
                    <a:pt x="344" y="602"/>
                  </a:cubicBezTo>
                  <a:cubicBezTo>
                    <a:pt x="344" y="603"/>
                    <a:pt x="344" y="604"/>
                    <a:pt x="344" y="604"/>
                  </a:cubicBezTo>
                  <a:cubicBezTo>
                    <a:pt x="344" y="605"/>
                    <a:pt x="344" y="605"/>
                    <a:pt x="344" y="606"/>
                  </a:cubicBezTo>
                  <a:cubicBezTo>
                    <a:pt x="344" y="607"/>
                    <a:pt x="344" y="607"/>
                    <a:pt x="344" y="607"/>
                  </a:cubicBezTo>
                  <a:cubicBezTo>
                    <a:pt x="344" y="607"/>
                    <a:pt x="344" y="608"/>
                    <a:pt x="344" y="608"/>
                  </a:cubicBezTo>
                  <a:cubicBezTo>
                    <a:pt x="345" y="609"/>
                    <a:pt x="345" y="610"/>
                    <a:pt x="345" y="611"/>
                  </a:cubicBezTo>
                  <a:cubicBezTo>
                    <a:pt x="345" y="611"/>
                    <a:pt x="345" y="611"/>
                    <a:pt x="346" y="611"/>
                  </a:cubicBezTo>
                  <a:cubicBezTo>
                    <a:pt x="346" y="612"/>
                    <a:pt x="346" y="612"/>
                    <a:pt x="346" y="612"/>
                  </a:cubicBezTo>
                  <a:cubicBezTo>
                    <a:pt x="346" y="612"/>
                    <a:pt x="346" y="613"/>
                    <a:pt x="346" y="613"/>
                  </a:cubicBezTo>
                  <a:cubicBezTo>
                    <a:pt x="346" y="614"/>
                    <a:pt x="346" y="615"/>
                    <a:pt x="346" y="616"/>
                  </a:cubicBezTo>
                  <a:cubicBezTo>
                    <a:pt x="346" y="616"/>
                    <a:pt x="347" y="616"/>
                    <a:pt x="347" y="616"/>
                  </a:cubicBezTo>
                  <a:cubicBezTo>
                    <a:pt x="347" y="617"/>
                    <a:pt x="347" y="617"/>
                    <a:pt x="347" y="617"/>
                  </a:cubicBezTo>
                  <a:cubicBezTo>
                    <a:pt x="347" y="617"/>
                    <a:pt x="347" y="617"/>
                    <a:pt x="347" y="617"/>
                  </a:cubicBezTo>
                  <a:cubicBezTo>
                    <a:pt x="347" y="617"/>
                    <a:pt x="347" y="617"/>
                    <a:pt x="347" y="617"/>
                  </a:cubicBezTo>
                  <a:cubicBezTo>
                    <a:pt x="347" y="617"/>
                    <a:pt x="346" y="617"/>
                    <a:pt x="346" y="617"/>
                  </a:cubicBezTo>
                  <a:cubicBezTo>
                    <a:pt x="346" y="618"/>
                    <a:pt x="346" y="618"/>
                    <a:pt x="345" y="619"/>
                  </a:cubicBezTo>
                  <a:cubicBezTo>
                    <a:pt x="345" y="620"/>
                    <a:pt x="345" y="621"/>
                    <a:pt x="346" y="622"/>
                  </a:cubicBezTo>
                  <a:cubicBezTo>
                    <a:pt x="347" y="622"/>
                    <a:pt x="347" y="622"/>
                    <a:pt x="348" y="622"/>
                  </a:cubicBezTo>
                  <a:cubicBezTo>
                    <a:pt x="348" y="622"/>
                    <a:pt x="349" y="622"/>
                    <a:pt x="349" y="622"/>
                  </a:cubicBezTo>
                  <a:cubicBezTo>
                    <a:pt x="349" y="622"/>
                    <a:pt x="349" y="622"/>
                    <a:pt x="350" y="621"/>
                  </a:cubicBezTo>
                  <a:cubicBezTo>
                    <a:pt x="350" y="621"/>
                    <a:pt x="350" y="621"/>
                    <a:pt x="351" y="621"/>
                  </a:cubicBezTo>
                  <a:cubicBezTo>
                    <a:pt x="351" y="621"/>
                    <a:pt x="352" y="622"/>
                    <a:pt x="352" y="622"/>
                  </a:cubicBezTo>
                  <a:cubicBezTo>
                    <a:pt x="353" y="622"/>
                    <a:pt x="354" y="621"/>
                    <a:pt x="355" y="620"/>
                  </a:cubicBezTo>
                  <a:cubicBezTo>
                    <a:pt x="355" y="619"/>
                    <a:pt x="356" y="618"/>
                    <a:pt x="356" y="618"/>
                  </a:cubicBezTo>
                  <a:cubicBezTo>
                    <a:pt x="357" y="616"/>
                    <a:pt x="357" y="616"/>
                    <a:pt x="357" y="616"/>
                  </a:cubicBezTo>
                  <a:cubicBezTo>
                    <a:pt x="356" y="616"/>
                    <a:pt x="356" y="616"/>
                    <a:pt x="356" y="616"/>
                  </a:cubicBezTo>
                  <a:cubicBezTo>
                    <a:pt x="356" y="616"/>
                    <a:pt x="356" y="616"/>
                    <a:pt x="356" y="616"/>
                  </a:cubicBezTo>
                  <a:cubicBezTo>
                    <a:pt x="357" y="616"/>
                    <a:pt x="357" y="616"/>
                    <a:pt x="357" y="616"/>
                  </a:cubicBezTo>
                  <a:cubicBezTo>
                    <a:pt x="357" y="616"/>
                    <a:pt x="357" y="616"/>
                    <a:pt x="357" y="616"/>
                  </a:cubicBezTo>
                  <a:cubicBezTo>
                    <a:pt x="357" y="616"/>
                    <a:pt x="357" y="615"/>
                    <a:pt x="357" y="615"/>
                  </a:cubicBezTo>
                  <a:cubicBezTo>
                    <a:pt x="358" y="615"/>
                    <a:pt x="359" y="615"/>
                    <a:pt x="359" y="614"/>
                  </a:cubicBezTo>
                  <a:cubicBezTo>
                    <a:pt x="360" y="613"/>
                    <a:pt x="360" y="612"/>
                    <a:pt x="360" y="612"/>
                  </a:cubicBezTo>
                  <a:cubicBezTo>
                    <a:pt x="360" y="611"/>
                    <a:pt x="361" y="611"/>
                    <a:pt x="361" y="610"/>
                  </a:cubicBezTo>
                  <a:cubicBezTo>
                    <a:pt x="361" y="610"/>
                    <a:pt x="361" y="610"/>
                    <a:pt x="361" y="609"/>
                  </a:cubicBezTo>
                  <a:cubicBezTo>
                    <a:pt x="361" y="609"/>
                    <a:pt x="361" y="609"/>
                    <a:pt x="362" y="608"/>
                  </a:cubicBezTo>
                  <a:cubicBezTo>
                    <a:pt x="362" y="608"/>
                    <a:pt x="362" y="607"/>
                    <a:pt x="362" y="607"/>
                  </a:cubicBezTo>
                  <a:cubicBezTo>
                    <a:pt x="362" y="606"/>
                    <a:pt x="362" y="606"/>
                    <a:pt x="362" y="606"/>
                  </a:cubicBezTo>
                  <a:cubicBezTo>
                    <a:pt x="362" y="606"/>
                    <a:pt x="362" y="606"/>
                    <a:pt x="362" y="606"/>
                  </a:cubicBezTo>
                  <a:cubicBezTo>
                    <a:pt x="362" y="605"/>
                    <a:pt x="362" y="605"/>
                    <a:pt x="362" y="605"/>
                  </a:cubicBezTo>
                  <a:cubicBezTo>
                    <a:pt x="362" y="605"/>
                    <a:pt x="362" y="605"/>
                    <a:pt x="363" y="604"/>
                  </a:cubicBezTo>
                  <a:cubicBezTo>
                    <a:pt x="363" y="604"/>
                    <a:pt x="363" y="604"/>
                    <a:pt x="363" y="604"/>
                  </a:cubicBezTo>
                  <a:cubicBezTo>
                    <a:pt x="363" y="603"/>
                    <a:pt x="363" y="603"/>
                    <a:pt x="363" y="603"/>
                  </a:cubicBezTo>
                  <a:cubicBezTo>
                    <a:pt x="363" y="603"/>
                    <a:pt x="363" y="602"/>
                    <a:pt x="363" y="602"/>
                  </a:cubicBezTo>
                  <a:cubicBezTo>
                    <a:pt x="363" y="601"/>
                    <a:pt x="363" y="600"/>
                    <a:pt x="363" y="599"/>
                  </a:cubicBezTo>
                  <a:cubicBezTo>
                    <a:pt x="363" y="599"/>
                    <a:pt x="363" y="598"/>
                    <a:pt x="363" y="598"/>
                  </a:cubicBezTo>
                  <a:cubicBezTo>
                    <a:pt x="363" y="598"/>
                    <a:pt x="363" y="597"/>
                    <a:pt x="363" y="597"/>
                  </a:cubicBezTo>
                  <a:cubicBezTo>
                    <a:pt x="363" y="597"/>
                    <a:pt x="363" y="597"/>
                    <a:pt x="363" y="596"/>
                  </a:cubicBezTo>
                  <a:cubicBezTo>
                    <a:pt x="363" y="596"/>
                    <a:pt x="363" y="596"/>
                    <a:pt x="363" y="596"/>
                  </a:cubicBezTo>
                  <a:cubicBezTo>
                    <a:pt x="363" y="596"/>
                    <a:pt x="363" y="596"/>
                    <a:pt x="363" y="595"/>
                  </a:cubicBezTo>
                  <a:cubicBezTo>
                    <a:pt x="363" y="595"/>
                    <a:pt x="363" y="595"/>
                    <a:pt x="363" y="594"/>
                  </a:cubicBezTo>
                  <a:cubicBezTo>
                    <a:pt x="364" y="594"/>
                    <a:pt x="364" y="593"/>
                    <a:pt x="364" y="593"/>
                  </a:cubicBezTo>
                  <a:cubicBezTo>
                    <a:pt x="364" y="593"/>
                    <a:pt x="364" y="592"/>
                    <a:pt x="364" y="591"/>
                  </a:cubicBezTo>
                  <a:cubicBezTo>
                    <a:pt x="364" y="590"/>
                    <a:pt x="364" y="590"/>
                    <a:pt x="364" y="590"/>
                  </a:cubicBezTo>
                  <a:cubicBezTo>
                    <a:pt x="364" y="590"/>
                    <a:pt x="364" y="589"/>
                    <a:pt x="364" y="589"/>
                  </a:cubicBezTo>
                  <a:cubicBezTo>
                    <a:pt x="364" y="589"/>
                    <a:pt x="364" y="589"/>
                    <a:pt x="364" y="588"/>
                  </a:cubicBezTo>
                  <a:cubicBezTo>
                    <a:pt x="364" y="588"/>
                    <a:pt x="364" y="588"/>
                    <a:pt x="364" y="587"/>
                  </a:cubicBezTo>
                  <a:cubicBezTo>
                    <a:pt x="364" y="587"/>
                    <a:pt x="364" y="587"/>
                    <a:pt x="364" y="587"/>
                  </a:cubicBezTo>
                  <a:cubicBezTo>
                    <a:pt x="364" y="587"/>
                    <a:pt x="364" y="586"/>
                    <a:pt x="364" y="586"/>
                  </a:cubicBezTo>
                  <a:cubicBezTo>
                    <a:pt x="364" y="586"/>
                    <a:pt x="364" y="586"/>
                    <a:pt x="364" y="586"/>
                  </a:cubicBezTo>
                  <a:cubicBezTo>
                    <a:pt x="364" y="586"/>
                    <a:pt x="365" y="586"/>
                    <a:pt x="365" y="586"/>
                  </a:cubicBezTo>
                  <a:cubicBezTo>
                    <a:pt x="365" y="586"/>
                    <a:pt x="366" y="586"/>
                    <a:pt x="367" y="585"/>
                  </a:cubicBezTo>
                  <a:cubicBezTo>
                    <a:pt x="367" y="584"/>
                    <a:pt x="367" y="583"/>
                    <a:pt x="367" y="583"/>
                  </a:cubicBezTo>
                  <a:cubicBezTo>
                    <a:pt x="366" y="582"/>
                    <a:pt x="366" y="582"/>
                    <a:pt x="366" y="582"/>
                  </a:cubicBezTo>
                  <a:cubicBezTo>
                    <a:pt x="366" y="582"/>
                    <a:pt x="366" y="582"/>
                    <a:pt x="366" y="582"/>
                  </a:cubicBezTo>
                  <a:cubicBezTo>
                    <a:pt x="366" y="581"/>
                    <a:pt x="366" y="581"/>
                    <a:pt x="366" y="580"/>
                  </a:cubicBezTo>
                  <a:cubicBezTo>
                    <a:pt x="366" y="580"/>
                    <a:pt x="366" y="580"/>
                    <a:pt x="366" y="580"/>
                  </a:cubicBezTo>
                  <a:cubicBezTo>
                    <a:pt x="366" y="580"/>
                    <a:pt x="366" y="579"/>
                    <a:pt x="366" y="579"/>
                  </a:cubicBezTo>
                  <a:cubicBezTo>
                    <a:pt x="366" y="579"/>
                    <a:pt x="365" y="579"/>
                    <a:pt x="365" y="578"/>
                  </a:cubicBezTo>
                  <a:cubicBezTo>
                    <a:pt x="365" y="578"/>
                    <a:pt x="365" y="578"/>
                    <a:pt x="365" y="577"/>
                  </a:cubicBezTo>
                  <a:cubicBezTo>
                    <a:pt x="365" y="577"/>
                    <a:pt x="365" y="577"/>
                    <a:pt x="365" y="577"/>
                  </a:cubicBezTo>
                  <a:cubicBezTo>
                    <a:pt x="365" y="576"/>
                    <a:pt x="366" y="576"/>
                    <a:pt x="366" y="575"/>
                  </a:cubicBezTo>
                  <a:cubicBezTo>
                    <a:pt x="365" y="575"/>
                    <a:pt x="365" y="575"/>
                    <a:pt x="365" y="575"/>
                  </a:cubicBezTo>
                  <a:cubicBezTo>
                    <a:pt x="365" y="574"/>
                    <a:pt x="365" y="574"/>
                    <a:pt x="365" y="574"/>
                  </a:cubicBezTo>
                  <a:cubicBezTo>
                    <a:pt x="366" y="573"/>
                    <a:pt x="366" y="573"/>
                    <a:pt x="366" y="573"/>
                  </a:cubicBezTo>
                  <a:cubicBezTo>
                    <a:pt x="366" y="573"/>
                    <a:pt x="367" y="572"/>
                    <a:pt x="367" y="572"/>
                  </a:cubicBezTo>
                  <a:cubicBezTo>
                    <a:pt x="367" y="571"/>
                    <a:pt x="367" y="570"/>
                    <a:pt x="366" y="569"/>
                  </a:cubicBezTo>
                  <a:cubicBezTo>
                    <a:pt x="365" y="569"/>
                    <a:pt x="365" y="569"/>
                    <a:pt x="365" y="569"/>
                  </a:cubicBezTo>
                  <a:cubicBezTo>
                    <a:pt x="366" y="569"/>
                    <a:pt x="366" y="569"/>
                    <a:pt x="366" y="569"/>
                  </a:cubicBezTo>
                  <a:cubicBezTo>
                    <a:pt x="366" y="568"/>
                    <a:pt x="366" y="568"/>
                    <a:pt x="366" y="568"/>
                  </a:cubicBezTo>
                  <a:cubicBezTo>
                    <a:pt x="367" y="568"/>
                    <a:pt x="367" y="568"/>
                    <a:pt x="367" y="568"/>
                  </a:cubicBezTo>
                  <a:cubicBezTo>
                    <a:pt x="367" y="567"/>
                    <a:pt x="367" y="567"/>
                    <a:pt x="367" y="566"/>
                  </a:cubicBezTo>
                  <a:cubicBezTo>
                    <a:pt x="367" y="565"/>
                    <a:pt x="367" y="565"/>
                    <a:pt x="367" y="565"/>
                  </a:cubicBezTo>
                  <a:cubicBezTo>
                    <a:pt x="367" y="565"/>
                    <a:pt x="367" y="565"/>
                    <a:pt x="367" y="565"/>
                  </a:cubicBezTo>
                  <a:cubicBezTo>
                    <a:pt x="367" y="564"/>
                    <a:pt x="367" y="563"/>
                    <a:pt x="367" y="562"/>
                  </a:cubicBezTo>
                  <a:cubicBezTo>
                    <a:pt x="367" y="561"/>
                    <a:pt x="367" y="561"/>
                    <a:pt x="367" y="560"/>
                  </a:cubicBezTo>
                  <a:cubicBezTo>
                    <a:pt x="367" y="560"/>
                    <a:pt x="367" y="559"/>
                    <a:pt x="367" y="559"/>
                  </a:cubicBezTo>
                  <a:cubicBezTo>
                    <a:pt x="367" y="558"/>
                    <a:pt x="367" y="558"/>
                    <a:pt x="367" y="558"/>
                  </a:cubicBezTo>
                  <a:cubicBezTo>
                    <a:pt x="367" y="557"/>
                    <a:pt x="367" y="557"/>
                    <a:pt x="367" y="557"/>
                  </a:cubicBezTo>
                  <a:cubicBezTo>
                    <a:pt x="368" y="556"/>
                    <a:pt x="368" y="556"/>
                    <a:pt x="368" y="556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8" y="555"/>
                    <a:pt x="368" y="555"/>
                  </a:cubicBezTo>
                  <a:cubicBezTo>
                    <a:pt x="368" y="555"/>
                    <a:pt x="368" y="555"/>
                    <a:pt x="369" y="555"/>
                  </a:cubicBezTo>
                  <a:cubicBezTo>
                    <a:pt x="370" y="554"/>
                    <a:pt x="370" y="554"/>
                    <a:pt x="370" y="552"/>
                  </a:cubicBezTo>
                  <a:cubicBezTo>
                    <a:pt x="370" y="552"/>
                    <a:pt x="370" y="552"/>
                    <a:pt x="370" y="552"/>
                  </a:cubicBezTo>
                  <a:cubicBezTo>
                    <a:pt x="370" y="551"/>
                    <a:pt x="371" y="551"/>
                    <a:pt x="371" y="551"/>
                  </a:cubicBezTo>
                  <a:cubicBezTo>
                    <a:pt x="371" y="550"/>
                    <a:pt x="371" y="550"/>
                    <a:pt x="372" y="550"/>
                  </a:cubicBezTo>
                  <a:cubicBezTo>
                    <a:pt x="372" y="550"/>
                    <a:pt x="372" y="550"/>
                    <a:pt x="372" y="550"/>
                  </a:cubicBezTo>
                  <a:cubicBezTo>
                    <a:pt x="373" y="549"/>
                    <a:pt x="373" y="548"/>
                    <a:pt x="374" y="548"/>
                  </a:cubicBezTo>
                  <a:cubicBezTo>
                    <a:pt x="374" y="547"/>
                    <a:pt x="374" y="547"/>
                    <a:pt x="374" y="547"/>
                  </a:cubicBezTo>
                  <a:cubicBezTo>
                    <a:pt x="375" y="546"/>
                    <a:pt x="375" y="546"/>
                    <a:pt x="375" y="546"/>
                  </a:cubicBezTo>
                  <a:cubicBezTo>
                    <a:pt x="376" y="545"/>
                    <a:pt x="377" y="545"/>
                    <a:pt x="378" y="544"/>
                  </a:cubicBezTo>
                  <a:cubicBezTo>
                    <a:pt x="378" y="543"/>
                    <a:pt x="379" y="543"/>
                    <a:pt x="379" y="542"/>
                  </a:cubicBezTo>
                  <a:cubicBezTo>
                    <a:pt x="379" y="542"/>
                    <a:pt x="380" y="541"/>
                    <a:pt x="380" y="541"/>
                  </a:cubicBezTo>
                  <a:cubicBezTo>
                    <a:pt x="380" y="541"/>
                    <a:pt x="381" y="540"/>
                    <a:pt x="382" y="539"/>
                  </a:cubicBezTo>
                  <a:cubicBezTo>
                    <a:pt x="382" y="539"/>
                    <a:pt x="382" y="539"/>
                    <a:pt x="383" y="539"/>
                  </a:cubicBezTo>
                  <a:cubicBezTo>
                    <a:pt x="383" y="539"/>
                    <a:pt x="383" y="540"/>
                    <a:pt x="383" y="540"/>
                  </a:cubicBezTo>
                  <a:cubicBezTo>
                    <a:pt x="383" y="540"/>
                    <a:pt x="383" y="540"/>
                    <a:pt x="383" y="540"/>
                  </a:cubicBezTo>
                  <a:cubicBezTo>
                    <a:pt x="384" y="540"/>
                    <a:pt x="385" y="540"/>
                    <a:pt x="386" y="540"/>
                  </a:cubicBezTo>
                  <a:cubicBezTo>
                    <a:pt x="386" y="540"/>
                    <a:pt x="387" y="539"/>
                    <a:pt x="387" y="539"/>
                  </a:cubicBezTo>
                  <a:cubicBezTo>
                    <a:pt x="387" y="539"/>
                    <a:pt x="387" y="539"/>
                    <a:pt x="388" y="539"/>
                  </a:cubicBezTo>
                  <a:cubicBezTo>
                    <a:pt x="388" y="539"/>
                    <a:pt x="388" y="539"/>
                    <a:pt x="389" y="538"/>
                  </a:cubicBezTo>
                  <a:cubicBezTo>
                    <a:pt x="390" y="537"/>
                    <a:pt x="390" y="537"/>
                    <a:pt x="390" y="537"/>
                  </a:cubicBezTo>
                  <a:cubicBezTo>
                    <a:pt x="390" y="537"/>
                    <a:pt x="391" y="537"/>
                    <a:pt x="391" y="537"/>
                  </a:cubicBezTo>
                  <a:cubicBezTo>
                    <a:pt x="391" y="536"/>
                    <a:pt x="391" y="536"/>
                    <a:pt x="391" y="536"/>
                  </a:cubicBezTo>
                  <a:cubicBezTo>
                    <a:pt x="392" y="536"/>
                    <a:pt x="392" y="536"/>
                    <a:pt x="392" y="536"/>
                  </a:cubicBezTo>
                  <a:cubicBezTo>
                    <a:pt x="393" y="535"/>
                    <a:pt x="393" y="535"/>
                    <a:pt x="393" y="535"/>
                  </a:cubicBezTo>
                  <a:cubicBezTo>
                    <a:pt x="393" y="535"/>
                    <a:pt x="393" y="535"/>
                    <a:pt x="393" y="535"/>
                  </a:cubicBezTo>
                  <a:cubicBezTo>
                    <a:pt x="393" y="535"/>
                    <a:pt x="394" y="534"/>
                    <a:pt x="394" y="534"/>
                  </a:cubicBezTo>
                  <a:cubicBezTo>
                    <a:pt x="394" y="534"/>
                    <a:pt x="395" y="534"/>
                    <a:pt x="395" y="534"/>
                  </a:cubicBezTo>
                  <a:cubicBezTo>
                    <a:pt x="395" y="534"/>
                    <a:pt x="396" y="534"/>
                    <a:pt x="396" y="534"/>
                  </a:cubicBezTo>
                  <a:cubicBezTo>
                    <a:pt x="396" y="533"/>
                    <a:pt x="396" y="533"/>
                    <a:pt x="397" y="533"/>
                  </a:cubicBezTo>
                  <a:cubicBezTo>
                    <a:pt x="397" y="533"/>
                    <a:pt x="397" y="532"/>
                    <a:pt x="398" y="532"/>
                  </a:cubicBezTo>
                  <a:cubicBezTo>
                    <a:pt x="398" y="531"/>
                    <a:pt x="398" y="531"/>
                    <a:pt x="398" y="531"/>
                  </a:cubicBezTo>
                  <a:cubicBezTo>
                    <a:pt x="398" y="531"/>
                    <a:pt x="398" y="531"/>
                    <a:pt x="399" y="530"/>
                  </a:cubicBezTo>
                  <a:cubicBezTo>
                    <a:pt x="399" y="530"/>
                    <a:pt x="399" y="530"/>
                    <a:pt x="399" y="530"/>
                  </a:cubicBezTo>
                  <a:cubicBezTo>
                    <a:pt x="399" y="530"/>
                    <a:pt x="400" y="530"/>
                    <a:pt x="400" y="530"/>
                  </a:cubicBezTo>
                  <a:cubicBezTo>
                    <a:pt x="400" y="529"/>
                    <a:pt x="401" y="529"/>
                    <a:pt x="401" y="529"/>
                  </a:cubicBezTo>
                  <a:cubicBezTo>
                    <a:pt x="401" y="529"/>
                    <a:pt x="401" y="528"/>
                    <a:pt x="401" y="528"/>
                  </a:cubicBezTo>
                  <a:cubicBezTo>
                    <a:pt x="402" y="528"/>
                    <a:pt x="402" y="528"/>
                    <a:pt x="402" y="528"/>
                  </a:cubicBezTo>
                  <a:cubicBezTo>
                    <a:pt x="402" y="528"/>
                    <a:pt x="402" y="528"/>
                    <a:pt x="402" y="527"/>
                  </a:cubicBezTo>
                  <a:cubicBezTo>
                    <a:pt x="403" y="527"/>
                    <a:pt x="403" y="527"/>
                    <a:pt x="403" y="527"/>
                  </a:cubicBezTo>
                  <a:cubicBezTo>
                    <a:pt x="403" y="526"/>
                    <a:pt x="403" y="526"/>
                    <a:pt x="403" y="526"/>
                  </a:cubicBezTo>
                  <a:cubicBezTo>
                    <a:pt x="403" y="526"/>
                    <a:pt x="403" y="526"/>
                    <a:pt x="404" y="526"/>
                  </a:cubicBezTo>
                  <a:cubicBezTo>
                    <a:pt x="404" y="526"/>
                    <a:pt x="404" y="526"/>
                    <a:pt x="404" y="526"/>
                  </a:cubicBezTo>
                  <a:cubicBezTo>
                    <a:pt x="404" y="526"/>
                    <a:pt x="404" y="526"/>
                    <a:pt x="405" y="526"/>
                  </a:cubicBezTo>
                  <a:cubicBezTo>
                    <a:pt x="405" y="526"/>
                    <a:pt x="405" y="526"/>
                    <a:pt x="405" y="526"/>
                  </a:cubicBezTo>
                  <a:cubicBezTo>
                    <a:pt x="406" y="526"/>
                    <a:pt x="406" y="526"/>
                    <a:pt x="406" y="526"/>
                  </a:cubicBezTo>
                  <a:cubicBezTo>
                    <a:pt x="406" y="526"/>
                    <a:pt x="406" y="526"/>
                    <a:pt x="406" y="526"/>
                  </a:cubicBezTo>
                  <a:cubicBezTo>
                    <a:pt x="406" y="526"/>
                    <a:pt x="407" y="526"/>
                    <a:pt x="407" y="526"/>
                  </a:cubicBezTo>
                  <a:cubicBezTo>
                    <a:pt x="408" y="526"/>
                    <a:pt x="408" y="525"/>
                    <a:pt x="409" y="525"/>
                  </a:cubicBezTo>
                  <a:cubicBezTo>
                    <a:pt x="409" y="525"/>
                    <a:pt x="409" y="525"/>
                    <a:pt x="409" y="525"/>
                  </a:cubicBezTo>
                  <a:cubicBezTo>
                    <a:pt x="410" y="524"/>
                    <a:pt x="410" y="524"/>
                    <a:pt x="410" y="523"/>
                  </a:cubicBezTo>
                  <a:cubicBezTo>
                    <a:pt x="411" y="523"/>
                    <a:pt x="411" y="523"/>
                    <a:pt x="411" y="523"/>
                  </a:cubicBezTo>
                  <a:cubicBezTo>
                    <a:pt x="411" y="522"/>
                    <a:pt x="411" y="522"/>
                    <a:pt x="412" y="522"/>
                  </a:cubicBezTo>
                  <a:cubicBezTo>
                    <a:pt x="412" y="522"/>
                    <a:pt x="412" y="521"/>
                    <a:pt x="412" y="521"/>
                  </a:cubicBezTo>
                  <a:cubicBezTo>
                    <a:pt x="412" y="520"/>
                    <a:pt x="412" y="520"/>
                    <a:pt x="412" y="520"/>
                  </a:cubicBezTo>
                  <a:cubicBezTo>
                    <a:pt x="413" y="521"/>
                    <a:pt x="413" y="521"/>
                    <a:pt x="413" y="521"/>
                  </a:cubicBezTo>
                  <a:cubicBezTo>
                    <a:pt x="413" y="521"/>
                    <a:pt x="414" y="521"/>
                    <a:pt x="414" y="520"/>
                  </a:cubicBezTo>
                  <a:cubicBezTo>
                    <a:pt x="415" y="520"/>
                    <a:pt x="415" y="519"/>
                    <a:pt x="415" y="519"/>
                  </a:cubicBezTo>
                  <a:cubicBezTo>
                    <a:pt x="416" y="519"/>
                    <a:pt x="417" y="519"/>
                    <a:pt x="417" y="519"/>
                  </a:cubicBezTo>
                  <a:cubicBezTo>
                    <a:pt x="417" y="518"/>
                    <a:pt x="417" y="518"/>
                    <a:pt x="418" y="518"/>
                  </a:cubicBezTo>
                  <a:cubicBezTo>
                    <a:pt x="418" y="518"/>
                    <a:pt x="418" y="518"/>
                    <a:pt x="418" y="518"/>
                  </a:cubicBezTo>
                  <a:cubicBezTo>
                    <a:pt x="419" y="518"/>
                    <a:pt x="419" y="518"/>
                    <a:pt x="419" y="518"/>
                  </a:cubicBezTo>
                  <a:cubicBezTo>
                    <a:pt x="420" y="518"/>
                    <a:pt x="420" y="518"/>
                    <a:pt x="420" y="518"/>
                  </a:cubicBezTo>
                  <a:cubicBezTo>
                    <a:pt x="421" y="517"/>
                    <a:pt x="422" y="517"/>
                    <a:pt x="423" y="516"/>
                  </a:cubicBezTo>
                  <a:cubicBezTo>
                    <a:pt x="423" y="516"/>
                    <a:pt x="424" y="516"/>
                    <a:pt x="424" y="515"/>
                  </a:cubicBezTo>
                  <a:cubicBezTo>
                    <a:pt x="425" y="514"/>
                    <a:pt x="426" y="513"/>
                    <a:pt x="425" y="512"/>
                  </a:cubicBezTo>
                  <a:cubicBezTo>
                    <a:pt x="425" y="512"/>
                    <a:pt x="425" y="511"/>
                    <a:pt x="424" y="511"/>
                  </a:cubicBezTo>
                  <a:cubicBezTo>
                    <a:pt x="424" y="511"/>
                    <a:pt x="424" y="511"/>
                    <a:pt x="424" y="511"/>
                  </a:cubicBezTo>
                  <a:cubicBezTo>
                    <a:pt x="424" y="510"/>
                    <a:pt x="425" y="510"/>
                    <a:pt x="425" y="509"/>
                  </a:cubicBezTo>
                  <a:cubicBezTo>
                    <a:pt x="425" y="509"/>
                    <a:pt x="425" y="509"/>
                    <a:pt x="425" y="509"/>
                  </a:cubicBezTo>
                  <a:cubicBezTo>
                    <a:pt x="425" y="509"/>
                    <a:pt x="426" y="509"/>
                    <a:pt x="426" y="509"/>
                  </a:cubicBezTo>
                  <a:cubicBezTo>
                    <a:pt x="426" y="509"/>
                    <a:pt x="427" y="510"/>
                    <a:pt x="427" y="510"/>
                  </a:cubicBezTo>
                  <a:cubicBezTo>
                    <a:pt x="427" y="510"/>
                    <a:pt x="428" y="510"/>
                    <a:pt x="428" y="510"/>
                  </a:cubicBezTo>
                  <a:cubicBezTo>
                    <a:pt x="429" y="510"/>
                    <a:pt x="429" y="510"/>
                    <a:pt x="429" y="510"/>
                  </a:cubicBezTo>
                  <a:cubicBezTo>
                    <a:pt x="429" y="510"/>
                    <a:pt x="430" y="510"/>
                    <a:pt x="430" y="509"/>
                  </a:cubicBezTo>
                  <a:cubicBezTo>
                    <a:pt x="431" y="509"/>
                    <a:pt x="431" y="509"/>
                    <a:pt x="431" y="509"/>
                  </a:cubicBezTo>
                  <a:cubicBezTo>
                    <a:pt x="431" y="509"/>
                    <a:pt x="431" y="508"/>
                    <a:pt x="431" y="508"/>
                  </a:cubicBezTo>
                  <a:cubicBezTo>
                    <a:pt x="432" y="508"/>
                    <a:pt x="433" y="508"/>
                    <a:pt x="434" y="507"/>
                  </a:cubicBezTo>
                  <a:cubicBezTo>
                    <a:pt x="434" y="506"/>
                    <a:pt x="434" y="506"/>
                    <a:pt x="434" y="506"/>
                  </a:cubicBezTo>
                  <a:cubicBezTo>
                    <a:pt x="434" y="505"/>
                    <a:pt x="434" y="505"/>
                    <a:pt x="434" y="505"/>
                  </a:cubicBezTo>
                  <a:cubicBezTo>
                    <a:pt x="434" y="505"/>
                    <a:pt x="434" y="505"/>
                    <a:pt x="434" y="504"/>
                  </a:cubicBezTo>
                  <a:cubicBezTo>
                    <a:pt x="433" y="504"/>
                    <a:pt x="433" y="504"/>
                    <a:pt x="433" y="504"/>
                  </a:cubicBezTo>
                  <a:cubicBezTo>
                    <a:pt x="434" y="504"/>
                    <a:pt x="434" y="504"/>
                    <a:pt x="434" y="504"/>
                  </a:cubicBezTo>
                  <a:cubicBezTo>
                    <a:pt x="434" y="504"/>
                    <a:pt x="435" y="504"/>
                    <a:pt x="435" y="503"/>
                  </a:cubicBezTo>
                  <a:cubicBezTo>
                    <a:pt x="435" y="503"/>
                    <a:pt x="435" y="502"/>
                    <a:pt x="434" y="501"/>
                  </a:cubicBezTo>
                  <a:cubicBezTo>
                    <a:pt x="434" y="501"/>
                    <a:pt x="434" y="501"/>
                    <a:pt x="434" y="501"/>
                  </a:cubicBezTo>
                  <a:cubicBezTo>
                    <a:pt x="434" y="501"/>
                    <a:pt x="435" y="500"/>
                    <a:pt x="435" y="500"/>
                  </a:cubicBezTo>
                  <a:cubicBezTo>
                    <a:pt x="436" y="500"/>
                    <a:pt x="436" y="500"/>
                    <a:pt x="436" y="500"/>
                  </a:cubicBezTo>
                  <a:cubicBezTo>
                    <a:pt x="436" y="500"/>
                    <a:pt x="436" y="500"/>
                    <a:pt x="437" y="499"/>
                  </a:cubicBezTo>
                  <a:cubicBezTo>
                    <a:pt x="437" y="498"/>
                    <a:pt x="437" y="498"/>
                    <a:pt x="437" y="497"/>
                  </a:cubicBezTo>
                  <a:cubicBezTo>
                    <a:pt x="438" y="497"/>
                    <a:pt x="438" y="497"/>
                    <a:pt x="438" y="497"/>
                  </a:cubicBezTo>
                  <a:cubicBezTo>
                    <a:pt x="438" y="496"/>
                    <a:pt x="438" y="496"/>
                    <a:pt x="438" y="495"/>
                  </a:cubicBezTo>
                  <a:cubicBezTo>
                    <a:pt x="438" y="495"/>
                    <a:pt x="438" y="495"/>
                    <a:pt x="438" y="495"/>
                  </a:cubicBezTo>
                  <a:cubicBezTo>
                    <a:pt x="438" y="495"/>
                    <a:pt x="438" y="495"/>
                    <a:pt x="438" y="494"/>
                  </a:cubicBezTo>
                  <a:cubicBezTo>
                    <a:pt x="438" y="494"/>
                    <a:pt x="439" y="494"/>
                    <a:pt x="439" y="494"/>
                  </a:cubicBezTo>
                  <a:cubicBezTo>
                    <a:pt x="439" y="493"/>
                    <a:pt x="439" y="492"/>
                    <a:pt x="439" y="492"/>
                  </a:cubicBezTo>
                  <a:cubicBezTo>
                    <a:pt x="438" y="491"/>
                    <a:pt x="437" y="491"/>
                    <a:pt x="437" y="491"/>
                  </a:cubicBezTo>
                  <a:cubicBezTo>
                    <a:pt x="436" y="491"/>
                    <a:pt x="436" y="491"/>
                    <a:pt x="435" y="491"/>
                  </a:cubicBezTo>
                  <a:cubicBezTo>
                    <a:pt x="435" y="490"/>
                    <a:pt x="435" y="490"/>
                    <a:pt x="436" y="489"/>
                  </a:cubicBezTo>
                  <a:cubicBezTo>
                    <a:pt x="436" y="489"/>
                    <a:pt x="436" y="489"/>
                    <a:pt x="436" y="489"/>
                  </a:cubicBezTo>
                  <a:cubicBezTo>
                    <a:pt x="436" y="488"/>
                    <a:pt x="436" y="488"/>
                    <a:pt x="436" y="488"/>
                  </a:cubicBezTo>
                  <a:cubicBezTo>
                    <a:pt x="437" y="488"/>
                    <a:pt x="437" y="488"/>
                    <a:pt x="437" y="488"/>
                  </a:cubicBezTo>
                  <a:cubicBezTo>
                    <a:pt x="437" y="488"/>
                    <a:pt x="438" y="488"/>
                    <a:pt x="439" y="487"/>
                  </a:cubicBezTo>
                  <a:cubicBezTo>
                    <a:pt x="439" y="487"/>
                    <a:pt x="439" y="487"/>
                    <a:pt x="439" y="487"/>
                  </a:cubicBezTo>
                  <a:cubicBezTo>
                    <a:pt x="439" y="487"/>
                    <a:pt x="439" y="488"/>
                    <a:pt x="439" y="488"/>
                  </a:cubicBezTo>
                  <a:cubicBezTo>
                    <a:pt x="439" y="489"/>
                    <a:pt x="441" y="490"/>
                    <a:pt x="442" y="489"/>
                  </a:cubicBezTo>
                  <a:cubicBezTo>
                    <a:pt x="443" y="488"/>
                    <a:pt x="443" y="488"/>
                    <a:pt x="443" y="488"/>
                  </a:cubicBezTo>
                  <a:cubicBezTo>
                    <a:pt x="443" y="488"/>
                    <a:pt x="443" y="487"/>
                    <a:pt x="443" y="487"/>
                  </a:cubicBezTo>
                  <a:cubicBezTo>
                    <a:pt x="443" y="487"/>
                    <a:pt x="444" y="487"/>
                    <a:pt x="444" y="487"/>
                  </a:cubicBezTo>
                  <a:cubicBezTo>
                    <a:pt x="444" y="487"/>
                    <a:pt x="444" y="487"/>
                    <a:pt x="445" y="486"/>
                  </a:cubicBezTo>
                  <a:cubicBezTo>
                    <a:pt x="445" y="486"/>
                    <a:pt x="446" y="485"/>
                    <a:pt x="446" y="484"/>
                  </a:cubicBezTo>
                  <a:cubicBezTo>
                    <a:pt x="447" y="484"/>
                    <a:pt x="447" y="484"/>
                    <a:pt x="447" y="484"/>
                  </a:cubicBezTo>
                  <a:cubicBezTo>
                    <a:pt x="447" y="483"/>
                    <a:pt x="447" y="483"/>
                    <a:pt x="448" y="482"/>
                  </a:cubicBezTo>
                  <a:cubicBezTo>
                    <a:pt x="449" y="481"/>
                    <a:pt x="449" y="481"/>
                    <a:pt x="449" y="481"/>
                  </a:cubicBezTo>
                  <a:cubicBezTo>
                    <a:pt x="449" y="480"/>
                    <a:pt x="450" y="480"/>
                    <a:pt x="450" y="479"/>
                  </a:cubicBezTo>
                  <a:cubicBezTo>
                    <a:pt x="451" y="479"/>
                    <a:pt x="451" y="478"/>
                    <a:pt x="452" y="478"/>
                  </a:cubicBezTo>
                  <a:cubicBezTo>
                    <a:pt x="453" y="477"/>
                    <a:pt x="454" y="476"/>
                    <a:pt x="455" y="475"/>
                  </a:cubicBezTo>
                  <a:cubicBezTo>
                    <a:pt x="455" y="474"/>
                    <a:pt x="455" y="473"/>
                    <a:pt x="455" y="472"/>
                  </a:cubicBezTo>
                  <a:cubicBezTo>
                    <a:pt x="455" y="472"/>
                    <a:pt x="455" y="472"/>
                    <a:pt x="455" y="472"/>
                  </a:cubicBezTo>
                  <a:cubicBezTo>
                    <a:pt x="455" y="472"/>
                    <a:pt x="455" y="471"/>
                    <a:pt x="455" y="471"/>
                  </a:cubicBezTo>
                  <a:cubicBezTo>
                    <a:pt x="455" y="471"/>
                    <a:pt x="455" y="471"/>
                    <a:pt x="455" y="471"/>
                  </a:cubicBezTo>
                  <a:cubicBezTo>
                    <a:pt x="456" y="471"/>
                    <a:pt x="456" y="471"/>
                    <a:pt x="457" y="471"/>
                  </a:cubicBezTo>
                  <a:cubicBezTo>
                    <a:pt x="459" y="470"/>
                    <a:pt x="459" y="469"/>
                    <a:pt x="460" y="469"/>
                  </a:cubicBezTo>
                  <a:cubicBezTo>
                    <a:pt x="460" y="468"/>
                    <a:pt x="461" y="468"/>
                    <a:pt x="461" y="468"/>
                  </a:cubicBezTo>
                  <a:cubicBezTo>
                    <a:pt x="461" y="467"/>
                    <a:pt x="461" y="467"/>
                    <a:pt x="462" y="467"/>
                  </a:cubicBezTo>
                  <a:cubicBezTo>
                    <a:pt x="462" y="466"/>
                    <a:pt x="462" y="466"/>
                    <a:pt x="463" y="466"/>
                  </a:cubicBezTo>
                  <a:cubicBezTo>
                    <a:pt x="463" y="466"/>
                    <a:pt x="463" y="466"/>
                    <a:pt x="463" y="466"/>
                  </a:cubicBezTo>
                  <a:cubicBezTo>
                    <a:pt x="464" y="465"/>
                    <a:pt x="465" y="464"/>
                    <a:pt x="466" y="464"/>
                  </a:cubicBezTo>
                  <a:cubicBezTo>
                    <a:pt x="466" y="463"/>
                    <a:pt x="467" y="463"/>
                    <a:pt x="467" y="462"/>
                  </a:cubicBezTo>
                  <a:cubicBezTo>
                    <a:pt x="467" y="462"/>
                    <a:pt x="468" y="461"/>
                    <a:pt x="468" y="460"/>
                  </a:cubicBezTo>
                  <a:cubicBezTo>
                    <a:pt x="468" y="459"/>
                    <a:pt x="469" y="459"/>
                    <a:pt x="469" y="459"/>
                  </a:cubicBezTo>
                  <a:cubicBezTo>
                    <a:pt x="469" y="459"/>
                    <a:pt x="469" y="459"/>
                    <a:pt x="469" y="459"/>
                  </a:cubicBezTo>
                  <a:cubicBezTo>
                    <a:pt x="469" y="458"/>
                    <a:pt x="470" y="458"/>
                    <a:pt x="470" y="458"/>
                  </a:cubicBezTo>
                  <a:cubicBezTo>
                    <a:pt x="471" y="457"/>
                    <a:pt x="471" y="456"/>
                    <a:pt x="472" y="455"/>
                  </a:cubicBezTo>
                  <a:cubicBezTo>
                    <a:pt x="472" y="454"/>
                    <a:pt x="472" y="453"/>
                    <a:pt x="473" y="453"/>
                  </a:cubicBezTo>
                  <a:cubicBezTo>
                    <a:pt x="473" y="453"/>
                    <a:pt x="474" y="452"/>
                    <a:pt x="474" y="452"/>
                  </a:cubicBezTo>
                  <a:cubicBezTo>
                    <a:pt x="476" y="452"/>
                    <a:pt x="476" y="452"/>
                    <a:pt x="476" y="452"/>
                  </a:cubicBezTo>
                  <a:cubicBezTo>
                    <a:pt x="476" y="452"/>
                    <a:pt x="477" y="452"/>
                    <a:pt x="477" y="453"/>
                  </a:cubicBezTo>
                  <a:cubicBezTo>
                    <a:pt x="477" y="453"/>
                    <a:pt x="478" y="453"/>
                    <a:pt x="478" y="453"/>
                  </a:cubicBezTo>
                  <a:cubicBezTo>
                    <a:pt x="479" y="453"/>
                    <a:pt x="480" y="453"/>
                    <a:pt x="481" y="453"/>
                  </a:cubicBezTo>
                  <a:cubicBezTo>
                    <a:pt x="481" y="453"/>
                    <a:pt x="482" y="453"/>
                    <a:pt x="482" y="452"/>
                  </a:cubicBezTo>
                  <a:cubicBezTo>
                    <a:pt x="482" y="452"/>
                    <a:pt x="482" y="452"/>
                    <a:pt x="482" y="452"/>
                  </a:cubicBezTo>
                  <a:cubicBezTo>
                    <a:pt x="483" y="452"/>
                    <a:pt x="483" y="452"/>
                    <a:pt x="484" y="452"/>
                  </a:cubicBezTo>
                  <a:cubicBezTo>
                    <a:pt x="484" y="452"/>
                    <a:pt x="484" y="452"/>
                    <a:pt x="484" y="452"/>
                  </a:cubicBezTo>
                  <a:cubicBezTo>
                    <a:pt x="484" y="452"/>
                    <a:pt x="485" y="452"/>
                    <a:pt x="485" y="452"/>
                  </a:cubicBezTo>
                  <a:cubicBezTo>
                    <a:pt x="485" y="452"/>
                    <a:pt x="485" y="452"/>
                    <a:pt x="485" y="452"/>
                  </a:cubicBezTo>
                  <a:cubicBezTo>
                    <a:pt x="486" y="452"/>
                    <a:pt x="486" y="452"/>
                    <a:pt x="487" y="452"/>
                  </a:cubicBezTo>
                  <a:cubicBezTo>
                    <a:pt x="488" y="452"/>
                    <a:pt x="488" y="452"/>
                    <a:pt x="489" y="451"/>
                  </a:cubicBezTo>
                  <a:cubicBezTo>
                    <a:pt x="489" y="451"/>
                    <a:pt x="490" y="450"/>
                    <a:pt x="490" y="450"/>
                  </a:cubicBezTo>
                  <a:cubicBezTo>
                    <a:pt x="490" y="449"/>
                    <a:pt x="490" y="449"/>
                    <a:pt x="490" y="448"/>
                  </a:cubicBezTo>
                  <a:cubicBezTo>
                    <a:pt x="489" y="448"/>
                    <a:pt x="489" y="448"/>
                    <a:pt x="488" y="448"/>
                  </a:cubicBezTo>
                  <a:cubicBezTo>
                    <a:pt x="488" y="448"/>
                    <a:pt x="488" y="448"/>
                    <a:pt x="488" y="448"/>
                  </a:cubicBezTo>
                  <a:cubicBezTo>
                    <a:pt x="488" y="448"/>
                    <a:pt x="488" y="448"/>
                    <a:pt x="488" y="448"/>
                  </a:cubicBezTo>
                  <a:cubicBezTo>
                    <a:pt x="488" y="448"/>
                    <a:pt x="488" y="448"/>
                    <a:pt x="489" y="447"/>
                  </a:cubicBezTo>
                  <a:cubicBezTo>
                    <a:pt x="489" y="447"/>
                    <a:pt x="489" y="447"/>
                    <a:pt x="489" y="447"/>
                  </a:cubicBezTo>
                  <a:cubicBezTo>
                    <a:pt x="489" y="447"/>
                    <a:pt x="490" y="447"/>
                    <a:pt x="490" y="447"/>
                  </a:cubicBezTo>
                  <a:cubicBezTo>
                    <a:pt x="491" y="447"/>
                    <a:pt x="491" y="447"/>
                    <a:pt x="492" y="447"/>
                  </a:cubicBezTo>
                  <a:cubicBezTo>
                    <a:pt x="492" y="447"/>
                    <a:pt x="492" y="447"/>
                    <a:pt x="492" y="447"/>
                  </a:cubicBezTo>
                  <a:cubicBezTo>
                    <a:pt x="493" y="447"/>
                    <a:pt x="493" y="447"/>
                    <a:pt x="494" y="447"/>
                  </a:cubicBezTo>
                  <a:cubicBezTo>
                    <a:pt x="494" y="447"/>
                    <a:pt x="495" y="446"/>
                    <a:pt x="496" y="446"/>
                  </a:cubicBezTo>
                  <a:cubicBezTo>
                    <a:pt x="496" y="446"/>
                    <a:pt x="497" y="445"/>
                    <a:pt x="497" y="445"/>
                  </a:cubicBezTo>
                  <a:cubicBezTo>
                    <a:pt x="498" y="446"/>
                    <a:pt x="499" y="446"/>
                    <a:pt x="500" y="446"/>
                  </a:cubicBezTo>
                  <a:cubicBezTo>
                    <a:pt x="501" y="445"/>
                    <a:pt x="501" y="445"/>
                    <a:pt x="501" y="445"/>
                  </a:cubicBezTo>
                  <a:cubicBezTo>
                    <a:pt x="500" y="444"/>
                    <a:pt x="500" y="444"/>
                    <a:pt x="500" y="444"/>
                  </a:cubicBezTo>
                  <a:cubicBezTo>
                    <a:pt x="501" y="445"/>
                    <a:pt x="501" y="445"/>
                    <a:pt x="501" y="445"/>
                  </a:cubicBezTo>
                  <a:cubicBezTo>
                    <a:pt x="502" y="445"/>
                    <a:pt x="502" y="445"/>
                    <a:pt x="502" y="445"/>
                  </a:cubicBezTo>
                  <a:cubicBezTo>
                    <a:pt x="502" y="445"/>
                    <a:pt x="503" y="445"/>
                    <a:pt x="503" y="445"/>
                  </a:cubicBezTo>
                  <a:cubicBezTo>
                    <a:pt x="504" y="445"/>
                    <a:pt x="504" y="445"/>
                    <a:pt x="505" y="445"/>
                  </a:cubicBezTo>
                  <a:cubicBezTo>
                    <a:pt x="505" y="445"/>
                    <a:pt x="505" y="445"/>
                    <a:pt x="505" y="445"/>
                  </a:cubicBezTo>
                  <a:cubicBezTo>
                    <a:pt x="504" y="443"/>
                    <a:pt x="504" y="443"/>
                    <a:pt x="504" y="443"/>
                  </a:cubicBezTo>
                  <a:cubicBezTo>
                    <a:pt x="505" y="444"/>
                    <a:pt x="505" y="444"/>
                    <a:pt x="505" y="444"/>
                  </a:cubicBezTo>
                  <a:cubicBezTo>
                    <a:pt x="505" y="444"/>
                    <a:pt x="505" y="444"/>
                    <a:pt x="505" y="444"/>
                  </a:cubicBezTo>
                  <a:cubicBezTo>
                    <a:pt x="505" y="444"/>
                    <a:pt x="505" y="445"/>
                    <a:pt x="506" y="445"/>
                  </a:cubicBezTo>
                  <a:cubicBezTo>
                    <a:pt x="506" y="445"/>
                    <a:pt x="506" y="445"/>
                    <a:pt x="506" y="445"/>
                  </a:cubicBezTo>
                  <a:cubicBezTo>
                    <a:pt x="507" y="445"/>
                    <a:pt x="508" y="444"/>
                    <a:pt x="508" y="443"/>
                  </a:cubicBezTo>
                  <a:cubicBezTo>
                    <a:pt x="508" y="443"/>
                    <a:pt x="508" y="443"/>
                    <a:pt x="509" y="443"/>
                  </a:cubicBezTo>
                  <a:cubicBezTo>
                    <a:pt x="509" y="442"/>
                    <a:pt x="509" y="442"/>
                    <a:pt x="509" y="442"/>
                  </a:cubicBezTo>
                  <a:cubicBezTo>
                    <a:pt x="510" y="442"/>
                    <a:pt x="510" y="441"/>
                    <a:pt x="510" y="440"/>
                  </a:cubicBezTo>
                  <a:cubicBezTo>
                    <a:pt x="510" y="440"/>
                    <a:pt x="510" y="439"/>
                    <a:pt x="509" y="439"/>
                  </a:cubicBezTo>
                  <a:cubicBezTo>
                    <a:pt x="509" y="439"/>
                    <a:pt x="509" y="439"/>
                    <a:pt x="509" y="438"/>
                  </a:cubicBezTo>
                  <a:cubicBezTo>
                    <a:pt x="508" y="437"/>
                    <a:pt x="507" y="437"/>
                    <a:pt x="506" y="438"/>
                  </a:cubicBezTo>
                  <a:cubicBezTo>
                    <a:pt x="506" y="438"/>
                    <a:pt x="506" y="438"/>
                    <a:pt x="506" y="438"/>
                  </a:cubicBezTo>
                  <a:cubicBezTo>
                    <a:pt x="506" y="437"/>
                    <a:pt x="506" y="437"/>
                    <a:pt x="506" y="437"/>
                  </a:cubicBezTo>
                  <a:cubicBezTo>
                    <a:pt x="506" y="436"/>
                    <a:pt x="506" y="436"/>
                    <a:pt x="506" y="436"/>
                  </a:cubicBezTo>
                  <a:cubicBezTo>
                    <a:pt x="506" y="436"/>
                    <a:pt x="506" y="435"/>
                    <a:pt x="506" y="435"/>
                  </a:cubicBezTo>
                  <a:cubicBezTo>
                    <a:pt x="506" y="435"/>
                    <a:pt x="506" y="435"/>
                    <a:pt x="506" y="435"/>
                  </a:cubicBezTo>
                  <a:cubicBezTo>
                    <a:pt x="507" y="435"/>
                    <a:pt x="507" y="435"/>
                    <a:pt x="508" y="434"/>
                  </a:cubicBezTo>
                  <a:cubicBezTo>
                    <a:pt x="508" y="433"/>
                    <a:pt x="508" y="433"/>
                    <a:pt x="508" y="432"/>
                  </a:cubicBezTo>
                  <a:cubicBezTo>
                    <a:pt x="508" y="432"/>
                    <a:pt x="508" y="432"/>
                    <a:pt x="509" y="431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09" y="431"/>
                    <a:pt x="509" y="431"/>
                    <a:pt x="509" y="431"/>
                  </a:cubicBezTo>
                  <a:cubicBezTo>
                    <a:pt x="510" y="430"/>
                    <a:pt x="510" y="430"/>
                    <a:pt x="511" y="429"/>
                  </a:cubicBezTo>
                  <a:cubicBezTo>
                    <a:pt x="511" y="429"/>
                    <a:pt x="511" y="428"/>
                    <a:pt x="512" y="428"/>
                  </a:cubicBezTo>
                  <a:cubicBezTo>
                    <a:pt x="512" y="428"/>
                    <a:pt x="512" y="427"/>
                    <a:pt x="513" y="427"/>
                  </a:cubicBezTo>
                  <a:cubicBezTo>
                    <a:pt x="513" y="426"/>
                    <a:pt x="513" y="426"/>
                    <a:pt x="513" y="426"/>
                  </a:cubicBezTo>
                  <a:cubicBezTo>
                    <a:pt x="513" y="426"/>
                    <a:pt x="513" y="425"/>
                    <a:pt x="514" y="425"/>
                  </a:cubicBezTo>
                  <a:cubicBezTo>
                    <a:pt x="514" y="425"/>
                    <a:pt x="514" y="425"/>
                    <a:pt x="514" y="425"/>
                  </a:cubicBezTo>
                  <a:cubicBezTo>
                    <a:pt x="514" y="425"/>
                    <a:pt x="514" y="425"/>
                    <a:pt x="515" y="424"/>
                  </a:cubicBezTo>
                  <a:cubicBezTo>
                    <a:pt x="515" y="424"/>
                    <a:pt x="515" y="424"/>
                    <a:pt x="515" y="424"/>
                  </a:cubicBezTo>
                  <a:cubicBezTo>
                    <a:pt x="516" y="424"/>
                    <a:pt x="517" y="423"/>
                    <a:pt x="518" y="422"/>
                  </a:cubicBezTo>
                  <a:cubicBezTo>
                    <a:pt x="518" y="422"/>
                    <a:pt x="518" y="422"/>
                    <a:pt x="518" y="422"/>
                  </a:cubicBezTo>
                  <a:cubicBezTo>
                    <a:pt x="518" y="422"/>
                    <a:pt x="518" y="422"/>
                    <a:pt x="518" y="421"/>
                  </a:cubicBezTo>
                  <a:cubicBezTo>
                    <a:pt x="519" y="421"/>
                    <a:pt x="519" y="421"/>
                    <a:pt x="519" y="422"/>
                  </a:cubicBezTo>
                  <a:cubicBezTo>
                    <a:pt x="519" y="422"/>
                    <a:pt x="519" y="422"/>
                    <a:pt x="519" y="422"/>
                  </a:cubicBezTo>
                  <a:cubicBezTo>
                    <a:pt x="521" y="422"/>
                    <a:pt x="522" y="420"/>
                    <a:pt x="522" y="420"/>
                  </a:cubicBezTo>
                  <a:cubicBezTo>
                    <a:pt x="522" y="420"/>
                    <a:pt x="522" y="420"/>
                    <a:pt x="522" y="419"/>
                  </a:cubicBezTo>
                  <a:cubicBezTo>
                    <a:pt x="523" y="420"/>
                    <a:pt x="523" y="420"/>
                    <a:pt x="524" y="420"/>
                  </a:cubicBezTo>
                  <a:cubicBezTo>
                    <a:pt x="524" y="420"/>
                    <a:pt x="524" y="420"/>
                    <a:pt x="524" y="420"/>
                  </a:cubicBezTo>
                  <a:cubicBezTo>
                    <a:pt x="524" y="420"/>
                    <a:pt x="525" y="420"/>
                    <a:pt x="525" y="420"/>
                  </a:cubicBezTo>
                  <a:cubicBezTo>
                    <a:pt x="526" y="420"/>
                    <a:pt x="526" y="420"/>
                    <a:pt x="526" y="419"/>
                  </a:cubicBezTo>
                  <a:cubicBezTo>
                    <a:pt x="527" y="419"/>
                    <a:pt x="527" y="419"/>
                    <a:pt x="528" y="418"/>
                  </a:cubicBezTo>
                  <a:cubicBezTo>
                    <a:pt x="528" y="418"/>
                    <a:pt x="528" y="418"/>
                    <a:pt x="528" y="418"/>
                  </a:cubicBezTo>
                  <a:cubicBezTo>
                    <a:pt x="528" y="418"/>
                    <a:pt x="528" y="418"/>
                    <a:pt x="528" y="418"/>
                  </a:cubicBezTo>
                  <a:cubicBezTo>
                    <a:pt x="528" y="418"/>
                    <a:pt x="528" y="418"/>
                    <a:pt x="529" y="418"/>
                  </a:cubicBezTo>
                  <a:cubicBezTo>
                    <a:pt x="529" y="417"/>
                    <a:pt x="530" y="417"/>
                    <a:pt x="530" y="417"/>
                  </a:cubicBezTo>
                  <a:cubicBezTo>
                    <a:pt x="530" y="416"/>
                    <a:pt x="530" y="416"/>
                    <a:pt x="530" y="416"/>
                  </a:cubicBezTo>
                  <a:cubicBezTo>
                    <a:pt x="530" y="417"/>
                    <a:pt x="530" y="417"/>
                    <a:pt x="530" y="417"/>
                  </a:cubicBezTo>
                  <a:cubicBezTo>
                    <a:pt x="530" y="417"/>
                    <a:pt x="531" y="417"/>
                    <a:pt x="532" y="417"/>
                  </a:cubicBezTo>
                  <a:cubicBezTo>
                    <a:pt x="532" y="417"/>
                    <a:pt x="533" y="417"/>
                    <a:pt x="533" y="416"/>
                  </a:cubicBezTo>
                  <a:cubicBezTo>
                    <a:pt x="534" y="416"/>
                    <a:pt x="534" y="416"/>
                    <a:pt x="534" y="415"/>
                  </a:cubicBezTo>
                  <a:cubicBezTo>
                    <a:pt x="534" y="415"/>
                    <a:pt x="534" y="415"/>
                    <a:pt x="534" y="415"/>
                  </a:cubicBezTo>
                  <a:cubicBezTo>
                    <a:pt x="534" y="415"/>
                    <a:pt x="534" y="415"/>
                    <a:pt x="534" y="415"/>
                  </a:cubicBezTo>
                  <a:cubicBezTo>
                    <a:pt x="535" y="415"/>
                    <a:pt x="535" y="415"/>
                    <a:pt x="535" y="415"/>
                  </a:cubicBezTo>
                  <a:cubicBezTo>
                    <a:pt x="535" y="415"/>
                    <a:pt x="535" y="415"/>
                    <a:pt x="535" y="416"/>
                  </a:cubicBezTo>
                  <a:cubicBezTo>
                    <a:pt x="535" y="416"/>
                    <a:pt x="536" y="416"/>
                    <a:pt x="536" y="416"/>
                  </a:cubicBezTo>
                  <a:cubicBezTo>
                    <a:pt x="537" y="416"/>
                    <a:pt x="537" y="416"/>
                    <a:pt x="537" y="416"/>
                  </a:cubicBezTo>
                  <a:cubicBezTo>
                    <a:pt x="538" y="416"/>
                    <a:pt x="538" y="416"/>
                    <a:pt x="538" y="415"/>
                  </a:cubicBezTo>
                  <a:cubicBezTo>
                    <a:pt x="538" y="415"/>
                    <a:pt x="539" y="415"/>
                    <a:pt x="539" y="415"/>
                  </a:cubicBezTo>
                  <a:cubicBezTo>
                    <a:pt x="539" y="415"/>
                    <a:pt x="539" y="415"/>
                    <a:pt x="539" y="415"/>
                  </a:cubicBezTo>
                  <a:cubicBezTo>
                    <a:pt x="539" y="414"/>
                    <a:pt x="540" y="414"/>
                    <a:pt x="540" y="414"/>
                  </a:cubicBezTo>
                  <a:cubicBezTo>
                    <a:pt x="540" y="414"/>
                    <a:pt x="540" y="414"/>
                    <a:pt x="540" y="414"/>
                  </a:cubicBezTo>
                  <a:cubicBezTo>
                    <a:pt x="541" y="414"/>
                    <a:pt x="541" y="414"/>
                    <a:pt x="541" y="413"/>
                  </a:cubicBezTo>
                  <a:cubicBezTo>
                    <a:pt x="541" y="413"/>
                    <a:pt x="542" y="413"/>
                    <a:pt x="542" y="413"/>
                  </a:cubicBezTo>
                  <a:cubicBezTo>
                    <a:pt x="543" y="413"/>
                    <a:pt x="544" y="413"/>
                    <a:pt x="544" y="413"/>
                  </a:cubicBezTo>
                  <a:cubicBezTo>
                    <a:pt x="545" y="413"/>
                    <a:pt x="545" y="413"/>
                    <a:pt x="545" y="413"/>
                  </a:cubicBezTo>
                  <a:cubicBezTo>
                    <a:pt x="545" y="413"/>
                    <a:pt x="546" y="413"/>
                    <a:pt x="546" y="413"/>
                  </a:cubicBezTo>
                  <a:cubicBezTo>
                    <a:pt x="547" y="412"/>
                    <a:pt x="548" y="411"/>
                    <a:pt x="548" y="410"/>
                  </a:cubicBezTo>
                  <a:cubicBezTo>
                    <a:pt x="548" y="410"/>
                    <a:pt x="548" y="410"/>
                    <a:pt x="548" y="409"/>
                  </a:cubicBezTo>
                  <a:cubicBezTo>
                    <a:pt x="548" y="409"/>
                    <a:pt x="548" y="409"/>
                    <a:pt x="548" y="409"/>
                  </a:cubicBezTo>
                  <a:cubicBezTo>
                    <a:pt x="549" y="409"/>
                    <a:pt x="549" y="409"/>
                    <a:pt x="549" y="409"/>
                  </a:cubicBezTo>
                  <a:cubicBezTo>
                    <a:pt x="550" y="409"/>
                    <a:pt x="550" y="409"/>
                    <a:pt x="551" y="409"/>
                  </a:cubicBezTo>
                  <a:cubicBezTo>
                    <a:pt x="551" y="409"/>
                    <a:pt x="552" y="409"/>
                    <a:pt x="552" y="409"/>
                  </a:cubicBezTo>
                  <a:cubicBezTo>
                    <a:pt x="552" y="409"/>
                    <a:pt x="552" y="409"/>
                    <a:pt x="552" y="409"/>
                  </a:cubicBezTo>
                  <a:cubicBezTo>
                    <a:pt x="552" y="409"/>
                    <a:pt x="553" y="408"/>
                    <a:pt x="553" y="408"/>
                  </a:cubicBezTo>
                  <a:cubicBezTo>
                    <a:pt x="554" y="408"/>
                    <a:pt x="554" y="408"/>
                    <a:pt x="555" y="407"/>
                  </a:cubicBezTo>
                  <a:cubicBezTo>
                    <a:pt x="555" y="407"/>
                    <a:pt x="556" y="408"/>
                    <a:pt x="556" y="408"/>
                  </a:cubicBezTo>
                  <a:cubicBezTo>
                    <a:pt x="556" y="408"/>
                    <a:pt x="556" y="408"/>
                    <a:pt x="556" y="408"/>
                  </a:cubicBezTo>
                  <a:cubicBezTo>
                    <a:pt x="557" y="408"/>
                    <a:pt x="558" y="407"/>
                    <a:pt x="558" y="407"/>
                  </a:cubicBezTo>
                  <a:cubicBezTo>
                    <a:pt x="560" y="406"/>
                    <a:pt x="560" y="406"/>
                    <a:pt x="560" y="406"/>
                  </a:cubicBezTo>
                  <a:cubicBezTo>
                    <a:pt x="561" y="406"/>
                    <a:pt x="561" y="405"/>
                    <a:pt x="562" y="405"/>
                  </a:cubicBezTo>
                  <a:cubicBezTo>
                    <a:pt x="563" y="405"/>
                    <a:pt x="563" y="405"/>
                    <a:pt x="564" y="405"/>
                  </a:cubicBezTo>
                  <a:cubicBezTo>
                    <a:pt x="564" y="405"/>
                    <a:pt x="564" y="405"/>
                    <a:pt x="565" y="405"/>
                  </a:cubicBezTo>
                  <a:cubicBezTo>
                    <a:pt x="565" y="405"/>
                    <a:pt x="565" y="406"/>
                    <a:pt x="565" y="406"/>
                  </a:cubicBezTo>
                  <a:cubicBezTo>
                    <a:pt x="565" y="406"/>
                    <a:pt x="564" y="406"/>
                    <a:pt x="564" y="406"/>
                  </a:cubicBezTo>
                  <a:cubicBezTo>
                    <a:pt x="563" y="407"/>
                    <a:pt x="563" y="407"/>
                    <a:pt x="562" y="407"/>
                  </a:cubicBezTo>
                  <a:cubicBezTo>
                    <a:pt x="562" y="407"/>
                    <a:pt x="562" y="408"/>
                    <a:pt x="561" y="408"/>
                  </a:cubicBezTo>
                  <a:cubicBezTo>
                    <a:pt x="560" y="408"/>
                    <a:pt x="559" y="409"/>
                    <a:pt x="558" y="409"/>
                  </a:cubicBezTo>
                  <a:cubicBezTo>
                    <a:pt x="558" y="409"/>
                    <a:pt x="557" y="409"/>
                    <a:pt x="556" y="410"/>
                  </a:cubicBezTo>
                  <a:cubicBezTo>
                    <a:pt x="556" y="410"/>
                    <a:pt x="555" y="410"/>
                    <a:pt x="555" y="411"/>
                  </a:cubicBezTo>
                  <a:cubicBezTo>
                    <a:pt x="555" y="411"/>
                    <a:pt x="555" y="411"/>
                    <a:pt x="555" y="411"/>
                  </a:cubicBezTo>
                  <a:cubicBezTo>
                    <a:pt x="555" y="411"/>
                    <a:pt x="555" y="411"/>
                    <a:pt x="555" y="411"/>
                  </a:cubicBezTo>
                  <a:cubicBezTo>
                    <a:pt x="555" y="411"/>
                    <a:pt x="555" y="411"/>
                    <a:pt x="555" y="411"/>
                  </a:cubicBezTo>
                  <a:cubicBezTo>
                    <a:pt x="554" y="411"/>
                    <a:pt x="554" y="411"/>
                    <a:pt x="553" y="411"/>
                  </a:cubicBezTo>
                  <a:cubicBezTo>
                    <a:pt x="552" y="412"/>
                    <a:pt x="552" y="412"/>
                    <a:pt x="551" y="412"/>
                  </a:cubicBezTo>
                  <a:cubicBezTo>
                    <a:pt x="551" y="413"/>
                    <a:pt x="551" y="413"/>
                    <a:pt x="550" y="414"/>
                  </a:cubicBezTo>
                  <a:cubicBezTo>
                    <a:pt x="549" y="415"/>
                    <a:pt x="549" y="416"/>
                    <a:pt x="548" y="417"/>
                  </a:cubicBezTo>
                  <a:cubicBezTo>
                    <a:pt x="548" y="418"/>
                    <a:pt x="547" y="418"/>
                    <a:pt x="547" y="419"/>
                  </a:cubicBezTo>
                  <a:cubicBezTo>
                    <a:pt x="546" y="419"/>
                    <a:pt x="546" y="419"/>
                    <a:pt x="546" y="419"/>
                  </a:cubicBezTo>
                  <a:cubicBezTo>
                    <a:pt x="546" y="419"/>
                    <a:pt x="545" y="420"/>
                    <a:pt x="544" y="421"/>
                  </a:cubicBezTo>
                  <a:cubicBezTo>
                    <a:pt x="544" y="423"/>
                    <a:pt x="546" y="424"/>
                    <a:pt x="547" y="425"/>
                  </a:cubicBezTo>
                  <a:cubicBezTo>
                    <a:pt x="547" y="425"/>
                    <a:pt x="547" y="425"/>
                    <a:pt x="547" y="425"/>
                  </a:cubicBezTo>
                  <a:cubicBezTo>
                    <a:pt x="548" y="425"/>
                    <a:pt x="548" y="426"/>
                    <a:pt x="548" y="426"/>
                  </a:cubicBezTo>
                  <a:cubicBezTo>
                    <a:pt x="548" y="427"/>
                    <a:pt x="549" y="428"/>
                    <a:pt x="550" y="428"/>
                  </a:cubicBezTo>
                  <a:cubicBezTo>
                    <a:pt x="551" y="428"/>
                    <a:pt x="551" y="428"/>
                    <a:pt x="551" y="428"/>
                  </a:cubicBezTo>
                  <a:cubicBezTo>
                    <a:pt x="552" y="427"/>
                    <a:pt x="552" y="427"/>
                    <a:pt x="552" y="426"/>
                  </a:cubicBezTo>
                  <a:cubicBezTo>
                    <a:pt x="552" y="426"/>
                    <a:pt x="553" y="426"/>
                    <a:pt x="553" y="426"/>
                  </a:cubicBezTo>
                  <a:cubicBezTo>
                    <a:pt x="553" y="426"/>
                    <a:pt x="553" y="426"/>
                    <a:pt x="553" y="425"/>
                  </a:cubicBezTo>
                  <a:cubicBezTo>
                    <a:pt x="553" y="424"/>
                    <a:pt x="553" y="424"/>
                    <a:pt x="553" y="424"/>
                  </a:cubicBezTo>
                  <a:cubicBezTo>
                    <a:pt x="553" y="424"/>
                    <a:pt x="553" y="424"/>
                    <a:pt x="553" y="424"/>
                  </a:cubicBezTo>
                  <a:cubicBezTo>
                    <a:pt x="554" y="425"/>
                    <a:pt x="554" y="425"/>
                    <a:pt x="554" y="425"/>
                  </a:cubicBezTo>
                  <a:cubicBezTo>
                    <a:pt x="554" y="425"/>
                    <a:pt x="554" y="425"/>
                    <a:pt x="554" y="425"/>
                  </a:cubicBezTo>
                  <a:cubicBezTo>
                    <a:pt x="555" y="425"/>
                    <a:pt x="555" y="425"/>
                    <a:pt x="555" y="424"/>
                  </a:cubicBezTo>
                  <a:cubicBezTo>
                    <a:pt x="555" y="424"/>
                    <a:pt x="555" y="424"/>
                    <a:pt x="556" y="424"/>
                  </a:cubicBezTo>
                  <a:cubicBezTo>
                    <a:pt x="556" y="424"/>
                    <a:pt x="557" y="424"/>
                    <a:pt x="557" y="423"/>
                  </a:cubicBezTo>
                  <a:cubicBezTo>
                    <a:pt x="557" y="423"/>
                    <a:pt x="557" y="423"/>
                    <a:pt x="558" y="423"/>
                  </a:cubicBezTo>
                  <a:cubicBezTo>
                    <a:pt x="558" y="422"/>
                    <a:pt x="558" y="422"/>
                    <a:pt x="559" y="422"/>
                  </a:cubicBezTo>
                  <a:cubicBezTo>
                    <a:pt x="559" y="422"/>
                    <a:pt x="559" y="422"/>
                    <a:pt x="559" y="422"/>
                  </a:cubicBezTo>
                  <a:cubicBezTo>
                    <a:pt x="560" y="422"/>
                    <a:pt x="560" y="422"/>
                    <a:pt x="560" y="422"/>
                  </a:cubicBezTo>
                  <a:cubicBezTo>
                    <a:pt x="560" y="422"/>
                    <a:pt x="561" y="422"/>
                    <a:pt x="561" y="421"/>
                  </a:cubicBezTo>
                  <a:cubicBezTo>
                    <a:pt x="562" y="421"/>
                    <a:pt x="562" y="421"/>
                    <a:pt x="562" y="420"/>
                  </a:cubicBezTo>
                  <a:cubicBezTo>
                    <a:pt x="563" y="420"/>
                    <a:pt x="563" y="419"/>
                    <a:pt x="564" y="418"/>
                  </a:cubicBezTo>
                  <a:cubicBezTo>
                    <a:pt x="564" y="418"/>
                    <a:pt x="564" y="418"/>
                    <a:pt x="564" y="418"/>
                  </a:cubicBezTo>
                  <a:cubicBezTo>
                    <a:pt x="564" y="418"/>
                    <a:pt x="564" y="418"/>
                    <a:pt x="564" y="418"/>
                  </a:cubicBezTo>
                  <a:cubicBezTo>
                    <a:pt x="565" y="418"/>
                    <a:pt x="565" y="418"/>
                    <a:pt x="565" y="418"/>
                  </a:cubicBezTo>
                  <a:cubicBezTo>
                    <a:pt x="565" y="418"/>
                    <a:pt x="565" y="418"/>
                    <a:pt x="566" y="417"/>
                  </a:cubicBezTo>
                  <a:cubicBezTo>
                    <a:pt x="566" y="418"/>
                    <a:pt x="567" y="418"/>
                    <a:pt x="568" y="418"/>
                  </a:cubicBezTo>
                  <a:cubicBezTo>
                    <a:pt x="569" y="418"/>
                    <a:pt x="569" y="417"/>
                    <a:pt x="569" y="417"/>
                  </a:cubicBezTo>
                  <a:cubicBezTo>
                    <a:pt x="569" y="417"/>
                    <a:pt x="569" y="417"/>
                    <a:pt x="570" y="417"/>
                  </a:cubicBezTo>
                  <a:cubicBezTo>
                    <a:pt x="570" y="416"/>
                    <a:pt x="570" y="416"/>
                    <a:pt x="571" y="416"/>
                  </a:cubicBezTo>
                  <a:cubicBezTo>
                    <a:pt x="572" y="416"/>
                    <a:pt x="572" y="416"/>
                    <a:pt x="572" y="416"/>
                  </a:cubicBezTo>
                  <a:cubicBezTo>
                    <a:pt x="572" y="416"/>
                    <a:pt x="573" y="416"/>
                    <a:pt x="573" y="416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73" y="416"/>
                    <a:pt x="573" y="416"/>
                    <a:pt x="574" y="416"/>
                  </a:cubicBezTo>
                  <a:cubicBezTo>
                    <a:pt x="574" y="416"/>
                    <a:pt x="574" y="416"/>
                    <a:pt x="574" y="416"/>
                  </a:cubicBezTo>
                  <a:cubicBezTo>
                    <a:pt x="575" y="416"/>
                    <a:pt x="576" y="416"/>
                    <a:pt x="576" y="415"/>
                  </a:cubicBezTo>
                  <a:cubicBezTo>
                    <a:pt x="576" y="415"/>
                    <a:pt x="577" y="415"/>
                    <a:pt x="577" y="415"/>
                  </a:cubicBezTo>
                  <a:cubicBezTo>
                    <a:pt x="577" y="414"/>
                    <a:pt x="577" y="414"/>
                    <a:pt x="577" y="414"/>
                  </a:cubicBezTo>
                  <a:cubicBezTo>
                    <a:pt x="578" y="414"/>
                    <a:pt x="578" y="414"/>
                    <a:pt x="578" y="414"/>
                  </a:cubicBezTo>
                  <a:cubicBezTo>
                    <a:pt x="578" y="414"/>
                    <a:pt x="578" y="414"/>
                    <a:pt x="579" y="415"/>
                  </a:cubicBezTo>
                  <a:cubicBezTo>
                    <a:pt x="579" y="415"/>
                    <a:pt x="579" y="415"/>
                    <a:pt x="580" y="415"/>
                  </a:cubicBezTo>
                  <a:cubicBezTo>
                    <a:pt x="580" y="415"/>
                    <a:pt x="580" y="415"/>
                    <a:pt x="580" y="415"/>
                  </a:cubicBezTo>
                  <a:cubicBezTo>
                    <a:pt x="581" y="415"/>
                    <a:pt x="581" y="414"/>
                    <a:pt x="582" y="414"/>
                  </a:cubicBezTo>
                  <a:cubicBezTo>
                    <a:pt x="582" y="414"/>
                    <a:pt x="582" y="414"/>
                    <a:pt x="582" y="414"/>
                  </a:cubicBezTo>
                  <a:cubicBezTo>
                    <a:pt x="583" y="413"/>
                    <a:pt x="583" y="413"/>
                    <a:pt x="583" y="413"/>
                  </a:cubicBezTo>
                  <a:cubicBezTo>
                    <a:pt x="583" y="413"/>
                    <a:pt x="583" y="413"/>
                    <a:pt x="583" y="413"/>
                  </a:cubicBezTo>
                  <a:cubicBezTo>
                    <a:pt x="584" y="413"/>
                    <a:pt x="584" y="413"/>
                    <a:pt x="584" y="413"/>
                  </a:cubicBezTo>
                  <a:cubicBezTo>
                    <a:pt x="585" y="413"/>
                    <a:pt x="585" y="413"/>
                    <a:pt x="585" y="413"/>
                  </a:cubicBezTo>
                  <a:cubicBezTo>
                    <a:pt x="585" y="413"/>
                    <a:pt x="585" y="412"/>
                    <a:pt x="586" y="412"/>
                  </a:cubicBezTo>
                  <a:cubicBezTo>
                    <a:pt x="586" y="412"/>
                    <a:pt x="586" y="412"/>
                    <a:pt x="586" y="412"/>
                  </a:cubicBezTo>
                  <a:cubicBezTo>
                    <a:pt x="586" y="412"/>
                    <a:pt x="586" y="412"/>
                    <a:pt x="587" y="412"/>
                  </a:cubicBezTo>
                  <a:cubicBezTo>
                    <a:pt x="587" y="412"/>
                    <a:pt x="587" y="412"/>
                    <a:pt x="588" y="412"/>
                  </a:cubicBezTo>
                  <a:cubicBezTo>
                    <a:pt x="588" y="412"/>
                    <a:pt x="588" y="412"/>
                    <a:pt x="588" y="412"/>
                  </a:cubicBezTo>
                  <a:cubicBezTo>
                    <a:pt x="588" y="412"/>
                    <a:pt x="589" y="412"/>
                    <a:pt x="589" y="412"/>
                  </a:cubicBezTo>
                  <a:cubicBezTo>
                    <a:pt x="589" y="412"/>
                    <a:pt x="590" y="412"/>
                    <a:pt x="590" y="411"/>
                  </a:cubicBezTo>
                  <a:cubicBezTo>
                    <a:pt x="590" y="411"/>
                    <a:pt x="590" y="411"/>
                    <a:pt x="590" y="411"/>
                  </a:cubicBezTo>
                  <a:cubicBezTo>
                    <a:pt x="591" y="410"/>
                    <a:pt x="591" y="410"/>
                    <a:pt x="591" y="409"/>
                  </a:cubicBezTo>
                  <a:cubicBezTo>
                    <a:pt x="591" y="408"/>
                    <a:pt x="591" y="408"/>
                    <a:pt x="590" y="407"/>
                  </a:cubicBezTo>
                  <a:cubicBezTo>
                    <a:pt x="590" y="407"/>
                    <a:pt x="590" y="407"/>
                    <a:pt x="590" y="407"/>
                  </a:cubicBezTo>
                  <a:cubicBezTo>
                    <a:pt x="590" y="407"/>
                    <a:pt x="590" y="406"/>
                    <a:pt x="590" y="406"/>
                  </a:cubicBezTo>
                  <a:cubicBezTo>
                    <a:pt x="591" y="406"/>
                    <a:pt x="591" y="406"/>
                    <a:pt x="591" y="406"/>
                  </a:cubicBezTo>
                  <a:cubicBezTo>
                    <a:pt x="592" y="407"/>
                    <a:pt x="594" y="407"/>
                    <a:pt x="595" y="407"/>
                  </a:cubicBezTo>
                  <a:cubicBezTo>
                    <a:pt x="595" y="407"/>
                    <a:pt x="595" y="407"/>
                    <a:pt x="595" y="407"/>
                  </a:cubicBezTo>
                  <a:cubicBezTo>
                    <a:pt x="597" y="407"/>
                    <a:pt x="598" y="406"/>
                    <a:pt x="599" y="406"/>
                  </a:cubicBezTo>
                  <a:cubicBezTo>
                    <a:pt x="600" y="405"/>
                    <a:pt x="601" y="404"/>
                    <a:pt x="603" y="404"/>
                  </a:cubicBezTo>
                  <a:cubicBezTo>
                    <a:pt x="603" y="404"/>
                    <a:pt x="605" y="403"/>
                    <a:pt x="605" y="402"/>
                  </a:cubicBezTo>
                  <a:cubicBezTo>
                    <a:pt x="606" y="401"/>
                    <a:pt x="606" y="400"/>
                    <a:pt x="605" y="399"/>
                  </a:cubicBezTo>
                  <a:cubicBezTo>
                    <a:pt x="605" y="398"/>
                    <a:pt x="603" y="397"/>
                    <a:pt x="602" y="397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1" y="396"/>
                    <a:pt x="601" y="396"/>
                    <a:pt x="601" y="396"/>
                  </a:cubicBezTo>
                  <a:cubicBezTo>
                    <a:pt x="602" y="397"/>
                    <a:pt x="602" y="397"/>
                    <a:pt x="602" y="397"/>
                  </a:cubicBezTo>
                  <a:cubicBezTo>
                    <a:pt x="603" y="396"/>
                    <a:pt x="604" y="396"/>
                    <a:pt x="604" y="394"/>
                  </a:cubicBezTo>
                  <a:cubicBezTo>
                    <a:pt x="605" y="394"/>
                    <a:pt x="605" y="394"/>
                    <a:pt x="605" y="394"/>
                  </a:cubicBezTo>
                  <a:cubicBezTo>
                    <a:pt x="605" y="393"/>
                    <a:pt x="605" y="392"/>
                    <a:pt x="605" y="392"/>
                  </a:cubicBezTo>
                  <a:cubicBezTo>
                    <a:pt x="606" y="389"/>
                    <a:pt x="606" y="389"/>
                    <a:pt x="606" y="389"/>
                  </a:cubicBezTo>
                  <a:cubicBezTo>
                    <a:pt x="604" y="389"/>
                    <a:pt x="604" y="389"/>
                    <a:pt x="604" y="389"/>
                  </a:cubicBezTo>
                  <a:cubicBezTo>
                    <a:pt x="602" y="390"/>
                    <a:pt x="601" y="390"/>
                    <a:pt x="600" y="391"/>
                  </a:cubicBezTo>
                  <a:cubicBezTo>
                    <a:pt x="600" y="392"/>
                    <a:pt x="599" y="392"/>
                    <a:pt x="599" y="392"/>
                  </a:cubicBezTo>
                  <a:cubicBezTo>
                    <a:pt x="598" y="392"/>
                    <a:pt x="598" y="393"/>
                    <a:pt x="597" y="393"/>
                  </a:cubicBezTo>
                  <a:cubicBezTo>
                    <a:pt x="597" y="394"/>
                    <a:pt x="596" y="394"/>
                    <a:pt x="596" y="395"/>
                  </a:cubicBezTo>
                  <a:cubicBezTo>
                    <a:pt x="596" y="395"/>
                    <a:pt x="595" y="396"/>
                    <a:pt x="595" y="396"/>
                  </a:cubicBezTo>
                  <a:cubicBezTo>
                    <a:pt x="595" y="396"/>
                    <a:pt x="594" y="397"/>
                    <a:pt x="594" y="397"/>
                  </a:cubicBezTo>
                  <a:cubicBezTo>
                    <a:pt x="593" y="397"/>
                    <a:pt x="593" y="397"/>
                    <a:pt x="592" y="398"/>
                  </a:cubicBezTo>
                  <a:cubicBezTo>
                    <a:pt x="592" y="398"/>
                    <a:pt x="589" y="401"/>
                    <a:pt x="589" y="403"/>
                  </a:cubicBezTo>
                  <a:cubicBezTo>
                    <a:pt x="589" y="404"/>
                    <a:pt x="589" y="404"/>
                    <a:pt x="589" y="404"/>
                  </a:cubicBezTo>
                  <a:cubicBezTo>
                    <a:pt x="589" y="404"/>
                    <a:pt x="589" y="404"/>
                    <a:pt x="589" y="404"/>
                  </a:cubicBezTo>
                  <a:cubicBezTo>
                    <a:pt x="589" y="403"/>
                    <a:pt x="589" y="403"/>
                    <a:pt x="589" y="403"/>
                  </a:cubicBezTo>
                  <a:cubicBezTo>
                    <a:pt x="589" y="402"/>
                    <a:pt x="589" y="402"/>
                    <a:pt x="589" y="401"/>
                  </a:cubicBezTo>
                  <a:cubicBezTo>
                    <a:pt x="588" y="401"/>
                    <a:pt x="587" y="401"/>
                    <a:pt x="586" y="401"/>
                  </a:cubicBezTo>
                  <a:cubicBezTo>
                    <a:pt x="587" y="400"/>
                    <a:pt x="587" y="399"/>
                    <a:pt x="587" y="399"/>
                  </a:cubicBezTo>
                  <a:cubicBezTo>
                    <a:pt x="587" y="399"/>
                    <a:pt x="587" y="398"/>
                    <a:pt x="587" y="398"/>
                  </a:cubicBezTo>
                  <a:cubicBezTo>
                    <a:pt x="588" y="397"/>
                    <a:pt x="588" y="396"/>
                    <a:pt x="588" y="395"/>
                  </a:cubicBezTo>
                  <a:cubicBezTo>
                    <a:pt x="587" y="395"/>
                    <a:pt x="587" y="395"/>
                    <a:pt x="586" y="395"/>
                  </a:cubicBezTo>
                  <a:cubicBezTo>
                    <a:pt x="585" y="395"/>
                    <a:pt x="585" y="395"/>
                    <a:pt x="584" y="395"/>
                  </a:cubicBezTo>
                  <a:cubicBezTo>
                    <a:pt x="584" y="395"/>
                    <a:pt x="584" y="395"/>
                    <a:pt x="584" y="395"/>
                  </a:cubicBezTo>
                  <a:cubicBezTo>
                    <a:pt x="584" y="395"/>
                    <a:pt x="583" y="395"/>
                    <a:pt x="583" y="395"/>
                  </a:cubicBezTo>
                  <a:cubicBezTo>
                    <a:pt x="583" y="395"/>
                    <a:pt x="583" y="395"/>
                    <a:pt x="583" y="395"/>
                  </a:cubicBezTo>
                  <a:cubicBezTo>
                    <a:pt x="583" y="395"/>
                    <a:pt x="583" y="394"/>
                    <a:pt x="583" y="394"/>
                  </a:cubicBezTo>
                  <a:cubicBezTo>
                    <a:pt x="583" y="394"/>
                    <a:pt x="582" y="394"/>
                    <a:pt x="582" y="393"/>
                  </a:cubicBezTo>
                  <a:cubicBezTo>
                    <a:pt x="584" y="392"/>
                    <a:pt x="584" y="392"/>
                    <a:pt x="584" y="392"/>
                  </a:cubicBezTo>
                  <a:cubicBezTo>
                    <a:pt x="580" y="393"/>
                    <a:pt x="580" y="393"/>
                    <a:pt x="580" y="393"/>
                  </a:cubicBezTo>
                  <a:cubicBezTo>
                    <a:pt x="579" y="392"/>
                    <a:pt x="579" y="392"/>
                    <a:pt x="579" y="392"/>
                  </a:cubicBezTo>
                  <a:cubicBezTo>
                    <a:pt x="578" y="393"/>
                    <a:pt x="578" y="393"/>
                    <a:pt x="578" y="393"/>
                  </a:cubicBezTo>
                  <a:cubicBezTo>
                    <a:pt x="578" y="392"/>
                    <a:pt x="578" y="392"/>
                    <a:pt x="578" y="392"/>
                  </a:cubicBezTo>
                  <a:cubicBezTo>
                    <a:pt x="578" y="392"/>
                    <a:pt x="579" y="392"/>
                    <a:pt x="579" y="392"/>
                  </a:cubicBezTo>
                  <a:cubicBezTo>
                    <a:pt x="579" y="391"/>
                    <a:pt x="579" y="391"/>
                    <a:pt x="579" y="391"/>
                  </a:cubicBezTo>
                  <a:cubicBezTo>
                    <a:pt x="580" y="390"/>
                    <a:pt x="580" y="389"/>
                    <a:pt x="580" y="388"/>
                  </a:cubicBezTo>
                  <a:cubicBezTo>
                    <a:pt x="580" y="386"/>
                    <a:pt x="580" y="386"/>
                    <a:pt x="580" y="386"/>
                  </a:cubicBezTo>
                  <a:cubicBezTo>
                    <a:pt x="578" y="387"/>
                    <a:pt x="578" y="387"/>
                    <a:pt x="578" y="387"/>
                  </a:cubicBezTo>
                  <a:cubicBezTo>
                    <a:pt x="576" y="388"/>
                    <a:pt x="574" y="390"/>
                    <a:pt x="574" y="392"/>
                  </a:cubicBezTo>
                  <a:cubicBezTo>
                    <a:pt x="574" y="392"/>
                    <a:pt x="574" y="392"/>
                    <a:pt x="574" y="392"/>
                  </a:cubicBezTo>
                  <a:cubicBezTo>
                    <a:pt x="574" y="391"/>
                    <a:pt x="574" y="391"/>
                    <a:pt x="574" y="391"/>
                  </a:cubicBezTo>
                  <a:cubicBezTo>
                    <a:pt x="574" y="391"/>
                    <a:pt x="574" y="391"/>
                    <a:pt x="574" y="390"/>
                  </a:cubicBezTo>
                  <a:cubicBezTo>
                    <a:pt x="574" y="390"/>
                    <a:pt x="574" y="390"/>
                    <a:pt x="574" y="390"/>
                  </a:cubicBezTo>
                  <a:cubicBezTo>
                    <a:pt x="574" y="390"/>
                    <a:pt x="574" y="390"/>
                    <a:pt x="575" y="389"/>
                  </a:cubicBezTo>
                  <a:cubicBezTo>
                    <a:pt x="575" y="389"/>
                    <a:pt x="575" y="389"/>
                    <a:pt x="575" y="389"/>
                  </a:cubicBezTo>
                  <a:cubicBezTo>
                    <a:pt x="575" y="388"/>
                    <a:pt x="575" y="388"/>
                    <a:pt x="575" y="387"/>
                  </a:cubicBezTo>
                  <a:cubicBezTo>
                    <a:pt x="575" y="387"/>
                    <a:pt x="575" y="387"/>
                    <a:pt x="575" y="387"/>
                  </a:cubicBezTo>
                  <a:cubicBezTo>
                    <a:pt x="575" y="386"/>
                    <a:pt x="575" y="386"/>
                    <a:pt x="575" y="386"/>
                  </a:cubicBezTo>
                  <a:cubicBezTo>
                    <a:pt x="575" y="386"/>
                    <a:pt x="576" y="386"/>
                    <a:pt x="576" y="386"/>
                  </a:cubicBezTo>
                  <a:cubicBezTo>
                    <a:pt x="577" y="385"/>
                    <a:pt x="578" y="385"/>
                    <a:pt x="578" y="384"/>
                  </a:cubicBezTo>
                  <a:cubicBezTo>
                    <a:pt x="578" y="384"/>
                    <a:pt x="578" y="384"/>
                    <a:pt x="578" y="384"/>
                  </a:cubicBezTo>
                  <a:cubicBezTo>
                    <a:pt x="578" y="383"/>
                    <a:pt x="579" y="383"/>
                    <a:pt x="579" y="382"/>
                  </a:cubicBezTo>
                  <a:cubicBezTo>
                    <a:pt x="579" y="382"/>
                    <a:pt x="579" y="382"/>
                    <a:pt x="579" y="382"/>
                  </a:cubicBezTo>
                  <a:cubicBezTo>
                    <a:pt x="579" y="381"/>
                    <a:pt x="579" y="381"/>
                    <a:pt x="579" y="381"/>
                  </a:cubicBezTo>
                  <a:cubicBezTo>
                    <a:pt x="579" y="381"/>
                    <a:pt x="580" y="381"/>
                    <a:pt x="580" y="381"/>
                  </a:cubicBezTo>
                  <a:cubicBezTo>
                    <a:pt x="581" y="380"/>
                    <a:pt x="581" y="379"/>
                    <a:pt x="580" y="378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580" y="378"/>
                    <a:pt x="580" y="378"/>
                    <a:pt x="580" y="378"/>
                  </a:cubicBezTo>
                  <a:cubicBezTo>
                    <a:pt x="580" y="377"/>
                    <a:pt x="580" y="377"/>
                    <a:pt x="581" y="377"/>
                  </a:cubicBezTo>
                  <a:cubicBezTo>
                    <a:pt x="581" y="377"/>
                    <a:pt x="581" y="377"/>
                    <a:pt x="582" y="376"/>
                  </a:cubicBezTo>
                  <a:cubicBezTo>
                    <a:pt x="582" y="376"/>
                    <a:pt x="582" y="376"/>
                    <a:pt x="582" y="376"/>
                  </a:cubicBezTo>
                  <a:cubicBezTo>
                    <a:pt x="582" y="376"/>
                    <a:pt x="582" y="376"/>
                    <a:pt x="582" y="376"/>
                  </a:cubicBezTo>
                  <a:cubicBezTo>
                    <a:pt x="583" y="376"/>
                    <a:pt x="583" y="375"/>
                    <a:pt x="584" y="375"/>
                  </a:cubicBezTo>
                  <a:cubicBezTo>
                    <a:pt x="584" y="375"/>
                    <a:pt x="584" y="375"/>
                    <a:pt x="584" y="375"/>
                  </a:cubicBezTo>
                  <a:cubicBezTo>
                    <a:pt x="584" y="374"/>
                    <a:pt x="584" y="374"/>
                    <a:pt x="584" y="374"/>
                  </a:cubicBezTo>
                  <a:cubicBezTo>
                    <a:pt x="584" y="374"/>
                    <a:pt x="584" y="374"/>
                    <a:pt x="585" y="374"/>
                  </a:cubicBezTo>
                  <a:cubicBezTo>
                    <a:pt x="585" y="374"/>
                    <a:pt x="586" y="374"/>
                    <a:pt x="587" y="374"/>
                  </a:cubicBezTo>
                  <a:cubicBezTo>
                    <a:pt x="588" y="373"/>
                    <a:pt x="588" y="373"/>
                    <a:pt x="589" y="372"/>
                  </a:cubicBezTo>
                  <a:cubicBezTo>
                    <a:pt x="589" y="371"/>
                    <a:pt x="589" y="371"/>
                    <a:pt x="589" y="370"/>
                  </a:cubicBezTo>
                  <a:cubicBezTo>
                    <a:pt x="590" y="370"/>
                    <a:pt x="591" y="370"/>
                    <a:pt x="591" y="370"/>
                  </a:cubicBezTo>
                  <a:cubicBezTo>
                    <a:pt x="592" y="369"/>
                    <a:pt x="591" y="368"/>
                    <a:pt x="591" y="367"/>
                  </a:cubicBezTo>
                  <a:cubicBezTo>
                    <a:pt x="591" y="366"/>
                    <a:pt x="591" y="366"/>
                    <a:pt x="590" y="365"/>
                  </a:cubicBezTo>
                  <a:cubicBezTo>
                    <a:pt x="590" y="364"/>
                    <a:pt x="589" y="363"/>
                    <a:pt x="589" y="363"/>
                  </a:cubicBezTo>
                  <a:cubicBezTo>
                    <a:pt x="588" y="363"/>
                    <a:pt x="587" y="362"/>
                    <a:pt x="587" y="362"/>
                  </a:cubicBezTo>
                  <a:cubicBezTo>
                    <a:pt x="586" y="362"/>
                    <a:pt x="584" y="361"/>
                    <a:pt x="582" y="361"/>
                  </a:cubicBezTo>
                  <a:cubicBezTo>
                    <a:pt x="581" y="361"/>
                    <a:pt x="581" y="361"/>
                    <a:pt x="581" y="361"/>
                  </a:cubicBezTo>
                  <a:cubicBezTo>
                    <a:pt x="579" y="361"/>
                    <a:pt x="578" y="362"/>
                    <a:pt x="576" y="363"/>
                  </a:cubicBezTo>
                  <a:cubicBezTo>
                    <a:pt x="575" y="363"/>
                    <a:pt x="574" y="363"/>
                    <a:pt x="573" y="363"/>
                  </a:cubicBezTo>
                  <a:cubicBezTo>
                    <a:pt x="572" y="363"/>
                    <a:pt x="572" y="363"/>
                    <a:pt x="571" y="364"/>
                  </a:cubicBezTo>
                  <a:cubicBezTo>
                    <a:pt x="570" y="364"/>
                    <a:pt x="570" y="364"/>
                    <a:pt x="570" y="364"/>
                  </a:cubicBezTo>
                  <a:cubicBezTo>
                    <a:pt x="568" y="364"/>
                    <a:pt x="567" y="364"/>
                    <a:pt x="565" y="365"/>
                  </a:cubicBezTo>
                  <a:cubicBezTo>
                    <a:pt x="564" y="366"/>
                    <a:pt x="564" y="366"/>
                    <a:pt x="564" y="366"/>
                  </a:cubicBezTo>
                  <a:cubicBezTo>
                    <a:pt x="564" y="366"/>
                    <a:pt x="563" y="366"/>
                    <a:pt x="563" y="366"/>
                  </a:cubicBezTo>
                  <a:cubicBezTo>
                    <a:pt x="562" y="366"/>
                    <a:pt x="562" y="366"/>
                    <a:pt x="562" y="366"/>
                  </a:cubicBezTo>
                  <a:cubicBezTo>
                    <a:pt x="561" y="367"/>
                    <a:pt x="561" y="367"/>
                    <a:pt x="561" y="367"/>
                  </a:cubicBezTo>
                  <a:cubicBezTo>
                    <a:pt x="560" y="368"/>
                    <a:pt x="559" y="368"/>
                    <a:pt x="557" y="369"/>
                  </a:cubicBezTo>
                  <a:cubicBezTo>
                    <a:pt x="556" y="370"/>
                    <a:pt x="556" y="370"/>
                    <a:pt x="556" y="370"/>
                  </a:cubicBezTo>
                  <a:cubicBezTo>
                    <a:pt x="555" y="370"/>
                    <a:pt x="554" y="371"/>
                    <a:pt x="553" y="371"/>
                  </a:cubicBezTo>
                  <a:cubicBezTo>
                    <a:pt x="552" y="372"/>
                    <a:pt x="551" y="372"/>
                    <a:pt x="550" y="373"/>
                  </a:cubicBezTo>
                  <a:cubicBezTo>
                    <a:pt x="549" y="373"/>
                    <a:pt x="548" y="374"/>
                    <a:pt x="547" y="375"/>
                  </a:cubicBezTo>
                  <a:cubicBezTo>
                    <a:pt x="547" y="374"/>
                    <a:pt x="547" y="374"/>
                    <a:pt x="547" y="374"/>
                  </a:cubicBezTo>
                  <a:cubicBezTo>
                    <a:pt x="548" y="374"/>
                    <a:pt x="548" y="373"/>
                    <a:pt x="548" y="373"/>
                  </a:cubicBezTo>
                  <a:cubicBezTo>
                    <a:pt x="548" y="373"/>
                    <a:pt x="548" y="373"/>
                    <a:pt x="548" y="372"/>
                  </a:cubicBezTo>
                  <a:cubicBezTo>
                    <a:pt x="548" y="372"/>
                    <a:pt x="548" y="372"/>
                    <a:pt x="548" y="372"/>
                  </a:cubicBezTo>
                  <a:cubicBezTo>
                    <a:pt x="549" y="373"/>
                    <a:pt x="550" y="373"/>
                    <a:pt x="550" y="372"/>
                  </a:cubicBezTo>
                  <a:cubicBezTo>
                    <a:pt x="551" y="372"/>
                    <a:pt x="551" y="372"/>
                    <a:pt x="551" y="372"/>
                  </a:cubicBezTo>
                  <a:cubicBezTo>
                    <a:pt x="551" y="372"/>
                    <a:pt x="551" y="371"/>
                    <a:pt x="552" y="371"/>
                  </a:cubicBezTo>
                  <a:cubicBezTo>
                    <a:pt x="552" y="371"/>
                    <a:pt x="552" y="371"/>
                    <a:pt x="552" y="371"/>
                  </a:cubicBezTo>
                  <a:cubicBezTo>
                    <a:pt x="552" y="371"/>
                    <a:pt x="552" y="371"/>
                    <a:pt x="552" y="371"/>
                  </a:cubicBezTo>
                  <a:cubicBezTo>
                    <a:pt x="552" y="371"/>
                    <a:pt x="552" y="371"/>
                    <a:pt x="553" y="370"/>
                  </a:cubicBezTo>
                  <a:cubicBezTo>
                    <a:pt x="553" y="370"/>
                    <a:pt x="553" y="370"/>
                    <a:pt x="553" y="370"/>
                  </a:cubicBezTo>
                  <a:cubicBezTo>
                    <a:pt x="553" y="370"/>
                    <a:pt x="554" y="370"/>
                    <a:pt x="554" y="369"/>
                  </a:cubicBezTo>
                  <a:cubicBezTo>
                    <a:pt x="554" y="369"/>
                    <a:pt x="554" y="369"/>
                    <a:pt x="554" y="369"/>
                  </a:cubicBezTo>
                  <a:cubicBezTo>
                    <a:pt x="555" y="369"/>
                    <a:pt x="555" y="369"/>
                    <a:pt x="555" y="369"/>
                  </a:cubicBezTo>
                  <a:cubicBezTo>
                    <a:pt x="556" y="369"/>
                    <a:pt x="557" y="368"/>
                    <a:pt x="557" y="368"/>
                  </a:cubicBezTo>
                  <a:cubicBezTo>
                    <a:pt x="557" y="367"/>
                    <a:pt x="558" y="367"/>
                    <a:pt x="558" y="367"/>
                  </a:cubicBezTo>
                  <a:cubicBezTo>
                    <a:pt x="558" y="367"/>
                    <a:pt x="559" y="366"/>
                    <a:pt x="559" y="366"/>
                  </a:cubicBezTo>
                  <a:cubicBezTo>
                    <a:pt x="560" y="366"/>
                    <a:pt x="560" y="366"/>
                    <a:pt x="560" y="366"/>
                  </a:cubicBezTo>
                  <a:cubicBezTo>
                    <a:pt x="560" y="366"/>
                    <a:pt x="560" y="366"/>
                    <a:pt x="560" y="365"/>
                  </a:cubicBezTo>
                  <a:cubicBezTo>
                    <a:pt x="561" y="365"/>
                    <a:pt x="562" y="365"/>
                    <a:pt x="562" y="364"/>
                  </a:cubicBezTo>
                  <a:cubicBezTo>
                    <a:pt x="561" y="364"/>
                    <a:pt x="561" y="364"/>
                    <a:pt x="561" y="364"/>
                  </a:cubicBezTo>
                  <a:cubicBezTo>
                    <a:pt x="562" y="364"/>
                    <a:pt x="562" y="364"/>
                    <a:pt x="562" y="364"/>
                  </a:cubicBezTo>
                  <a:cubicBezTo>
                    <a:pt x="563" y="364"/>
                    <a:pt x="563" y="364"/>
                    <a:pt x="564" y="363"/>
                  </a:cubicBezTo>
                  <a:cubicBezTo>
                    <a:pt x="564" y="363"/>
                    <a:pt x="564" y="363"/>
                    <a:pt x="564" y="363"/>
                  </a:cubicBezTo>
                  <a:cubicBezTo>
                    <a:pt x="564" y="362"/>
                    <a:pt x="564" y="362"/>
                    <a:pt x="564" y="362"/>
                  </a:cubicBezTo>
                  <a:cubicBezTo>
                    <a:pt x="564" y="362"/>
                    <a:pt x="564" y="362"/>
                    <a:pt x="564" y="362"/>
                  </a:cubicBezTo>
                  <a:cubicBezTo>
                    <a:pt x="565" y="363"/>
                    <a:pt x="565" y="363"/>
                    <a:pt x="565" y="363"/>
                  </a:cubicBezTo>
                  <a:cubicBezTo>
                    <a:pt x="565" y="363"/>
                    <a:pt x="565" y="363"/>
                    <a:pt x="565" y="363"/>
                  </a:cubicBezTo>
                  <a:cubicBezTo>
                    <a:pt x="565" y="363"/>
                    <a:pt x="565" y="363"/>
                    <a:pt x="565" y="363"/>
                  </a:cubicBezTo>
                  <a:cubicBezTo>
                    <a:pt x="566" y="362"/>
                    <a:pt x="566" y="362"/>
                    <a:pt x="566" y="362"/>
                  </a:cubicBezTo>
                  <a:cubicBezTo>
                    <a:pt x="568" y="362"/>
                    <a:pt x="568" y="362"/>
                    <a:pt x="568" y="362"/>
                  </a:cubicBezTo>
                  <a:cubicBezTo>
                    <a:pt x="568" y="362"/>
                    <a:pt x="569" y="362"/>
                    <a:pt x="569" y="362"/>
                  </a:cubicBezTo>
                  <a:cubicBezTo>
                    <a:pt x="570" y="362"/>
                    <a:pt x="570" y="362"/>
                    <a:pt x="570" y="361"/>
                  </a:cubicBezTo>
                  <a:cubicBezTo>
                    <a:pt x="570" y="361"/>
                    <a:pt x="570" y="361"/>
                    <a:pt x="571" y="361"/>
                  </a:cubicBezTo>
                  <a:cubicBezTo>
                    <a:pt x="571" y="361"/>
                    <a:pt x="571" y="361"/>
                    <a:pt x="571" y="361"/>
                  </a:cubicBezTo>
                  <a:cubicBezTo>
                    <a:pt x="572" y="361"/>
                    <a:pt x="572" y="361"/>
                    <a:pt x="572" y="361"/>
                  </a:cubicBezTo>
                  <a:cubicBezTo>
                    <a:pt x="572" y="361"/>
                    <a:pt x="572" y="361"/>
                    <a:pt x="573" y="361"/>
                  </a:cubicBezTo>
                  <a:cubicBezTo>
                    <a:pt x="573" y="361"/>
                    <a:pt x="573" y="361"/>
                    <a:pt x="573" y="361"/>
                  </a:cubicBezTo>
                  <a:cubicBezTo>
                    <a:pt x="574" y="361"/>
                    <a:pt x="575" y="360"/>
                    <a:pt x="575" y="359"/>
                  </a:cubicBezTo>
                  <a:cubicBezTo>
                    <a:pt x="575" y="359"/>
                    <a:pt x="575" y="359"/>
                    <a:pt x="575" y="359"/>
                  </a:cubicBezTo>
                  <a:cubicBezTo>
                    <a:pt x="576" y="359"/>
                    <a:pt x="576" y="358"/>
                    <a:pt x="576" y="358"/>
                  </a:cubicBezTo>
                  <a:cubicBezTo>
                    <a:pt x="577" y="358"/>
                    <a:pt x="577" y="357"/>
                    <a:pt x="577" y="357"/>
                  </a:cubicBezTo>
                  <a:cubicBezTo>
                    <a:pt x="577" y="357"/>
                    <a:pt x="578" y="356"/>
                    <a:pt x="578" y="356"/>
                  </a:cubicBezTo>
                  <a:cubicBezTo>
                    <a:pt x="579" y="356"/>
                    <a:pt x="579" y="356"/>
                    <a:pt x="580" y="355"/>
                  </a:cubicBezTo>
                  <a:cubicBezTo>
                    <a:pt x="580" y="355"/>
                    <a:pt x="580" y="355"/>
                    <a:pt x="581" y="354"/>
                  </a:cubicBezTo>
                  <a:cubicBezTo>
                    <a:pt x="581" y="354"/>
                    <a:pt x="581" y="354"/>
                    <a:pt x="581" y="354"/>
                  </a:cubicBezTo>
                  <a:cubicBezTo>
                    <a:pt x="581" y="354"/>
                    <a:pt x="581" y="354"/>
                    <a:pt x="581" y="354"/>
                  </a:cubicBezTo>
                  <a:cubicBezTo>
                    <a:pt x="582" y="354"/>
                    <a:pt x="583" y="354"/>
                    <a:pt x="583" y="354"/>
                  </a:cubicBezTo>
                  <a:cubicBezTo>
                    <a:pt x="584" y="354"/>
                    <a:pt x="584" y="353"/>
                    <a:pt x="584" y="353"/>
                  </a:cubicBezTo>
                  <a:cubicBezTo>
                    <a:pt x="584" y="353"/>
                    <a:pt x="584" y="353"/>
                    <a:pt x="584" y="353"/>
                  </a:cubicBezTo>
                  <a:cubicBezTo>
                    <a:pt x="585" y="354"/>
                    <a:pt x="585" y="354"/>
                    <a:pt x="585" y="354"/>
                  </a:cubicBezTo>
                  <a:cubicBezTo>
                    <a:pt x="586" y="355"/>
                    <a:pt x="587" y="355"/>
                    <a:pt x="588" y="354"/>
                  </a:cubicBezTo>
                  <a:cubicBezTo>
                    <a:pt x="588" y="354"/>
                    <a:pt x="589" y="354"/>
                    <a:pt x="589" y="353"/>
                  </a:cubicBezTo>
                  <a:cubicBezTo>
                    <a:pt x="589" y="353"/>
                    <a:pt x="589" y="353"/>
                    <a:pt x="589" y="353"/>
                  </a:cubicBezTo>
                  <a:cubicBezTo>
                    <a:pt x="589" y="353"/>
                    <a:pt x="589" y="353"/>
                    <a:pt x="590" y="353"/>
                  </a:cubicBezTo>
                  <a:cubicBezTo>
                    <a:pt x="592" y="353"/>
                    <a:pt x="592" y="353"/>
                    <a:pt x="592" y="353"/>
                  </a:cubicBezTo>
                  <a:cubicBezTo>
                    <a:pt x="592" y="353"/>
                    <a:pt x="592" y="353"/>
                    <a:pt x="593" y="353"/>
                  </a:cubicBezTo>
                  <a:cubicBezTo>
                    <a:pt x="593" y="353"/>
                    <a:pt x="593" y="353"/>
                    <a:pt x="593" y="353"/>
                  </a:cubicBezTo>
                  <a:cubicBezTo>
                    <a:pt x="594" y="353"/>
                    <a:pt x="594" y="353"/>
                    <a:pt x="595" y="353"/>
                  </a:cubicBezTo>
                  <a:cubicBezTo>
                    <a:pt x="595" y="353"/>
                    <a:pt x="595" y="353"/>
                    <a:pt x="595" y="353"/>
                  </a:cubicBezTo>
                  <a:cubicBezTo>
                    <a:pt x="596" y="353"/>
                    <a:pt x="597" y="354"/>
                    <a:pt x="597" y="354"/>
                  </a:cubicBezTo>
                  <a:cubicBezTo>
                    <a:pt x="597" y="354"/>
                    <a:pt x="597" y="354"/>
                    <a:pt x="597" y="354"/>
                  </a:cubicBezTo>
                  <a:cubicBezTo>
                    <a:pt x="598" y="354"/>
                    <a:pt x="598" y="354"/>
                    <a:pt x="598" y="354"/>
                  </a:cubicBezTo>
                  <a:cubicBezTo>
                    <a:pt x="598" y="354"/>
                    <a:pt x="599" y="354"/>
                    <a:pt x="599" y="354"/>
                  </a:cubicBezTo>
                  <a:cubicBezTo>
                    <a:pt x="599" y="354"/>
                    <a:pt x="600" y="354"/>
                    <a:pt x="600" y="354"/>
                  </a:cubicBezTo>
                  <a:cubicBezTo>
                    <a:pt x="600" y="354"/>
                    <a:pt x="600" y="354"/>
                    <a:pt x="600" y="354"/>
                  </a:cubicBezTo>
                  <a:cubicBezTo>
                    <a:pt x="601" y="354"/>
                    <a:pt x="601" y="354"/>
                    <a:pt x="601" y="354"/>
                  </a:cubicBezTo>
                  <a:cubicBezTo>
                    <a:pt x="601" y="354"/>
                    <a:pt x="601" y="354"/>
                    <a:pt x="602" y="354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2" y="354"/>
                    <a:pt x="602" y="354"/>
                    <a:pt x="602" y="354"/>
                  </a:cubicBezTo>
                  <a:cubicBezTo>
                    <a:pt x="602" y="354"/>
                    <a:pt x="602" y="354"/>
                    <a:pt x="602" y="354"/>
                  </a:cubicBezTo>
                  <a:cubicBezTo>
                    <a:pt x="602" y="353"/>
                    <a:pt x="602" y="353"/>
                    <a:pt x="602" y="353"/>
                  </a:cubicBezTo>
                  <a:cubicBezTo>
                    <a:pt x="603" y="354"/>
                    <a:pt x="603" y="354"/>
                    <a:pt x="603" y="354"/>
                  </a:cubicBezTo>
                  <a:cubicBezTo>
                    <a:pt x="603" y="354"/>
                    <a:pt x="603" y="355"/>
                    <a:pt x="604" y="355"/>
                  </a:cubicBezTo>
                  <a:cubicBezTo>
                    <a:pt x="604" y="355"/>
                    <a:pt x="604" y="355"/>
                    <a:pt x="604" y="355"/>
                  </a:cubicBezTo>
                  <a:cubicBezTo>
                    <a:pt x="605" y="355"/>
                    <a:pt x="605" y="355"/>
                    <a:pt x="605" y="355"/>
                  </a:cubicBezTo>
                  <a:cubicBezTo>
                    <a:pt x="605" y="355"/>
                    <a:pt x="605" y="355"/>
                    <a:pt x="605" y="355"/>
                  </a:cubicBezTo>
                  <a:cubicBezTo>
                    <a:pt x="606" y="355"/>
                    <a:pt x="606" y="355"/>
                    <a:pt x="606" y="355"/>
                  </a:cubicBezTo>
                  <a:cubicBezTo>
                    <a:pt x="606" y="355"/>
                    <a:pt x="606" y="355"/>
                    <a:pt x="607" y="355"/>
                  </a:cubicBezTo>
                  <a:cubicBezTo>
                    <a:pt x="607" y="355"/>
                    <a:pt x="607" y="356"/>
                    <a:pt x="608" y="356"/>
                  </a:cubicBezTo>
                  <a:cubicBezTo>
                    <a:pt x="608" y="356"/>
                    <a:pt x="608" y="356"/>
                    <a:pt x="608" y="356"/>
                  </a:cubicBezTo>
                  <a:cubicBezTo>
                    <a:pt x="609" y="356"/>
                    <a:pt x="609" y="355"/>
                    <a:pt x="610" y="355"/>
                  </a:cubicBezTo>
                  <a:cubicBezTo>
                    <a:pt x="610" y="355"/>
                    <a:pt x="610" y="355"/>
                    <a:pt x="610" y="355"/>
                  </a:cubicBezTo>
                  <a:cubicBezTo>
                    <a:pt x="611" y="355"/>
                    <a:pt x="611" y="355"/>
                    <a:pt x="611" y="355"/>
                  </a:cubicBezTo>
                  <a:cubicBezTo>
                    <a:pt x="612" y="356"/>
                    <a:pt x="612" y="356"/>
                    <a:pt x="613" y="356"/>
                  </a:cubicBezTo>
                  <a:cubicBezTo>
                    <a:pt x="613" y="356"/>
                    <a:pt x="613" y="357"/>
                    <a:pt x="613" y="357"/>
                  </a:cubicBezTo>
                  <a:cubicBezTo>
                    <a:pt x="614" y="357"/>
                    <a:pt x="615" y="357"/>
                    <a:pt x="616" y="357"/>
                  </a:cubicBezTo>
                  <a:cubicBezTo>
                    <a:pt x="617" y="357"/>
                    <a:pt x="617" y="357"/>
                    <a:pt x="618" y="357"/>
                  </a:cubicBezTo>
                  <a:cubicBezTo>
                    <a:pt x="618" y="357"/>
                    <a:pt x="618" y="357"/>
                    <a:pt x="618" y="357"/>
                  </a:cubicBezTo>
                  <a:cubicBezTo>
                    <a:pt x="618" y="357"/>
                    <a:pt x="619" y="357"/>
                    <a:pt x="619" y="357"/>
                  </a:cubicBezTo>
                  <a:cubicBezTo>
                    <a:pt x="620" y="357"/>
                    <a:pt x="620" y="357"/>
                    <a:pt x="621" y="357"/>
                  </a:cubicBezTo>
                  <a:cubicBezTo>
                    <a:pt x="622" y="357"/>
                    <a:pt x="622" y="357"/>
                    <a:pt x="623" y="357"/>
                  </a:cubicBezTo>
                  <a:cubicBezTo>
                    <a:pt x="623" y="357"/>
                    <a:pt x="623" y="357"/>
                    <a:pt x="623" y="357"/>
                  </a:cubicBezTo>
                  <a:cubicBezTo>
                    <a:pt x="624" y="357"/>
                    <a:pt x="624" y="357"/>
                    <a:pt x="625" y="357"/>
                  </a:cubicBezTo>
                  <a:cubicBezTo>
                    <a:pt x="625" y="357"/>
                    <a:pt x="626" y="358"/>
                    <a:pt x="627" y="358"/>
                  </a:cubicBezTo>
                  <a:cubicBezTo>
                    <a:pt x="628" y="358"/>
                    <a:pt x="629" y="357"/>
                    <a:pt x="629" y="357"/>
                  </a:cubicBezTo>
                  <a:cubicBezTo>
                    <a:pt x="628" y="356"/>
                    <a:pt x="628" y="356"/>
                    <a:pt x="628" y="356"/>
                  </a:cubicBezTo>
                  <a:cubicBezTo>
                    <a:pt x="629" y="357"/>
                    <a:pt x="629" y="357"/>
                    <a:pt x="629" y="357"/>
                  </a:cubicBezTo>
                  <a:cubicBezTo>
                    <a:pt x="629" y="356"/>
                    <a:pt x="630" y="356"/>
                    <a:pt x="630" y="356"/>
                  </a:cubicBezTo>
                  <a:cubicBezTo>
                    <a:pt x="631" y="356"/>
                    <a:pt x="631" y="356"/>
                    <a:pt x="631" y="356"/>
                  </a:cubicBezTo>
                  <a:cubicBezTo>
                    <a:pt x="631" y="356"/>
                    <a:pt x="632" y="355"/>
                    <a:pt x="632" y="355"/>
                  </a:cubicBezTo>
                  <a:cubicBezTo>
                    <a:pt x="632" y="355"/>
                    <a:pt x="632" y="355"/>
                    <a:pt x="633" y="355"/>
                  </a:cubicBezTo>
                  <a:cubicBezTo>
                    <a:pt x="633" y="354"/>
                    <a:pt x="634" y="354"/>
                    <a:pt x="634" y="354"/>
                  </a:cubicBezTo>
                  <a:cubicBezTo>
                    <a:pt x="635" y="354"/>
                    <a:pt x="635" y="354"/>
                    <a:pt x="636" y="353"/>
                  </a:cubicBezTo>
                  <a:cubicBezTo>
                    <a:pt x="636" y="353"/>
                    <a:pt x="637" y="353"/>
                    <a:pt x="637" y="352"/>
                  </a:cubicBezTo>
                  <a:cubicBezTo>
                    <a:pt x="637" y="352"/>
                    <a:pt x="638" y="352"/>
                    <a:pt x="638" y="352"/>
                  </a:cubicBezTo>
                  <a:cubicBezTo>
                    <a:pt x="639" y="351"/>
                    <a:pt x="639" y="351"/>
                    <a:pt x="639" y="351"/>
                  </a:cubicBezTo>
                  <a:cubicBezTo>
                    <a:pt x="638" y="350"/>
                    <a:pt x="638" y="350"/>
                    <a:pt x="638" y="350"/>
                  </a:cubicBezTo>
                  <a:cubicBezTo>
                    <a:pt x="639" y="351"/>
                    <a:pt x="639" y="351"/>
                    <a:pt x="639" y="351"/>
                  </a:cubicBezTo>
                  <a:cubicBezTo>
                    <a:pt x="639" y="350"/>
                    <a:pt x="640" y="350"/>
                    <a:pt x="640" y="350"/>
                  </a:cubicBezTo>
                  <a:cubicBezTo>
                    <a:pt x="640" y="349"/>
                    <a:pt x="641" y="349"/>
                    <a:pt x="642" y="349"/>
                  </a:cubicBezTo>
                  <a:cubicBezTo>
                    <a:pt x="642" y="349"/>
                    <a:pt x="643" y="348"/>
                    <a:pt x="643" y="348"/>
                  </a:cubicBezTo>
                  <a:cubicBezTo>
                    <a:pt x="644" y="348"/>
                    <a:pt x="644" y="348"/>
                    <a:pt x="644" y="348"/>
                  </a:cubicBezTo>
                  <a:cubicBezTo>
                    <a:pt x="644" y="348"/>
                    <a:pt x="644" y="348"/>
                    <a:pt x="645" y="348"/>
                  </a:cubicBezTo>
                  <a:cubicBezTo>
                    <a:pt x="645" y="348"/>
                    <a:pt x="646" y="347"/>
                    <a:pt x="646" y="347"/>
                  </a:cubicBezTo>
                  <a:cubicBezTo>
                    <a:pt x="646" y="347"/>
                    <a:pt x="647" y="347"/>
                    <a:pt x="647" y="347"/>
                  </a:cubicBezTo>
                  <a:cubicBezTo>
                    <a:pt x="647" y="347"/>
                    <a:pt x="647" y="347"/>
                    <a:pt x="648" y="347"/>
                  </a:cubicBezTo>
                  <a:cubicBezTo>
                    <a:pt x="648" y="347"/>
                    <a:pt x="648" y="347"/>
                    <a:pt x="649" y="347"/>
                  </a:cubicBezTo>
                  <a:cubicBezTo>
                    <a:pt x="649" y="347"/>
                    <a:pt x="649" y="347"/>
                    <a:pt x="649" y="347"/>
                  </a:cubicBezTo>
                  <a:cubicBezTo>
                    <a:pt x="650" y="347"/>
                    <a:pt x="650" y="346"/>
                    <a:pt x="650" y="347"/>
                  </a:cubicBezTo>
                  <a:cubicBezTo>
                    <a:pt x="651" y="347"/>
                    <a:pt x="651" y="347"/>
                    <a:pt x="652" y="347"/>
                  </a:cubicBezTo>
                  <a:cubicBezTo>
                    <a:pt x="652" y="347"/>
                    <a:pt x="653" y="347"/>
                    <a:pt x="654" y="347"/>
                  </a:cubicBezTo>
                  <a:cubicBezTo>
                    <a:pt x="654" y="347"/>
                    <a:pt x="654" y="347"/>
                    <a:pt x="653" y="347"/>
                  </a:cubicBezTo>
                  <a:cubicBezTo>
                    <a:pt x="653" y="347"/>
                    <a:pt x="653" y="347"/>
                    <a:pt x="653" y="347"/>
                  </a:cubicBezTo>
                  <a:cubicBezTo>
                    <a:pt x="653" y="347"/>
                    <a:pt x="652" y="348"/>
                    <a:pt x="652" y="348"/>
                  </a:cubicBezTo>
                  <a:cubicBezTo>
                    <a:pt x="651" y="349"/>
                    <a:pt x="650" y="350"/>
                    <a:pt x="649" y="351"/>
                  </a:cubicBezTo>
                  <a:cubicBezTo>
                    <a:pt x="648" y="352"/>
                    <a:pt x="648" y="352"/>
                    <a:pt x="647" y="353"/>
                  </a:cubicBezTo>
                  <a:cubicBezTo>
                    <a:pt x="647" y="353"/>
                    <a:pt x="647" y="353"/>
                    <a:pt x="646" y="353"/>
                  </a:cubicBezTo>
                  <a:cubicBezTo>
                    <a:pt x="646" y="353"/>
                    <a:pt x="645" y="354"/>
                    <a:pt x="644" y="354"/>
                  </a:cubicBezTo>
                  <a:cubicBezTo>
                    <a:pt x="644" y="354"/>
                    <a:pt x="644" y="354"/>
                    <a:pt x="644" y="354"/>
                  </a:cubicBezTo>
                  <a:cubicBezTo>
                    <a:pt x="643" y="355"/>
                    <a:pt x="642" y="355"/>
                    <a:pt x="641" y="356"/>
                  </a:cubicBezTo>
                  <a:cubicBezTo>
                    <a:pt x="640" y="356"/>
                    <a:pt x="640" y="357"/>
                    <a:pt x="639" y="358"/>
                  </a:cubicBezTo>
                  <a:cubicBezTo>
                    <a:pt x="639" y="358"/>
                    <a:pt x="639" y="359"/>
                    <a:pt x="639" y="359"/>
                  </a:cubicBezTo>
                  <a:cubicBezTo>
                    <a:pt x="638" y="359"/>
                    <a:pt x="638" y="359"/>
                    <a:pt x="638" y="360"/>
                  </a:cubicBezTo>
                  <a:cubicBezTo>
                    <a:pt x="637" y="360"/>
                    <a:pt x="636" y="361"/>
                    <a:pt x="636" y="362"/>
                  </a:cubicBezTo>
                  <a:cubicBezTo>
                    <a:pt x="636" y="362"/>
                    <a:pt x="635" y="363"/>
                    <a:pt x="635" y="364"/>
                  </a:cubicBezTo>
                  <a:cubicBezTo>
                    <a:pt x="635" y="364"/>
                    <a:pt x="635" y="364"/>
                    <a:pt x="635" y="364"/>
                  </a:cubicBezTo>
                  <a:cubicBezTo>
                    <a:pt x="635" y="364"/>
                    <a:pt x="634" y="364"/>
                    <a:pt x="633" y="364"/>
                  </a:cubicBezTo>
                  <a:cubicBezTo>
                    <a:pt x="633" y="365"/>
                    <a:pt x="632" y="365"/>
                    <a:pt x="632" y="366"/>
                  </a:cubicBezTo>
                  <a:cubicBezTo>
                    <a:pt x="631" y="367"/>
                    <a:pt x="632" y="368"/>
                    <a:pt x="632" y="368"/>
                  </a:cubicBezTo>
                  <a:cubicBezTo>
                    <a:pt x="632" y="368"/>
                    <a:pt x="632" y="368"/>
                    <a:pt x="631" y="369"/>
                  </a:cubicBezTo>
                  <a:cubicBezTo>
                    <a:pt x="631" y="369"/>
                    <a:pt x="631" y="369"/>
                    <a:pt x="631" y="369"/>
                  </a:cubicBezTo>
                  <a:cubicBezTo>
                    <a:pt x="630" y="368"/>
                    <a:pt x="629" y="369"/>
                    <a:pt x="627" y="370"/>
                  </a:cubicBezTo>
                  <a:cubicBezTo>
                    <a:pt x="627" y="370"/>
                    <a:pt x="627" y="370"/>
                    <a:pt x="627" y="371"/>
                  </a:cubicBezTo>
                  <a:cubicBezTo>
                    <a:pt x="626" y="371"/>
                    <a:pt x="626" y="371"/>
                    <a:pt x="626" y="371"/>
                  </a:cubicBezTo>
                  <a:cubicBezTo>
                    <a:pt x="626" y="371"/>
                    <a:pt x="626" y="371"/>
                    <a:pt x="626" y="371"/>
                  </a:cubicBezTo>
                  <a:cubicBezTo>
                    <a:pt x="626" y="370"/>
                    <a:pt x="626" y="370"/>
                    <a:pt x="626" y="370"/>
                  </a:cubicBezTo>
                  <a:cubicBezTo>
                    <a:pt x="624" y="371"/>
                    <a:pt x="624" y="371"/>
                    <a:pt x="624" y="371"/>
                  </a:cubicBezTo>
                  <a:cubicBezTo>
                    <a:pt x="623" y="371"/>
                    <a:pt x="623" y="372"/>
                    <a:pt x="622" y="372"/>
                  </a:cubicBezTo>
                  <a:cubicBezTo>
                    <a:pt x="622" y="373"/>
                    <a:pt x="621" y="373"/>
                    <a:pt x="621" y="373"/>
                  </a:cubicBezTo>
                  <a:cubicBezTo>
                    <a:pt x="621" y="374"/>
                    <a:pt x="621" y="374"/>
                    <a:pt x="621" y="374"/>
                  </a:cubicBezTo>
                  <a:cubicBezTo>
                    <a:pt x="621" y="374"/>
                    <a:pt x="621" y="374"/>
                    <a:pt x="621" y="374"/>
                  </a:cubicBezTo>
                  <a:cubicBezTo>
                    <a:pt x="621" y="373"/>
                    <a:pt x="621" y="373"/>
                    <a:pt x="621" y="373"/>
                  </a:cubicBezTo>
                  <a:cubicBezTo>
                    <a:pt x="620" y="373"/>
                    <a:pt x="618" y="373"/>
                    <a:pt x="618" y="374"/>
                  </a:cubicBezTo>
                  <a:cubicBezTo>
                    <a:pt x="618" y="375"/>
                    <a:pt x="618" y="376"/>
                    <a:pt x="618" y="376"/>
                  </a:cubicBezTo>
                  <a:cubicBezTo>
                    <a:pt x="618" y="377"/>
                    <a:pt x="619" y="377"/>
                    <a:pt x="620" y="377"/>
                  </a:cubicBezTo>
                  <a:cubicBezTo>
                    <a:pt x="620" y="377"/>
                    <a:pt x="621" y="377"/>
                    <a:pt x="621" y="377"/>
                  </a:cubicBezTo>
                  <a:cubicBezTo>
                    <a:pt x="621" y="378"/>
                    <a:pt x="620" y="378"/>
                    <a:pt x="620" y="378"/>
                  </a:cubicBezTo>
                  <a:cubicBezTo>
                    <a:pt x="619" y="378"/>
                    <a:pt x="618" y="379"/>
                    <a:pt x="618" y="379"/>
                  </a:cubicBezTo>
                  <a:cubicBezTo>
                    <a:pt x="617" y="379"/>
                    <a:pt x="617" y="380"/>
                    <a:pt x="617" y="380"/>
                  </a:cubicBezTo>
                  <a:cubicBezTo>
                    <a:pt x="616" y="380"/>
                    <a:pt x="615" y="381"/>
                    <a:pt x="615" y="382"/>
                  </a:cubicBezTo>
                  <a:cubicBezTo>
                    <a:pt x="614" y="382"/>
                    <a:pt x="614" y="383"/>
                    <a:pt x="614" y="383"/>
                  </a:cubicBezTo>
                  <a:cubicBezTo>
                    <a:pt x="614" y="383"/>
                    <a:pt x="614" y="383"/>
                    <a:pt x="614" y="384"/>
                  </a:cubicBezTo>
                  <a:cubicBezTo>
                    <a:pt x="613" y="385"/>
                    <a:pt x="613" y="386"/>
                    <a:pt x="614" y="387"/>
                  </a:cubicBezTo>
                  <a:cubicBezTo>
                    <a:pt x="615" y="387"/>
                    <a:pt x="616" y="387"/>
                    <a:pt x="617" y="387"/>
                  </a:cubicBezTo>
                  <a:cubicBezTo>
                    <a:pt x="617" y="387"/>
                    <a:pt x="617" y="387"/>
                    <a:pt x="617" y="387"/>
                  </a:cubicBezTo>
                  <a:cubicBezTo>
                    <a:pt x="617" y="387"/>
                    <a:pt x="617" y="387"/>
                    <a:pt x="618" y="387"/>
                  </a:cubicBezTo>
                  <a:cubicBezTo>
                    <a:pt x="619" y="388"/>
                    <a:pt x="621" y="388"/>
                    <a:pt x="622" y="387"/>
                  </a:cubicBezTo>
                  <a:cubicBezTo>
                    <a:pt x="622" y="387"/>
                    <a:pt x="623" y="387"/>
                    <a:pt x="623" y="387"/>
                  </a:cubicBezTo>
                  <a:cubicBezTo>
                    <a:pt x="623" y="387"/>
                    <a:pt x="624" y="387"/>
                    <a:pt x="624" y="388"/>
                  </a:cubicBezTo>
                  <a:cubicBezTo>
                    <a:pt x="625" y="388"/>
                    <a:pt x="626" y="388"/>
                    <a:pt x="627" y="388"/>
                  </a:cubicBezTo>
                  <a:cubicBezTo>
                    <a:pt x="627" y="388"/>
                    <a:pt x="628" y="388"/>
                    <a:pt x="628" y="388"/>
                  </a:cubicBezTo>
                  <a:cubicBezTo>
                    <a:pt x="629" y="389"/>
                    <a:pt x="631" y="389"/>
                    <a:pt x="632" y="388"/>
                  </a:cubicBezTo>
                  <a:cubicBezTo>
                    <a:pt x="632" y="388"/>
                    <a:pt x="632" y="388"/>
                    <a:pt x="633" y="388"/>
                  </a:cubicBezTo>
                  <a:cubicBezTo>
                    <a:pt x="633" y="388"/>
                    <a:pt x="633" y="388"/>
                    <a:pt x="633" y="388"/>
                  </a:cubicBezTo>
                  <a:cubicBezTo>
                    <a:pt x="633" y="388"/>
                    <a:pt x="634" y="388"/>
                    <a:pt x="634" y="388"/>
                  </a:cubicBezTo>
                  <a:cubicBezTo>
                    <a:pt x="634" y="388"/>
                    <a:pt x="634" y="388"/>
                    <a:pt x="634" y="388"/>
                  </a:cubicBezTo>
                  <a:cubicBezTo>
                    <a:pt x="634" y="389"/>
                    <a:pt x="634" y="389"/>
                    <a:pt x="634" y="390"/>
                  </a:cubicBezTo>
                  <a:cubicBezTo>
                    <a:pt x="635" y="391"/>
                    <a:pt x="636" y="391"/>
                    <a:pt x="636" y="391"/>
                  </a:cubicBezTo>
                  <a:cubicBezTo>
                    <a:pt x="637" y="391"/>
                    <a:pt x="637" y="391"/>
                    <a:pt x="637" y="391"/>
                  </a:cubicBezTo>
                  <a:cubicBezTo>
                    <a:pt x="637" y="391"/>
                    <a:pt x="637" y="391"/>
                    <a:pt x="638" y="391"/>
                  </a:cubicBezTo>
                  <a:cubicBezTo>
                    <a:pt x="638" y="391"/>
                    <a:pt x="638" y="391"/>
                    <a:pt x="638" y="391"/>
                  </a:cubicBezTo>
                  <a:cubicBezTo>
                    <a:pt x="638" y="391"/>
                    <a:pt x="637" y="392"/>
                    <a:pt x="637" y="392"/>
                  </a:cubicBezTo>
                  <a:cubicBezTo>
                    <a:pt x="636" y="392"/>
                    <a:pt x="635" y="391"/>
                    <a:pt x="633" y="392"/>
                  </a:cubicBezTo>
                  <a:cubicBezTo>
                    <a:pt x="632" y="393"/>
                    <a:pt x="632" y="394"/>
                    <a:pt x="632" y="395"/>
                  </a:cubicBezTo>
                  <a:cubicBezTo>
                    <a:pt x="632" y="396"/>
                    <a:pt x="634" y="397"/>
                    <a:pt x="635" y="397"/>
                  </a:cubicBezTo>
                  <a:cubicBezTo>
                    <a:pt x="635" y="397"/>
                    <a:pt x="636" y="397"/>
                    <a:pt x="636" y="397"/>
                  </a:cubicBezTo>
                  <a:cubicBezTo>
                    <a:pt x="636" y="397"/>
                    <a:pt x="637" y="397"/>
                    <a:pt x="637" y="397"/>
                  </a:cubicBezTo>
                  <a:cubicBezTo>
                    <a:pt x="637" y="397"/>
                    <a:pt x="637" y="397"/>
                    <a:pt x="637" y="397"/>
                  </a:cubicBezTo>
                  <a:cubicBezTo>
                    <a:pt x="639" y="397"/>
                    <a:pt x="639" y="397"/>
                    <a:pt x="639" y="397"/>
                  </a:cubicBezTo>
                  <a:cubicBezTo>
                    <a:pt x="641" y="397"/>
                    <a:pt x="642" y="395"/>
                    <a:pt x="642" y="394"/>
                  </a:cubicBezTo>
                  <a:cubicBezTo>
                    <a:pt x="643" y="393"/>
                    <a:pt x="643" y="393"/>
                    <a:pt x="644" y="392"/>
                  </a:cubicBezTo>
                  <a:cubicBezTo>
                    <a:pt x="644" y="392"/>
                    <a:pt x="644" y="392"/>
                    <a:pt x="645" y="392"/>
                  </a:cubicBezTo>
                  <a:cubicBezTo>
                    <a:pt x="646" y="392"/>
                    <a:pt x="646" y="392"/>
                    <a:pt x="646" y="392"/>
                  </a:cubicBezTo>
                  <a:cubicBezTo>
                    <a:pt x="646" y="392"/>
                    <a:pt x="647" y="392"/>
                    <a:pt x="648" y="392"/>
                  </a:cubicBezTo>
                  <a:cubicBezTo>
                    <a:pt x="649" y="391"/>
                    <a:pt x="649" y="390"/>
                    <a:pt x="649" y="390"/>
                  </a:cubicBezTo>
                  <a:cubicBezTo>
                    <a:pt x="649" y="389"/>
                    <a:pt x="650" y="389"/>
                    <a:pt x="650" y="389"/>
                  </a:cubicBezTo>
                  <a:cubicBezTo>
                    <a:pt x="650" y="389"/>
                    <a:pt x="650" y="389"/>
                    <a:pt x="650" y="389"/>
                  </a:cubicBezTo>
                  <a:cubicBezTo>
                    <a:pt x="650" y="389"/>
                    <a:pt x="650" y="390"/>
                    <a:pt x="650" y="391"/>
                  </a:cubicBezTo>
                  <a:cubicBezTo>
                    <a:pt x="650" y="392"/>
                    <a:pt x="649" y="392"/>
                    <a:pt x="648" y="393"/>
                  </a:cubicBezTo>
                  <a:cubicBezTo>
                    <a:pt x="648" y="393"/>
                    <a:pt x="648" y="393"/>
                    <a:pt x="648" y="393"/>
                  </a:cubicBezTo>
                  <a:cubicBezTo>
                    <a:pt x="646" y="394"/>
                    <a:pt x="644" y="396"/>
                    <a:pt x="645" y="397"/>
                  </a:cubicBezTo>
                  <a:cubicBezTo>
                    <a:pt x="645" y="398"/>
                    <a:pt x="646" y="399"/>
                    <a:pt x="647" y="399"/>
                  </a:cubicBezTo>
                  <a:cubicBezTo>
                    <a:pt x="647" y="399"/>
                    <a:pt x="647" y="400"/>
                    <a:pt x="647" y="400"/>
                  </a:cubicBezTo>
                  <a:cubicBezTo>
                    <a:pt x="647" y="401"/>
                    <a:pt x="647" y="401"/>
                    <a:pt x="647" y="401"/>
                  </a:cubicBezTo>
                  <a:cubicBezTo>
                    <a:pt x="649" y="401"/>
                    <a:pt x="649" y="401"/>
                    <a:pt x="649" y="401"/>
                  </a:cubicBezTo>
                  <a:cubicBezTo>
                    <a:pt x="649" y="401"/>
                    <a:pt x="650" y="401"/>
                    <a:pt x="650" y="401"/>
                  </a:cubicBezTo>
                  <a:cubicBezTo>
                    <a:pt x="650" y="401"/>
                    <a:pt x="650" y="401"/>
                    <a:pt x="650" y="401"/>
                  </a:cubicBezTo>
                  <a:cubicBezTo>
                    <a:pt x="652" y="401"/>
                    <a:pt x="652" y="401"/>
                    <a:pt x="652" y="401"/>
                  </a:cubicBezTo>
                  <a:cubicBezTo>
                    <a:pt x="653" y="400"/>
                    <a:pt x="653" y="400"/>
                    <a:pt x="654" y="399"/>
                  </a:cubicBezTo>
                  <a:cubicBezTo>
                    <a:pt x="654" y="399"/>
                    <a:pt x="654" y="399"/>
                    <a:pt x="655" y="399"/>
                  </a:cubicBezTo>
                  <a:cubicBezTo>
                    <a:pt x="655" y="398"/>
                    <a:pt x="655" y="398"/>
                    <a:pt x="655" y="398"/>
                  </a:cubicBezTo>
                  <a:cubicBezTo>
                    <a:pt x="655" y="398"/>
                    <a:pt x="655" y="398"/>
                    <a:pt x="656" y="398"/>
                  </a:cubicBezTo>
                  <a:cubicBezTo>
                    <a:pt x="656" y="397"/>
                    <a:pt x="656" y="397"/>
                    <a:pt x="657" y="397"/>
                  </a:cubicBezTo>
                  <a:cubicBezTo>
                    <a:pt x="657" y="396"/>
                    <a:pt x="657" y="396"/>
                    <a:pt x="658" y="396"/>
                  </a:cubicBezTo>
                  <a:cubicBezTo>
                    <a:pt x="658" y="396"/>
                    <a:pt x="658" y="395"/>
                    <a:pt x="659" y="395"/>
                  </a:cubicBezTo>
                  <a:cubicBezTo>
                    <a:pt x="659" y="394"/>
                    <a:pt x="660" y="393"/>
                    <a:pt x="660" y="393"/>
                  </a:cubicBezTo>
                  <a:cubicBezTo>
                    <a:pt x="661" y="392"/>
                    <a:pt x="662" y="391"/>
                    <a:pt x="662" y="390"/>
                  </a:cubicBezTo>
                  <a:cubicBezTo>
                    <a:pt x="662" y="389"/>
                    <a:pt x="662" y="389"/>
                    <a:pt x="661" y="388"/>
                  </a:cubicBezTo>
                  <a:cubicBezTo>
                    <a:pt x="661" y="388"/>
                    <a:pt x="660" y="388"/>
                    <a:pt x="660" y="388"/>
                  </a:cubicBezTo>
                  <a:cubicBezTo>
                    <a:pt x="660" y="388"/>
                    <a:pt x="660" y="388"/>
                    <a:pt x="661" y="387"/>
                  </a:cubicBezTo>
                  <a:cubicBezTo>
                    <a:pt x="662" y="387"/>
                    <a:pt x="663" y="386"/>
                    <a:pt x="663" y="384"/>
                  </a:cubicBezTo>
                  <a:cubicBezTo>
                    <a:pt x="663" y="383"/>
                    <a:pt x="663" y="383"/>
                    <a:pt x="663" y="383"/>
                  </a:cubicBezTo>
                  <a:cubicBezTo>
                    <a:pt x="662" y="382"/>
                    <a:pt x="662" y="382"/>
                    <a:pt x="662" y="382"/>
                  </a:cubicBezTo>
                  <a:cubicBezTo>
                    <a:pt x="662" y="382"/>
                    <a:pt x="662" y="382"/>
                    <a:pt x="662" y="382"/>
                  </a:cubicBezTo>
                  <a:cubicBezTo>
                    <a:pt x="661" y="382"/>
                    <a:pt x="660" y="383"/>
                    <a:pt x="659" y="383"/>
                  </a:cubicBezTo>
                  <a:cubicBezTo>
                    <a:pt x="659" y="383"/>
                    <a:pt x="659" y="384"/>
                    <a:pt x="659" y="384"/>
                  </a:cubicBezTo>
                  <a:cubicBezTo>
                    <a:pt x="659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8" y="384"/>
                    <a:pt x="658" y="384"/>
                  </a:cubicBezTo>
                  <a:cubicBezTo>
                    <a:pt x="658" y="384"/>
                    <a:pt x="659" y="384"/>
                    <a:pt x="659" y="383"/>
                  </a:cubicBezTo>
                  <a:cubicBezTo>
                    <a:pt x="659" y="383"/>
                    <a:pt x="660" y="383"/>
                    <a:pt x="660" y="382"/>
                  </a:cubicBezTo>
                  <a:cubicBezTo>
                    <a:pt x="660" y="382"/>
                    <a:pt x="660" y="382"/>
                    <a:pt x="660" y="382"/>
                  </a:cubicBezTo>
                  <a:cubicBezTo>
                    <a:pt x="660" y="382"/>
                    <a:pt x="660" y="382"/>
                    <a:pt x="661" y="382"/>
                  </a:cubicBezTo>
                  <a:cubicBezTo>
                    <a:pt x="661" y="382"/>
                    <a:pt x="661" y="382"/>
                    <a:pt x="661" y="382"/>
                  </a:cubicBezTo>
                  <a:cubicBezTo>
                    <a:pt x="663" y="382"/>
                    <a:pt x="663" y="381"/>
                    <a:pt x="664" y="381"/>
                  </a:cubicBezTo>
                  <a:cubicBezTo>
                    <a:pt x="664" y="380"/>
                    <a:pt x="664" y="379"/>
                    <a:pt x="664" y="378"/>
                  </a:cubicBezTo>
                  <a:cubicBezTo>
                    <a:pt x="663" y="377"/>
                    <a:pt x="663" y="377"/>
                    <a:pt x="662" y="377"/>
                  </a:cubicBezTo>
                  <a:cubicBezTo>
                    <a:pt x="662" y="377"/>
                    <a:pt x="662" y="377"/>
                    <a:pt x="662" y="377"/>
                  </a:cubicBezTo>
                  <a:cubicBezTo>
                    <a:pt x="661" y="377"/>
                    <a:pt x="661" y="377"/>
                    <a:pt x="660" y="377"/>
                  </a:cubicBezTo>
                  <a:cubicBezTo>
                    <a:pt x="660" y="377"/>
                    <a:pt x="660" y="377"/>
                    <a:pt x="659" y="377"/>
                  </a:cubicBezTo>
                  <a:cubicBezTo>
                    <a:pt x="659" y="377"/>
                    <a:pt x="659" y="377"/>
                    <a:pt x="659" y="377"/>
                  </a:cubicBezTo>
                  <a:cubicBezTo>
                    <a:pt x="659" y="377"/>
                    <a:pt x="659" y="377"/>
                    <a:pt x="659" y="377"/>
                  </a:cubicBezTo>
                  <a:cubicBezTo>
                    <a:pt x="659" y="376"/>
                    <a:pt x="659" y="376"/>
                    <a:pt x="659" y="376"/>
                  </a:cubicBezTo>
                  <a:cubicBezTo>
                    <a:pt x="659" y="375"/>
                    <a:pt x="660" y="375"/>
                    <a:pt x="660" y="375"/>
                  </a:cubicBezTo>
                  <a:cubicBezTo>
                    <a:pt x="662" y="374"/>
                    <a:pt x="665" y="373"/>
                    <a:pt x="664" y="369"/>
                  </a:cubicBezTo>
                  <a:cubicBezTo>
                    <a:pt x="663" y="369"/>
                    <a:pt x="663" y="367"/>
                    <a:pt x="660" y="367"/>
                  </a:cubicBezTo>
                  <a:cubicBezTo>
                    <a:pt x="660" y="367"/>
                    <a:pt x="660" y="367"/>
                    <a:pt x="659" y="367"/>
                  </a:cubicBezTo>
                  <a:cubicBezTo>
                    <a:pt x="659" y="367"/>
                    <a:pt x="659" y="367"/>
                    <a:pt x="659" y="367"/>
                  </a:cubicBezTo>
                  <a:cubicBezTo>
                    <a:pt x="657" y="367"/>
                    <a:pt x="656" y="367"/>
                    <a:pt x="656" y="368"/>
                  </a:cubicBezTo>
                  <a:cubicBezTo>
                    <a:pt x="656" y="368"/>
                    <a:pt x="656" y="368"/>
                    <a:pt x="655" y="368"/>
                  </a:cubicBezTo>
                  <a:cubicBezTo>
                    <a:pt x="655" y="368"/>
                    <a:pt x="655" y="368"/>
                    <a:pt x="655" y="368"/>
                  </a:cubicBezTo>
                  <a:cubicBezTo>
                    <a:pt x="656" y="367"/>
                    <a:pt x="656" y="366"/>
                    <a:pt x="656" y="366"/>
                  </a:cubicBezTo>
                  <a:cubicBezTo>
                    <a:pt x="655" y="365"/>
                    <a:pt x="654" y="365"/>
                    <a:pt x="653" y="365"/>
                  </a:cubicBezTo>
                  <a:cubicBezTo>
                    <a:pt x="653" y="365"/>
                    <a:pt x="652" y="365"/>
                    <a:pt x="652" y="365"/>
                  </a:cubicBezTo>
                  <a:cubicBezTo>
                    <a:pt x="654" y="364"/>
                    <a:pt x="654" y="364"/>
                    <a:pt x="654" y="364"/>
                  </a:cubicBezTo>
                  <a:cubicBezTo>
                    <a:pt x="654" y="364"/>
                    <a:pt x="654" y="364"/>
                    <a:pt x="654" y="364"/>
                  </a:cubicBezTo>
                  <a:cubicBezTo>
                    <a:pt x="654" y="363"/>
                    <a:pt x="654" y="362"/>
                    <a:pt x="654" y="362"/>
                  </a:cubicBezTo>
                  <a:cubicBezTo>
                    <a:pt x="654" y="361"/>
                    <a:pt x="653" y="361"/>
                    <a:pt x="652" y="360"/>
                  </a:cubicBezTo>
                  <a:cubicBezTo>
                    <a:pt x="652" y="360"/>
                    <a:pt x="652" y="360"/>
                    <a:pt x="652" y="360"/>
                  </a:cubicBezTo>
                  <a:cubicBezTo>
                    <a:pt x="652" y="359"/>
                    <a:pt x="652" y="359"/>
                    <a:pt x="652" y="359"/>
                  </a:cubicBezTo>
                  <a:cubicBezTo>
                    <a:pt x="651" y="359"/>
                    <a:pt x="651" y="359"/>
                    <a:pt x="651" y="359"/>
                  </a:cubicBezTo>
                  <a:cubicBezTo>
                    <a:pt x="651" y="359"/>
                    <a:pt x="651" y="359"/>
                    <a:pt x="651" y="359"/>
                  </a:cubicBezTo>
                  <a:cubicBezTo>
                    <a:pt x="651" y="358"/>
                    <a:pt x="651" y="358"/>
                    <a:pt x="651" y="358"/>
                  </a:cubicBezTo>
                  <a:cubicBezTo>
                    <a:pt x="651" y="358"/>
                    <a:pt x="652" y="358"/>
                    <a:pt x="652" y="357"/>
                  </a:cubicBezTo>
                  <a:cubicBezTo>
                    <a:pt x="653" y="357"/>
                    <a:pt x="654" y="357"/>
                    <a:pt x="654" y="357"/>
                  </a:cubicBezTo>
                  <a:cubicBezTo>
                    <a:pt x="655" y="356"/>
                    <a:pt x="655" y="355"/>
                    <a:pt x="656" y="355"/>
                  </a:cubicBezTo>
                  <a:cubicBezTo>
                    <a:pt x="656" y="354"/>
                    <a:pt x="656" y="354"/>
                    <a:pt x="656" y="354"/>
                  </a:cubicBezTo>
                  <a:cubicBezTo>
                    <a:pt x="656" y="354"/>
                    <a:pt x="657" y="354"/>
                    <a:pt x="657" y="354"/>
                  </a:cubicBezTo>
                  <a:cubicBezTo>
                    <a:pt x="658" y="354"/>
                    <a:pt x="658" y="354"/>
                    <a:pt x="659" y="353"/>
                  </a:cubicBezTo>
                  <a:cubicBezTo>
                    <a:pt x="659" y="353"/>
                    <a:pt x="659" y="353"/>
                    <a:pt x="659" y="353"/>
                  </a:cubicBezTo>
                  <a:cubicBezTo>
                    <a:pt x="660" y="352"/>
                    <a:pt x="660" y="352"/>
                    <a:pt x="660" y="352"/>
                  </a:cubicBezTo>
                  <a:cubicBezTo>
                    <a:pt x="660" y="352"/>
                    <a:pt x="660" y="352"/>
                    <a:pt x="660" y="352"/>
                  </a:cubicBezTo>
                  <a:cubicBezTo>
                    <a:pt x="661" y="351"/>
                    <a:pt x="662" y="350"/>
                    <a:pt x="661" y="349"/>
                  </a:cubicBezTo>
                  <a:cubicBezTo>
                    <a:pt x="662" y="349"/>
                    <a:pt x="662" y="349"/>
                    <a:pt x="662" y="349"/>
                  </a:cubicBezTo>
                  <a:cubicBezTo>
                    <a:pt x="664" y="349"/>
                    <a:pt x="664" y="348"/>
                    <a:pt x="665" y="347"/>
                  </a:cubicBezTo>
                  <a:cubicBezTo>
                    <a:pt x="665" y="347"/>
                    <a:pt x="665" y="347"/>
                    <a:pt x="665" y="347"/>
                  </a:cubicBezTo>
                  <a:cubicBezTo>
                    <a:pt x="665" y="347"/>
                    <a:pt x="666" y="346"/>
                    <a:pt x="666" y="346"/>
                  </a:cubicBezTo>
                  <a:cubicBezTo>
                    <a:pt x="666" y="346"/>
                    <a:pt x="667" y="344"/>
                    <a:pt x="666" y="344"/>
                  </a:cubicBezTo>
                  <a:cubicBezTo>
                    <a:pt x="666" y="343"/>
                    <a:pt x="666" y="343"/>
                    <a:pt x="665" y="343"/>
                  </a:cubicBezTo>
                  <a:cubicBezTo>
                    <a:pt x="665" y="342"/>
                    <a:pt x="665" y="342"/>
                    <a:pt x="665" y="342"/>
                  </a:cubicBezTo>
                  <a:cubicBezTo>
                    <a:pt x="664" y="342"/>
                    <a:pt x="664" y="343"/>
                    <a:pt x="663" y="343"/>
                  </a:cubicBezTo>
                  <a:cubicBezTo>
                    <a:pt x="663" y="343"/>
                    <a:pt x="663" y="343"/>
                    <a:pt x="663" y="343"/>
                  </a:cubicBezTo>
                  <a:cubicBezTo>
                    <a:pt x="663" y="343"/>
                    <a:pt x="663" y="342"/>
                    <a:pt x="662" y="342"/>
                  </a:cubicBezTo>
                  <a:cubicBezTo>
                    <a:pt x="663" y="342"/>
                    <a:pt x="663" y="342"/>
                    <a:pt x="663" y="342"/>
                  </a:cubicBezTo>
                  <a:cubicBezTo>
                    <a:pt x="663" y="341"/>
                    <a:pt x="663" y="341"/>
                    <a:pt x="663" y="341"/>
                  </a:cubicBezTo>
                  <a:cubicBezTo>
                    <a:pt x="663" y="341"/>
                    <a:pt x="663" y="341"/>
                    <a:pt x="663" y="341"/>
                  </a:cubicBezTo>
                  <a:cubicBezTo>
                    <a:pt x="664" y="341"/>
                    <a:pt x="664" y="341"/>
                    <a:pt x="664" y="341"/>
                  </a:cubicBezTo>
                  <a:cubicBezTo>
                    <a:pt x="664" y="341"/>
                    <a:pt x="664" y="341"/>
                    <a:pt x="664" y="341"/>
                  </a:cubicBezTo>
                  <a:cubicBezTo>
                    <a:pt x="665" y="341"/>
                    <a:pt x="665" y="341"/>
                    <a:pt x="665" y="340"/>
                  </a:cubicBezTo>
                  <a:cubicBezTo>
                    <a:pt x="666" y="340"/>
                    <a:pt x="666" y="340"/>
                    <a:pt x="666" y="340"/>
                  </a:cubicBezTo>
                  <a:cubicBezTo>
                    <a:pt x="666" y="340"/>
                    <a:pt x="666" y="340"/>
                    <a:pt x="667" y="340"/>
                  </a:cubicBezTo>
                  <a:cubicBezTo>
                    <a:pt x="667" y="340"/>
                    <a:pt x="668" y="339"/>
                    <a:pt x="669" y="338"/>
                  </a:cubicBezTo>
                  <a:cubicBezTo>
                    <a:pt x="669" y="338"/>
                    <a:pt x="669" y="337"/>
                    <a:pt x="669" y="336"/>
                  </a:cubicBezTo>
                  <a:cubicBezTo>
                    <a:pt x="669" y="336"/>
                    <a:pt x="669" y="335"/>
                    <a:pt x="669" y="335"/>
                  </a:cubicBezTo>
                  <a:cubicBezTo>
                    <a:pt x="669" y="334"/>
                    <a:pt x="669" y="334"/>
                    <a:pt x="669" y="334"/>
                  </a:cubicBezTo>
                  <a:cubicBezTo>
                    <a:pt x="669" y="333"/>
                    <a:pt x="669" y="333"/>
                    <a:pt x="669" y="333"/>
                  </a:cubicBezTo>
                  <a:cubicBezTo>
                    <a:pt x="669" y="334"/>
                    <a:pt x="669" y="334"/>
                    <a:pt x="669" y="334"/>
                  </a:cubicBezTo>
                  <a:cubicBezTo>
                    <a:pt x="670" y="334"/>
                    <a:pt x="670" y="334"/>
                    <a:pt x="670" y="334"/>
                  </a:cubicBezTo>
                  <a:cubicBezTo>
                    <a:pt x="670" y="334"/>
                    <a:pt x="670" y="334"/>
                    <a:pt x="670" y="334"/>
                  </a:cubicBezTo>
                  <a:cubicBezTo>
                    <a:pt x="671" y="334"/>
                    <a:pt x="672" y="334"/>
                    <a:pt x="672" y="332"/>
                  </a:cubicBezTo>
                  <a:cubicBezTo>
                    <a:pt x="672" y="331"/>
                    <a:pt x="672" y="331"/>
                    <a:pt x="672" y="331"/>
                  </a:cubicBezTo>
                  <a:cubicBezTo>
                    <a:pt x="672" y="331"/>
                    <a:pt x="672" y="330"/>
                    <a:pt x="672" y="330"/>
                  </a:cubicBezTo>
                  <a:cubicBezTo>
                    <a:pt x="672" y="330"/>
                    <a:pt x="672" y="330"/>
                    <a:pt x="672" y="330"/>
                  </a:cubicBezTo>
                  <a:cubicBezTo>
                    <a:pt x="673" y="329"/>
                    <a:pt x="673" y="328"/>
                    <a:pt x="673" y="327"/>
                  </a:cubicBezTo>
                  <a:cubicBezTo>
                    <a:pt x="673" y="327"/>
                    <a:pt x="673" y="327"/>
                    <a:pt x="673" y="327"/>
                  </a:cubicBezTo>
                  <a:cubicBezTo>
                    <a:pt x="673" y="326"/>
                    <a:pt x="673" y="326"/>
                    <a:pt x="673" y="326"/>
                  </a:cubicBezTo>
                  <a:cubicBezTo>
                    <a:pt x="673" y="326"/>
                    <a:pt x="673" y="326"/>
                    <a:pt x="673" y="326"/>
                  </a:cubicBezTo>
                  <a:cubicBezTo>
                    <a:pt x="673" y="325"/>
                    <a:pt x="673" y="325"/>
                    <a:pt x="673" y="324"/>
                  </a:cubicBezTo>
                  <a:cubicBezTo>
                    <a:pt x="673" y="324"/>
                    <a:pt x="674" y="323"/>
                    <a:pt x="673" y="322"/>
                  </a:cubicBezTo>
                  <a:cubicBezTo>
                    <a:pt x="673" y="320"/>
                    <a:pt x="671" y="319"/>
                    <a:pt x="669" y="319"/>
                  </a:cubicBezTo>
                  <a:cubicBezTo>
                    <a:pt x="670" y="319"/>
                    <a:pt x="670" y="317"/>
                    <a:pt x="670" y="316"/>
                  </a:cubicBezTo>
                  <a:cubicBezTo>
                    <a:pt x="670" y="315"/>
                    <a:pt x="669" y="314"/>
                    <a:pt x="668" y="313"/>
                  </a:cubicBezTo>
                  <a:cubicBezTo>
                    <a:pt x="668" y="313"/>
                    <a:pt x="668" y="313"/>
                    <a:pt x="669" y="313"/>
                  </a:cubicBezTo>
                  <a:cubicBezTo>
                    <a:pt x="670" y="313"/>
                    <a:pt x="670" y="313"/>
                    <a:pt x="670" y="313"/>
                  </a:cubicBezTo>
                  <a:cubicBezTo>
                    <a:pt x="670" y="313"/>
                    <a:pt x="671" y="313"/>
                    <a:pt x="672" y="313"/>
                  </a:cubicBezTo>
                  <a:cubicBezTo>
                    <a:pt x="673" y="312"/>
                    <a:pt x="674" y="311"/>
                    <a:pt x="674" y="310"/>
                  </a:cubicBezTo>
                  <a:cubicBezTo>
                    <a:pt x="674" y="309"/>
                    <a:pt x="673" y="309"/>
                    <a:pt x="672" y="308"/>
                  </a:cubicBezTo>
                  <a:cubicBezTo>
                    <a:pt x="672" y="308"/>
                    <a:pt x="672" y="308"/>
                    <a:pt x="672" y="308"/>
                  </a:cubicBezTo>
                  <a:cubicBezTo>
                    <a:pt x="673" y="308"/>
                    <a:pt x="673" y="307"/>
                    <a:pt x="673" y="307"/>
                  </a:cubicBezTo>
                  <a:cubicBezTo>
                    <a:pt x="673" y="306"/>
                    <a:pt x="672" y="305"/>
                    <a:pt x="671" y="305"/>
                  </a:cubicBezTo>
                  <a:cubicBezTo>
                    <a:pt x="671" y="305"/>
                    <a:pt x="670" y="305"/>
                    <a:pt x="670" y="305"/>
                  </a:cubicBezTo>
                  <a:cubicBezTo>
                    <a:pt x="669" y="305"/>
                    <a:pt x="669" y="305"/>
                    <a:pt x="669" y="305"/>
                  </a:cubicBezTo>
                  <a:cubicBezTo>
                    <a:pt x="669" y="305"/>
                    <a:pt x="669" y="305"/>
                    <a:pt x="669" y="305"/>
                  </a:cubicBezTo>
                  <a:cubicBezTo>
                    <a:pt x="669" y="305"/>
                    <a:pt x="669" y="305"/>
                    <a:pt x="668" y="305"/>
                  </a:cubicBezTo>
                  <a:cubicBezTo>
                    <a:pt x="668" y="305"/>
                    <a:pt x="668" y="305"/>
                    <a:pt x="668" y="304"/>
                  </a:cubicBezTo>
                  <a:cubicBezTo>
                    <a:pt x="668" y="304"/>
                    <a:pt x="668" y="304"/>
                    <a:pt x="668" y="303"/>
                  </a:cubicBezTo>
                  <a:cubicBezTo>
                    <a:pt x="668" y="303"/>
                    <a:pt x="668" y="302"/>
                    <a:pt x="668" y="301"/>
                  </a:cubicBezTo>
                  <a:cubicBezTo>
                    <a:pt x="667" y="300"/>
                    <a:pt x="666" y="300"/>
                    <a:pt x="665" y="301"/>
                  </a:cubicBezTo>
                  <a:cubicBezTo>
                    <a:pt x="665" y="301"/>
                    <a:pt x="665" y="301"/>
                    <a:pt x="665" y="301"/>
                  </a:cubicBezTo>
                  <a:cubicBezTo>
                    <a:pt x="665" y="301"/>
                    <a:pt x="665" y="301"/>
                    <a:pt x="665" y="301"/>
                  </a:cubicBezTo>
                  <a:cubicBezTo>
                    <a:pt x="665" y="300"/>
                    <a:pt x="665" y="300"/>
                    <a:pt x="664" y="300"/>
                  </a:cubicBezTo>
                  <a:cubicBezTo>
                    <a:pt x="663" y="301"/>
                    <a:pt x="663" y="301"/>
                    <a:pt x="663" y="301"/>
                  </a:cubicBezTo>
                  <a:cubicBezTo>
                    <a:pt x="664" y="300"/>
                    <a:pt x="664" y="300"/>
                    <a:pt x="664" y="300"/>
                  </a:cubicBezTo>
                  <a:cubicBezTo>
                    <a:pt x="664" y="299"/>
                    <a:pt x="664" y="299"/>
                    <a:pt x="663" y="299"/>
                  </a:cubicBezTo>
                  <a:cubicBezTo>
                    <a:pt x="663" y="298"/>
                    <a:pt x="663" y="298"/>
                    <a:pt x="663" y="298"/>
                  </a:cubicBezTo>
                  <a:cubicBezTo>
                    <a:pt x="662" y="298"/>
                    <a:pt x="662" y="298"/>
                    <a:pt x="662" y="298"/>
                  </a:cubicBezTo>
                  <a:cubicBezTo>
                    <a:pt x="661" y="298"/>
                    <a:pt x="661" y="299"/>
                    <a:pt x="661" y="299"/>
                  </a:cubicBezTo>
                  <a:cubicBezTo>
                    <a:pt x="661" y="299"/>
                    <a:pt x="660" y="299"/>
                    <a:pt x="661" y="299"/>
                  </a:cubicBezTo>
                  <a:cubicBezTo>
                    <a:pt x="660" y="299"/>
                    <a:pt x="660" y="299"/>
                    <a:pt x="660" y="299"/>
                  </a:cubicBezTo>
                  <a:cubicBezTo>
                    <a:pt x="660" y="299"/>
                    <a:pt x="660" y="299"/>
                    <a:pt x="659" y="299"/>
                  </a:cubicBezTo>
                  <a:cubicBezTo>
                    <a:pt x="659" y="299"/>
                    <a:pt x="659" y="299"/>
                    <a:pt x="660" y="299"/>
                  </a:cubicBezTo>
                  <a:cubicBezTo>
                    <a:pt x="660" y="299"/>
                    <a:pt x="660" y="298"/>
                    <a:pt x="661" y="298"/>
                  </a:cubicBezTo>
                  <a:cubicBezTo>
                    <a:pt x="661" y="297"/>
                    <a:pt x="661" y="297"/>
                    <a:pt x="661" y="297"/>
                  </a:cubicBezTo>
                  <a:cubicBezTo>
                    <a:pt x="661" y="296"/>
                    <a:pt x="661" y="296"/>
                    <a:pt x="661" y="296"/>
                  </a:cubicBezTo>
                  <a:cubicBezTo>
                    <a:pt x="661" y="296"/>
                    <a:pt x="661" y="296"/>
                    <a:pt x="662" y="296"/>
                  </a:cubicBezTo>
                  <a:cubicBezTo>
                    <a:pt x="662" y="296"/>
                    <a:pt x="663" y="295"/>
                    <a:pt x="663" y="294"/>
                  </a:cubicBezTo>
                  <a:cubicBezTo>
                    <a:pt x="663" y="294"/>
                    <a:pt x="663" y="293"/>
                    <a:pt x="662" y="293"/>
                  </a:cubicBezTo>
                  <a:cubicBezTo>
                    <a:pt x="662" y="292"/>
                    <a:pt x="660" y="292"/>
                    <a:pt x="659" y="292"/>
                  </a:cubicBezTo>
                  <a:cubicBezTo>
                    <a:pt x="659" y="292"/>
                    <a:pt x="659" y="292"/>
                    <a:pt x="659" y="292"/>
                  </a:cubicBezTo>
                  <a:cubicBezTo>
                    <a:pt x="659" y="292"/>
                    <a:pt x="659" y="292"/>
                    <a:pt x="659" y="292"/>
                  </a:cubicBezTo>
                  <a:cubicBezTo>
                    <a:pt x="659" y="292"/>
                    <a:pt x="659" y="292"/>
                    <a:pt x="659" y="292"/>
                  </a:cubicBezTo>
                  <a:cubicBezTo>
                    <a:pt x="659" y="291"/>
                    <a:pt x="659" y="291"/>
                    <a:pt x="659" y="291"/>
                  </a:cubicBezTo>
                  <a:cubicBezTo>
                    <a:pt x="657" y="291"/>
                    <a:pt x="657" y="291"/>
                    <a:pt x="657" y="291"/>
                  </a:cubicBezTo>
                  <a:cubicBezTo>
                    <a:pt x="657" y="291"/>
                    <a:pt x="657" y="291"/>
                    <a:pt x="657" y="291"/>
                  </a:cubicBezTo>
                  <a:cubicBezTo>
                    <a:pt x="658" y="291"/>
                    <a:pt x="658" y="291"/>
                    <a:pt x="658" y="291"/>
                  </a:cubicBezTo>
                  <a:cubicBezTo>
                    <a:pt x="658" y="290"/>
                    <a:pt x="658" y="290"/>
                    <a:pt x="658" y="290"/>
                  </a:cubicBezTo>
                  <a:cubicBezTo>
                    <a:pt x="658" y="290"/>
                    <a:pt x="658" y="290"/>
                    <a:pt x="658" y="290"/>
                  </a:cubicBezTo>
                  <a:cubicBezTo>
                    <a:pt x="658" y="289"/>
                    <a:pt x="658" y="288"/>
                    <a:pt x="657" y="288"/>
                  </a:cubicBezTo>
                  <a:cubicBezTo>
                    <a:pt x="657" y="288"/>
                    <a:pt x="657" y="288"/>
                    <a:pt x="657" y="288"/>
                  </a:cubicBezTo>
                  <a:cubicBezTo>
                    <a:pt x="657" y="288"/>
                    <a:pt x="657" y="287"/>
                    <a:pt x="657" y="287"/>
                  </a:cubicBezTo>
                  <a:cubicBezTo>
                    <a:pt x="657" y="287"/>
                    <a:pt x="657" y="287"/>
                    <a:pt x="657" y="287"/>
                  </a:cubicBezTo>
                  <a:cubicBezTo>
                    <a:pt x="657" y="286"/>
                    <a:pt x="657" y="286"/>
                    <a:pt x="657" y="286"/>
                  </a:cubicBezTo>
                  <a:cubicBezTo>
                    <a:pt x="659" y="286"/>
                    <a:pt x="660" y="286"/>
                    <a:pt x="660" y="285"/>
                  </a:cubicBezTo>
                  <a:cubicBezTo>
                    <a:pt x="660" y="284"/>
                    <a:pt x="660" y="284"/>
                    <a:pt x="661" y="283"/>
                  </a:cubicBezTo>
                  <a:cubicBezTo>
                    <a:pt x="661" y="283"/>
                    <a:pt x="661" y="282"/>
                    <a:pt x="661" y="282"/>
                  </a:cubicBezTo>
                  <a:cubicBezTo>
                    <a:pt x="661" y="282"/>
                    <a:pt x="662" y="281"/>
                    <a:pt x="662" y="281"/>
                  </a:cubicBezTo>
                  <a:cubicBezTo>
                    <a:pt x="663" y="281"/>
                    <a:pt x="663" y="281"/>
                    <a:pt x="663" y="281"/>
                  </a:cubicBezTo>
                  <a:cubicBezTo>
                    <a:pt x="663" y="281"/>
                    <a:pt x="664" y="281"/>
                    <a:pt x="664" y="280"/>
                  </a:cubicBezTo>
                  <a:cubicBezTo>
                    <a:pt x="666" y="280"/>
                    <a:pt x="666" y="279"/>
                    <a:pt x="667" y="278"/>
                  </a:cubicBezTo>
                  <a:cubicBezTo>
                    <a:pt x="667" y="277"/>
                    <a:pt x="666" y="276"/>
                    <a:pt x="666" y="276"/>
                  </a:cubicBezTo>
                  <a:cubicBezTo>
                    <a:pt x="665" y="275"/>
                    <a:pt x="665" y="275"/>
                    <a:pt x="665" y="275"/>
                  </a:cubicBezTo>
                  <a:cubicBezTo>
                    <a:pt x="665" y="275"/>
                    <a:pt x="665" y="275"/>
                    <a:pt x="665" y="275"/>
                  </a:cubicBezTo>
                  <a:cubicBezTo>
                    <a:pt x="665" y="275"/>
                    <a:pt x="665" y="275"/>
                    <a:pt x="665" y="275"/>
                  </a:cubicBezTo>
                  <a:cubicBezTo>
                    <a:pt x="665" y="274"/>
                    <a:pt x="665" y="274"/>
                    <a:pt x="665" y="273"/>
                  </a:cubicBezTo>
                  <a:cubicBezTo>
                    <a:pt x="665" y="273"/>
                    <a:pt x="665" y="273"/>
                    <a:pt x="665" y="273"/>
                  </a:cubicBezTo>
                  <a:cubicBezTo>
                    <a:pt x="666" y="273"/>
                    <a:pt x="667" y="272"/>
                    <a:pt x="668" y="271"/>
                  </a:cubicBezTo>
                  <a:cubicBezTo>
                    <a:pt x="668" y="270"/>
                    <a:pt x="669" y="269"/>
                    <a:pt x="669" y="268"/>
                  </a:cubicBezTo>
                  <a:cubicBezTo>
                    <a:pt x="669" y="267"/>
                    <a:pt x="669" y="266"/>
                    <a:pt x="668" y="266"/>
                  </a:cubicBezTo>
                  <a:cubicBezTo>
                    <a:pt x="668" y="265"/>
                    <a:pt x="668" y="265"/>
                    <a:pt x="668" y="265"/>
                  </a:cubicBezTo>
                  <a:cubicBezTo>
                    <a:pt x="667" y="265"/>
                    <a:pt x="667" y="265"/>
                    <a:pt x="667" y="265"/>
                  </a:cubicBezTo>
                  <a:cubicBezTo>
                    <a:pt x="668" y="265"/>
                    <a:pt x="668" y="265"/>
                    <a:pt x="668" y="265"/>
                  </a:cubicBezTo>
                  <a:cubicBezTo>
                    <a:pt x="668" y="265"/>
                    <a:pt x="668" y="265"/>
                    <a:pt x="668" y="265"/>
                  </a:cubicBezTo>
                  <a:cubicBezTo>
                    <a:pt x="668" y="265"/>
                    <a:pt x="669" y="264"/>
                    <a:pt x="669" y="264"/>
                  </a:cubicBezTo>
                  <a:cubicBezTo>
                    <a:pt x="669" y="264"/>
                    <a:pt x="670" y="264"/>
                    <a:pt x="670" y="263"/>
                  </a:cubicBezTo>
                  <a:cubicBezTo>
                    <a:pt x="671" y="261"/>
                    <a:pt x="671" y="261"/>
                    <a:pt x="671" y="261"/>
                  </a:cubicBezTo>
                  <a:cubicBezTo>
                    <a:pt x="670" y="261"/>
                    <a:pt x="670" y="261"/>
                    <a:pt x="670" y="261"/>
                  </a:cubicBezTo>
                  <a:cubicBezTo>
                    <a:pt x="671" y="260"/>
                    <a:pt x="671" y="259"/>
                    <a:pt x="671" y="259"/>
                  </a:cubicBezTo>
                  <a:cubicBezTo>
                    <a:pt x="671" y="259"/>
                    <a:pt x="671" y="258"/>
                    <a:pt x="671" y="258"/>
                  </a:cubicBezTo>
                  <a:cubicBezTo>
                    <a:pt x="671" y="258"/>
                    <a:pt x="671" y="258"/>
                    <a:pt x="671" y="258"/>
                  </a:cubicBezTo>
                  <a:cubicBezTo>
                    <a:pt x="671" y="257"/>
                    <a:pt x="671" y="256"/>
                    <a:pt x="670" y="256"/>
                  </a:cubicBezTo>
                  <a:cubicBezTo>
                    <a:pt x="670" y="255"/>
                    <a:pt x="670" y="255"/>
                    <a:pt x="670" y="255"/>
                  </a:cubicBezTo>
                  <a:cubicBezTo>
                    <a:pt x="671" y="255"/>
                    <a:pt x="671" y="254"/>
                    <a:pt x="672" y="253"/>
                  </a:cubicBezTo>
                  <a:cubicBezTo>
                    <a:pt x="672" y="252"/>
                    <a:pt x="671" y="252"/>
                    <a:pt x="671" y="251"/>
                  </a:cubicBezTo>
                  <a:cubicBezTo>
                    <a:pt x="671" y="251"/>
                    <a:pt x="671" y="251"/>
                    <a:pt x="671" y="250"/>
                  </a:cubicBezTo>
                  <a:cubicBezTo>
                    <a:pt x="671" y="250"/>
                    <a:pt x="671" y="250"/>
                    <a:pt x="671" y="250"/>
                  </a:cubicBezTo>
                  <a:cubicBezTo>
                    <a:pt x="671" y="250"/>
                    <a:pt x="672" y="249"/>
                    <a:pt x="672" y="248"/>
                  </a:cubicBezTo>
                  <a:cubicBezTo>
                    <a:pt x="672" y="248"/>
                    <a:pt x="672" y="247"/>
                    <a:pt x="671" y="246"/>
                  </a:cubicBezTo>
                  <a:cubicBezTo>
                    <a:pt x="671" y="246"/>
                    <a:pt x="671" y="246"/>
                    <a:pt x="671" y="246"/>
                  </a:cubicBezTo>
                  <a:cubicBezTo>
                    <a:pt x="671" y="246"/>
                    <a:pt x="672" y="246"/>
                    <a:pt x="672" y="246"/>
                  </a:cubicBezTo>
                  <a:cubicBezTo>
                    <a:pt x="673" y="246"/>
                    <a:pt x="674" y="245"/>
                    <a:pt x="674" y="244"/>
                  </a:cubicBezTo>
                  <a:cubicBezTo>
                    <a:pt x="674" y="243"/>
                    <a:pt x="673" y="243"/>
                    <a:pt x="673" y="243"/>
                  </a:cubicBezTo>
                  <a:cubicBezTo>
                    <a:pt x="673" y="242"/>
                    <a:pt x="673" y="242"/>
                    <a:pt x="673" y="242"/>
                  </a:cubicBezTo>
                  <a:cubicBezTo>
                    <a:pt x="673" y="240"/>
                    <a:pt x="672" y="239"/>
                    <a:pt x="671" y="238"/>
                  </a:cubicBezTo>
                  <a:cubicBezTo>
                    <a:pt x="671" y="238"/>
                    <a:pt x="669" y="238"/>
                    <a:pt x="669" y="239"/>
                  </a:cubicBezTo>
                  <a:cubicBezTo>
                    <a:pt x="668" y="239"/>
                    <a:pt x="668" y="239"/>
                    <a:pt x="668" y="240"/>
                  </a:cubicBezTo>
                  <a:cubicBezTo>
                    <a:pt x="668" y="240"/>
                    <a:pt x="668" y="240"/>
                    <a:pt x="667" y="241"/>
                  </a:cubicBezTo>
                  <a:cubicBezTo>
                    <a:pt x="667" y="241"/>
                    <a:pt x="667" y="241"/>
                    <a:pt x="667" y="241"/>
                  </a:cubicBezTo>
                  <a:cubicBezTo>
                    <a:pt x="666" y="241"/>
                    <a:pt x="665" y="241"/>
                    <a:pt x="665" y="242"/>
                  </a:cubicBezTo>
                  <a:cubicBezTo>
                    <a:pt x="665" y="242"/>
                    <a:pt x="664" y="243"/>
                    <a:pt x="664" y="243"/>
                  </a:cubicBezTo>
                  <a:cubicBezTo>
                    <a:pt x="664" y="243"/>
                    <a:pt x="664" y="243"/>
                    <a:pt x="664" y="243"/>
                  </a:cubicBezTo>
                  <a:cubicBezTo>
                    <a:pt x="663" y="243"/>
                    <a:pt x="663" y="243"/>
                    <a:pt x="663" y="243"/>
                  </a:cubicBezTo>
                  <a:cubicBezTo>
                    <a:pt x="662" y="243"/>
                    <a:pt x="662" y="244"/>
                    <a:pt x="662" y="244"/>
                  </a:cubicBezTo>
                  <a:cubicBezTo>
                    <a:pt x="662" y="244"/>
                    <a:pt x="661" y="245"/>
                    <a:pt x="661" y="245"/>
                  </a:cubicBezTo>
                  <a:cubicBezTo>
                    <a:pt x="661" y="245"/>
                    <a:pt x="661" y="245"/>
                    <a:pt x="660" y="245"/>
                  </a:cubicBezTo>
                  <a:cubicBezTo>
                    <a:pt x="660" y="246"/>
                    <a:pt x="659" y="246"/>
                    <a:pt x="659" y="247"/>
                  </a:cubicBezTo>
                  <a:cubicBezTo>
                    <a:pt x="659" y="247"/>
                    <a:pt x="659" y="248"/>
                    <a:pt x="659" y="248"/>
                  </a:cubicBezTo>
                  <a:cubicBezTo>
                    <a:pt x="659" y="248"/>
                    <a:pt x="659" y="248"/>
                    <a:pt x="659" y="248"/>
                  </a:cubicBezTo>
                  <a:cubicBezTo>
                    <a:pt x="659" y="248"/>
                    <a:pt x="658" y="248"/>
                    <a:pt x="657" y="249"/>
                  </a:cubicBezTo>
                  <a:cubicBezTo>
                    <a:pt x="657" y="249"/>
                    <a:pt x="657" y="249"/>
                    <a:pt x="657" y="249"/>
                  </a:cubicBezTo>
                  <a:cubicBezTo>
                    <a:pt x="657" y="249"/>
                    <a:pt x="657" y="249"/>
                    <a:pt x="657" y="249"/>
                  </a:cubicBezTo>
                  <a:cubicBezTo>
                    <a:pt x="656" y="249"/>
                    <a:pt x="656" y="250"/>
                    <a:pt x="656" y="250"/>
                  </a:cubicBezTo>
                  <a:cubicBezTo>
                    <a:pt x="655" y="250"/>
                    <a:pt x="655" y="250"/>
                    <a:pt x="655" y="250"/>
                  </a:cubicBezTo>
                  <a:cubicBezTo>
                    <a:pt x="655" y="250"/>
                    <a:pt x="655" y="251"/>
                    <a:pt x="655" y="251"/>
                  </a:cubicBezTo>
                  <a:cubicBezTo>
                    <a:pt x="654" y="251"/>
                    <a:pt x="654" y="252"/>
                    <a:pt x="654" y="252"/>
                  </a:cubicBezTo>
                  <a:cubicBezTo>
                    <a:pt x="654" y="252"/>
                    <a:pt x="654" y="253"/>
                    <a:pt x="654" y="253"/>
                  </a:cubicBezTo>
                  <a:cubicBezTo>
                    <a:pt x="653" y="253"/>
                    <a:pt x="653" y="253"/>
                    <a:pt x="652" y="253"/>
                  </a:cubicBezTo>
                  <a:cubicBezTo>
                    <a:pt x="652" y="253"/>
                    <a:pt x="652" y="253"/>
                    <a:pt x="651" y="254"/>
                  </a:cubicBezTo>
                  <a:cubicBezTo>
                    <a:pt x="651" y="254"/>
                    <a:pt x="650" y="254"/>
                    <a:pt x="650" y="255"/>
                  </a:cubicBezTo>
                  <a:cubicBezTo>
                    <a:pt x="651" y="255"/>
                    <a:pt x="651" y="255"/>
                    <a:pt x="651" y="255"/>
                  </a:cubicBezTo>
                  <a:cubicBezTo>
                    <a:pt x="650" y="255"/>
                    <a:pt x="650" y="255"/>
                    <a:pt x="650" y="255"/>
                  </a:cubicBezTo>
                  <a:cubicBezTo>
                    <a:pt x="650" y="255"/>
                    <a:pt x="650" y="254"/>
                    <a:pt x="649" y="254"/>
                  </a:cubicBezTo>
                  <a:cubicBezTo>
                    <a:pt x="649" y="254"/>
                    <a:pt x="649" y="254"/>
                    <a:pt x="649" y="254"/>
                  </a:cubicBezTo>
                  <a:cubicBezTo>
                    <a:pt x="648" y="254"/>
                    <a:pt x="648" y="254"/>
                    <a:pt x="648" y="254"/>
                  </a:cubicBezTo>
                  <a:cubicBezTo>
                    <a:pt x="647" y="255"/>
                    <a:pt x="647" y="255"/>
                    <a:pt x="647" y="255"/>
                  </a:cubicBezTo>
                  <a:cubicBezTo>
                    <a:pt x="646" y="255"/>
                    <a:pt x="646" y="255"/>
                    <a:pt x="646" y="255"/>
                  </a:cubicBezTo>
                  <a:cubicBezTo>
                    <a:pt x="646" y="255"/>
                    <a:pt x="646" y="255"/>
                    <a:pt x="646" y="255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5" y="256"/>
                    <a:pt x="645" y="256"/>
                    <a:pt x="645" y="256"/>
                  </a:cubicBezTo>
                  <a:cubicBezTo>
                    <a:pt x="644" y="256"/>
                    <a:pt x="644" y="256"/>
                    <a:pt x="644" y="256"/>
                  </a:cubicBezTo>
                  <a:cubicBezTo>
                    <a:pt x="644" y="256"/>
                    <a:pt x="644" y="256"/>
                    <a:pt x="643" y="256"/>
                  </a:cubicBezTo>
                  <a:cubicBezTo>
                    <a:pt x="643" y="256"/>
                    <a:pt x="643" y="256"/>
                    <a:pt x="643" y="256"/>
                  </a:cubicBezTo>
                  <a:cubicBezTo>
                    <a:pt x="643" y="256"/>
                    <a:pt x="642" y="257"/>
                    <a:pt x="642" y="257"/>
                  </a:cubicBezTo>
                  <a:cubicBezTo>
                    <a:pt x="641" y="257"/>
                    <a:pt x="641" y="258"/>
                    <a:pt x="640" y="258"/>
                  </a:cubicBezTo>
                  <a:cubicBezTo>
                    <a:pt x="640" y="258"/>
                    <a:pt x="640" y="257"/>
                    <a:pt x="640" y="257"/>
                  </a:cubicBezTo>
                  <a:cubicBezTo>
                    <a:pt x="640" y="257"/>
                    <a:pt x="640" y="256"/>
                    <a:pt x="640" y="256"/>
                  </a:cubicBezTo>
                  <a:cubicBezTo>
                    <a:pt x="639" y="255"/>
                    <a:pt x="639" y="255"/>
                    <a:pt x="639" y="255"/>
                  </a:cubicBezTo>
                  <a:cubicBezTo>
                    <a:pt x="639" y="255"/>
                    <a:pt x="639" y="254"/>
                    <a:pt x="638" y="254"/>
                  </a:cubicBezTo>
                  <a:cubicBezTo>
                    <a:pt x="638" y="254"/>
                    <a:pt x="638" y="254"/>
                    <a:pt x="638" y="254"/>
                  </a:cubicBezTo>
                  <a:cubicBezTo>
                    <a:pt x="638" y="253"/>
                    <a:pt x="638" y="253"/>
                    <a:pt x="638" y="253"/>
                  </a:cubicBezTo>
                  <a:cubicBezTo>
                    <a:pt x="638" y="252"/>
                    <a:pt x="637" y="251"/>
                    <a:pt x="635" y="251"/>
                  </a:cubicBezTo>
                  <a:cubicBezTo>
                    <a:pt x="635" y="251"/>
                    <a:pt x="634" y="251"/>
                    <a:pt x="633" y="251"/>
                  </a:cubicBezTo>
                  <a:cubicBezTo>
                    <a:pt x="633" y="251"/>
                    <a:pt x="633" y="251"/>
                    <a:pt x="633" y="250"/>
                  </a:cubicBezTo>
                  <a:cubicBezTo>
                    <a:pt x="633" y="250"/>
                    <a:pt x="634" y="250"/>
                    <a:pt x="634" y="250"/>
                  </a:cubicBezTo>
                  <a:cubicBezTo>
                    <a:pt x="634" y="250"/>
                    <a:pt x="634" y="249"/>
                    <a:pt x="634" y="249"/>
                  </a:cubicBezTo>
                  <a:cubicBezTo>
                    <a:pt x="634" y="249"/>
                    <a:pt x="634" y="249"/>
                    <a:pt x="634" y="249"/>
                  </a:cubicBezTo>
                  <a:cubicBezTo>
                    <a:pt x="634" y="249"/>
                    <a:pt x="635" y="249"/>
                    <a:pt x="635" y="249"/>
                  </a:cubicBezTo>
                  <a:cubicBezTo>
                    <a:pt x="635" y="249"/>
                    <a:pt x="635" y="249"/>
                    <a:pt x="635" y="249"/>
                  </a:cubicBezTo>
                  <a:cubicBezTo>
                    <a:pt x="636" y="249"/>
                    <a:pt x="636" y="249"/>
                    <a:pt x="637" y="248"/>
                  </a:cubicBezTo>
                  <a:cubicBezTo>
                    <a:pt x="638" y="248"/>
                    <a:pt x="638" y="248"/>
                    <a:pt x="638" y="247"/>
                  </a:cubicBezTo>
                  <a:cubicBezTo>
                    <a:pt x="638" y="246"/>
                    <a:pt x="638" y="246"/>
                    <a:pt x="638" y="245"/>
                  </a:cubicBezTo>
                  <a:cubicBezTo>
                    <a:pt x="638" y="245"/>
                    <a:pt x="639" y="244"/>
                    <a:pt x="639" y="244"/>
                  </a:cubicBezTo>
                  <a:cubicBezTo>
                    <a:pt x="639" y="243"/>
                    <a:pt x="640" y="243"/>
                    <a:pt x="640" y="243"/>
                  </a:cubicBezTo>
                  <a:cubicBezTo>
                    <a:pt x="641" y="242"/>
                    <a:pt x="641" y="242"/>
                    <a:pt x="641" y="242"/>
                  </a:cubicBezTo>
                  <a:cubicBezTo>
                    <a:pt x="641" y="242"/>
                    <a:pt x="641" y="241"/>
                    <a:pt x="641" y="240"/>
                  </a:cubicBezTo>
                  <a:cubicBezTo>
                    <a:pt x="641" y="240"/>
                    <a:pt x="641" y="240"/>
                    <a:pt x="641" y="239"/>
                  </a:cubicBezTo>
                  <a:cubicBezTo>
                    <a:pt x="642" y="239"/>
                    <a:pt x="643" y="239"/>
                    <a:pt x="643" y="238"/>
                  </a:cubicBezTo>
                  <a:cubicBezTo>
                    <a:pt x="642" y="237"/>
                    <a:pt x="642" y="237"/>
                    <a:pt x="642" y="237"/>
                  </a:cubicBezTo>
                  <a:cubicBezTo>
                    <a:pt x="643" y="238"/>
                    <a:pt x="643" y="238"/>
                    <a:pt x="643" y="238"/>
                  </a:cubicBezTo>
                  <a:cubicBezTo>
                    <a:pt x="643" y="238"/>
                    <a:pt x="644" y="237"/>
                    <a:pt x="644" y="237"/>
                  </a:cubicBezTo>
                  <a:cubicBezTo>
                    <a:pt x="644" y="237"/>
                    <a:pt x="644" y="236"/>
                    <a:pt x="644" y="236"/>
                  </a:cubicBezTo>
                  <a:cubicBezTo>
                    <a:pt x="645" y="235"/>
                    <a:pt x="645" y="235"/>
                    <a:pt x="645" y="234"/>
                  </a:cubicBezTo>
                  <a:cubicBezTo>
                    <a:pt x="646" y="234"/>
                    <a:pt x="646" y="234"/>
                    <a:pt x="646" y="234"/>
                  </a:cubicBezTo>
                  <a:cubicBezTo>
                    <a:pt x="646" y="232"/>
                    <a:pt x="646" y="232"/>
                    <a:pt x="646" y="232"/>
                  </a:cubicBezTo>
                  <a:cubicBezTo>
                    <a:pt x="646" y="232"/>
                    <a:pt x="646" y="232"/>
                    <a:pt x="646" y="232"/>
                  </a:cubicBezTo>
                  <a:cubicBezTo>
                    <a:pt x="647" y="233"/>
                    <a:pt x="647" y="233"/>
                    <a:pt x="647" y="233"/>
                  </a:cubicBezTo>
                  <a:cubicBezTo>
                    <a:pt x="647" y="233"/>
                    <a:pt x="647" y="233"/>
                    <a:pt x="648" y="233"/>
                  </a:cubicBezTo>
                  <a:cubicBezTo>
                    <a:pt x="648" y="233"/>
                    <a:pt x="648" y="233"/>
                    <a:pt x="648" y="233"/>
                  </a:cubicBezTo>
                  <a:cubicBezTo>
                    <a:pt x="649" y="233"/>
                    <a:pt x="649" y="232"/>
                    <a:pt x="649" y="232"/>
                  </a:cubicBezTo>
                  <a:cubicBezTo>
                    <a:pt x="650" y="231"/>
                    <a:pt x="650" y="230"/>
                    <a:pt x="651" y="230"/>
                  </a:cubicBezTo>
                  <a:cubicBezTo>
                    <a:pt x="651" y="229"/>
                    <a:pt x="651" y="229"/>
                    <a:pt x="651" y="229"/>
                  </a:cubicBezTo>
                  <a:cubicBezTo>
                    <a:pt x="651" y="229"/>
                    <a:pt x="651" y="228"/>
                    <a:pt x="651" y="228"/>
                  </a:cubicBezTo>
                  <a:cubicBezTo>
                    <a:pt x="651" y="227"/>
                    <a:pt x="651" y="227"/>
                    <a:pt x="651" y="226"/>
                  </a:cubicBezTo>
                  <a:cubicBezTo>
                    <a:pt x="650" y="225"/>
                    <a:pt x="648" y="226"/>
                    <a:pt x="648" y="226"/>
                  </a:cubicBezTo>
                  <a:cubicBezTo>
                    <a:pt x="647" y="226"/>
                    <a:pt x="647" y="225"/>
                    <a:pt x="646" y="225"/>
                  </a:cubicBezTo>
                  <a:cubicBezTo>
                    <a:pt x="645" y="225"/>
                    <a:pt x="645" y="225"/>
                    <a:pt x="645" y="225"/>
                  </a:cubicBezTo>
                  <a:cubicBezTo>
                    <a:pt x="644" y="225"/>
                    <a:pt x="644" y="225"/>
                    <a:pt x="644" y="225"/>
                  </a:cubicBezTo>
                  <a:cubicBezTo>
                    <a:pt x="644" y="225"/>
                    <a:pt x="643" y="225"/>
                    <a:pt x="643" y="224"/>
                  </a:cubicBezTo>
                  <a:cubicBezTo>
                    <a:pt x="643" y="224"/>
                    <a:pt x="642" y="224"/>
                    <a:pt x="641" y="224"/>
                  </a:cubicBezTo>
                  <a:cubicBezTo>
                    <a:pt x="642" y="223"/>
                    <a:pt x="642" y="223"/>
                    <a:pt x="642" y="222"/>
                  </a:cubicBezTo>
                  <a:cubicBezTo>
                    <a:pt x="642" y="222"/>
                    <a:pt x="642" y="221"/>
                    <a:pt x="642" y="221"/>
                  </a:cubicBezTo>
                  <a:cubicBezTo>
                    <a:pt x="642" y="221"/>
                    <a:pt x="642" y="221"/>
                    <a:pt x="642" y="221"/>
                  </a:cubicBezTo>
                  <a:cubicBezTo>
                    <a:pt x="642" y="220"/>
                    <a:pt x="643" y="220"/>
                    <a:pt x="643" y="220"/>
                  </a:cubicBezTo>
                  <a:cubicBezTo>
                    <a:pt x="645" y="219"/>
                    <a:pt x="645" y="219"/>
                    <a:pt x="645" y="219"/>
                  </a:cubicBezTo>
                  <a:cubicBezTo>
                    <a:pt x="642" y="217"/>
                    <a:pt x="642" y="217"/>
                    <a:pt x="642" y="217"/>
                  </a:cubicBezTo>
                  <a:cubicBezTo>
                    <a:pt x="642" y="217"/>
                    <a:pt x="641" y="217"/>
                    <a:pt x="641" y="217"/>
                  </a:cubicBezTo>
                  <a:cubicBezTo>
                    <a:pt x="641" y="216"/>
                    <a:pt x="641" y="215"/>
                    <a:pt x="640" y="214"/>
                  </a:cubicBezTo>
                  <a:cubicBezTo>
                    <a:pt x="640" y="214"/>
                    <a:pt x="640" y="214"/>
                    <a:pt x="640" y="214"/>
                  </a:cubicBezTo>
                  <a:cubicBezTo>
                    <a:pt x="640" y="213"/>
                    <a:pt x="640" y="213"/>
                    <a:pt x="640" y="212"/>
                  </a:cubicBezTo>
                  <a:cubicBezTo>
                    <a:pt x="640" y="211"/>
                    <a:pt x="640" y="211"/>
                    <a:pt x="640" y="210"/>
                  </a:cubicBezTo>
                  <a:cubicBezTo>
                    <a:pt x="640" y="210"/>
                    <a:pt x="640" y="209"/>
                    <a:pt x="640" y="208"/>
                  </a:cubicBezTo>
                  <a:cubicBezTo>
                    <a:pt x="640" y="207"/>
                    <a:pt x="639" y="206"/>
                    <a:pt x="638" y="206"/>
                  </a:cubicBezTo>
                  <a:cubicBezTo>
                    <a:pt x="636" y="206"/>
                    <a:pt x="636" y="206"/>
                    <a:pt x="635" y="207"/>
                  </a:cubicBezTo>
                  <a:cubicBezTo>
                    <a:pt x="634" y="207"/>
                    <a:pt x="633" y="207"/>
                    <a:pt x="633" y="207"/>
                  </a:cubicBezTo>
                  <a:cubicBezTo>
                    <a:pt x="633" y="207"/>
                    <a:pt x="632" y="207"/>
                    <a:pt x="632" y="207"/>
                  </a:cubicBezTo>
                  <a:cubicBezTo>
                    <a:pt x="632" y="208"/>
                    <a:pt x="632" y="208"/>
                    <a:pt x="631" y="208"/>
                  </a:cubicBezTo>
                  <a:cubicBezTo>
                    <a:pt x="631" y="208"/>
                    <a:pt x="630" y="208"/>
                    <a:pt x="630" y="208"/>
                  </a:cubicBezTo>
                  <a:cubicBezTo>
                    <a:pt x="630" y="208"/>
                    <a:pt x="629" y="208"/>
                    <a:pt x="629" y="208"/>
                  </a:cubicBezTo>
                  <a:cubicBezTo>
                    <a:pt x="629" y="207"/>
                    <a:pt x="628" y="207"/>
                    <a:pt x="627" y="207"/>
                  </a:cubicBezTo>
                  <a:cubicBezTo>
                    <a:pt x="627" y="207"/>
                    <a:pt x="627" y="207"/>
                    <a:pt x="627" y="207"/>
                  </a:cubicBezTo>
                  <a:cubicBezTo>
                    <a:pt x="627" y="206"/>
                    <a:pt x="626" y="205"/>
                    <a:pt x="625" y="205"/>
                  </a:cubicBezTo>
                  <a:cubicBezTo>
                    <a:pt x="625" y="204"/>
                    <a:pt x="624" y="204"/>
                    <a:pt x="624" y="204"/>
                  </a:cubicBezTo>
                  <a:cubicBezTo>
                    <a:pt x="624" y="204"/>
                    <a:pt x="624" y="204"/>
                    <a:pt x="624" y="203"/>
                  </a:cubicBezTo>
                  <a:cubicBezTo>
                    <a:pt x="623" y="203"/>
                    <a:pt x="623" y="202"/>
                    <a:pt x="622" y="202"/>
                  </a:cubicBezTo>
                  <a:cubicBezTo>
                    <a:pt x="621" y="202"/>
                    <a:pt x="621" y="202"/>
                    <a:pt x="621" y="202"/>
                  </a:cubicBezTo>
                  <a:cubicBezTo>
                    <a:pt x="621" y="201"/>
                    <a:pt x="621" y="201"/>
                    <a:pt x="620" y="201"/>
                  </a:cubicBezTo>
                  <a:cubicBezTo>
                    <a:pt x="620" y="201"/>
                    <a:pt x="619" y="201"/>
                    <a:pt x="618" y="201"/>
                  </a:cubicBezTo>
                  <a:cubicBezTo>
                    <a:pt x="618" y="201"/>
                    <a:pt x="618" y="201"/>
                    <a:pt x="618" y="201"/>
                  </a:cubicBezTo>
                  <a:cubicBezTo>
                    <a:pt x="617" y="201"/>
                    <a:pt x="616" y="201"/>
                    <a:pt x="615" y="202"/>
                  </a:cubicBezTo>
                  <a:cubicBezTo>
                    <a:pt x="614" y="202"/>
                    <a:pt x="614" y="202"/>
                    <a:pt x="614" y="202"/>
                  </a:cubicBezTo>
                  <a:cubicBezTo>
                    <a:pt x="614" y="202"/>
                    <a:pt x="614" y="203"/>
                    <a:pt x="613" y="203"/>
                  </a:cubicBezTo>
                  <a:cubicBezTo>
                    <a:pt x="613" y="203"/>
                    <a:pt x="613" y="203"/>
                    <a:pt x="612" y="203"/>
                  </a:cubicBezTo>
                  <a:cubicBezTo>
                    <a:pt x="611" y="203"/>
                    <a:pt x="610" y="204"/>
                    <a:pt x="610" y="205"/>
                  </a:cubicBezTo>
                  <a:cubicBezTo>
                    <a:pt x="610" y="206"/>
                    <a:pt x="610" y="207"/>
                    <a:pt x="609" y="207"/>
                  </a:cubicBezTo>
                  <a:cubicBezTo>
                    <a:pt x="609" y="207"/>
                    <a:pt x="609" y="207"/>
                    <a:pt x="609" y="207"/>
                  </a:cubicBezTo>
                  <a:cubicBezTo>
                    <a:pt x="608" y="208"/>
                    <a:pt x="608" y="208"/>
                    <a:pt x="607" y="209"/>
                  </a:cubicBezTo>
                  <a:cubicBezTo>
                    <a:pt x="607" y="209"/>
                    <a:pt x="606" y="210"/>
                    <a:pt x="606" y="211"/>
                  </a:cubicBezTo>
                  <a:cubicBezTo>
                    <a:pt x="606" y="212"/>
                    <a:pt x="607" y="212"/>
                    <a:pt x="607" y="212"/>
                  </a:cubicBezTo>
                  <a:cubicBezTo>
                    <a:pt x="607" y="213"/>
                    <a:pt x="607" y="213"/>
                    <a:pt x="606" y="213"/>
                  </a:cubicBezTo>
                  <a:cubicBezTo>
                    <a:pt x="606" y="213"/>
                    <a:pt x="606" y="213"/>
                    <a:pt x="605" y="213"/>
                  </a:cubicBezTo>
                  <a:cubicBezTo>
                    <a:pt x="604" y="213"/>
                    <a:pt x="603" y="213"/>
                    <a:pt x="603" y="215"/>
                  </a:cubicBezTo>
                  <a:cubicBezTo>
                    <a:pt x="603" y="215"/>
                    <a:pt x="603" y="215"/>
                    <a:pt x="602" y="216"/>
                  </a:cubicBezTo>
                  <a:cubicBezTo>
                    <a:pt x="602" y="216"/>
                    <a:pt x="601" y="217"/>
                    <a:pt x="601" y="217"/>
                  </a:cubicBezTo>
                  <a:cubicBezTo>
                    <a:pt x="601" y="217"/>
                    <a:pt x="600" y="218"/>
                    <a:pt x="600" y="218"/>
                  </a:cubicBezTo>
                  <a:cubicBezTo>
                    <a:pt x="600" y="218"/>
                    <a:pt x="600" y="218"/>
                    <a:pt x="600" y="218"/>
                  </a:cubicBezTo>
                  <a:cubicBezTo>
                    <a:pt x="598" y="219"/>
                    <a:pt x="598" y="219"/>
                    <a:pt x="598" y="219"/>
                  </a:cubicBezTo>
                  <a:cubicBezTo>
                    <a:pt x="598" y="219"/>
                    <a:pt x="596" y="220"/>
                    <a:pt x="596" y="221"/>
                  </a:cubicBezTo>
                  <a:cubicBezTo>
                    <a:pt x="596" y="221"/>
                    <a:pt x="596" y="222"/>
                    <a:pt x="597" y="223"/>
                  </a:cubicBezTo>
                  <a:cubicBezTo>
                    <a:pt x="597" y="223"/>
                    <a:pt x="597" y="223"/>
                    <a:pt x="597" y="223"/>
                  </a:cubicBezTo>
                  <a:cubicBezTo>
                    <a:pt x="597" y="223"/>
                    <a:pt x="597" y="223"/>
                    <a:pt x="597" y="224"/>
                  </a:cubicBezTo>
                  <a:cubicBezTo>
                    <a:pt x="597" y="224"/>
                    <a:pt x="597" y="224"/>
                    <a:pt x="597" y="224"/>
                  </a:cubicBezTo>
                  <a:cubicBezTo>
                    <a:pt x="596" y="224"/>
                    <a:pt x="596" y="225"/>
                    <a:pt x="595" y="225"/>
                  </a:cubicBezTo>
                  <a:cubicBezTo>
                    <a:pt x="594" y="226"/>
                    <a:pt x="594" y="227"/>
                    <a:pt x="594" y="227"/>
                  </a:cubicBezTo>
                  <a:cubicBezTo>
                    <a:pt x="594" y="227"/>
                    <a:pt x="594" y="227"/>
                    <a:pt x="594" y="228"/>
                  </a:cubicBezTo>
                  <a:cubicBezTo>
                    <a:pt x="594" y="228"/>
                    <a:pt x="593" y="228"/>
                    <a:pt x="593" y="229"/>
                  </a:cubicBezTo>
                  <a:cubicBezTo>
                    <a:pt x="593" y="229"/>
                    <a:pt x="593" y="230"/>
                    <a:pt x="593" y="230"/>
                  </a:cubicBezTo>
                  <a:cubicBezTo>
                    <a:pt x="593" y="231"/>
                    <a:pt x="593" y="231"/>
                    <a:pt x="594" y="231"/>
                  </a:cubicBezTo>
                  <a:cubicBezTo>
                    <a:pt x="594" y="232"/>
                    <a:pt x="594" y="232"/>
                    <a:pt x="593" y="232"/>
                  </a:cubicBezTo>
                  <a:cubicBezTo>
                    <a:pt x="593" y="232"/>
                    <a:pt x="593" y="232"/>
                    <a:pt x="593" y="232"/>
                  </a:cubicBezTo>
                  <a:cubicBezTo>
                    <a:pt x="593" y="232"/>
                    <a:pt x="592" y="232"/>
                    <a:pt x="591" y="232"/>
                  </a:cubicBezTo>
                  <a:cubicBezTo>
                    <a:pt x="591" y="232"/>
                    <a:pt x="590" y="233"/>
                    <a:pt x="590" y="233"/>
                  </a:cubicBezTo>
                  <a:cubicBezTo>
                    <a:pt x="590" y="233"/>
                    <a:pt x="589" y="232"/>
                    <a:pt x="588" y="233"/>
                  </a:cubicBezTo>
                  <a:cubicBezTo>
                    <a:pt x="587" y="233"/>
                    <a:pt x="587" y="233"/>
                    <a:pt x="587" y="234"/>
                  </a:cubicBezTo>
                  <a:cubicBezTo>
                    <a:pt x="586" y="234"/>
                    <a:pt x="586" y="234"/>
                    <a:pt x="586" y="234"/>
                  </a:cubicBezTo>
                  <a:cubicBezTo>
                    <a:pt x="585" y="234"/>
                    <a:pt x="584" y="235"/>
                    <a:pt x="584" y="236"/>
                  </a:cubicBezTo>
                  <a:cubicBezTo>
                    <a:pt x="584" y="236"/>
                    <a:pt x="583" y="237"/>
                    <a:pt x="584" y="237"/>
                  </a:cubicBezTo>
                  <a:cubicBezTo>
                    <a:pt x="583" y="237"/>
                    <a:pt x="583" y="237"/>
                    <a:pt x="583" y="237"/>
                  </a:cubicBezTo>
                  <a:cubicBezTo>
                    <a:pt x="583" y="238"/>
                    <a:pt x="583" y="238"/>
                    <a:pt x="583" y="238"/>
                  </a:cubicBezTo>
                  <a:cubicBezTo>
                    <a:pt x="582" y="238"/>
                    <a:pt x="581" y="238"/>
                    <a:pt x="581" y="238"/>
                  </a:cubicBezTo>
                  <a:cubicBezTo>
                    <a:pt x="580" y="238"/>
                    <a:pt x="580" y="239"/>
                    <a:pt x="580" y="239"/>
                  </a:cubicBezTo>
                  <a:cubicBezTo>
                    <a:pt x="579" y="240"/>
                    <a:pt x="579" y="240"/>
                    <a:pt x="579" y="240"/>
                  </a:cubicBezTo>
                  <a:cubicBezTo>
                    <a:pt x="578" y="240"/>
                    <a:pt x="578" y="240"/>
                    <a:pt x="578" y="240"/>
                  </a:cubicBezTo>
                  <a:cubicBezTo>
                    <a:pt x="577" y="241"/>
                    <a:pt x="577" y="241"/>
                    <a:pt x="577" y="241"/>
                  </a:cubicBezTo>
                  <a:cubicBezTo>
                    <a:pt x="576" y="242"/>
                    <a:pt x="576" y="242"/>
                    <a:pt x="576" y="242"/>
                  </a:cubicBezTo>
                  <a:cubicBezTo>
                    <a:pt x="575" y="242"/>
                    <a:pt x="575" y="242"/>
                    <a:pt x="575" y="242"/>
                  </a:cubicBezTo>
                  <a:cubicBezTo>
                    <a:pt x="575" y="243"/>
                    <a:pt x="573" y="243"/>
                    <a:pt x="573" y="245"/>
                  </a:cubicBezTo>
                  <a:cubicBezTo>
                    <a:pt x="573" y="246"/>
                    <a:pt x="573" y="247"/>
                    <a:pt x="573" y="247"/>
                  </a:cubicBezTo>
                  <a:cubicBezTo>
                    <a:pt x="574" y="248"/>
                    <a:pt x="574" y="248"/>
                    <a:pt x="574" y="248"/>
                  </a:cubicBezTo>
                  <a:cubicBezTo>
                    <a:pt x="574" y="249"/>
                    <a:pt x="574" y="249"/>
                    <a:pt x="574" y="249"/>
                  </a:cubicBezTo>
                  <a:cubicBezTo>
                    <a:pt x="574" y="249"/>
                    <a:pt x="574" y="250"/>
                    <a:pt x="574" y="251"/>
                  </a:cubicBezTo>
                  <a:cubicBezTo>
                    <a:pt x="574" y="251"/>
                    <a:pt x="574" y="251"/>
                    <a:pt x="574" y="251"/>
                  </a:cubicBezTo>
                  <a:cubicBezTo>
                    <a:pt x="574" y="252"/>
                    <a:pt x="575" y="252"/>
                    <a:pt x="575" y="252"/>
                  </a:cubicBezTo>
                  <a:cubicBezTo>
                    <a:pt x="575" y="253"/>
                    <a:pt x="575" y="254"/>
                    <a:pt x="575" y="255"/>
                  </a:cubicBezTo>
                  <a:cubicBezTo>
                    <a:pt x="575" y="257"/>
                    <a:pt x="574" y="258"/>
                    <a:pt x="574" y="259"/>
                  </a:cubicBezTo>
                  <a:cubicBezTo>
                    <a:pt x="574" y="259"/>
                    <a:pt x="574" y="259"/>
                    <a:pt x="573" y="260"/>
                  </a:cubicBezTo>
                  <a:cubicBezTo>
                    <a:pt x="573" y="260"/>
                    <a:pt x="573" y="261"/>
                    <a:pt x="572" y="262"/>
                  </a:cubicBezTo>
                  <a:cubicBezTo>
                    <a:pt x="572" y="262"/>
                    <a:pt x="572" y="262"/>
                    <a:pt x="572" y="262"/>
                  </a:cubicBezTo>
                  <a:cubicBezTo>
                    <a:pt x="571" y="263"/>
                    <a:pt x="571" y="263"/>
                    <a:pt x="571" y="263"/>
                  </a:cubicBezTo>
                  <a:cubicBezTo>
                    <a:pt x="570" y="264"/>
                    <a:pt x="570" y="264"/>
                    <a:pt x="570" y="264"/>
                  </a:cubicBezTo>
                  <a:cubicBezTo>
                    <a:pt x="570" y="265"/>
                    <a:pt x="570" y="265"/>
                    <a:pt x="570" y="265"/>
                  </a:cubicBezTo>
                  <a:cubicBezTo>
                    <a:pt x="570" y="265"/>
                    <a:pt x="569" y="265"/>
                    <a:pt x="569" y="266"/>
                  </a:cubicBezTo>
                  <a:cubicBezTo>
                    <a:pt x="569" y="266"/>
                    <a:pt x="568" y="267"/>
                    <a:pt x="568" y="267"/>
                  </a:cubicBezTo>
                  <a:cubicBezTo>
                    <a:pt x="568" y="268"/>
                    <a:pt x="568" y="268"/>
                    <a:pt x="568" y="268"/>
                  </a:cubicBezTo>
                  <a:cubicBezTo>
                    <a:pt x="567" y="268"/>
                    <a:pt x="567" y="268"/>
                    <a:pt x="567" y="269"/>
                  </a:cubicBezTo>
                  <a:cubicBezTo>
                    <a:pt x="566" y="269"/>
                    <a:pt x="566" y="269"/>
                    <a:pt x="566" y="270"/>
                  </a:cubicBezTo>
                  <a:cubicBezTo>
                    <a:pt x="565" y="270"/>
                    <a:pt x="565" y="270"/>
                    <a:pt x="565" y="270"/>
                  </a:cubicBezTo>
                  <a:cubicBezTo>
                    <a:pt x="565" y="270"/>
                    <a:pt x="565" y="271"/>
                    <a:pt x="565" y="271"/>
                  </a:cubicBezTo>
                  <a:cubicBezTo>
                    <a:pt x="565" y="271"/>
                    <a:pt x="565" y="271"/>
                    <a:pt x="565" y="271"/>
                  </a:cubicBezTo>
                  <a:cubicBezTo>
                    <a:pt x="564" y="271"/>
                    <a:pt x="564" y="271"/>
                    <a:pt x="564" y="271"/>
                  </a:cubicBezTo>
                  <a:cubicBezTo>
                    <a:pt x="564" y="272"/>
                    <a:pt x="563" y="272"/>
                    <a:pt x="563" y="272"/>
                  </a:cubicBezTo>
                  <a:cubicBezTo>
                    <a:pt x="563" y="272"/>
                    <a:pt x="563" y="273"/>
                    <a:pt x="563" y="273"/>
                  </a:cubicBezTo>
                  <a:cubicBezTo>
                    <a:pt x="562" y="273"/>
                    <a:pt x="562" y="273"/>
                    <a:pt x="562" y="273"/>
                  </a:cubicBezTo>
                  <a:cubicBezTo>
                    <a:pt x="561" y="274"/>
                    <a:pt x="561" y="274"/>
                    <a:pt x="560" y="274"/>
                  </a:cubicBezTo>
                  <a:cubicBezTo>
                    <a:pt x="559" y="275"/>
                    <a:pt x="559" y="276"/>
                    <a:pt x="558" y="276"/>
                  </a:cubicBezTo>
                  <a:cubicBezTo>
                    <a:pt x="558" y="277"/>
                    <a:pt x="557" y="277"/>
                    <a:pt x="557" y="278"/>
                  </a:cubicBezTo>
                  <a:cubicBezTo>
                    <a:pt x="556" y="278"/>
                    <a:pt x="556" y="278"/>
                    <a:pt x="556" y="278"/>
                  </a:cubicBezTo>
                  <a:cubicBezTo>
                    <a:pt x="555" y="279"/>
                    <a:pt x="554" y="279"/>
                    <a:pt x="554" y="281"/>
                  </a:cubicBezTo>
                  <a:cubicBezTo>
                    <a:pt x="555" y="281"/>
                    <a:pt x="555" y="281"/>
                    <a:pt x="555" y="281"/>
                  </a:cubicBezTo>
                  <a:cubicBezTo>
                    <a:pt x="554" y="281"/>
                    <a:pt x="554" y="281"/>
                    <a:pt x="554" y="281"/>
                  </a:cubicBezTo>
                  <a:cubicBezTo>
                    <a:pt x="554" y="281"/>
                    <a:pt x="554" y="281"/>
                    <a:pt x="553" y="281"/>
                  </a:cubicBezTo>
                  <a:cubicBezTo>
                    <a:pt x="553" y="281"/>
                    <a:pt x="552" y="282"/>
                    <a:pt x="551" y="282"/>
                  </a:cubicBezTo>
                  <a:cubicBezTo>
                    <a:pt x="550" y="282"/>
                    <a:pt x="550" y="282"/>
                    <a:pt x="550" y="282"/>
                  </a:cubicBezTo>
                  <a:cubicBezTo>
                    <a:pt x="550" y="283"/>
                    <a:pt x="549" y="283"/>
                    <a:pt x="549" y="283"/>
                  </a:cubicBezTo>
                  <a:cubicBezTo>
                    <a:pt x="548" y="283"/>
                    <a:pt x="548" y="283"/>
                    <a:pt x="548" y="283"/>
                  </a:cubicBezTo>
                  <a:cubicBezTo>
                    <a:pt x="548" y="283"/>
                    <a:pt x="547" y="283"/>
                    <a:pt x="547" y="284"/>
                  </a:cubicBezTo>
                  <a:cubicBezTo>
                    <a:pt x="546" y="284"/>
                    <a:pt x="544" y="284"/>
                    <a:pt x="543" y="285"/>
                  </a:cubicBezTo>
                  <a:cubicBezTo>
                    <a:pt x="542" y="285"/>
                    <a:pt x="542" y="285"/>
                    <a:pt x="542" y="285"/>
                  </a:cubicBezTo>
                  <a:cubicBezTo>
                    <a:pt x="542" y="285"/>
                    <a:pt x="541" y="285"/>
                    <a:pt x="541" y="285"/>
                  </a:cubicBezTo>
                  <a:cubicBezTo>
                    <a:pt x="540" y="285"/>
                    <a:pt x="540" y="285"/>
                    <a:pt x="540" y="285"/>
                  </a:cubicBezTo>
                  <a:cubicBezTo>
                    <a:pt x="539" y="285"/>
                    <a:pt x="538" y="285"/>
                    <a:pt x="538" y="285"/>
                  </a:cubicBezTo>
                  <a:cubicBezTo>
                    <a:pt x="537" y="286"/>
                    <a:pt x="537" y="286"/>
                    <a:pt x="537" y="286"/>
                  </a:cubicBezTo>
                  <a:cubicBezTo>
                    <a:pt x="537" y="286"/>
                    <a:pt x="537" y="286"/>
                    <a:pt x="536" y="286"/>
                  </a:cubicBezTo>
                  <a:cubicBezTo>
                    <a:pt x="536" y="286"/>
                    <a:pt x="535" y="286"/>
                    <a:pt x="535" y="287"/>
                  </a:cubicBezTo>
                  <a:cubicBezTo>
                    <a:pt x="535" y="287"/>
                    <a:pt x="534" y="287"/>
                    <a:pt x="534" y="287"/>
                  </a:cubicBezTo>
                  <a:cubicBezTo>
                    <a:pt x="534" y="287"/>
                    <a:pt x="534" y="287"/>
                    <a:pt x="534" y="287"/>
                  </a:cubicBezTo>
                  <a:cubicBezTo>
                    <a:pt x="534" y="287"/>
                    <a:pt x="533" y="287"/>
                    <a:pt x="532" y="288"/>
                  </a:cubicBezTo>
                  <a:cubicBezTo>
                    <a:pt x="532" y="288"/>
                    <a:pt x="531" y="288"/>
                    <a:pt x="530" y="289"/>
                  </a:cubicBezTo>
                  <a:cubicBezTo>
                    <a:pt x="530" y="290"/>
                    <a:pt x="530" y="291"/>
                    <a:pt x="530" y="291"/>
                  </a:cubicBezTo>
                  <a:cubicBezTo>
                    <a:pt x="530" y="291"/>
                    <a:pt x="530" y="291"/>
                    <a:pt x="530" y="292"/>
                  </a:cubicBezTo>
                  <a:cubicBezTo>
                    <a:pt x="530" y="292"/>
                    <a:pt x="530" y="292"/>
                    <a:pt x="530" y="292"/>
                  </a:cubicBezTo>
                  <a:cubicBezTo>
                    <a:pt x="529" y="293"/>
                    <a:pt x="528" y="295"/>
                    <a:pt x="530" y="296"/>
                  </a:cubicBezTo>
                  <a:cubicBezTo>
                    <a:pt x="530" y="296"/>
                    <a:pt x="530" y="296"/>
                    <a:pt x="530" y="296"/>
                  </a:cubicBezTo>
                  <a:cubicBezTo>
                    <a:pt x="530" y="297"/>
                    <a:pt x="530" y="297"/>
                    <a:pt x="530" y="297"/>
                  </a:cubicBezTo>
                  <a:cubicBezTo>
                    <a:pt x="530" y="297"/>
                    <a:pt x="530" y="297"/>
                    <a:pt x="530" y="297"/>
                  </a:cubicBezTo>
                  <a:cubicBezTo>
                    <a:pt x="530" y="297"/>
                    <a:pt x="530" y="298"/>
                    <a:pt x="530" y="298"/>
                  </a:cubicBezTo>
                  <a:cubicBezTo>
                    <a:pt x="530" y="298"/>
                    <a:pt x="530" y="298"/>
                    <a:pt x="530" y="298"/>
                  </a:cubicBezTo>
                  <a:cubicBezTo>
                    <a:pt x="529" y="298"/>
                    <a:pt x="529" y="298"/>
                    <a:pt x="529" y="298"/>
                  </a:cubicBezTo>
                  <a:cubicBezTo>
                    <a:pt x="529" y="298"/>
                    <a:pt x="529" y="298"/>
                    <a:pt x="529" y="298"/>
                  </a:cubicBezTo>
                  <a:cubicBezTo>
                    <a:pt x="528" y="298"/>
                    <a:pt x="527" y="299"/>
                    <a:pt x="527" y="299"/>
                  </a:cubicBezTo>
                  <a:cubicBezTo>
                    <a:pt x="527" y="300"/>
                    <a:pt x="527" y="300"/>
                    <a:pt x="527" y="300"/>
                  </a:cubicBezTo>
                  <a:cubicBezTo>
                    <a:pt x="526" y="300"/>
                    <a:pt x="526" y="300"/>
                    <a:pt x="526" y="301"/>
                  </a:cubicBezTo>
                  <a:cubicBezTo>
                    <a:pt x="526" y="301"/>
                    <a:pt x="526" y="301"/>
                    <a:pt x="525" y="302"/>
                  </a:cubicBezTo>
                  <a:cubicBezTo>
                    <a:pt x="525" y="302"/>
                    <a:pt x="525" y="303"/>
                    <a:pt x="525" y="303"/>
                  </a:cubicBezTo>
                  <a:cubicBezTo>
                    <a:pt x="524" y="302"/>
                    <a:pt x="523" y="303"/>
                    <a:pt x="523" y="303"/>
                  </a:cubicBezTo>
                  <a:cubicBezTo>
                    <a:pt x="523" y="303"/>
                    <a:pt x="522" y="304"/>
                    <a:pt x="522" y="305"/>
                  </a:cubicBezTo>
                  <a:cubicBezTo>
                    <a:pt x="522" y="305"/>
                    <a:pt x="523" y="305"/>
                    <a:pt x="523" y="306"/>
                  </a:cubicBezTo>
                  <a:cubicBezTo>
                    <a:pt x="522" y="306"/>
                    <a:pt x="522" y="307"/>
                    <a:pt x="521" y="308"/>
                  </a:cubicBezTo>
                  <a:cubicBezTo>
                    <a:pt x="521" y="308"/>
                    <a:pt x="521" y="308"/>
                    <a:pt x="521" y="309"/>
                  </a:cubicBezTo>
                  <a:cubicBezTo>
                    <a:pt x="521" y="309"/>
                    <a:pt x="521" y="309"/>
                    <a:pt x="521" y="309"/>
                  </a:cubicBezTo>
                  <a:cubicBezTo>
                    <a:pt x="521" y="309"/>
                    <a:pt x="521" y="309"/>
                    <a:pt x="521" y="310"/>
                  </a:cubicBezTo>
                  <a:cubicBezTo>
                    <a:pt x="520" y="310"/>
                    <a:pt x="519" y="311"/>
                    <a:pt x="519" y="312"/>
                  </a:cubicBezTo>
                  <a:cubicBezTo>
                    <a:pt x="519" y="312"/>
                    <a:pt x="519" y="313"/>
                    <a:pt x="519" y="313"/>
                  </a:cubicBezTo>
                  <a:cubicBezTo>
                    <a:pt x="519" y="313"/>
                    <a:pt x="519" y="314"/>
                    <a:pt x="519" y="314"/>
                  </a:cubicBezTo>
                  <a:cubicBezTo>
                    <a:pt x="519" y="314"/>
                    <a:pt x="519" y="314"/>
                    <a:pt x="519" y="314"/>
                  </a:cubicBezTo>
                  <a:cubicBezTo>
                    <a:pt x="519" y="314"/>
                    <a:pt x="518" y="315"/>
                    <a:pt x="518" y="316"/>
                  </a:cubicBezTo>
                  <a:cubicBezTo>
                    <a:pt x="518" y="316"/>
                    <a:pt x="518" y="316"/>
                    <a:pt x="518" y="316"/>
                  </a:cubicBezTo>
                  <a:cubicBezTo>
                    <a:pt x="518" y="316"/>
                    <a:pt x="517" y="317"/>
                    <a:pt x="517" y="317"/>
                  </a:cubicBezTo>
                  <a:cubicBezTo>
                    <a:pt x="516" y="318"/>
                    <a:pt x="516" y="318"/>
                    <a:pt x="516" y="318"/>
                  </a:cubicBezTo>
                  <a:cubicBezTo>
                    <a:pt x="516" y="318"/>
                    <a:pt x="516" y="318"/>
                    <a:pt x="516" y="318"/>
                  </a:cubicBezTo>
                  <a:cubicBezTo>
                    <a:pt x="515" y="319"/>
                    <a:pt x="515" y="320"/>
                    <a:pt x="514" y="320"/>
                  </a:cubicBezTo>
                  <a:cubicBezTo>
                    <a:pt x="514" y="320"/>
                    <a:pt x="514" y="320"/>
                    <a:pt x="514" y="320"/>
                  </a:cubicBezTo>
                  <a:cubicBezTo>
                    <a:pt x="513" y="320"/>
                    <a:pt x="512" y="321"/>
                    <a:pt x="512" y="322"/>
                  </a:cubicBezTo>
                  <a:cubicBezTo>
                    <a:pt x="511" y="322"/>
                    <a:pt x="511" y="323"/>
                    <a:pt x="511" y="324"/>
                  </a:cubicBezTo>
                  <a:cubicBezTo>
                    <a:pt x="511" y="324"/>
                    <a:pt x="511" y="325"/>
                    <a:pt x="511" y="325"/>
                  </a:cubicBezTo>
                  <a:cubicBezTo>
                    <a:pt x="511" y="325"/>
                    <a:pt x="511" y="326"/>
                    <a:pt x="511" y="326"/>
                  </a:cubicBezTo>
                  <a:cubicBezTo>
                    <a:pt x="511" y="325"/>
                    <a:pt x="510" y="324"/>
                    <a:pt x="510" y="324"/>
                  </a:cubicBezTo>
                  <a:cubicBezTo>
                    <a:pt x="510" y="323"/>
                    <a:pt x="510" y="323"/>
                    <a:pt x="510" y="323"/>
                  </a:cubicBezTo>
                  <a:cubicBezTo>
                    <a:pt x="510" y="323"/>
                    <a:pt x="510" y="323"/>
                    <a:pt x="510" y="323"/>
                  </a:cubicBezTo>
                  <a:cubicBezTo>
                    <a:pt x="509" y="322"/>
                    <a:pt x="508" y="323"/>
                    <a:pt x="507" y="323"/>
                  </a:cubicBezTo>
                  <a:cubicBezTo>
                    <a:pt x="507" y="323"/>
                    <a:pt x="507" y="323"/>
                    <a:pt x="507" y="324"/>
                  </a:cubicBezTo>
                  <a:cubicBezTo>
                    <a:pt x="506" y="324"/>
                    <a:pt x="506" y="324"/>
                    <a:pt x="505" y="324"/>
                  </a:cubicBezTo>
                  <a:cubicBezTo>
                    <a:pt x="505" y="324"/>
                    <a:pt x="504" y="324"/>
                    <a:pt x="503" y="325"/>
                  </a:cubicBezTo>
                  <a:cubicBezTo>
                    <a:pt x="503" y="325"/>
                    <a:pt x="503" y="325"/>
                    <a:pt x="503" y="326"/>
                  </a:cubicBezTo>
                  <a:cubicBezTo>
                    <a:pt x="503" y="324"/>
                    <a:pt x="503" y="324"/>
                    <a:pt x="503" y="324"/>
                  </a:cubicBezTo>
                  <a:cubicBezTo>
                    <a:pt x="503" y="323"/>
                    <a:pt x="503" y="322"/>
                    <a:pt x="503" y="320"/>
                  </a:cubicBezTo>
                  <a:cubicBezTo>
                    <a:pt x="503" y="319"/>
                    <a:pt x="503" y="316"/>
                    <a:pt x="501" y="315"/>
                  </a:cubicBezTo>
                  <a:cubicBezTo>
                    <a:pt x="502" y="314"/>
                    <a:pt x="502" y="314"/>
                    <a:pt x="502" y="314"/>
                  </a:cubicBezTo>
                  <a:cubicBezTo>
                    <a:pt x="503" y="313"/>
                    <a:pt x="503" y="312"/>
                    <a:pt x="503" y="311"/>
                  </a:cubicBezTo>
                  <a:cubicBezTo>
                    <a:pt x="503" y="311"/>
                    <a:pt x="503" y="311"/>
                    <a:pt x="503" y="310"/>
                  </a:cubicBezTo>
                  <a:cubicBezTo>
                    <a:pt x="503" y="309"/>
                    <a:pt x="503" y="308"/>
                    <a:pt x="503" y="307"/>
                  </a:cubicBezTo>
                  <a:cubicBezTo>
                    <a:pt x="503" y="306"/>
                    <a:pt x="504" y="306"/>
                    <a:pt x="504" y="305"/>
                  </a:cubicBezTo>
                  <a:cubicBezTo>
                    <a:pt x="505" y="305"/>
                    <a:pt x="505" y="305"/>
                    <a:pt x="505" y="304"/>
                  </a:cubicBezTo>
                  <a:cubicBezTo>
                    <a:pt x="506" y="304"/>
                    <a:pt x="506" y="303"/>
                    <a:pt x="506" y="303"/>
                  </a:cubicBezTo>
                  <a:cubicBezTo>
                    <a:pt x="506" y="302"/>
                    <a:pt x="506" y="302"/>
                    <a:pt x="506" y="302"/>
                  </a:cubicBezTo>
                  <a:cubicBezTo>
                    <a:pt x="506" y="302"/>
                    <a:pt x="507" y="301"/>
                    <a:pt x="508" y="300"/>
                  </a:cubicBezTo>
                  <a:cubicBezTo>
                    <a:pt x="508" y="300"/>
                    <a:pt x="508" y="300"/>
                    <a:pt x="508" y="300"/>
                  </a:cubicBezTo>
                  <a:cubicBezTo>
                    <a:pt x="509" y="299"/>
                    <a:pt x="510" y="299"/>
                    <a:pt x="510" y="298"/>
                  </a:cubicBezTo>
                  <a:cubicBezTo>
                    <a:pt x="510" y="298"/>
                    <a:pt x="511" y="297"/>
                    <a:pt x="511" y="296"/>
                  </a:cubicBezTo>
                  <a:cubicBezTo>
                    <a:pt x="510" y="296"/>
                    <a:pt x="510" y="296"/>
                    <a:pt x="510" y="296"/>
                  </a:cubicBezTo>
                  <a:cubicBezTo>
                    <a:pt x="510" y="296"/>
                    <a:pt x="510" y="296"/>
                    <a:pt x="510" y="296"/>
                  </a:cubicBezTo>
                  <a:cubicBezTo>
                    <a:pt x="511" y="296"/>
                    <a:pt x="511" y="296"/>
                    <a:pt x="511" y="296"/>
                  </a:cubicBezTo>
                  <a:cubicBezTo>
                    <a:pt x="512" y="295"/>
                    <a:pt x="512" y="294"/>
                    <a:pt x="512" y="293"/>
                  </a:cubicBezTo>
                  <a:cubicBezTo>
                    <a:pt x="513" y="293"/>
                    <a:pt x="513" y="293"/>
                    <a:pt x="513" y="293"/>
                  </a:cubicBezTo>
                  <a:cubicBezTo>
                    <a:pt x="513" y="293"/>
                    <a:pt x="513" y="292"/>
                    <a:pt x="513" y="292"/>
                  </a:cubicBezTo>
                  <a:cubicBezTo>
                    <a:pt x="513" y="291"/>
                    <a:pt x="514" y="291"/>
                    <a:pt x="514" y="290"/>
                  </a:cubicBezTo>
                  <a:cubicBezTo>
                    <a:pt x="515" y="290"/>
                    <a:pt x="515" y="290"/>
                    <a:pt x="515" y="290"/>
                  </a:cubicBezTo>
                  <a:cubicBezTo>
                    <a:pt x="516" y="290"/>
                    <a:pt x="516" y="289"/>
                    <a:pt x="517" y="288"/>
                  </a:cubicBezTo>
                  <a:cubicBezTo>
                    <a:pt x="517" y="288"/>
                    <a:pt x="517" y="288"/>
                    <a:pt x="517" y="287"/>
                  </a:cubicBezTo>
                  <a:cubicBezTo>
                    <a:pt x="518" y="287"/>
                    <a:pt x="518" y="287"/>
                    <a:pt x="518" y="287"/>
                  </a:cubicBezTo>
                  <a:cubicBezTo>
                    <a:pt x="518" y="287"/>
                    <a:pt x="518" y="287"/>
                    <a:pt x="518" y="286"/>
                  </a:cubicBezTo>
                  <a:cubicBezTo>
                    <a:pt x="518" y="286"/>
                    <a:pt x="518" y="286"/>
                    <a:pt x="518" y="286"/>
                  </a:cubicBezTo>
                  <a:cubicBezTo>
                    <a:pt x="519" y="285"/>
                    <a:pt x="519" y="284"/>
                    <a:pt x="519" y="284"/>
                  </a:cubicBezTo>
                  <a:cubicBezTo>
                    <a:pt x="520" y="283"/>
                    <a:pt x="520" y="283"/>
                    <a:pt x="520" y="283"/>
                  </a:cubicBezTo>
                  <a:cubicBezTo>
                    <a:pt x="520" y="282"/>
                    <a:pt x="520" y="280"/>
                    <a:pt x="519" y="279"/>
                  </a:cubicBezTo>
                  <a:cubicBezTo>
                    <a:pt x="518" y="279"/>
                    <a:pt x="517" y="278"/>
                    <a:pt x="516" y="278"/>
                  </a:cubicBezTo>
                  <a:cubicBezTo>
                    <a:pt x="515" y="278"/>
                    <a:pt x="515" y="278"/>
                    <a:pt x="515" y="278"/>
                  </a:cubicBezTo>
                  <a:cubicBezTo>
                    <a:pt x="515" y="278"/>
                    <a:pt x="515" y="278"/>
                    <a:pt x="515" y="278"/>
                  </a:cubicBezTo>
                  <a:cubicBezTo>
                    <a:pt x="515" y="277"/>
                    <a:pt x="514" y="277"/>
                    <a:pt x="514" y="277"/>
                  </a:cubicBezTo>
                  <a:cubicBezTo>
                    <a:pt x="513" y="277"/>
                    <a:pt x="512" y="277"/>
                    <a:pt x="512" y="277"/>
                  </a:cubicBezTo>
                  <a:cubicBezTo>
                    <a:pt x="512" y="277"/>
                    <a:pt x="512" y="277"/>
                    <a:pt x="511" y="277"/>
                  </a:cubicBezTo>
                  <a:cubicBezTo>
                    <a:pt x="510" y="276"/>
                    <a:pt x="509" y="276"/>
                    <a:pt x="508" y="276"/>
                  </a:cubicBezTo>
                  <a:cubicBezTo>
                    <a:pt x="509" y="277"/>
                    <a:pt x="509" y="277"/>
                    <a:pt x="509" y="277"/>
                  </a:cubicBezTo>
                  <a:cubicBezTo>
                    <a:pt x="508" y="276"/>
                    <a:pt x="508" y="276"/>
                    <a:pt x="508" y="276"/>
                  </a:cubicBezTo>
                  <a:cubicBezTo>
                    <a:pt x="508" y="276"/>
                    <a:pt x="507" y="275"/>
                    <a:pt x="507" y="275"/>
                  </a:cubicBezTo>
                  <a:cubicBezTo>
                    <a:pt x="506" y="275"/>
                    <a:pt x="506" y="275"/>
                    <a:pt x="505" y="275"/>
                  </a:cubicBezTo>
                  <a:cubicBezTo>
                    <a:pt x="505" y="275"/>
                    <a:pt x="505" y="275"/>
                    <a:pt x="505" y="275"/>
                  </a:cubicBezTo>
                  <a:cubicBezTo>
                    <a:pt x="505" y="275"/>
                    <a:pt x="505" y="274"/>
                    <a:pt x="505" y="274"/>
                  </a:cubicBezTo>
                  <a:cubicBezTo>
                    <a:pt x="504" y="273"/>
                    <a:pt x="504" y="272"/>
                    <a:pt x="503" y="272"/>
                  </a:cubicBezTo>
                  <a:cubicBezTo>
                    <a:pt x="503" y="272"/>
                    <a:pt x="503" y="271"/>
                    <a:pt x="502" y="271"/>
                  </a:cubicBezTo>
                  <a:cubicBezTo>
                    <a:pt x="502" y="271"/>
                    <a:pt x="502" y="271"/>
                    <a:pt x="502" y="271"/>
                  </a:cubicBezTo>
                  <a:cubicBezTo>
                    <a:pt x="501" y="270"/>
                    <a:pt x="501" y="270"/>
                    <a:pt x="501" y="269"/>
                  </a:cubicBezTo>
                  <a:cubicBezTo>
                    <a:pt x="500" y="268"/>
                    <a:pt x="499" y="267"/>
                    <a:pt x="498" y="266"/>
                  </a:cubicBezTo>
                  <a:cubicBezTo>
                    <a:pt x="498" y="265"/>
                    <a:pt x="497" y="265"/>
                    <a:pt x="496" y="265"/>
                  </a:cubicBezTo>
                  <a:cubicBezTo>
                    <a:pt x="497" y="264"/>
                    <a:pt x="497" y="264"/>
                    <a:pt x="497" y="264"/>
                  </a:cubicBezTo>
                  <a:cubicBezTo>
                    <a:pt x="497" y="264"/>
                    <a:pt x="497" y="264"/>
                    <a:pt x="497" y="264"/>
                  </a:cubicBezTo>
                  <a:cubicBezTo>
                    <a:pt x="499" y="262"/>
                    <a:pt x="499" y="260"/>
                    <a:pt x="498" y="259"/>
                  </a:cubicBezTo>
                  <a:cubicBezTo>
                    <a:pt x="498" y="258"/>
                    <a:pt x="498" y="258"/>
                    <a:pt x="497" y="258"/>
                  </a:cubicBezTo>
                  <a:cubicBezTo>
                    <a:pt x="497" y="257"/>
                    <a:pt x="496" y="256"/>
                    <a:pt x="496" y="256"/>
                  </a:cubicBezTo>
                  <a:cubicBezTo>
                    <a:pt x="495" y="255"/>
                    <a:pt x="495" y="255"/>
                    <a:pt x="495" y="255"/>
                  </a:cubicBezTo>
                  <a:cubicBezTo>
                    <a:pt x="495" y="255"/>
                    <a:pt x="495" y="254"/>
                    <a:pt x="495" y="254"/>
                  </a:cubicBezTo>
                  <a:cubicBezTo>
                    <a:pt x="495" y="254"/>
                    <a:pt x="495" y="254"/>
                    <a:pt x="495" y="254"/>
                  </a:cubicBezTo>
                  <a:cubicBezTo>
                    <a:pt x="495" y="254"/>
                    <a:pt x="495" y="253"/>
                    <a:pt x="495" y="253"/>
                  </a:cubicBezTo>
                  <a:cubicBezTo>
                    <a:pt x="494" y="252"/>
                    <a:pt x="493" y="251"/>
                    <a:pt x="492" y="251"/>
                  </a:cubicBezTo>
                  <a:cubicBezTo>
                    <a:pt x="492" y="251"/>
                    <a:pt x="492" y="251"/>
                    <a:pt x="492" y="251"/>
                  </a:cubicBezTo>
                  <a:cubicBezTo>
                    <a:pt x="491" y="251"/>
                    <a:pt x="491" y="251"/>
                    <a:pt x="491" y="251"/>
                  </a:cubicBezTo>
                  <a:cubicBezTo>
                    <a:pt x="491" y="251"/>
                    <a:pt x="491" y="251"/>
                    <a:pt x="490" y="250"/>
                  </a:cubicBezTo>
                  <a:cubicBezTo>
                    <a:pt x="490" y="250"/>
                    <a:pt x="490" y="250"/>
                    <a:pt x="490" y="250"/>
                  </a:cubicBezTo>
                  <a:cubicBezTo>
                    <a:pt x="490" y="250"/>
                    <a:pt x="490" y="250"/>
                    <a:pt x="490" y="250"/>
                  </a:cubicBezTo>
                  <a:cubicBezTo>
                    <a:pt x="489" y="249"/>
                    <a:pt x="489" y="247"/>
                    <a:pt x="486" y="247"/>
                  </a:cubicBezTo>
                  <a:cubicBezTo>
                    <a:pt x="485" y="247"/>
                    <a:pt x="484" y="247"/>
                    <a:pt x="483" y="247"/>
                  </a:cubicBezTo>
                  <a:cubicBezTo>
                    <a:pt x="483" y="247"/>
                    <a:pt x="483" y="247"/>
                    <a:pt x="483" y="247"/>
                  </a:cubicBezTo>
                  <a:cubicBezTo>
                    <a:pt x="482" y="247"/>
                    <a:pt x="482" y="247"/>
                    <a:pt x="481" y="247"/>
                  </a:cubicBezTo>
                  <a:cubicBezTo>
                    <a:pt x="481" y="247"/>
                    <a:pt x="481" y="247"/>
                    <a:pt x="480" y="248"/>
                  </a:cubicBezTo>
                  <a:cubicBezTo>
                    <a:pt x="480" y="248"/>
                    <a:pt x="480" y="248"/>
                    <a:pt x="480" y="248"/>
                  </a:cubicBezTo>
                  <a:cubicBezTo>
                    <a:pt x="479" y="248"/>
                    <a:pt x="479" y="248"/>
                    <a:pt x="479" y="248"/>
                  </a:cubicBezTo>
                  <a:cubicBezTo>
                    <a:pt x="479" y="248"/>
                    <a:pt x="479" y="248"/>
                    <a:pt x="479" y="248"/>
                  </a:cubicBezTo>
                  <a:cubicBezTo>
                    <a:pt x="478" y="248"/>
                    <a:pt x="478" y="248"/>
                    <a:pt x="478" y="248"/>
                  </a:cubicBezTo>
                  <a:cubicBezTo>
                    <a:pt x="478" y="248"/>
                    <a:pt x="478" y="247"/>
                    <a:pt x="478" y="247"/>
                  </a:cubicBezTo>
                  <a:cubicBezTo>
                    <a:pt x="478" y="247"/>
                    <a:pt x="478" y="246"/>
                    <a:pt x="477" y="246"/>
                  </a:cubicBezTo>
                  <a:cubicBezTo>
                    <a:pt x="477" y="246"/>
                    <a:pt x="477" y="246"/>
                    <a:pt x="476" y="245"/>
                  </a:cubicBezTo>
                  <a:cubicBezTo>
                    <a:pt x="476" y="245"/>
                    <a:pt x="476" y="245"/>
                    <a:pt x="476" y="245"/>
                  </a:cubicBezTo>
                  <a:cubicBezTo>
                    <a:pt x="475" y="245"/>
                    <a:pt x="475" y="245"/>
                    <a:pt x="475" y="245"/>
                  </a:cubicBezTo>
                  <a:cubicBezTo>
                    <a:pt x="477" y="245"/>
                    <a:pt x="477" y="245"/>
                    <a:pt x="477" y="245"/>
                  </a:cubicBezTo>
                  <a:cubicBezTo>
                    <a:pt x="477" y="244"/>
                    <a:pt x="478" y="242"/>
                    <a:pt x="479" y="241"/>
                  </a:cubicBezTo>
                  <a:cubicBezTo>
                    <a:pt x="479" y="241"/>
                    <a:pt x="479" y="240"/>
                    <a:pt x="480" y="240"/>
                  </a:cubicBezTo>
                  <a:cubicBezTo>
                    <a:pt x="480" y="239"/>
                    <a:pt x="481" y="239"/>
                    <a:pt x="481" y="238"/>
                  </a:cubicBezTo>
                  <a:cubicBezTo>
                    <a:pt x="482" y="238"/>
                    <a:pt x="483" y="237"/>
                    <a:pt x="484" y="236"/>
                  </a:cubicBezTo>
                  <a:cubicBezTo>
                    <a:pt x="484" y="236"/>
                    <a:pt x="485" y="235"/>
                    <a:pt x="486" y="234"/>
                  </a:cubicBezTo>
                  <a:cubicBezTo>
                    <a:pt x="486" y="233"/>
                    <a:pt x="487" y="233"/>
                    <a:pt x="487" y="232"/>
                  </a:cubicBezTo>
                  <a:cubicBezTo>
                    <a:pt x="487" y="232"/>
                    <a:pt x="488" y="232"/>
                    <a:pt x="488" y="231"/>
                  </a:cubicBezTo>
                  <a:cubicBezTo>
                    <a:pt x="488" y="231"/>
                    <a:pt x="488" y="230"/>
                    <a:pt x="489" y="230"/>
                  </a:cubicBezTo>
                  <a:cubicBezTo>
                    <a:pt x="489" y="229"/>
                    <a:pt x="489" y="227"/>
                    <a:pt x="487" y="226"/>
                  </a:cubicBezTo>
                  <a:cubicBezTo>
                    <a:pt x="487" y="226"/>
                    <a:pt x="486" y="226"/>
                    <a:pt x="486" y="226"/>
                  </a:cubicBezTo>
                  <a:cubicBezTo>
                    <a:pt x="486" y="226"/>
                    <a:pt x="486" y="226"/>
                    <a:pt x="486" y="226"/>
                  </a:cubicBezTo>
                  <a:cubicBezTo>
                    <a:pt x="485" y="227"/>
                    <a:pt x="485" y="227"/>
                    <a:pt x="485" y="227"/>
                  </a:cubicBezTo>
                  <a:cubicBezTo>
                    <a:pt x="485" y="226"/>
                    <a:pt x="485" y="226"/>
                    <a:pt x="485" y="226"/>
                  </a:cubicBezTo>
                  <a:cubicBezTo>
                    <a:pt x="485" y="226"/>
                    <a:pt x="485" y="226"/>
                    <a:pt x="485" y="226"/>
                  </a:cubicBezTo>
                  <a:cubicBezTo>
                    <a:pt x="484" y="226"/>
                    <a:pt x="484" y="225"/>
                    <a:pt x="483" y="226"/>
                  </a:cubicBezTo>
                  <a:cubicBezTo>
                    <a:pt x="482" y="226"/>
                    <a:pt x="482" y="226"/>
                    <a:pt x="482" y="226"/>
                  </a:cubicBezTo>
                  <a:cubicBezTo>
                    <a:pt x="482" y="226"/>
                    <a:pt x="482" y="226"/>
                    <a:pt x="482" y="226"/>
                  </a:cubicBezTo>
                  <a:cubicBezTo>
                    <a:pt x="482" y="226"/>
                    <a:pt x="482" y="225"/>
                    <a:pt x="482" y="225"/>
                  </a:cubicBezTo>
                  <a:cubicBezTo>
                    <a:pt x="482" y="225"/>
                    <a:pt x="482" y="225"/>
                    <a:pt x="482" y="225"/>
                  </a:cubicBezTo>
                  <a:cubicBezTo>
                    <a:pt x="482" y="225"/>
                    <a:pt x="482" y="225"/>
                    <a:pt x="482" y="225"/>
                  </a:cubicBezTo>
                  <a:cubicBezTo>
                    <a:pt x="482" y="224"/>
                    <a:pt x="483" y="224"/>
                    <a:pt x="483" y="224"/>
                  </a:cubicBezTo>
                  <a:cubicBezTo>
                    <a:pt x="483" y="223"/>
                    <a:pt x="483" y="223"/>
                    <a:pt x="483" y="223"/>
                  </a:cubicBezTo>
                  <a:cubicBezTo>
                    <a:pt x="484" y="223"/>
                    <a:pt x="484" y="222"/>
                    <a:pt x="484" y="222"/>
                  </a:cubicBezTo>
                  <a:cubicBezTo>
                    <a:pt x="484" y="222"/>
                    <a:pt x="484" y="222"/>
                    <a:pt x="485" y="222"/>
                  </a:cubicBezTo>
                  <a:cubicBezTo>
                    <a:pt x="485" y="221"/>
                    <a:pt x="485" y="221"/>
                    <a:pt x="486" y="221"/>
                  </a:cubicBezTo>
                  <a:cubicBezTo>
                    <a:pt x="486" y="220"/>
                    <a:pt x="487" y="220"/>
                    <a:pt x="487" y="219"/>
                  </a:cubicBezTo>
                  <a:cubicBezTo>
                    <a:pt x="488" y="218"/>
                    <a:pt x="488" y="218"/>
                    <a:pt x="488" y="218"/>
                  </a:cubicBezTo>
                  <a:cubicBezTo>
                    <a:pt x="488" y="218"/>
                    <a:pt x="488" y="217"/>
                    <a:pt x="489" y="217"/>
                  </a:cubicBezTo>
                  <a:cubicBezTo>
                    <a:pt x="489" y="217"/>
                    <a:pt x="489" y="216"/>
                    <a:pt x="490" y="215"/>
                  </a:cubicBezTo>
                  <a:cubicBezTo>
                    <a:pt x="490" y="215"/>
                    <a:pt x="490" y="215"/>
                    <a:pt x="490" y="215"/>
                  </a:cubicBezTo>
                  <a:cubicBezTo>
                    <a:pt x="490" y="215"/>
                    <a:pt x="491" y="215"/>
                    <a:pt x="491" y="214"/>
                  </a:cubicBezTo>
                  <a:cubicBezTo>
                    <a:pt x="491" y="214"/>
                    <a:pt x="491" y="214"/>
                    <a:pt x="491" y="214"/>
                  </a:cubicBezTo>
                  <a:cubicBezTo>
                    <a:pt x="492" y="213"/>
                    <a:pt x="492" y="213"/>
                    <a:pt x="493" y="213"/>
                  </a:cubicBezTo>
                  <a:cubicBezTo>
                    <a:pt x="492" y="212"/>
                    <a:pt x="492" y="212"/>
                    <a:pt x="492" y="212"/>
                  </a:cubicBezTo>
                  <a:cubicBezTo>
                    <a:pt x="493" y="212"/>
                    <a:pt x="493" y="212"/>
                    <a:pt x="493" y="212"/>
                  </a:cubicBezTo>
                  <a:cubicBezTo>
                    <a:pt x="494" y="212"/>
                    <a:pt x="494" y="212"/>
                    <a:pt x="494" y="212"/>
                  </a:cubicBezTo>
                  <a:cubicBezTo>
                    <a:pt x="495" y="211"/>
                    <a:pt x="495" y="211"/>
                    <a:pt x="495" y="211"/>
                  </a:cubicBezTo>
                  <a:cubicBezTo>
                    <a:pt x="496" y="210"/>
                    <a:pt x="496" y="210"/>
                    <a:pt x="496" y="210"/>
                  </a:cubicBezTo>
                  <a:cubicBezTo>
                    <a:pt x="496" y="210"/>
                    <a:pt x="496" y="210"/>
                    <a:pt x="496" y="210"/>
                  </a:cubicBezTo>
                  <a:cubicBezTo>
                    <a:pt x="497" y="210"/>
                    <a:pt x="497" y="210"/>
                    <a:pt x="498" y="209"/>
                  </a:cubicBezTo>
                  <a:cubicBezTo>
                    <a:pt x="498" y="208"/>
                    <a:pt x="498" y="207"/>
                    <a:pt x="497" y="207"/>
                  </a:cubicBezTo>
                  <a:cubicBezTo>
                    <a:pt x="498" y="207"/>
                    <a:pt x="498" y="207"/>
                    <a:pt x="499" y="207"/>
                  </a:cubicBezTo>
                  <a:cubicBezTo>
                    <a:pt x="500" y="207"/>
                    <a:pt x="501" y="207"/>
                    <a:pt x="501" y="206"/>
                  </a:cubicBezTo>
                  <a:cubicBezTo>
                    <a:pt x="502" y="206"/>
                    <a:pt x="502" y="206"/>
                    <a:pt x="502" y="206"/>
                  </a:cubicBezTo>
                  <a:cubicBezTo>
                    <a:pt x="502" y="206"/>
                    <a:pt x="502" y="206"/>
                    <a:pt x="502" y="205"/>
                  </a:cubicBezTo>
                  <a:cubicBezTo>
                    <a:pt x="502" y="205"/>
                    <a:pt x="502" y="205"/>
                    <a:pt x="503" y="205"/>
                  </a:cubicBezTo>
                  <a:cubicBezTo>
                    <a:pt x="503" y="205"/>
                    <a:pt x="503" y="205"/>
                    <a:pt x="503" y="205"/>
                  </a:cubicBezTo>
                  <a:cubicBezTo>
                    <a:pt x="503" y="205"/>
                    <a:pt x="504" y="204"/>
                    <a:pt x="504" y="204"/>
                  </a:cubicBezTo>
                  <a:cubicBezTo>
                    <a:pt x="504" y="204"/>
                    <a:pt x="505" y="204"/>
                    <a:pt x="505" y="204"/>
                  </a:cubicBezTo>
                  <a:cubicBezTo>
                    <a:pt x="506" y="203"/>
                    <a:pt x="506" y="203"/>
                    <a:pt x="506" y="203"/>
                  </a:cubicBezTo>
                  <a:cubicBezTo>
                    <a:pt x="507" y="203"/>
                    <a:pt x="507" y="203"/>
                    <a:pt x="507" y="203"/>
                  </a:cubicBezTo>
                  <a:cubicBezTo>
                    <a:pt x="507" y="203"/>
                    <a:pt x="507" y="202"/>
                    <a:pt x="507" y="202"/>
                  </a:cubicBezTo>
                  <a:cubicBezTo>
                    <a:pt x="508" y="202"/>
                    <a:pt x="508" y="202"/>
                    <a:pt x="509" y="201"/>
                  </a:cubicBezTo>
                  <a:cubicBezTo>
                    <a:pt x="509" y="201"/>
                    <a:pt x="509" y="201"/>
                    <a:pt x="509" y="201"/>
                  </a:cubicBezTo>
                  <a:cubicBezTo>
                    <a:pt x="509" y="201"/>
                    <a:pt x="509" y="201"/>
                    <a:pt x="509" y="201"/>
                  </a:cubicBezTo>
                  <a:cubicBezTo>
                    <a:pt x="509" y="201"/>
                    <a:pt x="510" y="200"/>
                    <a:pt x="510" y="200"/>
                  </a:cubicBezTo>
                  <a:cubicBezTo>
                    <a:pt x="510" y="200"/>
                    <a:pt x="510" y="200"/>
                    <a:pt x="510" y="200"/>
                  </a:cubicBezTo>
                  <a:cubicBezTo>
                    <a:pt x="510" y="200"/>
                    <a:pt x="511" y="200"/>
                    <a:pt x="511" y="200"/>
                  </a:cubicBezTo>
                  <a:cubicBezTo>
                    <a:pt x="511" y="200"/>
                    <a:pt x="511" y="200"/>
                    <a:pt x="512" y="200"/>
                  </a:cubicBezTo>
                  <a:cubicBezTo>
                    <a:pt x="512" y="200"/>
                    <a:pt x="512" y="200"/>
                    <a:pt x="512" y="200"/>
                  </a:cubicBezTo>
                  <a:cubicBezTo>
                    <a:pt x="512" y="200"/>
                    <a:pt x="512" y="200"/>
                    <a:pt x="512" y="200"/>
                  </a:cubicBezTo>
                  <a:cubicBezTo>
                    <a:pt x="513" y="199"/>
                    <a:pt x="513" y="199"/>
                    <a:pt x="513" y="199"/>
                  </a:cubicBezTo>
                  <a:cubicBezTo>
                    <a:pt x="513" y="198"/>
                    <a:pt x="513" y="198"/>
                    <a:pt x="513" y="198"/>
                  </a:cubicBezTo>
                  <a:cubicBezTo>
                    <a:pt x="514" y="198"/>
                    <a:pt x="514" y="198"/>
                    <a:pt x="514" y="198"/>
                  </a:cubicBezTo>
                  <a:cubicBezTo>
                    <a:pt x="514" y="197"/>
                    <a:pt x="514" y="197"/>
                    <a:pt x="515" y="197"/>
                  </a:cubicBezTo>
                  <a:cubicBezTo>
                    <a:pt x="515" y="197"/>
                    <a:pt x="515" y="197"/>
                    <a:pt x="515" y="197"/>
                  </a:cubicBezTo>
                  <a:cubicBezTo>
                    <a:pt x="516" y="197"/>
                    <a:pt x="516" y="196"/>
                    <a:pt x="516" y="196"/>
                  </a:cubicBezTo>
                  <a:cubicBezTo>
                    <a:pt x="517" y="196"/>
                    <a:pt x="517" y="196"/>
                    <a:pt x="517" y="196"/>
                  </a:cubicBezTo>
                  <a:cubicBezTo>
                    <a:pt x="517" y="196"/>
                    <a:pt x="517" y="196"/>
                    <a:pt x="517" y="196"/>
                  </a:cubicBezTo>
                  <a:cubicBezTo>
                    <a:pt x="518" y="196"/>
                    <a:pt x="518" y="196"/>
                    <a:pt x="518" y="196"/>
                  </a:cubicBezTo>
                  <a:cubicBezTo>
                    <a:pt x="518" y="196"/>
                    <a:pt x="518" y="196"/>
                    <a:pt x="519" y="196"/>
                  </a:cubicBezTo>
                  <a:cubicBezTo>
                    <a:pt x="519" y="196"/>
                    <a:pt x="520" y="195"/>
                    <a:pt x="520" y="195"/>
                  </a:cubicBezTo>
                  <a:cubicBezTo>
                    <a:pt x="520" y="195"/>
                    <a:pt x="520" y="194"/>
                    <a:pt x="520" y="194"/>
                  </a:cubicBezTo>
                  <a:cubicBezTo>
                    <a:pt x="521" y="194"/>
                    <a:pt x="522" y="193"/>
                    <a:pt x="522" y="193"/>
                  </a:cubicBezTo>
                  <a:cubicBezTo>
                    <a:pt x="522" y="193"/>
                    <a:pt x="523" y="193"/>
                    <a:pt x="523" y="193"/>
                  </a:cubicBezTo>
                  <a:cubicBezTo>
                    <a:pt x="523" y="193"/>
                    <a:pt x="523" y="193"/>
                    <a:pt x="523" y="193"/>
                  </a:cubicBezTo>
                  <a:cubicBezTo>
                    <a:pt x="523" y="193"/>
                    <a:pt x="523" y="193"/>
                    <a:pt x="523" y="193"/>
                  </a:cubicBezTo>
                  <a:cubicBezTo>
                    <a:pt x="524" y="193"/>
                    <a:pt x="525" y="192"/>
                    <a:pt x="525" y="192"/>
                  </a:cubicBezTo>
                  <a:cubicBezTo>
                    <a:pt x="525" y="192"/>
                    <a:pt x="525" y="192"/>
                    <a:pt x="525" y="191"/>
                  </a:cubicBezTo>
                  <a:cubicBezTo>
                    <a:pt x="526" y="191"/>
                    <a:pt x="526" y="191"/>
                    <a:pt x="526" y="190"/>
                  </a:cubicBezTo>
                  <a:cubicBezTo>
                    <a:pt x="526" y="190"/>
                    <a:pt x="526" y="190"/>
                    <a:pt x="527" y="190"/>
                  </a:cubicBezTo>
                  <a:cubicBezTo>
                    <a:pt x="527" y="190"/>
                    <a:pt x="527" y="190"/>
                    <a:pt x="528" y="190"/>
                  </a:cubicBezTo>
                  <a:cubicBezTo>
                    <a:pt x="528" y="190"/>
                    <a:pt x="528" y="190"/>
                    <a:pt x="528" y="191"/>
                  </a:cubicBezTo>
                  <a:cubicBezTo>
                    <a:pt x="528" y="191"/>
                    <a:pt x="529" y="191"/>
                    <a:pt x="529" y="191"/>
                  </a:cubicBezTo>
                  <a:cubicBezTo>
                    <a:pt x="530" y="191"/>
                    <a:pt x="530" y="191"/>
                    <a:pt x="530" y="191"/>
                  </a:cubicBezTo>
                  <a:cubicBezTo>
                    <a:pt x="530" y="191"/>
                    <a:pt x="530" y="191"/>
                    <a:pt x="530" y="191"/>
                  </a:cubicBezTo>
                  <a:cubicBezTo>
                    <a:pt x="530" y="190"/>
                    <a:pt x="531" y="190"/>
                    <a:pt x="531" y="190"/>
                  </a:cubicBezTo>
                  <a:cubicBezTo>
                    <a:pt x="531" y="189"/>
                    <a:pt x="531" y="189"/>
                    <a:pt x="532" y="188"/>
                  </a:cubicBezTo>
                  <a:cubicBezTo>
                    <a:pt x="532" y="188"/>
                    <a:pt x="532" y="188"/>
                    <a:pt x="532" y="188"/>
                  </a:cubicBezTo>
                  <a:cubicBezTo>
                    <a:pt x="532" y="188"/>
                    <a:pt x="532" y="188"/>
                    <a:pt x="532" y="188"/>
                  </a:cubicBezTo>
                  <a:cubicBezTo>
                    <a:pt x="532" y="188"/>
                    <a:pt x="532" y="188"/>
                    <a:pt x="533" y="189"/>
                  </a:cubicBezTo>
                  <a:cubicBezTo>
                    <a:pt x="533" y="189"/>
                    <a:pt x="534" y="189"/>
                    <a:pt x="535" y="188"/>
                  </a:cubicBezTo>
                  <a:cubicBezTo>
                    <a:pt x="535" y="188"/>
                    <a:pt x="535" y="187"/>
                    <a:pt x="535" y="187"/>
                  </a:cubicBezTo>
                  <a:cubicBezTo>
                    <a:pt x="535" y="187"/>
                    <a:pt x="536" y="187"/>
                    <a:pt x="536" y="187"/>
                  </a:cubicBezTo>
                  <a:cubicBezTo>
                    <a:pt x="537" y="187"/>
                    <a:pt x="537" y="186"/>
                    <a:pt x="538" y="185"/>
                  </a:cubicBezTo>
                  <a:cubicBezTo>
                    <a:pt x="538" y="185"/>
                    <a:pt x="538" y="184"/>
                    <a:pt x="538" y="184"/>
                  </a:cubicBezTo>
                  <a:cubicBezTo>
                    <a:pt x="538" y="184"/>
                    <a:pt x="539" y="184"/>
                    <a:pt x="539" y="184"/>
                  </a:cubicBezTo>
                  <a:cubicBezTo>
                    <a:pt x="540" y="185"/>
                    <a:pt x="540" y="185"/>
                    <a:pt x="540" y="185"/>
                  </a:cubicBezTo>
                  <a:cubicBezTo>
                    <a:pt x="540" y="185"/>
                    <a:pt x="541" y="185"/>
                    <a:pt x="542" y="185"/>
                  </a:cubicBezTo>
                  <a:cubicBezTo>
                    <a:pt x="544" y="186"/>
                    <a:pt x="545" y="185"/>
                    <a:pt x="546" y="185"/>
                  </a:cubicBezTo>
                  <a:cubicBezTo>
                    <a:pt x="547" y="185"/>
                    <a:pt x="547" y="184"/>
                    <a:pt x="547" y="184"/>
                  </a:cubicBezTo>
                  <a:cubicBezTo>
                    <a:pt x="548" y="184"/>
                    <a:pt x="548" y="184"/>
                    <a:pt x="548" y="184"/>
                  </a:cubicBezTo>
                  <a:cubicBezTo>
                    <a:pt x="549" y="183"/>
                    <a:pt x="549" y="183"/>
                    <a:pt x="549" y="183"/>
                  </a:cubicBezTo>
                  <a:cubicBezTo>
                    <a:pt x="551" y="182"/>
                    <a:pt x="552" y="181"/>
                    <a:pt x="552" y="179"/>
                  </a:cubicBezTo>
                  <a:cubicBezTo>
                    <a:pt x="552" y="179"/>
                    <a:pt x="552" y="178"/>
                    <a:pt x="552" y="178"/>
                  </a:cubicBezTo>
                  <a:cubicBezTo>
                    <a:pt x="552" y="178"/>
                    <a:pt x="553" y="178"/>
                    <a:pt x="553" y="178"/>
                  </a:cubicBezTo>
                  <a:cubicBezTo>
                    <a:pt x="554" y="179"/>
                    <a:pt x="556" y="178"/>
                    <a:pt x="556" y="178"/>
                  </a:cubicBezTo>
                  <a:cubicBezTo>
                    <a:pt x="557" y="178"/>
                    <a:pt x="557" y="178"/>
                    <a:pt x="557" y="178"/>
                  </a:cubicBezTo>
                  <a:cubicBezTo>
                    <a:pt x="557" y="178"/>
                    <a:pt x="557" y="178"/>
                    <a:pt x="557" y="178"/>
                  </a:cubicBezTo>
                  <a:cubicBezTo>
                    <a:pt x="559" y="178"/>
                    <a:pt x="560" y="178"/>
                    <a:pt x="561" y="177"/>
                  </a:cubicBezTo>
                  <a:cubicBezTo>
                    <a:pt x="561" y="177"/>
                    <a:pt x="561" y="176"/>
                    <a:pt x="561" y="176"/>
                  </a:cubicBezTo>
                  <a:cubicBezTo>
                    <a:pt x="562" y="176"/>
                    <a:pt x="562" y="176"/>
                    <a:pt x="562" y="176"/>
                  </a:cubicBezTo>
                  <a:cubicBezTo>
                    <a:pt x="562" y="176"/>
                    <a:pt x="562" y="176"/>
                    <a:pt x="562" y="176"/>
                  </a:cubicBezTo>
                  <a:cubicBezTo>
                    <a:pt x="563" y="176"/>
                    <a:pt x="564" y="175"/>
                    <a:pt x="564" y="174"/>
                  </a:cubicBezTo>
                  <a:cubicBezTo>
                    <a:pt x="564" y="174"/>
                    <a:pt x="564" y="174"/>
                    <a:pt x="564" y="174"/>
                  </a:cubicBezTo>
                  <a:cubicBezTo>
                    <a:pt x="565" y="175"/>
                    <a:pt x="565" y="175"/>
                    <a:pt x="566" y="175"/>
                  </a:cubicBezTo>
                  <a:cubicBezTo>
                    <a:pt x="566" y="175"/>
                    <a:pt x="566" y="175"/>
                    <a:pt x="566" y="175"/>
                  </a:cubicBezTo>
                  <a:cubicBezTo>
                    <a:pt x="567" y="175"/>
                    <a:pt x="567" y="175"/>
                    <a:pt x="567" y="175"/>
                  </a:cubicBezTo>
                  <a:cubicBezTo>
                    <a:pt x="567" y="175"/>
                    <a:pt x="568" y="175"/>
                    <a:pt x="568" y="175"/>
                  </a:cubicBezTo>
                  <a:cubicBezTo>
                    <a:pt x="568" y="176"/>
                    <a:pt x="568" y="176"/>
                    <a:pt x="568" y="176"/>
                  </a:cubicBezTo>
                  <a:cubicBezTo>
                    <a:pt x="568" y="176"/>
                    <a:pt x="569" y="176"/>
                    <a:pt x="570" y="176"/>
                  </a:cubicBezTo>
                  <a:cubicBezTo>
                    <a:pt x="570" y="176"/>
                    <a:pt x="570" y="176"/>
                    <a:pt x="570" y="176"/>
                  </a:cubicBezTo>
                  <a:cubicBezTo>
                    <a:pt x="570" y="176"/>
                    <a:pt x="571" y="176"/>
                    <a:pt x="571" y="175"/>
                  </a:cubicBezTo>
                  <a:cubicBezTo>
                    <a:pt x="571" y="175"/>
                    <a:pt x="571" y="175"/>
                    <a:pt x="571" y="175"/>
                  </a:cubicBezTo>
                  <a:cubicBezTo>
                    <a:pt x="571" y="175"/>
                    <a:pt x="571" y="175"/>
                    <a:pt x="571" y="175"/>
                  </a:cubicBezTo>
                  <a:cubicBezTo>
                    <a:pt x="572" y="175"/>
                    <a:pt x="572" y="175"/>
                    <a:pt x="573" y="175"/>
                  </a:cubicBezTo>
                  <a:cubicBezTo>
                    <a:pt x="574" y="175"/>
                    <a:pt x="574" y="175"/>
                    <a:pt x="575" y="175"/>
                  </a:cubicBezTo>
                  <a:cubicBezTo>
                    <a:pt x="575" y="174"/>
                    <a:pt x="576" y="174"/>
                    <a:pt x="577" y="173"/>
                  </a:cubicBezTo>
                  <a:cubicBezTo>
                    <a:pt x="577" y="172"/>
                    <a:pt x="578" y="172"/>
                    <a:pt x="578" y="172"/>
                  </a:cubicBezTo>
                  <a:cubicBezTo>
                    <a:pt x="578" y="172"/>
                    <a:pt x="578" y="172"/>
                    <a:pt x="578" y="172"/>
                  </a:cubicBezTo>
                  <a:cubicBezTo>
                    <a:pt x="579" y="171"/>
                    <a:pt x="579" y="171"/>
                    <a:pt x="579" y="171"/>
                  </a:cubicBezTo>
                  <a:cubicBezTo>
                    <a:pt x="579" y="171"/>
                    <a:pt x="580" y="171"/>
                    <a:pt x="580" y="170"/>
                  </a:cubicBezTo>
                  <a:cubicBezTo>
                    <a:pt x="580" y="170"/>
                    <a:pt x="580" y="170"/>
                    <a:pt x="580" y="170"/>
                  </a:cubicBezTo>
                  <a:cubicBezTo>
                    <a:pt x="580" y="170"/>
                    <a:pt x="581" y="170"/>
                    <a:pt x="581" y="170"/>
                  </a:cubicBezTo>
                  <a:cubicBezTo>
                    <a:pt x="581" y="169"/>
                    <a:pt x="581" y="169"/>
                    <a:pt x="582" y="169"/>
                  </a:cubicBezTo>
                  <a:cubicBezTo>
                    <a:pt x="584" y="169"/>
                    <a:pt x="584" y="169"/>
                    <a:pt x="584" y="169"/>
                  </a:cubicBezTo>
                  <a:cubicBezTo>
                    <a:pt x="584" y="169"/>
                    <a:pt x="585" y="169"/>
                    <a:pt x="585" y="169"/>
                  </a:cubicBezTo>
                  <a:cubicBezTo>
                    <a:pt x="586" y="169"/>
                    <a:pt x="586" y="168"/>
                    <a:pt x="587" y="168"/>
                  </a:cubicBezTo>
                  <a:cubicBezTo>
                    <a:pt x="587" y="168"/>
                    <a:pt x="587" y="168"/>
                    <a:pt x="587" y="167"/>
                  </a:cubicBezTo>
                  <a:cubicBezTo>
                    <a:pt x="587" y="167"/>
                    <a:pt x="588" y="167"/>
                    <a:pt x="588" y="167"/>
                  </a:cubicBezTo>
                  <a:cubicBezTo>
                    <a:pt x="588" y="167"/>
                    <a:pt x="588" y="167"/>
                    <a:pt x="588" y="167"/>
                  </a:cubicBezTo>
                  <a:cubicBezTo>
                    <a:pt x="589" y="167"/>
                    <a:pt x="589" y="167"/>
                    <a:pt x="589" y="167"/>
                  </a:cubicBezTo>
                  <a:cubicBezTo>
                    <a:pt x="591" y="166"/>
                    <a:pt x="591" y="166"/>
                    <a:pt x="592" y="165"/>
                  </a:cubicBezTo>
                  <a:cubicBezTo>
                    <a:pt x="592" y="165"/>
                    <a:pt x="592" y="165"/>
                    <a:pt x="592" y="165"/>
                  </a:cubicBezTo>
                  <a:cubicBezTo>
                    <a:pt x="592" y="164"/>
                    <a:pt x="593" y="164"/>
                    <a:pt x="593" y="163"/>
                  </a:cubicBezTo>
                  <a:cubicBezTo>
                    <a:pt x="593" y="162"/>
                    <a:pt x="593" y="162"/>
                    <a:pt x="593" y="161"/>
                  </a:cubicBezTo>
                  <a:cubicBezTo>
                    <a:pt x="593" y="161"/>
                    <a:pt x="593" y="161"/>
                    <a:pt x="593" y="161"/>
                  </a:cubicBezTo>
                  <a:cubicBezTo>
                    <a:pt x="593" y="161"/>
                    <a:pt x="593" y="161"/>
                    <a:pt x="594" y="161"/>
                  </a:cubicBezTo>
                  <a:cubicBezTo>
                    <a:pt x="594" y="161"/>
                    <a:pt x="594" y="161"/>
                    <a:pt x="594" y="160"/>
                  </a:cubicBezTo>
                  <a:cubicBezTo>
                    <a:pt x="595" y="160"/>
                    <a:pt x="595" y="160"/>
                    <a:pt x="595" y="160"/>
                  </a:cubicBezTo>
                  <a:cubicBezTo>
                    <a:pt x="596" y="160"/>
                    <a:pt x="596" y="160"/>
                    <a:pt x="596" y="159"/>
                  </a:cubicBezTo>
                  <a:cubicBezTo>
                    <a:pt x="596" y="159"/>
                    <a:pt x="596" y="159"/>
                    <a:pt x="596" y="159"/>
                  </a:cubicBezTo>
                  <a:cubicBezTo>
                    <a:pt x="597" y="159"/>
                    <a:pt x="597" y="159"/>
                    <a:pt x="598" y="159"/>
                  </a:cubicBezTo>
                  <a:cubicBezTo>
                    <a:pt x="599" y="159"/>
                    <a:pt x="600" y="159"/>
                    <a:pt x="601" y="158"/>
                  </a:cubicBezTo>
                  <a:cubicBezTo>
                    <a:pt x="601" y="158"/>
                    <a:pt x="601" y="158"/>
                    <a:pt x="601" y="158"/>
                  </a:cubicBezTo>
                  <a:cubicBezTo>
                    <a:pt x="601" y="158"/>
                    <a:pt x="601" y="159"/>
                    <a:pt x="600" y="160"/>
                  </a:cubicBezTo>
                  <a:cubicBezTo>
                    <a:pt x="600" y="160"/>
                    <a:pt x="599" y="161"/>
                    <a:pt x="599" y="161"/>
                  </a:cubicBezTo>
                  <a:cubicBezTo>
                    <a:pt x="598" y="162"/>
                    <a:pt x="598" y="162"/>
                    <a:pt x="597" y="163"/>
                  </a:cubicBezTo>
                  <a:cubicBezTo>
                    <a:pt x="597" y="163"/>
                    <a:pt x="597" y="163"/>
                    <a:pt x="597" y="163"/>
                  </a:cubicBezTo>
                  <a:cubicBezTo>
                    <a:pt x="596" y="163"/>
                    <a:pt x="596" y="164"/>
                    <a:pt x="595" y="164"/>
                  </a:cubicBezTo>
                  <a:cubicBezTo>
                    <a:pt x="594" y="165"/>
                    <a:pt x="594" y="165"/>
                    <a:pt x="593" y="166"/>
                  </a:cubicBezTo>
                  <a:cubicBezTo>
                    <a:pt x="593" y="166"/>
                    <a:pt x="592" y="167"/>
                    <a:pt x="591" y="167"/>
                  </a:cubicBezTo>
                  <a:cubicBezTo>
                    <a:pt x="590" y="168"/>
                    <a:pt x="590" y="168"/>
                    <a:pt x="589" y="168"/>
                  </a:cubicBezTo>
                  <a:cubicBezTo>
                    <a:pt x="587" y="169"/>
                    <a:pt x="587" y="171"/>
                    <a:pt x="586" y="172"/>
                  </a:cubicBezTo>
                  <a:cubicBezTo>
                    <a:pt x="585" y="172"/>
                    <a:pt x="585" y="172"/>
                    <a:pt x="585" y="172"/>
                  </a:cubicBezTo>
                  <a:cubicBezTo>
                    <a:pt x="585" y="173"/>
                    <a:pt x="583" y="174"/>
                    <a:pt x="582" y="175"/>
                  </a:cubicBezTo>
                  <a:cubicBezTo>
                    <a:pt x="582" y="175"/>
                    <a:pt x="581" y="175"/>
                    <a:pt x="580" y="175"/>
                  </a:cubicBezTo>
                  <a:cubicBezTo>
                    <a:pt x="579" y="175"/>
                    <a:pt x="579" y="175"/>
                    <a:pt x="578" y="175"/>
                  </a:cubicBezTo>
                  <a:cubicBezTo>
                    <a:pt x="576" y="176"/>
                    <a:pt x="575" y="177"/>
                    <a:pt x="574" y="178"/>
                  </a:cubicBezTo>
                  <a:cubicBezTo>
                    <a:pt x="573" y="178"/>
                    <a:pt x="573" y="178"/>
                    <a:pt x="573" y="178"/>
                  </a:cubicBezTo>
                  <a:cubicBezTo>
                    <a:pt x="573" y="178"/>
                    <a:pt x="573" y="179"/>
                    <a:pt x="572" y="179"/>
                  </a:cubicBezTo>
                  <a:cubicBezTo>
                    <a:pt x="572" y="179"/>
                    <a:pt x="572" y="179"/>
                    <a:pt x="572" y="180"/>
                  </a:cubicBezTo>
                  <a:cubicBezTo>
                    <a:pt x="571" y="180"/>
                    <a:pt x="571" y="181"/>
                    <a:pt x="572" y="181"/>
                  </a:cubicBezTo>
                  <a:cubicBezTo>
                    <a:pt x="572" y="182"/>
                    <a:pt x="573" y="182"/>
                    <a:pt x="574" y="182"/>
                  </a:cubicBezTo>
                  <a:cubicBezTo>
                    <a:pt x="574" y="182"/>
                    <a:pt x="575" y="182"/>
                    <a:pt x="576" y="182"/>
                  </a:cubicBezTo>
                  <a:cubicBezTo>
                    <a:pt x="576" y="182"/>
                    <a:pt x="576" y="182"/>
                    <a:pt x="576" y="182"/>
                  </a:cubicBezTo>
                  <a:cubicBezTo>
                    <a:pt x="576" y="182"/>
                    <a:pt x="577" y="182"/>
                    <a:pt x="577" y="182"/>
                  </a:cubicBezTo>
                  <a:cubicBezTo>
                    <a:pt x="577" y="181"/>
                    <a:pt x="577" y="181"/>
                    <a:pt x="577" y="181"/>
                  </a:cubicBezTo>
                  <a:cubicBezTo>
                    <a:pt x="577" y="181"/>
                    <a:pt x="577" y="181"/>
                    <a:pt x="577" y="181"/>
                  </a:cubicBezTo>
                  <a:cubicBezTo>
                    <a:pt x="577" y="182"/>
                    <a:pt x="577" y="182"/>
                    <a:pt x="577" y="182"/>
                  </a:cubicBezTo>
                  <a:cubicBezTo>
                    <a:pt x="578" y="183"/>
                    <a:pt x="578" y="183"/>
                    <a:pt x="578" y="183"/>
                  </a:cubicBezTo>
                  <a:cubicBezTo>
                    <a:pt x="578" y="183"/>
                    <a:pt x="578" y="183"/>
                    <a:pt x="578" y="183"/>
                  </a:cubicBezTo>
                  <a:cubicBezTo>
                    <a:pt x="578" y="184"/>
                    <a:pt x="577" y="185"/>
                    <a:pt x="577" y="186"/>
                  </a:cubicBezTo>
                  <a:cubicBezTo>
                    <a:pt x="577" y="187"/>
                    <a:pt x="577" y="188"/>
                    <a:pt x="578" y="188"/>
                  </a:cubicBezTo>
                  <a:cubicBezTo>
                    <a:pt x="578" y="189"/>
                    <a:pt x="579" y="189"/>
                    <a:pt x="580" y="188"/>
                  </a:cubicBezTo>
                  <a:cubicBezTo>
                    <a:pt x="580" y="188"/>
                    <a:pt x="581" y="188"/>
                    <a:pt x="581" y="188"/>
                  </a:cubicBezTo>
                  <a:cubicBezTo>
                    <a:pt x="582" y="188"/>
                    <a:pt x="582" y="188"/>
                    <a:pt x="582" y="188"/>
                  </a:cubicBezTo>
                  <a:cubicBezTo>
                    <a:pt x="582" y="188"/>
                    <a:pt x="582" y="188"/>
                    <a:pt x="583" y="188"/>
                  </a:cubicBezTo>
                  <a:cubicBezTo>
                    <a:pt x="583" y="188"/>
                    <a:pt x="584" y="188"/>
                    <a:pt x="585" y="187"/>
                  </a:cubicBezTo>
                  <a:cubicBezTo>
                    <a:pt x="585" y="187"/>
                    <a:pt x="585" y="187"/>
                    <a:pt x="585" y="187"/>
                  </a:cubicBezTo>
                  <a:cubicBezTo>
                    <a:pt x="586" y="187"/>
                    <a:pt x="586" y="187"/>
                    <a:pt x="586" y="187"/>
                  </a:cubicBezTo>
                  <a:cubicBezTo>
                    <a:pt x="587" y="187"/>
                    <a:pt x="588" y="186"/>
                    <a:pt x="588" y="186"/>
                  </a:cubicBezTo>
                  <a:cubicBezTo>
                    <a:pt x="588" y="185"/>
                    <a:pt x="589" y="185"/>
                    <a:pt x="589" y="185"/>
                  </a:cubicBezTo>
                  <a:cubicBezTo>
                    <a:pt x="590" y="185"/>
                    <a:pt x="590" y="184"/>
                    <a:pt x="591" y="184"/>
                  </a:cubicBezTo>
                  <a:cubicBezTo>
                    <a:pt x="592" y="184"/>
                    <a:pt x="593" y="184"/>
                    <a:pt x="593" y="184"/>
                  </a:cubicBezTo>
                  <a:cubicBezTo>
                    <a:pt x="594" y="183"/>
                    <a:pt x="595" y="183"/>
                    <a:pt x="596" y="182"/>
                  </a:cubicBezTo>
                  <a:cubicBezTo>
                    <a:pt x="596" y="182"/>
                    <a:pt x="597" y="182"/>
                    <a:pt x="597" y="181"/>
                  </a:cubicBezTo>
                  <a:cubicBezTo>
                    <a:pt x="597" y="181"/>
                    <a:pt x="598" y="181"/>
                    <a:pt x="598" y="181"/>
                  </a:cubicBezTo>
                  <a:cubicBezTo>
                    <a:pt x="598" y="180"/>
                    <a:pt x="598" y="180"/>
                    <a:pt x="599" y="180"/>
                  </a:cubicBezTo>
                  <a:cubicBezTo>
                    <a:pt x="599" y="180"/>
                    <a:pt x="599" y="180"/>
                    <a:pt x="599" y="181"/>
                  </a:cubicBezTo>
                  <a:cubicBezTo>
                    <a:pt x="599" y="182"/>
                    <a:pt x="600" y="182"/>
                    <a:pt x="601" y="182"/>
                  </a:cubicBezTo>
                  <a:cubicBezTo>
                    <a:pt x="601" y="182"/>
                    <a:pt x="601" y="182"/>
                    <a:pt x="601" y="182"/>
                  </a:cubicBezTo>
                  <a:cubicBezTo>
                    <a:pt x="601" y="183"/>
                    <a:pt x="601" y="183"/>
                    <a:pt x="601" y="184"/>
                  </a:cubicBezTo>
                  <a:cubicBezTo>
                    <a:pt x="602" y="184"/>
                    <a:pt x="602" y="185"/>
                    <a:pt x="602" y="185"/>
                  </a:cubicBezTo>
                  <a:cubicBezTo>
                    <a:pt x="602" y="185"/>
                    <a:pt x="603" y="185"/>
                    <a:pt x="603" y="186"/>
                  </a:cubicBezTo>
                  <a:cubicBezTo>
                    <a:pt x="603" y="186"/>
                    <a:pt x="603" y="186"/>
                    <a:pt x="603" y="187"/>
                  </a:cubicBezTo>
                  <a:cubicBezTo>
                    <a:pt x="603" y="187"/>
                    <a:pt x="604" y="187"/>
                    <a:pt x="604" y="188"/>
                  </a:cubicBezTo>
                  <a:cubicBezTo>
                    <a:pt x="604" y="189"/>
                    <a:pt x="605" y="189"/>
                    <a:pt x="606" y="189"/>
                  </a:cubicBezTo>
                  <a:cubicBezTo>
                    <a:pt x="606" y="189"/>
                    <a:pt x="607" y="189"/>
                    <a:pt x="607" y="189"/>
                  </a:cubicBezTo>
                  <a:cubicBezTo>
                    <a:pt x="608" y="189"/>
                    <a:pt x="608" y="189"/>
                    <a:pt x="608" y="189"/>
                  </a:cubicBezTo>
                  <a:cubicBezTo>
                    <a:pt x="608" y="188"/>
                    <a:pt x="609" y="188"/>
                    <a:pt x="609" y="188"/>
                  </a:cubicBezTo>
                  <a:cubicBezTo>
                    <a:pt x="610" y="188"/>
                    <a:pt x="610" y="188"/>
                    <a:pt x="611" y="188"/>
                  </a:cubicBezTo>
                  <a:cubicBezTo>
                    <a:pt x="611" y="187"/>
                    <a:pt x="611" y="187"/>
                    <a:pt x="611" y="187"/>
                  </a:cubicBezTo>
                  <a:cubicBezTo>
                    <a:pt x="612" y="188"/>
                    <a:pt x="612" y="188"/>
                    <a:pt x="612" y="188"/>
                  </a:cubicBezTo>
                  <a:cubicBezTo>
                    <a:pt x="612" y="188"/>
                    <a:pt x="612" y="188"/>
                    <a:pt x="612" y="188"/>
                  </a:cubicBezTo>
                  <a:cubicBezTo>
                    <a:pt x="612" y="188"/>
                    <a:pt x="614" y="188"/>
                    <a:pt x="614" y="187"/>
                  </a:cubicBezTo>
                  <a:cubicBezTo>
                    <a:pt x="615" y="187"/>
                    <a:pt x="615" y="186"/>
                    <a:pt x="615" y="185"/>
                  </a:cubicBezTo>
                  <a:cubicBezTo>
                    <a:pt x="615" y="184"/>
                    <a:pt x="615" y="184"/>
                    <a:pt x="615" y="184"/>
                  </a:cubicBezTo>
                  <a:cubicBezTo>
                    <a:pt x="615" y="184"/>
                    <a:pt x="615" y="184"/>
                    <a:pt x="615" y="183"/>
                  </a:cubicBezTo>
                  <a:cubicBezTo>
                    <a:pt x="615" y="183"/>
                    <a:pt x="616" y="182"/>
                    <a:pt x="616" y="182"/>
                  </a:cubicBezTo>
                  <a:cubicBezTo>
                    <a:pt x="616" y="181"/>
                    <a:pt x="615" y="180"/>
                    <a:pt x="614" y="180"/>
                  </a:cubicBezTo>
                  <a:cubicBezTo>
                    <a:pt x="614" y="180"/>
                    <a:pt x="614" y="180"/>
                    <a:pt x="614" y="180"/>
                  </a:cubicBezTo>
                  <a:cubicBezTo>
                    <a:pt x="615" y="179"/>
                    <a:pt x="616" y="178"/>
                    <a:pt x="615" y="177"/>
                  </a:cubicBezTo>
                  <a:cubicBezTo>
                    <a:pt x="615" y="177"/>
                    <a:pt x="615" y="176"/>
                    <a:pt x="615" y="176"/>
                  </a:cubicBezTo>
                  <a:cubicBezTo>
                    <a:pt x="614" y="176"/>
                    <a:pt x="614" y="175"/>
                    <a:pt x="614" y="175"/>
                  </a:cubicBezTo>
                  <a:cubicBezTo>
                    <a:pt x="614" y="175"/>
                    <a:pt x="614" y="174"/>
                    <a:pt x="614" y="174"/>
                  </a:cubicBezTo>
                  <a:cubicBezTo>
                    <a:pt x="614" y="173"/>
                    <a:pt x="614" y="172"/>
                    <a:pt x="613" y="171"/>
                  </a:cubicBezTo>
                  <a:cubicBezTo>
                    <a:pt x="613" y="171"/>
                    <a:pt x="613" y="171"/>
                    <a:pt x="612" y="170"/>
                  </a:cubicBezTo>
                  <a:cubicBezTo>
                    <a:pt x="612" y="170"/>
                    <a:pt x="612" y="170"/>
                    <a:pt x="612" y="170"/>
                  </a:cubicBezTo>
                  <a:cubicBezTo>
                    <a:pt x="612" y="170"/>
                    <a:pt x="611" y="169"/>
                    <a:pt x="611" y="170"/>
                  </a:cubicBezTo>
                  <a:cubicBezTo>
                    <a:pt x="611" y="169"/>
                    <a:pt x="612" y="169"/>
                    <a:pt x="612" y="169"/>
                  </a:cubicBezTo>
                  <a:cubicBezTo>
                    <a:pt x="612" y="168"/>
                    <a:pt x="612" y="168"/>
                    <a:pt x="612" y="168"/>
                  </a:cubicBezTo>
                  <a:cubicBezTo>
                    <a:pt x="613" y="167"/>
                    <a:pt x="613" y="166"/>
                    <a:pt x="612" y="165"/>
                  </a:cubicBezTo>
                  <a:cubicBezTo>
                    <a:pt x="612" y="164"/>
                    <a:pt x="611" y="164"/>
                    <a:pt x="610" y="164"/>
                  </a:cubicBezTo>
                  <a:cubicBezTo>
                    <a:pt x="610" y="164"/>
                    <a:pt x="610" y="164"/>
                    <a:pt x="610" y="164"/>
                  </a:cubicBezTo>
                  <a:cubicBezTo>
                    <a:pt x="610" y="164"/>
                    <a:pt x="610" y="164"/>
                    <a:pt x="610" y="163"/>
                  </a:cubicBezTo>
                  <a:cubicBezTo>
                    <a:pt x="610" y="163"/>
                    <a:pt x="610" y="162"/>
                    <a:pt x="610" y="162"/>
                  </a:cubicBezTo>
                  <a:cubicBezTo>
                    <a:pt x="609" y="161"/>
                    <a:pt x="608" y="161"/>
                    <a:pt x="607" y="161"/>
                  </a:cubicBezTo>
                  <a:cubicBezTo>
                    <a:pt x="607" y="161"/>
                    <a:pt x="607" y="160"/>
                    <a:pt x="607" y="160"/>
                  </a:cubicBezTo>
                  <a:cubicBezTo>
                    <a:pt x="608" y="160"/>
                    <a:pt x="608" y="159"/>
                    <a:pt x="608" y="159"/>
                  </a:cubicBezTo>
                  <a:cubicBezTo>
                    <a:pt x="608" y="159"/>
                    <a:pt x="608" y="159"/>
                    <a:pt x="608" y="159"/>
                  </a:cubicBezTo>
                  <a:cubicBezTo>
                    <a:pt x="609" y="158"/>
                    <a:pt x="610" y="157"/>
                    <a:pt x="610" y="157"/>
                  </a:cubicBezTo>
                  <a:cubicBezTo>
                    <a:pt x="610" y="156"/>
                    <a:pt x="610" y="156"/>
                    <a:pt x="610" y="156"/>
                  </a:cubicBezTo>
                  <a:cubicBezTo>
                    <a:pt x="610" y="155"/>
                    <a:pt x="611" y="154"/>
                    <a:pt x="611" y="154"/>
                  </a:cubicBezTo>
                  <a:cubicBezTo>
                    <a:pt x="610" y="153"/>
                    <a:pt x="610" y="153"/>
                    <a:pt x="610" y="153"/>
                  </a:cubicBezTo>
                  <a:cubicBezTo>
                    <a:pt x="610" y="152"/>
                    <a:pt x="610" y="152"/>
                    <a:pt x="610" y="152"/>
                  </a:cubicBezTo>
                  <a:cubicBezTo>
                    <a:pt x="611" y="151"/>
                    <a:pt x="611" y="151"/>
                    <a:pt x="611" y="150"/>
                  </a:cubicBezTo>
                  <a:cubicBezTo>
                    <a:pt x="611" y="150"/>
                    <a:pt x="611" y="149"/>
                    <a:pt x="611" y="149"/>
                  </a:cubicBezTo>
                  <a:cubicBezTo>
                    <a:pt x="611" y="149"/>
                    <a:pt x="610" y="148"/>
                    <a:pt x="610" y="148"/>
                  </a:cubicBezTo>
                  <a:cubicBezTo>
                    <a:pt x="611" y="148"/>
                    <a:pt x="611" y="148"/>
                    <a:pt x="611" y="148"/>
                  </a:cubicBezTo>
                  <a:cubicBezTo>
                    <a:pt x="611" y="149"/>
                    <a:pt x="611" y="149"/>
                    <a:pt x="611" y="149"/>
                  </a:cubicBezTo>
                  <a:cubicBezTo>
                    <a:pt x="612" y="149"/>
                    <a:pt x="612" y="149"/>
                    <a:pt x="613" y="149"/>
                  </a:cubicBezTo>
                  <a:cubicBezTo>
                    <a:pt x="614" y="149"/>
                    <a:pt x="614" y="149"/>
                    <a:pt x="615" y="149"/>
                  </a:cubicBezTo>
                  <a:cubicBezTo>
                    <a:pt x="615" y="149"/>
                    <a:pt x="615" y="149"/>
                    <a:pt x="615" y="149"/>
                  </a:cubicBezTo>
                  <a:cubicBezTo>
                    <a:pt x="615" y="150"/>
                    <a:pt x="615" y="151"/>
                    <a:pt x="615" y="152"/>
                  </a:cubicBezTo>
                  <a:cubicBezTo>
                    <a:pt x="616" y="152"/>
                    <a:pt x="617" y="153"/>
                    <a:pt x="618" y="153"/>
                  </a:cubicBezTo>
                  <a:cubicBezTo>
                    <a:pt x="619" y="153"/>
                    <a:pt x="619" y="153"/>
                    <a:pt x="620" y="152"/>
                  </a:cubicBezTo>
                  <a:cubicBezTo>
                    <a:pt x="620" y="153"/>
                    <a:pt x="620" y="153"/>
                    <a:pt x="620" y="153"/>
                  </a:cubicBezTo>
                  <a:cubicBezTo>
                    <a:pt x="620" y="153"/>
                    <a:pt x="620" y="154"/>
                    <a:pt x="620" y="154"/>
                  </a:cubicBezTo>
                  <a:cubicBezTo>
                    <a:pt x="620" y="155"/>
                    <a:pt x="621" y="155"/>
                    <a:pt x="622" y="155"/>
                  </a:cubicBezTo>
                  <a:cubicBezTo>
                    <a:pt x="623" y="155"/>
                    <a:pt x="623" y="155"/>
                    <a:pt x="624" y="154"/>
                  </a:cubicBezTo>
                  <a:cubicBezTo>
                    <a:pt x="624" y="154"/>
                    <a:pt x="624" y="153"/>
                    <a:pt x="625" y="153"/>
                  </a:cubicBezTo>
                  <a:cubicBezTo>
                    <a:pt x="625" y="153"/>
                    <a:pt x="625" y="153"/>
                    <a:pt x="625" y="153"/>
                  </a:cubicBezTo>
                  <a:cubicBezTo>
                    <a:pt x="625" y="154"/>
                    <a:pt x="626" y="154"/>
                    <a:pt x="627" y="154"/>
                  </a:cubicBezTo>
                  <a:cubicBezTo>
                    <a:pt x="627" y="154"/>
                    <a:pt x="628" y="154"/>
                    <a:pt x="628" y="154"/>
                  </a:cubicBezTo>
                  <a:cubicBezTo>
                    <a:pt x="629" y="154"/>
                    <a:pt x="629" y="153"/>
                    <a:pt x="630" y="153"/>
                  </a:cubicBezTo>
                  <a:cubicBezTo>
                    <a:pt x="631" y="153"/>
                    <a:pt x="631" y="153"/>
                    <a:pt x="631" y="153"/>
                  </a:cubicBezTo>
                  <a:cubicBezTo>
                    <a:pt x="632" y="153"/>
                    <a:pt x="632" y="153"/>
                    <a:pt x="632" y="153"/>
                  </a:cubicBezTo>
                  <a:cubicBezTo>
                    <a:pt x="632" y="153"/>
                    <a:pt x="633" y="153"/>
                    <a:pt x="634" y="153"/>
                  </a:cubicBezTo>
                  <a:cubicBezTo>
                    <a:pt x="635" y="153"/>
                    <a:pt x="635" y="152"/>
                    <a:pt x="636" y="152"/>
                  </a:cubicBezTo>
                  <a:cubicBezTo>
                    <a:pt x="636" y="152"/>
                    <a:pt x="636" y="152"/>
                    <a:pt x="636" y="152"/>
                  </a:cubicBezTo>
                  <a:cubicBezTo>
                    <a:pt x="636" y="151"/>
                    <a:pt x="637" y="151"/>
                    <a:pt x="637" y="151"/>
                  </a:cubicBezTo>
                  <a:cubicBezTo>
                    <a:pt x="637" y="152"/>
                    <a:pt x="637" y="152"/>
                    <a:pt x="637" y="152"/>
                  </a:cubicBezTo>
                  <a:cubicBezTo>
                    <a:pt x="638" y="152"/>
                    <a:pt x="638" y="152"/>
                    <a:pt x="639" y="151"/>
                  </a:cubicBezTo>
                  <a:cubicBezTo>
                    <a:pt x="640" y="151"/>
                    <a:pt x="640" y="151"/>
                    <a:pt x="640" y="151"/>
                  </a:cubicBezTo>
                  <a:cubicBezTo>
                    <a:pt x="641" y="150"/>
                    <a:pt x="641" y="150"/>
                    <a:pt x="641" y="150"/>
                  </a:cubicBezTo>
                  <a:cubicBezTo>
                    <a:pt x="641" y="150"/>
                    <a:pt x="641" y="150"/>
                    <a:pt x="641" y="150"/>
                  </a:cubicBezTo>
                  <a:cubicBezTo>
                    <a:pt x="641" y="149"/>
                    <a:pt x="641" y="149"/>
                    <a:pt x="641" y="149"/>
                  </a:cubicBezTo>
                  <a:cubicBezTo>
                    <a:pt x="641" y="149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8"/>
                    <a:pt x="642" y="148"/>
                    <a:pt x="642" y="148"/>
                  </a:cubicBezTo>
                  <a:cubicBezTo>
                    <a:pt x="642" y="147"/>
                    <a:pt x="642" y="147"/>
                    <a:pt x="642" y="147"/>
                  </a:cubicBezTo>
                  <a:cubicBezTo>
                    <a:pt x="642" y="147"/>
                    <a:pt x="642" y="147"/>
                    <a:pt x="642" y="147"/>
                  </a:cubicBezTo>
                  <a:cubicBezTo>
                    <a:pt x="643" y="148"/>
                    <a:pt x="643" y="148"/>
                    <a:pt x="643" y="148"/>
                  </a:cubicBezTo>
                  <a:cubicBezTo>
                    <a:pt x="643" y="148"/>
                    <a:pt x="643" y="148"/>
                    <a:pt x="644" y="148"/>
                  </a:cubicBezTo>
                  <a:cubicBezTo>
                    <a:pt x="644" y="148"/>
                    <a:pt x="644" y="148"/>
                    <a:pt x="644" y="148"/>
                  </a:cubicBezTo>
                  <a:cubicBezTo>
                    <a:pt x="644" y="148"/>
                    <a:pt x="644" y="148"/>
                    <a:pt x="644" y="148"/>
                  </a:cubicBezTo>
                  <a:cubicBezTo>
                    <a:pt x="645" y="148"/>
                    <a:pt x="645" y="148"/>
                    <a:pt x="645" y="148"/>
                  </a:cubicBezTo>
                  <a:cubicBezTo>
                    <a:pt x="645" y="148"/>
                    <a:pt x="645" y="148"/>
                    <a:pt x="645" y="148"/>
                  </a:cubicBezTo>
                  <a:cubicBezTo>
                    <a:pt x="645" y="148"/>
                    <a:pt x="646" y="148"/>
                    <a:pt x="646" y="148"/>
                  </a:cubicBezTo>
                  <a:cubicBezTo>
                    <a:pt x="646" y="148"/>
                    <a:pt x="646" y="148"/>
                    <a:pt x="646" y="148"/>
                  </a:cubicBezTo>
                  <a:cubicBezTo>
                    <a:pt x="647" y="148"/>
                    <a:pt x="647" y="148"/>
                    <a:pt x="647" y="148"/>
                  </a:cubicBezTo>
                  <a:cubicBezTo>
                    <a:pt x="647" y="148"/>
                    <a:pt x="647" y="148"/>
                    <a:pt x="648" y="147"/>
                  </a:cubicBezTo>
                  <a:cubicBezTo>
                    <a:pt x="648" y="147"/>
                    <a:pt x="649" y="147"/>
                    <a:pt x="649" y="146"/>
                  </a:cubicBezTo>
                  <a:cubicBezTo>
                    <a:pt x="649" y="146"/>
                    <a:pt x="649" y="146"/>
                    <a:pt x="650" y="145"/>
                  </a:cubicBezTo>
                  <a:cubicBezTo>
                    <a:pt x="650" y="145"/>
                    <a:pt x="650" y="145"/>
                    <a:pt x="650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48" y="144"/>
                    <a:pt x="648" y="144"/>
                    <a:pt x="648" y="144"/>
                  </a:cubicBezTo>
                  <a:cubicBezTo>
                    <a:pt x="650" y="144"/>
                    <a:pt x="650" y="144"/>
                    <a:pt x="650" y="144"/>
                  </a:cubicBezTo>
                  <a:cubicBezTo>
                    <a:pt x="650" y="144"/>
                    <a:pt x="650" y="143"/>
                    <a:pt x="650" y="143"/>
                  </a:cubicBezTo>
                  <a:cubicBezTo>
                    <a:pt x="650" y="143"/>
                    <a:pt x="650" y="143"/>
                    <a:pt x="650" y="143"/>
                  </a:cubicBezTo>
                  <a:cubicBezTo>
                    <a:pt x="650" y="142"/>
                    <a:pt x="650" y="142"/>
                    <a:pt x="650" y="142"/>
                  </a:cubicBezTo>
                  <a:cubicBezTo>
                    <a:pt x="650" y="142"/>
                    <a:pt x="650" y="142"/>
                    <a:pt x="650" y="142"/>
                  </a:cubicBezTo>
                  <a:cubicBezTo>
                    <a:pt x="651" y="141"/>
                    <a:pt x="651" y="141"/>
                    <a:pt x="651" y="140"/>
                  </a:cubicBezTo>
                  <a:cubicBezTo>
                    <a:pt x="651" y="140"/>
                    <a:pt x="652" y="139"/>
                    <a:pt x="652" y="139"/>
                  </a:cubicBezTo>
                  <a:cubicBezTo>
                    <a:pt x="652" y="138"/>
                    <a:pt x="652" y="138"/>
                    <a:pt x="652" y="138"/>
                  </a:cubicBezTo>
                  <a:cubicBezTo>
                    <a:pt x="652" y="138"/>
                    <a:pt x="652" y="138"/>
                    <a:pt x="653" y="138"/>
                  </a:cubicBezTo>
                  <a:cubicBezTo>
                    <a:pt x="653" y="137"/>
                    <a:pt x="653" y="137"/>
                    <a:pt x="653" y="137"/>
                  </a:cubicBezTo>
                  <a:cubicBezTo>
                    <a:pt x="655" y="135"/>
                    <a:pt x="654" y="134"/>
                    <a:pt x="654" y="133"/>
                  </a:cubicBezTo>
                  <a:cubicBezTo>
                    <a:pt x="653" y="133"/>
                    <a:pt x="653" y="133"/>
                    <a:pt x="653" y="133"/>
                  </a:cubicBezTo>
                  <a:cubicBezTo>
                    <a:pt x="653" y="133"/>
                    <a:pt x="653" y="133"/>
                    <a:pt x="653" y="133"/>
                  </a:cubicBezTo>
                  <a:cubicBezTo>
                    <a:pt x="653" y="132"/>
                    <a:pt x="654" y="132"/>
                    <a:pt x="655" y="132"/>
                  </a:cubicBezTo>
                  <a:cubicBezTo>
                    <a:pt x="655" y="131"/>
                    <a:pt x="655" y="131"/>
                    <a:pt x="655" y="131"/>
                  </a:cubicBezTo>
                  <a:cubicBezTo>
                    <a:pt x="656" y="131"/>
                    <a:pt x="656" y="131"/>
                    <a:pt x="656" y="131"/>
                  </a:cubicBezTo>
                  <a:cubicBezTo>
                    <a:pt x="656" y="131"/>
                    <a:pt x="656" y="131"/>
                    <a:pt x="656" y="131"/>
                  </a:cubicBezTo>
                  <a:cubicBezTo>
                    <a:pt x="657" y="131"/>
                    <a:pt x="657" y="131"/>
                    <a:pt x="657" y="131"/>
                  </a:cubicBezTo>
                  <a:cubicBezTo>
                    <a:pt x="657" y="132"/>
                    <a:pt x="657" y="132"/>
                    <a:pt x="658" y="132"/>
                  </a:cubicBezTo>
                  <a:cubicBezTo>
                    <a:pt x="659" y="133"/>
                    <a:pt x="660" y="132"/>
                    <a:pt x="660" y="132"/>
                  </a:cubicBezTo>
                  <a:cubicBezTo>
                    <a:pt x="661" y="132"/>
                    <a:pt x="662" y="131"/>
                    <a:pt x="662" y="131"/>
                  </a:cubicBezTo>
                  <a:cubicBezTo>
                    <a:pt x="663" y="131"/>
                    <a:pt x="664" y="131"/>
                    <a:pt x="665" y="129"/>
                  </a:cubicBezTo>
                  <a:cubicBezTo>
                    <a:pt x="665" y="128"/>
                    <a:pt x="665" y="128"/>
                    <a:pt x="664" y="127"/>
                  </a:cubicBezTo>
                  <a:cubicBezTo>
                    <a:pt x="664" y="127"/>
                    <a:pt x="665" y="127"/>
                    <a:pt x="665" y="127"/>
                  </a:cubicBezTo>
                  <a:cubicBezTo>
                    <a:pt x="665" y="127"/>
                    <a:pt x="665" y="126"/>
                    <a:pt x="665" y="126"/>
                  </a:cubicBezTo>
                  <a:cubicBezTo>
                    <a:pt x="666" y="126"/>
                    <a:pt x="666" y="126"/>
                    <a:pt x="666" y="126"/>
                  </a:cubicBezTo>
                  <a:cubicBezTo>
                    <a:pt x="666" y="126"/>
                    <a:pt x="667" y="126"/>
                    <a:pt x="668" y="126"/>
                  </a:cubicBezTo>
                  <a:cubicBezTo>
                    <a:pt x="669" y="125"/>
                    <a:pt x="669" y="123"/>
                    <a:pt x="668" y="122"/>
                  </a:cubicBezTo>
                  <a:cubicBezTo>
                    <a:pt x="668" y="122"/>
                    <a:pt x="668" y="122"/>
                    <a:pt x="667" y="122"/>
                  </a:cubicBezTo>
                  <a:cubicBezTo>
                    <a:pt x="667" y="122"/>
                    <a:pt x="667" y="121"/>
                    <a:pt x="667" y="121"/>
                  </a:cubicBezTo>
                  <a:cubicBezTo>
                    <a:pt x="668" y="121"/>
                    <a:pt x="668" y="121"/>
                    <a:pt x="668" y="121"/>
                  </a:cubicBezTo>
                  <a:cubicBezTo>
                    <a:pt x="668" y="120"/>
                    <a:pt x="668" y="119"/>
                    <a:pt x="667" y="118"/>
                  </a:cubicBezTo>
                  <a:cubicBezTo>
                    <a:pt x="667" y="118"/>
                    <a:pt x="667" y="118"/>
                    <a:pt x="667" y="118"/>
                  </a:cubicBezTo>
                  <a:cubicBezTo>
                    <a:pt x="668" y="117"/>
                    <a:pt x="668" y="116"/>
                    <a:pt x="667" y="116"/>
                  </a:cubicBezTo>
                  <a:cubicBezTo>
                    <a:pt x="667" y="115"/>
                    <a:pt x="667" y="115"/>
                    <a:pt x="666" y="115"/>
                  </a:cubicBezTo>
                  <a:cubicBezTo>
                    <a:pt x="667" y="115"/>
                    <a:pt x="668" y="115"/>
                    <a:pt x="669" y="114"/>
                  </a:cubicBezTo>
                  <a:cubicBezTo>
                    <a:pt x="669" y="114"/>
                    <a:pt x="669" y="114"/>
                    <a:pt x="669" y="114"/>
                  </a:cubicBezTo>
                  <a:cubicBezTo>
                    <a:pt x="669" y="115"/>
                    <a:pt x="670" y="115"/>
                    <a:pt x="670" y="116"/>
                  </a:cubicBezTo>
                  <a:cubicBezTo>
                    <a:pt x="670" y="116"/>
                    <a:pt x="670" y="116"/>
                    <a:pt x="670" y="116"/>
                  </a:cubicBezTo>
                  <a:cubicBezTo>
                    <a:pt x="671" y="117"/>
                    <a:pt x="671" y="118"/>
                    <a:pt x="673" y="118"/>
                  </a:cubicBezTo>
                  <a:cubicBezTo>
                    <a:pt x="673" y="118"/>
                    <a:pt x="674" y="118"/>
                    <a:pt x="674" y="117"/>
                  </a:cubicBezTo>
                  <a:cubicBezTo>
                    <a:pt x="675" y="117"/>
                    <a:pt x="675" y="117"/>
                    <a:pt x="675" y="117"/>
                  </a:cubicBezTo>
                  <a:cubicBezTo>
                    <a:pt x="675" y="117"/>
                    <a:pt x="675" y="117"/>
                    <a:pt x="676" y="116"/>
                  </a:cubicBezTo>
                  <a:cubicBezTo>
                    <a:pt x="676" y="117"/>
                    <a:pt x="678" y="117"/>
                    <a:pt x="678" y="116"/>
                  </a:cubicBezTo>
                  <a:cubicBezTo>
                    <a:pt x="679" y="116"/>
                    <a:pt x="679" y="115"/>
                    <a:pt x="679" y="115"/>
                  </a:cubicBezTo>
                  <a:cubicBezTo>
                    <a:pt x="680" y="115"/>
                    <a:pt x="681" y="115"/>
                    <a:pt x="681" y="115"/>
                  </a:cubicBezTo>
                  <a:cubicBezTo>
                    <a:pt x="681" y="115"/>
                    <a:pt x="681" y="115"/>
                    <a:pt x="681" y="115"/>
                  </a:cubicBezTo>
                  <a:cubicBezTo>
                    <a:pt x="681" y="116"/>
                    <a:pt x="681" y="116"/>
                    <a:pt x="681" y="116"/>
                  </a:cubicBezTo>
                  <a:cubicBezTo>
                    <a:pt x="682" y="117"/>
                    <a:pt x="683" y="117"/>
                    <a:pt x="684" y="117"/>
                  </a:cubicBezTo>
                  <a:cubicBezTo>
                    <a:pt x="684" y="117"/>
                    <a:pt x="684" y="118"/>
                    <a:pt x="684" y="118"/>
                  </a:cubicBezTo>
                  <a:cubicBezTo>
                    <a:pt x="685" y="118"/>
                    <a:pt x="685" y="118"/>
                    <a:pt x="686" y="118"/>
                  </a:cubicBezTo>
                  <a:cubicBezTo>
                    <a:pt x="686" y="118"/>
                    <a:pt x="687" y="118"/>
                    <a:pt x="687" y="118"/>
                  </a:cubicBezTo>
                  <a:cubicBezTo>
                    <a:pt x="687" y="118"/>
                    <a:pt x="687" y="118"/>
                    <a:pt x="688" y="118"/>
                  </a:cubicBezTo>
                  <a:cubicBezTo>
                    <a:pt x="689" y="119"/>
                    <a:pt x="690" y="119"/>
                    <a:pt x="691" y="118"/>
                  </a:cubicBezTo>
                  <a:cubicBezTo>
                    <a:pt x="692" y="118"/>
                    <a:pt x="693" y="117"/>
                    <a:pt x="693" y="117"/>
                  </a:cubicBezTo>
                  <a:cubicBezTo>
                    <a:pt x="693" y="117"/>
                    <a:pt x="693" y="117"/>
                    <a:pt x="693" y="117"/>
                  </a:cubicBezTo>
                  <a:cubicBezTo>
                    <a:pt x="693" y="116"/>
                    <a:pt x="693" y="116"/>
                    <a:pt x="694" y="116"/>
                  </a:cubicBezTo>
                  <a:cubicBezTo>
                    <a:pt x="694" y="116"/>
                    <a:pt x="694" y="116"/>
                    <a:pt x="694" y="116"/>
                  </a:cubicBezTo>
                  <a:cubicBezTo>
                    <a:pt x="695" y="115"/>
                    <a:pt x="695" y="115"/>
                    <a:pt x="695" y="115"/>
                  </a:cubicBezTo>
                  <a:cubicBezTo>
                    <a:pt x="695" y="115"/>
                    <a:pt x="696" y="115"/>
                    <a:pt x="696" y="115"/>
                  </a:cubicBezTo>
                  <a:cubicBezTo>
                    <a:pt x="696" y="116"/>
                    <a:pt x="697" y="116"/>
                    <a:pt x="697" y="116"/>
                  </a:cubicBezTo>
                  <a:cubicBezTo>
                    <a:pt x="697" y="116"/>
                    <a:pt x="697" y="116"/>
                    <a:pt x="696" y="116"/>
                  </a:cubicBezTo>
                  <a:cubicBezTo>
                    <a:pt x="696" y="117"/>
                    <a:pt x="696" y="117"/>
                    <a:pt x="695" y="118"/>
                  </a:cubicBezTo>
                  <a:cubicBezTo>
                    <a:pt x="694" y="118"/>
                    <a:pt x="693" y="119"/>
                    <a:pt x="693" y="120"/>
                  </a:cubicBezTo>
                  <a:cubicBezTo>
                    <a:pt x="693" y="121"/>
                    <a:pt x="693" y="122"/>
                    <a:pt x="693" y="122"/>
                  </a:cubicBezTo>
                  <a:cubicBezTo>
                    <a:pt x="693" y="122"/>
                    <a:pt x="694" y="123"/>
                    <a:pt x="694" y="123"/>
                  </a:cubicBezTo>
                  <a:cubicBezTo>
                    <a:pt x="694" y="123"/>
                    <a:pt x="694" y="123"/>
                    <a:pt x="694" y="124"/>
                  </a:cubicBezTo>
                  <a:cubicBezTo>
                    <a:pt x="694" y="124"/>
                    <a:pt x="695" y="125"/>
                    <a:pt x="696" y="125"/>
                  </a:cubicBezTo>
                  <a:cubicBezTo>
                    <a:pt x="696" y="125"/>
                    <a:pt x="696" y="125"/>
                    <a:pt x="696" y="125"/>
                  </a:cubicBezTo>
                  <a:cubicBezTo>
                    <a:pt x="696" y="126"/>
                    <a:pt x="696" y="126"/>
                    <a:pt x="696" y="127"/>
                  </a:cubicBezTo>
                  <a:cubicBezTo>
                    <a:pt x="696" y="127"/>
                    <a:pt x="696" y="127"/>
                    <a:pt x="696" y="127"/>
                  </a:cubicBezTo>
                  <a:cubicBezTo>
                    <a:pt x="696" y="128"/>
                    <a:pt x="696" y="128"/>
                    <a:pt x="696" y="128"/>
                  </a:cubicBezTo>
                  <a:cubicBezTo>
                    <a:pt x="696" y="128"/>
                    <a:pt x="696" y="128"/>
                    <a:pt x="696" y="128"/>
                  </a:cubicBezTo>
                  <a:cubicBezTo>
                    <a:pt x="696" y="129"/>
                    <a:pt x="696" y="129"/>
                    <a:pt x="696" y="129"/>
                  </a:cubicBezTo>
                  <a:cubicBezTo>
                    <a:pt x="696" y="129"/>
                    <a:pt x="696" y="129"/>
                    <a:pt x="696" y="129"/>
                  </a:cubicBezTo>
                  <a:cubicBezTo>
                    <a:pt x="696" y="128"/>
                    <a:pt x="696" y="128"/>
                    <a:pt x="696" y="128"/>
                  </a:cubicBezTo>
                  <a:cubicBezTo>
                    <a:pt x="695" y="128"/>
                    <a:pt x="695" y="128"/>
                    <a:pt x="695" y="128"/>
                  </a:cubicBezTo>
                  <a:cubicBezTo>
                    <a:pt x="695" y="128"/>
                    <a:pt x="694" y="128"/>
                    <a:pt x="694" y="128"/>
                  </a:cubicBezTo>
                  <a:cubicBezTo>
                    <a:pt x="693" y="128"/>
                    <a:pt x="692" y="128"/>
                    <a:pt x="691" y="129"/>
                  </a:cubicBezTo>
                  <a:cubicBezTo>
                    <a:pt x="690" y="129"/>
                    <a:pt x="690" y="130"/>
                    <a:pt x="690" y="130"/>
                  </a:cubicBezTo>
                  <a:cubicBezTo>
                    <a:pt x="690" y="130"/>
                    <a:pt x="690" y="130"/>
                    <a:pt x="690" y="130"/>
                  </a:cubicBezTo>
                  <a:cubicBezTo>
                    <a:pt x="690" y="130"/>
                    <a:pt x="690" y="130"/>
                    <a:pt x="689" y="130"/>
                  </a:cubicBezTo>
                  <a:cubicBezTo>
                    <a:pt x="689" y="131"/>
                    <a:pt x="688" y="131"/>
                    <a:pt x="687" y="133"/>
                  </a:cubicBezTo>
                  <a:cubicBezTo>
                    <a:pt x="688" y="134"/>
                    <a:pt x="688" y="134"/>
                    <a:pt x="688" y="134"/>
                  </a:cubicBezTo>
                  <a:cubicBezTo>
                    <a:pt x="689" y="134"/>
                    <a:pt x="689" y="134"/>
                    <a:pt x="689" y="134"/>
                  </a:cubicBezTo>
                  <a:cubicBezTo>
                    <a:pt x="689" y="134"/>
                    <a:pt x="689" y="134"/>
                    <a:pt x="690" y="134"/>
                  </a:cubicBezTo>
                  <a:cubicBezTo>
                    <a:pt x="691" y="134"/>
                    <a:pt x="691" y="134"/>
                    <a:pt x="691" y="134"/>
                  </a:cubicBezTo>
                  <a:cubicBezTo>
                    <a:pt x="691" y="134"/>
                    <a:pt x="691" y="134"/>
                    <a:pt x="691" y="134"/>
                  </a:cubicBezTo>
                  <a:cubicBezTo>
                    <a:pt x="692" y="134"/>
                    <a:pt x="693" y="134"/>
                    <a:pt x="693" y="134"/>
                  </a:cubicBezTo>
                  <a:cubicBezTo>
                    <a:pt x="694" y="134"/>
                    <a:pt x="695" y="133"/>
                    <a:pt x="695" y="133"/>
                  </a:cubicBezTo>
                  <a:cubicBezTo>
                    <a:pt x="695" y="133"/>
                    <a:pt x="695" y="134"/>
                    <a:pt x="696" y="134"/>
                  </a:cubicBezTo>
                  <a:cubicBezTo>
                    <a:pt x="696" y="134"/>
                    <a:pt x="696" y="135"/>
                    <a:pt x="696" y="136"/>
                  </a:cubicBezTo>
                  <a:cubicBezTo>
                    <a:pt x="696" y="136"/>
                    <a:pt x="696" y="136"/>
                    <a:pt x="697" y="136"/>
                  </a:cubicBezTo>
                  <a:cubicBezTo>
                    <a:pt x="697" y="136"/>
                    <a:pt x="697" y="136"/>
                    <a:pt x="697" y="136"/>
                  </a:cubicBezTo>
                  <a:cubicBezTo>
                    <a:pt x="697" y="136"/>
                    <a:pt x="697" y="136"/>
                    <a:pt x="697" y="136"/>
                  </a:cubicBezTo>
                  <a:cubicBezTo>
                    <a:pt x="697" y="137"/>
                    <a:pt x="697" y="137"/>
                    <a:pt x="697" y="137"/>
                  </a:cubicBezTo>
                  <a:cubicBezTo>
                    <a:pt x="696" y="138"/>
                    <a:pt x="695" y="139"/>
                    <a:pt x="696" y="140"/>
                  </a:cubicBezTo>
                  <a:cubicBezTo>
                    <a:pt x="696" y="140"/>
                    <a:pt x="697" y="141"/>
                    <a:pt x="698" y="141"/>
                  </a:cubicBezTo>
                  <a:cubicBezTo>
                    <a:pt x="698" y="141"/>
                    <a:pt x="698" y="141"/>
                    <a:pt x="698" y="141"/>
                  </a:cubicBezTo>
                  <a:cubicBezTo>
                    <a:pt x="698" y="141"/>
                    <a:pt x="698" y="141"/>
                    <a:pt x="698" y="141"/>
                  </a:cubicBezTo>
                  <a:cubicBezTo>
                    <a:pt x="698" y="141"/>
                    <a:pt x="698" y="141"/>
                    <a:pt x="698" y="141"/>
                  </a:cubicBezTo>
                  <a:cubicBezTo>
                    <a:pt x="697" y="142"/>
                    <a:pt x="697" y="142"/>
                    <a:pt x="698" y="143"/>
                  </a:cubicBezTo>
                  <a:cubicBezTo>
                    <a:pt x="698" y="143"/>
                    <a:pt x="698" y="143"/>
                    <a:pt x="698" y="143"/>
                  </a:cubicBezTo>
                  <a:cubicBezTo>
                    <a:pt x="697" y="144"/>
                    <a:pt x="695" y="145"/>
                    <a:pt x="695" y="147"/>
                  </a:cubicBezTo>
                  <a:cubicBezTo>
                    <a:pt x="694" y="148"/>
                    <a:pt x="695" y="149"/>
                    <a:pt x="695" y="149"/>
                  </a:cubicBezTo>
                  <a:cubicBezTo>
                    <a:pt x="695" y="149"/>
                    <a:pt x="694" y="150"/>
                    <a:pt x="694" y="150"/>
                  </a:cubicBezTo>
                  <a:cubicBezTo>
                    <a:pt x="693" y="150"/>
                    <a:pt x="692" y="151"/>
                    <a:pt x="692" y="152"/>
                  </a:cubicBezTo>
                  <a:cubicBezTo>
                    <a:pt x="692" y="152"/>
                    <a:pt x="692" y="152"/>
                    <a:pt x="692" y="153"/>
                  </a:cubicBezTo>
                  <a:cubicBezTo>
                    <a:pt x="691" y="153"/>
                    <a:pt x="691" y="153"/>
                    <a:pt x="690" y="153"/>
                  </a:cubicBezTo>
                  <a:cubicBezTo>
                    <a:pt x="689" y="153"/>
                    <a:pt x="688" y="153"/>
                    <a:pt x="687" y="154"/>
                  </a:cubicBezTo>
                  <a:cubicBezTo>
                    <a:pt x="686" y="155"/>
                    <a:pt x="685" y="156"/>
                    <a:pt x="685" y="156"/>
                  </a:cubicBezTo>
                  <a:cubicBezTo>
                    <a:pt x="685" y="157"/>
                    <a:pt x="685" y="157"/>
                    <a:pt x="685" y="157"/>
                  </a:cubicBezTo>
                  <a:cubicBezTo>
                    <a:pt x="684" y="157"/>
                    <a:pt x="683" y="158"/>
                    <a:pt x="682" y="158"/>
                  </a:cubicBezTo>
                  <a:cubicBezTo>
                    <a:pt x="681" y="158"/>
                    <a:pt x="681" y="158"/>
                    <a:pt x="681" y="158"/>
                  </a:cubicBezTo>
                  <a:cubicBezTo>
                    <a:pt x="681" y="159"/>
                    <a:pt x="680" y="159"/>
                    <a:pt x="679" y="160"/>
                  </a:cubicBezTo>
                  <a:cubicBezTo>
                    <a:pt x="678" y="160"/>
                    <a:pt x="677" y="160"/>
                    <a:pt x="677" y="160"/>
                  </a:cubicBezTo>
                  <a:cubicBezTo>
                    <a:pt x="675" y="161"/>
                    <a:pt x="673" y="161"/>
                    <a:pt x="671" y="163"/>
                  </a:cubicBezTo>
                  <a:cubicBezTo>
                    <a:pt x="670" y="163"/>
                    <a:pt x="669" y="165"/>
                    <a:pt x="669" y="167"/>
                  </a:cubicBezTo>
                  <a:cubicBezTo>
                    <a:pt x="669" y="168"/>
                    <a:pt x="669" y="168"/>
                    <a:pt x="669" y="168"/>
                  </a:cubicBezTo>
                  <a:cubicBezTo>
                    <a:pt x="670" y="169"/>
                    <a:pt x="670" y="169"/>
                    <a:pt x="669" y="170"/>
                  </a:cubicBezTo>
                  <a:cubicBezTo>
                    <a:pt x="669" y="170"/>
                    <a:pt x="669" y="171"/>
                    <a:pt x="668" y="171"/>
                  </a:cubicBezTo>
                  <a:cubicBezTo>
                    <a:pt x="668" y="170"/>
                    <a:pt x="667" y="170"/>
                    <a:pt x="666" y="170"/>
                  </a:cubicBezTo>
                  <a:cubicBezTo>
                    <a:pt x="665" y="170"/>
                    <a:pt x="665" y="171"/>
                    <a:pt x="664" y="171"/>
                  </a:cubicBezTo>
                  <a:cubicBezTo>
                    <a:pt x="664" y="171"/>
                    <a:pt x="664" y="171"/>
                    <a:pt x="664" y="171"/>
                  </a:cubicBezTo>
                  <a:cubicBezTo>
                    <a:pt x="663" y="171"/>
                    <a:pt x="663" y="172"/>
                    <a:pt x="663" y="172"/>
                  </a:cubicBezTo>
                  <a:cubicBezTo>
                    <a:pt x="663" y="172"/>
                    <a:pt x="663" y="171"/>
                    <a:pt x="662" y="171"/>
                  </a:cubicBezTo>
                  <a:cubicBezTo>
                    <a:pt x="662" y="171"/>
                    <a:pt x="661" y="170"/>
                    <a:pt x="660" y="170"/>
                  </a:cubicBezTo>
                  <a:cubicBezTo>
                    <a:pt x="660" y="170"/>
                    <a:pt x="660" y="170"/>
                    <a:pt x="660" y="170"/>
                  </a:cubicBezTo>
                  <a:cubicBezTo>
                    <a:pt x="659" y="170"/>
                    <a:pt x="658" y="171"/>
                    <a:pt x="658" y="171"/>
                  </a:cubicBezTo>
                  <a:cubicBezTo>
                    <a:pt x="658" y="171"/>
                    <a:pt x="658" y="171"/>
                    <a:pt x="658" y="171"/>
                  </a:cubicBezTo>
                  <a:cubicBezTo>
                    <a:pt x="657" y="171"/>
                    <a:pt x="657" y="170"/>
                    <a:pt x="656" y="170"/>
                  </a:cubicBezTo>
                  <a:cubicBezTo>
                    <a:pt x="655" y="170"/>
                    <a:pt x="654" y="170"/>
                    <a:pt x="653" y="171"/>
                  </a:cubicBezTo>
                  <a:cubicBezTo>
                    <a:pt x="653" y="171"/>
                    <a:pt x="653" y="171"/>
                    <a:pt x="653" y="171"/>
                  </a:cubicBezTo>
                  <a:cubicBezTo>
                    <a:pt x="653" y="171"/>
                    <a:pt x="653" y="171"/>
                    <a:pt x="653" y="171"/>
                  </a:cubicBezTo>
                  <a:cubicBezTo>
                    <a:pt x="653" y="170"/>
                    <a:pt x="653" y="170"/>
                    <a:pt x="652" y="170"/>
                  </a:cubicBezTo>
                  <a:cubicBezTo>
                    <a:pt x="652" y="169"/>
                    <a:pt x="651" y="168"/>
                    <a:pt x="650" y="168"/>
                  </a:cubicBezTo>
                  <a:cubicBezTo>
                    <a:pt x="648" y="167"/>
                    <a:pt x="646" y="168"/>
                    <a:pt x="645" y="170"/>
                  </a:cubicBezTo>
                  <a:cubicBezTo>
                    <a:pt x="644" y="171"/>
                    <a:pt x="644" y="171"/>
                    <a:pt x="644" y="171"/>
                  </a:cubicBezTo>
                  <a:cubicBezTo>
                    <a:pt x="644" y="171"/>
                    <a:pt x="643" y="171"/>
                    <a:pt x="643" y="171"/>
                  </a:cubicBezTo>
                  <a:cubicBezTo>
                    <a:pt x="641" y="170"/>
                    <a:pt x="639" y="171"/>
                    <a:pt x="638" y="172"/>
                  </a:cubicBezTo>
                  <a:cubicBezTo>
                    <a:pt x="636" y="173"/>
                    <a:pt x="635" y="174"/>
                    <a:pt x="634" y="175"/>
                  </a:cubicBezTo>
                  <a:cubicBezTo>
                    <a:pt x="634" y="176"/>
                    <a:pt x="632" y="178"/>
                    <a:pt x="632" y="180"/>
                  </a:cubicBezTo>
                  <a:cubicBezTo>
                    <a:pt x="632" y="180"/>
                    <a:pt x="633" y="181"/>
                    <a:pt x="633" y="181"/>
                  </a:cubicBezTo>
                  <a:cubicBezTo>
                    <a:pt x="634" y="182"/>
                    <a:pt x="634" y="182"/>
                    <a:pt x="635" y="182"/>
                  </a:cubicBezTo>
                  <a:cubicBezTo>
                    <a:pt x="635" y="182"/>
                    <a:pt x="635" y="182"/>
                    <a:pt x="635" y="182"/>
                  </a:cubicBezTo>
                  <a:cubicBezTo>
                    <a:pt x="636" y="182"/>
                    <a:pt x="636" y="182"/>
                    <a:pt x="636" y="182"/>
                  </a:cubicBezTo>
                  <a:cubicBezTo>
                    <a:pt x="637" y="183"/>
                    <a:pt x="637" y="183"/>
                    <a:pt x="637" y="183"/>
                  </a:cubicBezTo>
                  <a:cubicBezTo>
                    <a:pt x="638" y="184"/>
                    <a:pt x="641" y="185"/>
                    <a:pt x="642" y="184"/>
                  </a:cubicBezTo>
                  <a:cubicBezTo>
                    <a:pt x="643" y="184"/>
                    <a:pt x="643" y="183"/>
                    <a:pt x="643" y="183"/>
                  </a:cubicBezTo>
                  <a:cubicBezTo>
                    <a:pt x="643" y="183"/>
                    <a:pt x="643" y="182"/>
                    <a:pt x="644" y="182"/>
                  </a:cubicBezTo>
                  <a:cubicBezTo>
                    <a:pt x="644" y="182"/>
                    <a:pt x="644" y="182"/>
                    <a:pt x="644" y="183"/>
                  </a:cubicBezTo>
                  <a:cubicBezTo>
                    <a:pt x="645" y="183"/>
                    <a:pt x="645" y="183"/>
                    <a:pt x="645" y="183"/>
                  </a:cubicBezTo>
                  <a:cubicBezTo>
                    <a:pt x="647" y="183"/>
                    <a:pt x="647" y="182"/>
                    <a:pt x="648" y="181"/>
                  </a:cubicBezTo>
                  <a:cubicBezTo>
                    <a:pt x="648" y="182"/>
                    <a:pt x="648" y="183"/>
                    <a:pt x="649" y="183"/>
                  </a:cubicBezTo>
                  <a:cubicBezTo>
                    <a:pt x="650" y="184"/>
                    <a:pt x="651" y="184"/>
                    <a:pt x="652" y="184"/>
                  </a:cubicBezTo>
                  <a:cubicBezTo>
                    <a:pt x="653" y="184"/>
                    <a:pt x="653" y="184"/>
                    <a:pt x="654" y="183"/>
                  </a:cubicBezTo>
                  <a:cubicBezTo>
                    <a:pt x="654" y="183"/>
                    <a:pt x="654" y="183"/>
                    <a:pt x="654" y="183"/>
                  </a:cubicBezTo>
                  <a:cubicBezTo>
                    <a:pt x="654" y="184"/>
                    <a:pt x="655" y="185"/>
                    <a:pt x="656" y="185"/>
                  </a:cubicBezTo>
                  <a:cubicBezTo>
                    <a:pt x="656" y="185"/>
                    <a:pt x="656" y="185"/>
                    <a:pt x="657" y="185"/>
                  </a:cubicBezTo>
                  <a:cubicBezTo>
                    <a:pt x="657" y="185"/>
                    <a:pt x="657" y="185"/>
                    <a:pt x="657" y="185"/>
                  </a:cubicBezTo>
                  <a:cubicBezTo>
                    <a:pt x="657" y="185"/>
                    <a:pt x="657" y="186"/>
                    <a:pt x="657" y="186"/>
                  </a:cubicBezTo>
                  <a:cubicBezTo>
                    <a:pt x="657" y="187"/>
                    <a:pt x="657" y="187"/>
                    <a:pt x="656" y="188"/>
                  </a:cubicBezTo>
                  <a:cubicBezTo>
                    <a:pt x="656" y="188"/>
                    <a:pt x="655" y="188"/>
                    <a:pt x="655" y="189"/>
                  </a:cubicBezTo>
                  <a:cubicBezTo>
                    <a:pt x="655" y="190"/>
                    <a:pt x="656" y="190"/>
                    <a:pt x="656" y="190"/>
                  </a:cubicBezTo>
                  <a:cubicBezTo>
                    <a:pt x="656" y="190"/>
                    <a:pt x="656" y="190"/>
                    <a:pt x="656" y="190"/>
                  </a:cubicBezTo>
                  <a:cubicBezTo>
                    <a:pt x="656" y="191"/>
                    <a:pt x="655" y="192"/>
                    <a:pt x="655" y="193"/>
                  </a:cubicBezTo>
                  <a:cubicBezTo>
                    <a:pt x="655" y="194"/>
                    <a:pt x="656" y="194"/>
                    <a:pt x="657" y="194"/>
                  </a:cubicBezTo>
                  <a:cubicBezTo>
                    <a:pt x="657" y="195"/>
                    <a:pt x="657" y="195"/>
                    <a:pt x="657" y="195"/>
                  </a:cubicBezTo>
                  <a:cubicBezTo>
                    <a:pt x="657" y="195"/>
                    <a:pt x="657" y="195"/>
                    <a:pt x="657" y="195"/>
                  </a:cubicBezTo>
                  <a:cubicBezTo>
                    <a:pt x="655" y="195"/>
                    <a:pt x="655" y="196"/>
                    <a:pt x="655" y="197"/>
                  </a:cubicBezTo>
                  <a:cubicBezTo>
                    <a:pt x="654" y="198"/>
                    <a:pt x="655" y="199"/>
                    <a:pt x="656" y="199"/>
                  </a:cubicBezTo>
                  <a:cubicBezTo>
                    <a:pt x="656" y="199"/>
                    <a:pt x="656" y="200"/>
                    <a:pt x="656" y="200"/>
                  </a:cubicBezTo>
                  <a:cubicBezTo>
                    <a:pt x="656" y="200"/>
                    <a:pt x="655" y="201"/>
                    <a:pt x="656" y="202"/>
                  </a:cubicBezTo>
                  <a:cubicBezTo>
                    <a:pt x="656" y="203"/>
                    <a:pt x="657" y="203"/>
                    <a:pt x="658" y="203"/>
                  </a:cubicBezTo>
                  <a:cubicBezTo>
                    <a:pt x="658" y="203"/>
                    <a:pt x="658" y="203"/>
                    <a:pt x="658" y="203"/>
                  </a:cubicBezTo>
                  <a:cubicBezTo>
                    <a:pt x="658" y="204"/>
                    <a:pt x="658" y="204"/>
                    <a:pt x="658" y="205"/>
                  </a:cubicBezTo>
                  <a:cubicBezTo>
                    <a:pt x="659" y="206"/>
                    <a:pt x="659" y="206"/>
                    <a:pt x="660" y="206"/>
                  </a:cubicBezTo>
                  <a:cubicBezTo>
                    <a:pt x="660" y="206"/>
                    <a:pt x="660" y="206"/>
                    <a:pt x="660" y="206"/>
                  </a:cubicBezTo>
                  <a:cubicBezTo>
                    <a:pt x="660" y="206"/>
                    <a:pt x="660" y="206"/>
                    <a:pt x="660" y="207"/>
                  </a:cubicBezTo>
                  <a:cubicBezTo>
                    <a:pt x="660" y="207"/>
                    <a:pt x="660" y="208"/>
                    <a:pt x="661" y="209"/>
                  </a:cubicBezTo>
                  <a:cubicBezTo>
                    <a:pt x="661" y="210"/>
                    <a:pt x="661" y="210"/>
                    <a:pt x="661" y="210"/>
                  </a:cubicBezTo>
                  <a:cubicBezTo>
                    <a:pt x="662" y="210"/>
                    <a:pt x="662" y="210"/>
                    <a:pt x="662" y="210"/>
                  </a:cubicBezTo>
                  <a:cubicBezTo>
                    <a:pt x="663" y="210"/>
                    <a:pt x="663" y="209"/>
                    <a:pt x="663" y="209"/>
                  </a:cubicBezTo>
                  <a:cubicBezTo>
                    <a:pt x="663" y="209"/>
                    <a:pt x="663" y="210"/>
                    <a:pt x="663" y="210"/>
                  </a:cubicBezTo>
                  <a:cubicBezTo>
                    <a:pt x="663" y="211"/>
                    <a:pt x="664" y="212"/>
                    <a:pt x="664" y="212"/>
                  </a:cubicBezTo>
                  <a:cubicBezTo>
                    <a:pt x="664" y="213"/>
                    <a:pt x="664" y="213"/>
                    <a:pt x="664" y="213"/>
                  </a:cubicBezTo>
                  <a:cubicBezTo>
                    <a:pt x="664" y="213"/>
                    <a:pt x="664" y="213"/>
                    <a:pt x="665" y="213"/>
                  </a:cubicBezTo>
                  <a:cubicBezTo>
                    <a:pt x="665" y="214"/>
                    <a:pt x="665" y="214"/>
                    <a:pt x="665" y="215"/>
                  </a:cubicBezTo>
                  <a:cubicBezTo>
                    <a:pt x="666" y="216"/>
                    <a:pt x="667" y="216"/>
                    <a:pt x="667" y="217"/>
                  </a:cubicBezTo>
                  <a:cubicBezTo>
                    <a:pt x="668" y="218"/>
                    <a:pt x="670" y="218"/>
                    <a:pt x="671" y="219"/>
                  </a:cubicBezTo>
                  <a:cubicBezTo>
                    <a:pt x="672" y="219"/>
                    <a:pt x="672" y="219"/>
                    <a:pt x="673" y="220"/>
                  </a:cubicBezTo>
                  <a:cubicBezTo>
                    <a:pt x="673" y="220"/>
                    <a:pt x="673" y="220"/>
                    <a:pt x="673" y="220"/>
                  </a:cubicBezTo>
                  <a:cubicBezTo>
                    <a:pt x="674" y="220"/>
                    <a:pt x="674" y="220"/>
                    <a:pt x="674" y="221"/>
                  </a:cubicBezTo>
                  <a:cubicBezTo>
                    <a:pt x="675" y="221"/>
                    <a:pt x="675" y="221"/>
                    <a:pt x="675" y="221"/>
                  </a:cubicBezTo>
                  <a:cubicBezTo>
                    <a:pt x="675" y="221"/>
                    <a:pt x="676" y="222"/>
                    <a:pt x="677" y="222"/>
                  </a:cubicBezTo>
                  <a:cubicBezTo>
                    <a:pt x="677" y="222"/>
                    <a:pt x="678" y="222"/>
                    <a:pt x="679" y="222"/>
                  </a:cubicBezTo>
                  <a:cubicBezTo>
                    <a:pt x="679" y="221"/>
                    <a:pt x="679" y="220"/>
                    <a:pt x="679" y="219"/>
                  </a:cubicBezTo>
                  <a:cubicBezTo>
                    <a:pt x="679" y="219"/>
                    <a:pt x="679" y="219"/>
                    <a:pt x="679" y="219"/>
                  </a:cubicBezTo>
                  <a:cubicBezTo>
                    <a:pt x="679" y="219"/>
                    <a:pt x="680" y="219"/>
                    <a:pt x="680" y="219"/>
                  </a:cubicBezTo>
                  <a:cubicBezTo>
                    <a:pt x="680" y="219"/>
                    <a:pt x="681" y="219"/>
                    <a:pt x="682" y="218"/>
                  </a:cubicBezTo>
                  <a:cubicBezTo>
                    <a:pt x="682" y="218"/>
                    <a:pt x="682" y="217"/>
                    <a:pt x="682" y="217"/>
                  </a:cubicBezTo>
                  <a:cubicBezTo>
                    <a:pt x="682" y="216"/>
                    <a:pt x="682" y="216"/>
                    <a:pt x="682" y="215"/>
                  </a:cubicBezTo>
                  <a:cubicBezTo>
                    <a:pt x="682" y="215"/>
                    <a:pt x="682" y="214"/>
                    <a:pt x="682" y="214"/>
                  </a:cubicBezTo>
                  <a:cubicBezTo>
                    <a:pt x="682" y="213"/>
                    <a:pt x="682" y="211"/>
                    <a:pt x="682" y="210"/>
                  </a:cubicBezTo>
                  <a:cubicBezTo>
                    <a:pt x="681" y="210"/>
                    <a:pt x="681" y="210"/>
                    <a:pt x="681" y="210"/>
                  </a:cubicBezTo>
                  <a:cubicBezTo>
                    <a:pt x="681" y="210"/>
                    <a:pt x="681" y="209"/>
                    <a:pt x="681" y="209"/>
                  </a:cubicBezTo>
                  <a:cubicBezTo>
                    <a:pt x="681" y="209"/>
                    <a:pt x="681" y="209"/>
                    <a:pt x="681" y="209"/>
                  </a:cubicBezTo>
                  <a:cubicBezTo>
                    <a:pt x="681" y="209"/>
                    <a:pt x="681" y="208"/>
                    <a:pt x="680" y="208"/>
                  </a:cubicBezTo>
                  <a:cubicBezTo>
                    <a:pt x="680" y="207"/>
                    <a:pt x="680" y="207"/>
                    <a:pt x="679" y="207"/>
                  </a:cubicBezTo>
                  <a:cubicBezTo>
                    <a:pt x="679" y="207"/>
                    <a:pt x="679" y="206"/>
                    <a:pt x="679" y="206"/>
                  </a:cubicBezTo>
                  <a:cubicBezTo>
                    <a:pt x="679" y="206"/>
                    <a:pt x="679" y="206"/>
                    <a:pt x="679" y="205"/>
                  </a:cubicBezTo>
                  <a:cubicBezTo>
                    <a:pt x="679" y="205"/>
                    <a:pt x="679" y="205"/>
                    <a:pt x="679" y="204"/>
                  </a:cubicBezTo>
                  <a:cubicBezTo>
                    <a:pt x="679" y="204"/>
                    <a:pt x="680" y="204"/>
                    <a:pt x="680" y="204"/>
                  </a:cubicBezTo>
                  <a:cubicBezTo>
                    <a:pt x="680" y="203"/>
                    <a:pt x="680" y="203"/>
                    <a:pt x="680" y="202"/>
                  </a:cubicBezTo>
                  <a:cubicBezTo>
                    <a:pt x="681" y="203"/>
                    <a:pt x="682" y="203"/>
                    <a:pt x="683" y="202"/>
                  </a:cubicBezTo>
                  <a:cubicBezTo>
                    <a:pt x="683" y="203"/>
                    <a:pt x="683" y="204"/>
                    <a:pt x="684" y="205"/>
                  </a:cubicBezTo>
                  <a:cubicBezTo>
                    <a:pt x="684" y="205"/>
                    <a:pt x="684" y="205"/>
                    <a:pt x="684" y="206"/>
                  </a:cubicBezTo>
                  <a:cubicBezTo>
                    <a:pt x="684" y="206"/>
                    <a:pt x="684" y="206"/>
                    <a:pt x="685" y="207"/>
                  </a:cubicBezTo>
                  <a:cubicBezTo>
                    <a:pt x="685" y="208"/>
                    <a:pt x="685" y="208"/>
                    <a:pt x="686" y="209"/>
                  </a:cubicBezTo>
                  <a:cubicBezTo>
                    <a:pt x="686" y="209"/>
                    <a:pt x="686" y="210"/>
                    <a:pt x="687" y="210"/>
                  </a:cubicBezTo>
                  <a:cubicBezTo>
                    <a:pt x="686" y="211"/>
                    <a:pt x="686" y="212"/>
                    <a:pt x="686" y="213"/>
                  </a:cubicBezTo>
                  <a:cubicBezTo>
                    <a:pt x="686" y="214"/>
                    <a:pt x="687" y="215"/>
                    <a:pt x="688" y="215"/>
                  </a:cubicBezTo>
                  <a:cubicBezTo>
                    <a:pt x="689" y="215"/>
                    <a:pt x="689" y="215"/>
                    <a:pt x="690" y="215"/>
                  </a:cubicBezTo>
                  <a:cubicBezTo>
                    <a:pt x="690" y="215"/>
                    <a:pt x="690" y="215"/>
                    <a:pt x="690" y="215"/>
                  </a:cubicBezTo>
                  <a:cubicBezTo>
                    <a:pt x="691" y="214"/>
                    <a:pt x="692" y="214"/>
                    <a:pt x="692" y="213"/>
                  </a:cubicBezTo>
                  <a:cubicBezTo>
                    <a:pt x="693" y="213"/>
                    <a:pt x="693" y="212"/>
                    <a:pt x="693" y="212"/>
                  </a:cubicBezTo>
                  <a:cubicBezTo>
                    <a:pt x="693" y="212"/>
                    <a:pt x="694" y="212"/>
                    <a:pt x="694" y="212"/>
                  </a:cubicBezTo>
                  <a:cubicBezTo>
                    <a:pt x="695" y="212"/>
                    <a:pt x="695" y="212"/>
                    <a:pt x="695" y="212"/>
                  </a:cubicBezTo>
                  <a:cubicBezTo>
                    <a:pt x="696" y="212"/>
                    <a:pt x="696" y="211"/>
                    <a:pt x="697" y="211"/>
                  </a:cubicBezTo>
                  <a:cubicBezTo>
                    <a:pt x="697" y="210"/>
                    <a:pt x="697" y="210"/>
                    <a:pt x="697" y="209"/>
                  </a:cubicBezTo>
                  <a:cubicBezTo>
                    <a:pt x="697" y="209"/>
                    <a:pt x="698" y="209"/>
                    <a:pt x="698" y="209"/>
                  </a:cubicBezTo>
                  <a:cubicBezTo>
                    <a:pt x="699" y="208"/>
                    <a:pt x="700" y="207"/>
                    <a:pt x="701" y="206"/>
                  </a:cubicBezTo>
                  <a:cubicBezTo>
                    <a:pt x="701" y="206"/>
                    <a:pt x="701" y="205"/>
                    <a:pt x="702" y="204"/>
                  </a:cubicBezTo>
                  <a:cubicBezTo>
                    <a:pt x="702" y="204"/>
                    <a:pt x="702" y="204"/>
                    <a:pt x="702" y="204"/>
                  </a:cubicBezTo>
                  <a:cubicBezTo>
                    <a:pt x="702" y="204"/>
                    <a:pt x="702" y="203"/>
                    <a:pt x="702" y="203"/>
                  </a:cubicBezTo>
                  <a:cubicBezTo>
                    <a:pt x="703" y="204"/>
                    <a:pt x="704" y="203"/>
                    <a:pt x="704" y="203"/>
                  </a:cubicBezTo>
                  <a:cubicBezTo>
                    <a:pt x="705" y="202"/>
                    <a:pt x="705" y="201"/>
                    <a:pt x="705" y="201"/>
                  </a:cubicBezTo>
                  <a:cubicBezTo>
                    <a:pt x="705" y="201"/>
                    <a:pt x="705" y="201"/>
                    <a:pt x="705" y="201"/>
                  </a:cubicBezTo>
                  <a:cubicBezTo>
                    <a:pt x="705" y="200"/>
                    <a:pt x="706" y="199"/>
                    <a:pt x="705" y="199"/>
                  </a:cubicBezTo>
                  <a:cubicBezTo>
                    <a:pt x="705" y="198"/>
                    <a:pt x="705" y="198"/>
                    <a:pt x="704" y="197"/>
                  </a:cubicBezTo>
                  <a:cubicBezTo>
                    <a:pt x="704" y="197"/>
                    <a:pt x="704" y="197"/>
                    <a:pt x="704" y="197"/>
                  </a:cubicBezTo>
                  <a:cubicBezTo>
                    <a:pt x="704" y="197"/>
                    <a:pt x="703" y="197"/>
                    <a:pt x="703" y="197"/>
                  </a:cubicBezTo>
                  <a:cubicBezTo>
                    <a:pt x="703" y="196"/>
                    <a:pt x="703" y="196"/>
                    <a:pt x="703" y="196"/>
                  </a:cubicBezTo>
                  <a:cubicBezTo>
                    <a:pt x="704" y="196"/>
                    <a:pt x="705" y="196"/>
                    <a:pt x="706" y="195"/>
                  </a:cubicBezTo>
                  <a:cubicBezTo>
                    <a:pt x="706" y="195"/>
                    <a:pt x="707" y="193"/>
                    <a:pt x="707" y="192"/>
                  </a:cubicBezTo>
                  <a:cubicBezTo>
                    <a:pt x="706" y="192"/>
                    <a:pt x="706" y="191"/>
                    <a:pt x="705" y="191"/>
                  </a:cubicBezTo>
                  <a:cubicBezTo>
                    <a:pt x="706" y="191"/>
                    <a:pt x="706" y="191"/>
                    <a:pt x="706" y="190"/>
                  </a:cubicBezTo>
                  <a:cubicBezTo>
                    <a:pt x="706" y="190"/>
                    <a:pt x="706" y="189"/>
                    <a:pt x="706" y="189"/>
                  </a:cubicBezTo>
                  <a:cubicBezTo>
                    <a:pt x="707" y="188"/>
                    <a:pt x="706" y="187"/>
                    <a:pt x="706" y="187"/>
                  </a:cubicBezTo>
                  <a:cubicBezTo>
                    <a:pt x="705" y="186"/>
                    <a:pt x="704" y="186"/>
                    <a:pt x="703" y="186"/>
                  </a:cubicBezTo>
                  <a:cubicBezTo>
                    <a:pt x="703" y="186"/>
                    <a:pt x="703" y="186"/>
                    <a:pt x="703" y="186"/>
                  </a:cubicBezTo>
                  <a:cubicBezTo>
                    <a:pt x="703" y="185"/>
                    <a:pt x="703" y="185"/>
                    <a:pt x="702" y="184"/>
                  </a:cubicBezTo>
                  <a:cubicBezTo>
                    <a:pt x="702" y="184"/>
                    <a:pt x="702" y="184"/>
                    <a:pt x="702" y="184"/>
                  </a:cubicBezTo>
                  <a:cubicBezTo>
                    <a:pt x="703" y="183"/>
                    <a:pt x="703" y="182"/>
                    <a:pt x="702" y="182"/>
                  </a:cubicBezTo>
                  <a:cubicBezTo>
                    <a:pt x="702" y="182"/>
                    <a:pt x="703" y="182"/>
                    <a:pt x="703" y="181"/>
                  </a:cubicBezTo>
                  <a:cubicBezTo>
                    <a:pt x="703" y="181"/>
                    <a:pt x="704" y="181"/>
                    <a:pt x="704" y="180"/>
                  </a:cubicBezTo>
                  <a:cubicBezTo>
                    <a:pt x="705" y="179"/>
                    <a:pt x="704" y="178"/>
                    <a:pt x="704" y="177"/>
                  </a:cubicBezTo>
                  <a:cubicBezTo>
                    <a:pt x="704" y="177"/>
                    <a:pt x="703" y="177"/>
                    <a:pt x="702" y="177"/>
                  </a:cubicBezTo>
                  <a:cubicBezTo>
                    <a:pt x="702" y="176"/>
                    <a:pt x="702" y="176"/>
                    <a:pt x="703" y="175"/>
                  </a:cubicBezTo>
                  <a:cubicBezTo>
                    <a:pt x="703" y="175"/>
                    <a:pt x="703" y="175"/>
                    <a:pt x="703" y="175"/>
                  </a:cubicBezTo>
                  <a:cubicBezTo>
                    <a:pt x="703" y="175"/>
                    <a:pt x="703" y="175"/>
                    <a:pt x="703" y="175"/>
                  </a:cubicBezTo>
                  <a:cubicBezTo>
                    <a:pt x="704" y="176"/>
                    <a:pt x="705" y="176"/>
                    <a:pt x="706" y="175"/>
                  </a:cubicBezTo>
                  <a:cubicBezTo>
                    <a:pt x="706" y="175"/>
                    <a:pt x="706" y="175"/>
                    <a:pt x="706" y="175"/>
                  </a:cubicBezTo>
                  <a:cubicBezTo>
                    <a:pt x="707" y="175"/>
                    <a:pt x="707" y="175"/>
                    <a:pt x="707" y="175"/>
                  </a:cubicBezTo>
                  <a:cubicBezTo>
                    <a:pt x="707" y="175"/>
                    <a:pt x="707" y="175"/>
                    <a:pt x="708" y="175"/>
                  </a:cubicBezTo>
                  <a:cubicBezTo>
                    <a:pt x="708" y="175"/>
                    <a:pt x="709" y="175"/>
                    <a:pt x="709" y="174"/>
                  </a:cubicBezTo>
                  <a:cubicBezTo>
                    <a:pt x="710" y="174"/>
                    <a:pt x="710" y="173"/>
                    <a:pt x="710" y="173"/>
                  </a:cubicBezTo>
                  <a:cubicBezTo>
                    <a:pt x="710" y="173"/>
                    <a:pt x="710" y="173"/>
                    <a:pt x="710" y="173"/>
                  </a:cubicBezTo>
                  <a:cubicBezTo>
                    <a:pt x="711" y="173"/>
                    <a:pt x="711" y="173"/>
                    <a:pt x="711" y="173"/>
                  </a:cubicBezTo>
                  <a:cubicBezTo>
                    <a:pt x="712" y="173"/>
                    <a:pt x="713" y="172"/>
                    <a:pt x="713" y="170"/>
                  </a:cubicBezTo>
                  <a:cubicBezTo>
                    <a:pt x="713" y="170"/>
                    <a:pt x="714" y="170"/>
                    <a:pt x="714" y="169"/>
                  </a:cubicBezTo>
                  <a:cubicBezTo>
                    <a:pt x="714" y="169"/>
                    <a:pt x="714" y="169"/>
                    <a:pt x="714" y="169"/>
                  </a:cubicBezTo>
                  <a:cubicBezTo>
                    <a:pt x="714" y="169"/>
                    <a:pt x="714" y="169"/>
                    <a:pt x="714" y="169"/>
                  </a:cubicBezTo>
                  <a:cubicBezTo>
                    <a:pt x="714" y="169"/>
                    <a:pt x="715" y="169"/>
                    <a:pt x="715" y="169"/>
                  </a:cubicBezTo>
                  <a:cubicBezTo>
                    <a:pt x="715" y="169"/>
                    <a:pt x="715" y="169"/>
                    <a:pt x="715" y="170"/>
                  </a:cubicBezTo>
                  <a:cubicBezTo>
                    <a:pt x="715" y="170"/>
                    <a:pt x="715" y="170"/>
                    <a:pt x="715" y="170"/>
                  </a:cubicBezTo>
                  <a:cubicBezTo>
                    <a:pt x="715" y="170"/>
                    <a:pt x="715" y="170"/>
                    <a:pt x="715" y="171"/>
                  </a:cubicBezTo>
                  <a:cubicBezTo>
                    <a:pt x="715" y="171"/>
                    <a:pt x="714" y="172"/>
                    <a:pt x="715" y="173"/>
                  </a:cubicBezTo>
                  <a:cubicBezTo>
                    <a:pt x="715" y="174"/>
                    <a:pt x="715" y="174"/>
                    <a:pt x="715" y="174"/>
                  </a:cubicBezTo>
                  <a:cubicBezTo>
                    <a:pt x="715" y="175"/>
                    <a:pt x="715" y="176"/>
                    <a:pt x="715" y="176"/>
                  </a:cubicBezTo>
                  <a:cubicBezTo>
                    <a:pt x="715" y="176"/>
                    <a:pt x="715" y="177"/>
                    <a:pt x="715" y="178"/>
                  </a:cubicBezTo>
                  <a:cubicBezTo>
                    <a:pt x="716" y="178"/>
                    <a:pt x="716" y="178"/>
                    <a:pt x="716" y="178"/>
                  </a:cubicBezTo>
                  <a:cubicBezTo>
                    <a:pt x="716" y="179"/>
                    <a:pt x="716" y="179"/>
                    <a:pt x="715" y="180"/>
                  </a:cubicBezTo>
                  <a:cubicBezTo>
                    <a:pt x="715" y="180"/>
                    <a:pt x="715" y="180"/>
                    <a:pt x="715" y="181"/>
                  </a:cubicBezTo>
                  <a:cubicBezTo>
                    <a:pt x="715" y="181"/>
                    <a:pt x="715" y="181"/>
                    <a:pt x="715" y="181"/>
                  </a:cubicBezTo>
                  <a:cubicBezTo>
                    <a:pt x="714" y="182"/>
                    <a:pt x="715" y="183"/>
                    <a:pt x="715" y="183"/>
                  </a:cubicBezTo>
                  <a:cubicBezTo>
                    <a:pt x="714" y="184"/>
                    <a:pt x="714" y="184"/>
                    <a:pt x="714" y="185"/>
                  </a:cubicBezTo>
                  <a:cubicBezTo>
                    <a:pt x="714" y="186"/>
                    <a:pt x="715" y="187"/>
                    <a:pt x="716" y="187"/>
                  </a:cubicBezTo>
                  <a:cubicBezTo>
                    <a:pt x="716" y="187"/>
                    <a:pt x="716" y="187"/>
                    <a:pt x="716" y="188"/>
                  </a:cubicBezTo>
                  <a:cubicBezTo>
                    <a:pt x="716" y="188"/>
                    <a:pt x="716" y="188"/>
                    <a:pt x="716" y="189"/>
                  </a:cubicBezTo>
                  <a:cubicBezTo>
                    <a:pt x="716" y="189"/>
                    <a:pt x="716" y="190"/>
                    <a:pt x="717" y="190"/>
                  </a:cubicBezTo>
                  <a:cubicBezTo>
                    <a:pt x="717" y="190"/>
                    <a:pt x="717" y="190"/>
                    <a:pt x="718" y="190"/>
                  </a:cubicBezTo>
                  <a:cubicBezTo>
                    <a:pt x="719" y="190"/>
                    <a:pt x="720" y="189"/>
                    <a:pt x="720" y="188"/>
                  </a:cubicBezTo>
                  <a:cubicBezTo>
                    <a:pt x="721" y="188"/>
                    <a:pt x="721" y="188"/>
                    <a:pt x="721" y="188"/>
                  </a:cubicBezTo>
                  <a:cubicBezTo>
                    <a:pt x="721" y="188"/>
                    <a:pt x="721" y="188"/>
                    <a:pt x="722" y="188"/>
                  </a:cubicBezTo>
                  <a:cubicBezTo>
                    <a:pt x="723" y="187"/>
                    <a:pt x="723" y="186"/>
                    <a:pt x="723" y="185"/>
                  </a:cubicBezTo>
                  <a:cubicBezTo>
                    <a:pt x="723" y="185"/>
                    <a:pt x="723" y="185"/>
                    <a:pt x="723" y="184"/>
                  </a:cubicBezTo>
                  <a:cubicBezTo>
                    <a:pt x="723" y="184"/>
                    <a:pt x="723" y="184"/>
                    <a:pt x="723" y="184"/>
                  </a:cubicBezTo>
                  <a:cubicBezTo>
                    <a:pt x="724" y="184"/>
                    <a:pt x="724" y="184"/>
                    <a:pt x="725" y="183"/>
                  </a:cubicBezTo>
                  <a:cubicBezTo>
                    <a:pt x="725" y="183"/>
                    <a:pt x="725" y="183"/>
                    <a:pt x="725" y="183"/>
                  </a:cubicBezTo>
                  <a:cubicBezTo>
                    <a:pt x="726" y="183"/>
                    <a:pt x="726" y="182"/>
                    <a:pt x="727" y="182"/>
                  </a:cubicBezTo>
                  <a:cubicBezTo>
                    <a:pt x="727" y="182"/>
                    <a:pt x="727" y="182"/>
                    <a:pt x="728" y="182"/>
                  </a:cubicBezTo>
                  <a:cubicBezTo>
                    <a:pt x="728" y="182"/>
                    <a:pt x="728" y="182"/>
                    <a:pt x="729" y="182"/>
                  </a:cubicBezTo>
                  <a:cubicBezTo>
                    <a:pt x="729" y="182"/>
                    <a:pt x="729" y="182"/>
                    <a:pt x="730" y="182"/>
                  </a:cubicBezTo>
                  <a:cubicBezTo>
                    <a:pt x="730" y="183"/>
                    <a:pt x="730" y="183"/>
                    <a:pt x="730" y="183"/>
                  </a:cubicBezTo>
                  <a:cubicBezTo>
                    <a:pt x="731" y="182"/>
                    <a:pt x="731" y="182"/>
                    <a:pt x="731" y="182"/>
                  </a:cubicBezTo>
                  <a:cubicBezTo>
                    <a:pt x="731" y="182"/>
                    <a:pt x="731" y="182"/>
                    <a:pt x="731" y="182"/>
                  </a:cubicBezTo>
                  <a:cubicBezTo>
                    <a:pt x="731" y="182"/>
                    <a:pt x="732" y="181"/>
                    <a:pt x="732" y="181"/>
                  </a:cubicBezTo>
                  <a:cubicBezTo>
                    <a:pt x="732" y="181"/>
                    <a:pt x="732" y="181"/>
                    <a:pt x="732" y="181"/>
                  </a:cubicBezTo>
                  <a:cubicBezTo>
                    <a:pt x="732" y="180"/>
                    <a:pt x="733" y="180"/>
                    <a:pt x="733" y="180"/>
                  </a:cubicBezTo>
                  <a:cubicBezTo>
                    <a:pt x="734" y="180"/>
                    <a:pt x="734" y="180"/>
                    <a:pt x="735" y="180"/>
                  </a:cubicBezTo>
                  <a:cubicBezTo>
                    <a:pt x="735" y="179"/>
                    <a:pt x="735" y="179"/>
                    <a:pt x="736" y="179"/>
                  </a:cubicBezTo>
                  <a:cubicBezTo>
                    <a:pt x="736" y="179"/>
                    <a:pt x="736" y="179"/>
                    <a:pt x="737" y="179"/>
                  </a:cubicBezTo>
                  <a:cubicBezTo>
                    <a:pt x="738" y="179"/>
                    <a:pt x="738" y="179"/>
                    <a:pt x="738" y="179"/>
                  </a:cubicBezTo>
                  <a:cubicBezTo>
                    <a:pt x="738" y="179"/>
                    <a:pt x="738" y="179"/>
                    <a:pt x="739" y="179"/>
                  </a:cubicBezTo>
                  <a:cubicBezTo>
                    <a:pt x="740" y="179"/>
                    <a:pt x="740" y="179"/>
                    <a:pt x="741" y="178"/>
                  </a:cubicBezTo>
                  <a:cubicBezTo>
                    <a:pt x="741" y="177"/>
                    <a:pt x="740" y="176"/>
                    <a:pt x="740" y="176"/>
                  </a:cubicBezTo>
                  <a:cubicBezTo>
                    <a:pt x="740" y="175"/>
                    <a:pt x="740" y="175"/>
                    <a:pt x="740" y="175"/>
                  </a:cubicBezTo>
                  <a:cubicBezTo>
                    <a:pt x="740" y="175"/>
                    <a:pt x="740" y="175"/>
                    <a:pt x="740" y="175"/>
                  </a:cubicBezTo>
                  <a:cubicBezTo>
                    <a:pt x="740" y="175"/>
                    <a:pt x="740" y="175"/>
                    <a:pt x="740" y="175"/>
                  </a:cubicBezTo>
                  <a:cubicBezTo>
                    <a:pt x="740" y="175"/>
                    <a:pt x="741" y="176"/>
                    <a:pt x="741" y="176"/>
                  </a:cubicBezTo>
                  <a:cubicBezTo>
                    <a:pt x="741" y="176"/>
                    <a:pt x="742" y="177"/>
                    <a:pt x="743" y="176"/>
                  </a:cubicBezTo>
                  <a:cubicBezTo>
                    <a:pt x="744" y="175"/>
                    <a:pt x="745" y="174"/>
                    <a:pt x="744" y="173"/>
                  </a:cubicBezTo>
                  <a:cubicBezTo>
                    <a:pt x="744" y="173"/>
                    <a:pt x="744" y="173"/>
                    <a:pt x="744" y="173"/>
                  </a:cubicBezTo>
                  <a:cubicBezTo>
                    <a:pt x="744" y="173"/>
                    <a:pt x="745" y="173"/>
                    <a:pt x="745" y="173"/>
                  </a:cubicBezTo>
                  <a:cubicBezTo>
                    <a:pt x="746" y="173"/>
                    <a:pt x="746" y="173"/>
                    <a:pt x="747" y="172"/>
                  </a:cubicBezTo>
                  <a:cubicBezTo>
                    <a:pt x="748" y="171"/>
                    <a:pt x="747" y="170"/>
                    <a:pt x="747" y="169"/>
                  </a:cubicBezTo>
                  <a:cubicBezTo>
                    <a:pt x="747" y="169"/>
                    <a:pt x="747" y="169"/>
                    <a:pt x="747" y="168"/>
                  </a:cubicBezTo>
                  <a:cubicBezTo>
                    <a:pt x="747" y="168"/>
                    <a:pt x="747" y="167"/>
                    <a:pt x="747" y="166"/>
                  </a:cubicBezTo>
                  <a:cubicBezTo>
                    <a:pt x="746" y="164"/>
                    <a:pt x="744" y="164"/>
                    <a:pt x="742" y="165"/>
                  </a:cubicBezTo>
                  <a:cubicBezTo>
                    <a:pt x="742" y="165"/>
                    <a:pt x="742" y="165"/>
                    <a:pt x="742" y="165"/>
                  </a:cubicBezTo>
                  <a:cubicBezTo>
                    <a:pt x="742" y="165"/>
                    <a:pt x="741" y="165"/>
                    <a:pt x="741" y="165"/>
                  </a:cubicBezTo>
                  <a:cubicBezTo>
                    <a:pt x="741" y="165"/>
                    <a:pt x="741" y="165"/>
                    <a:pt x="742" y="165"/>
                  </a:cubicBezTo>
                  <a:cubicBezTo>
                    <a:pt x="742" y="165"/>
                    <a:pt x="742" y="164"/>
                    <a:pt x="742" y="164"/>
                  </a:cubicBezTo>
                  <a:cubicBezTo>
                    <a:pt x="742" y="164"/>
                    <a:pt x="742" y="164"/>
                    <a:pt x="742" y="164"/>
                  </a:cubicBezTo>
                  <a:cubicBezTo>
                    <a:pt x="744" y="164"/>
                    <a:pt x="745" y="164"/>
                    <a:pt x="745" y="163"/>
                  </a:cubicBezTo>
                  <a:cubicBezTo>
                    <a:pt x="746" y="162"/>
                    <a:pt x="746" y="161"/>
                    <a:pt x="746" y="161"/>
                  </a:cubicBezTo>
                  <a:cubicBezTo>
                    <a:pt x="745" y="160"/>
                    <a:pt x="744" y="159"/>
                    <a:pt x="743" y="159"/>
                  </a:cubicBezTo>
                  <a:cubicBezTo>
                    <a:pt x="743" y="159"/>
                    <a:pt x="743" y="159"/>
                    <a:pt x="743" y="159"/>
                  </a:cubicBezTo>
                  <a:cubicBezTo>
                    <a:pt x="742" y="159"/>
                    <a:pt x="741" y="160"/>
                    <a:pt x="740" y="160"/>
                  </a:cubicBezTo>
                  <a:cubicBezTo>
                    <a:pt x="740" y="161"/>
                    <a:pt x="740" y="161"/>
                    <a:pt x="740" y="161"/>
                  </a:cubicBezTo>
                  <a:cubicBezTo>
                    <a:pt x="740" y="160"/>
                    <a:pt x="740" y="160"/>
                    <a:pt x="739" y="159"/>
                  </a:cubicBezTo>
                  <a:cubicBezTo>
                    <a:pt x="739" y="159"/>
                    <a:pt x="739" y="159"/>
                    <a:pt x="739" y="159"/>
                  </a:cubicBezTo>
                  <a:cubicBezTo>
                    <a:pt x="739" y="159"/>
                    <a:pt x="739" y="159"/>
                    <a:pt x="739" y="159"/>
                  </a:cubicBezTo>
                  <a:cubicBezTo>
                    <a:pt x="739" y="159"/>
                    <a:pt x="740" y="159"/>
                    <a:pt x="740" y="159"/>
                  </a:cubicBezTo>
                  <a:cubicBezTo>
                    <a:pt x="740" y="158"/>
                    <a:pt x="741" y="158"/>
                    <a:pt x="741" y="157"/>
                  </a:cubicBezTo>
                  <a:cubicBezTo>
                    <a:pt x="742" y="156"/>
                    <a:pt x="741" y="155"/>
                    <a:pt x="741" y="155"/>
                  </a:cubicBezTo>
                  <a:cubicBezTo>
                    <a:pt x="741" y="155"/>
                    <a:pt x="741" y="155"/>
                    <a:pt x="741" y="154"/>
                  </a:cubicBezTo>
                  <a:cubicBezTo>
                    <a:pt x="741" y="154"/>
                    <a:pt x="741" y="153"/>
                    <a:pt x="741" y="153"/>
                  </a:cubicBezTo>
                  <a:cubicBezTo>
                    <a:pt x="740" y="151"/>
                    <a:pt x="739" y="150"/>
                    <a:pt x="737" y="151"/>
                  </a:cubicBezTo>
                  <a:cubicBezTo>
                    <a:pt x="737" y="152"/>
                    <a:pt x="737" y="152"/>
                    <a:pt x="736" y="152"/>
                  </a:cubicBezTo>
                  <a:cubicBezTo>
                    <a:pt x="736" y="152"/>
                    <a:pt x="736" y="152"/>
                    <a:pt x="736" y="152"/>
                  </a:cubicBezTo>
                  <a:cubicBezTo>
                    <a:pt x="736" y="152"/>
                    <a:pt x="736" y="152"/>
                    <a:pt x="736" y="152"/>
                  </a:cubicBezTo>
                  <a:cubicBezTo>
                    <a:pt x="736" y="151"/>
                    <a:pt x="735" y="151"/>
                    <a:pt x="734" y="151"/>
                  </a:cubicBezTo>
                  <a:cubicBezTo>
                    <a:pt x="734" y="151"/>
                    <a:pt x="734" y="151"/>
                    <a:pt x="734" y="151"/>
                  </a:cubicBezTo>
                  <a:cubicBezTo>
                    <a:pt x="734" y="151"/>
                    <a:pt x="733" y="150"/>
                    <a:pt x="733" y="150"/>
                  </a:cubicBezTo>
                  <a:cubicBezTo>
                    <a:pt x="733" y="150"/>
                    <a:pt x="733" y="150"/>
                    <a:pt x="733" y="150"/>
                  </a:cubicBezTo>
                  <a:cubicBezTo>
                    <a:pt x="733" y="149"/>
                    <a:pt x="733" y="149"/>
                    <a:pt x="733" y="149"/>
                  </a:cubicBezTo>
                  <a:cubicBezTo>
                    <a:pt x="734" y="148"/>
                    <a:pt x="734" y="148"/>
                    <a:pt x="734" y="147"/>
                  </a:cubicBezTo>
                  <a:cubicBezTo>
                    <a:pt x="734" y="147"/>
                    <a:pt x="734" y="147"/>
                    <a:pt x="734" y="147"/>
                  </a:cubicBezTo>
                  <a:cubicBezTo>
                    <a:pt x="735" y="147"/>
                    <a:pt x="735" y="147"/>
                    <a:pt x="735" y="147"/>
                  </a:cubicBezTo>
                  <a:cubicBezTo>
                    <a:pt x="735" y="147"/>
                    <a:pt x="737" y="147"/>
                    <a:pt x="738" y="146"/>
                  </a:cubicBezTo>
                  <a:cubicBezTo>
                    <a:pt x="738" y="145"/>
                    <a:pt x="738" y="145"/>
                    <a:pt x="738" y="144"/>
                  </a:cubicBezTo>
                  <a:cubicBezTo>
                    <a:pt x="737" y="143"/>
                    <a:pt x="737" y="143"/>
                    <a:pt x="736" y="143"/>
                  </a:cubicBezTo>
                  <a:cubicBezTo>
                    <a:pt x="735" y="143"/>
                    <a:pt x="735" y="143"/>
                    <a:pt x="734" y="143"/>
                  </a:cubicBezTo>
                  <a:cubicBezTo>
                    <a:pt x="734" y="143"/>
                    <a:pt x="734" y="143"/>
                    <a:pt x="734" y="143"/>
                  </a:cubicBezTo>
                  <a:cubicBezTo>
                    <a:pt x="734" y="143"/>
                    <a:pt x="733" y="143"/>
                    <a:pt x="733" y="143"/>
                  </a:cubicBezTo>
                  <a:cubicBezTo>
                    <a:pt x="733" y="143"/>
                    <a:pt x="733" y="142"/>
                    <a:pt x="732" y="142"/>
                  </a:cubicBezTo>
                  <a:cubicBezTo>
                    <a:pt x="732" y="142"/>
                    <a:pt x="732" y="142"/>
                    <a:pt x="732" y="142"/>
                  </a:cubicBezTo>
                  <a:cubicBezTo>
                    <a:pt x="734" y="142"/>
                    <a:pt x="735" y="142"/>
                    <a:pt x="735" y="142"/>
                  </a:cubicBezTo>
                  <a:cubicBezTo>
                    <a:pt x="735" y="142"/>
                    <a:pt x="737" y="141"/>
                    <a:pt x="737" y="140"/>
                  </a:cubicBezTo>
                  <a:cubicBezTo>
                    <a:pt x="738" y="139"/>
                    <a:pt x="738" y="139"/>
                    <a:pt x="738" y="139"/>
                  </a:cubicBezTo>
                  <a:cubicBezTo>
                    <a:pt x="738" y="139"/>
                    <a:pt x="738" y="139"/>
                    <a:pt x="738" y="138"/>
                  </a:cubicBezTo>
                  <a:cubicBezTo>
                    <a:pt x="738" y="139"/>
                    <a:pt x="739" y="139"/>
                    <a:pt x="739" y="139"/>
                  </a:cubicBezTo>
                  <a:cubicBezTo>
                    <a:pt x="739" y="139"/>
                    <a:pt x="740" y="139"/>
                    <a:pt x="740" y="139"/>
                  </a:cubicBezTo>
                  <a:cubicBezTo>
                    <a:pt x="741" y="139"/>
                    <a:pt x="741" y="139"/>
                    <a:pt x="741" y="139"/>
                  </a:cubicBezTo>
                  <a:cubicBezTo>
                    <a:pt x="741" y="138"/>
                    <a:pt x="741" y="138"/>
                    <a:pt x="741" y="138"/>
                  </a:cubicBezTo>
                  <a:cubicBezTo>
                    <a:pt x="741" y="139"/>
                    <a:pt x="741" y="139"/>
                    <a:pt x="741" y="139"/>
                  </a:cubicBezTo>
                  <a:cubicBezTo>
                    <a:pt x="742" y="139"/>
                    <a:pt x="743" y="139"/>
                    <a:pt x="743" y="139"/>
                  </a:cubicBezTo>
                  <a:cubicBezTo>
                    <a:pt x="744" y="138"/>
                    <a:pt x="744" y="138"/>
                    <a:pt x="744" y="137"/>
                  </a:cubicBezTo>
                  <a:cubicBezTo>
                    <a:pt x="745" y="136"/>
                    <a:pt x="744" y="135"/>
                    <a:pt x="743" y="135"/>
                  </a:cubicBezTo>
                  <a:cubicBezTo>
                    <a:pt x="742" y="133"/>
                    <a:pt x="740" y="132"/>
                    <a:pt x="739" y="132"/>
                  </a:cubicBezTo>
                  <a:cubicBezTo>
                    <a:pt x="738" y="131"/>
                    <a:pt x="738" y="131"/>
                    <a:pt x="738" y="131"/>
                  </a:cubicBezTo>
                  <a:cubicBezTo>
                    <a:pt x="738" y="131"/>
                    <a:pt x="738" y="131"/>
                    <a:pt x="738" y="131"/>
                  </a:cubicBezTo>
                  <a:cubicBezTo>
                    <a:pt x="739" y="131"/>
                    <a:pt x="740" y="131"/>
                    <a:pt x="741" y="131"/>
                  </a:cubicBezTo>
                  <a:cubicBezTo>
                    <a:pt x="741" y="131"/>
                    <a:pt x="741" y="131"/>
                    <a:pt x="741" y="131"/>
                  </a:cubicBezTo>
                  <a:cubicBezTo>
                    <a:pt x="742" y="131"/>
                    <a:pt x="742" y="131"/>
                    <a:pt x="743" y="131"/>
                  </a:cubicBezTo>
                  <a:cubicBezTo>
                    <a:pt x="744" y="132"/>
                    <a:pt x="746" y="133"/>
                    <a:pt x="747" y="132"/>
                  </a:cubicBezTo>
                  <a:cubicBezTo>
                    <a:pt x="748" y="131"/>
                    <a:pt x="748" y="130"/>
                    <a:pt x="748" y="129"/>
                  </a:cubicBezTo>
                  <a:cubicBezTo>
                    <a:pt x="748" y="129"/>
                    <a:pt x="748" y="129"/>
                    <a:pt x="749" y="129"/>
                  </a:cubicBezTo>
                  <a:cubicBezTo>
                    <a:pt x="749" y="129"/>
                    <a:pt x="749" y="128"/>
                    <a:pt x="749" y="128"/>
                  </a:cubicBezTo>
                  <a:cubicBezTo>
                    <a:pt x="749" y="127"/>
                    <a:pt x="749" y="127"/>
                    <a:pt x="749" y="126"/>
                  </a:cubicBezTo>
                  <a:cubicBezTo>
                    <a:pt x="749" y="125"/>
                    <a:pt x="749" y="123"/>
                    <a:pt x="747" y="122"/>
                  </a:cubicBezTo>
                  <a:close/>
                  <a:moveTo>
                    <a:pt x="633" y="249"/>
                  </a:moveTo>
                  <a:cubicBezTo>
                    <a:pt x="633" y="249"/>
                    <a:pt x="633" y="249"/>
                    <a:pt x="633" y="249"/>
                  </a:cubicBezTo>
                  <a:cubicBezTo>
                    <a:pt x="633" y="249"/>
                    <a:pt x="633" y="249"/>
                    <a:pt x="633" y="249"/>
                  </a:cubicBezTo>
                  <a:close/>
                  <a:moveTo>
                    <a:pt x="652" y="317"/>
                  </a:moveTo>
                  <a:cubicBezTo>
                    <a:pt x="652" y="317"/>
                    <a:pt x="652" y="317"/>
                    <a:pt x="652" y="317"/>
                  </a:cubicBezTo>
                  <a:cubicBezTo>
                    <a:pt x="652" y="317"/>
                    <a:pt x="652" y="317"/>
                    <a:pt x="652" y="317"/>
                  </a:cubicBezTo>
                  <a:close/>
                  <a:moveTo>
                    <a:pt x="662" y="314"/>
                  </a:moveTo>
                  <a:cubicBezTo>
                    <a:pt x="662" y="314"/>
                    <a:pt x="662" y="314"/>
                    <a:pt x="662" y="314"/>
                  </a:cubicBezTo>
                  <a:cubicBezTo>
                    <a:pt x="663" y="314"/>
                    <a:pt x="663" y="314"/>
                    <a:pt x="664" y="314"/>
                  </a:cubicBezTo>
                  <a:cubicBezTo>
                    <a:pt x="664" y="314"/>
                    <a:pt x="664" y="314"/>
                    <a:pt x="664" y="314"/>
                  </a:cubicBezTo>
                  <a:cubicBezTo>
                    <a:pt x="663" y="314"/>
                    <a:pt x="663" y="314"/>
                    <a:pt x="663" y="314"/>
                  </a:cubicBezTo>
                  <a:cubicBezTo>
                    <a:pt x="663" y="314"/>
                    <a:pt x="663" y="314"/>
                    <a:pt x="662" y="314"/>
                  </a:cubicBezTo>
                  <a:cubicBezTo>
                    <a:pt x="662" y="314"/>
                    <a:pt x="662" y="314"/>
                    <a:pt x="662" y="314"/>
                  </a:cubicBezTo>
                  <a:cubicBezTo>
                    <a:pt x="661" y="314"/>
                    <a:pt x="661" y="314"/>
                    <a:pt x="660" y="314"/>
                  </a:cubicBezTo>
                  <a:cubicBezTo>
                    <a:pt x="660" y="314"/>
                    <a:pt x="660" y="314"/>
                    <a:pt x="660" y="314"/>
                  </a:cubicBezTo>
                  <a:cubicBezTo>
                    <a:pt x="661" y="314"/>
                    <a:pt x="661" y="314"/>
                    <a:pt x="662" y="314"/>
                  </a:cubicBezTo>
                  <a:close/>
                  <a:moveTo>
                    <a:pt x="649" y="397"/>
                  </a:moveTo>
                  <a:cubicBezTo>
                    <a:pt x="649" y="397"/>
                    <a:pt x="649" y="397"/>
                    <a:pt x="649" y="397"/>
                  </a:cubicBezTo>
                  <a:cubicBezTo>
                    <a:pt x="649" y="397"/>
                    <a:pt x="649" y="397"/>
                    <a:pt x="649" y="397"/>
                  </a:cubicBezTo>
                  <a:cubicBezTo>
                    <a:pt x="649" y="397"/>
                    <a:pt x="649" y="397"/>
                    <a:pt x="649" y="397"/>
                  </a:cubicBezTo>
                  <a:close/>
                  <a:moveTo>
                    <a:pt x="636" y="246"/>
                  </a:moveTo>
                  <a:cubicBezTo>
                    <a:pt x="635" y="245"/>
                    <a:pt x="635" y="245"/>
                    <a:pt x="635" y="245"/>
                  </a:cubicBezTo>
                  <a:cubicBezTo>
                    <a:pt x="635" y="245"/>
                    <a:pt x="635" y="245"/>
                    <a:pt x="635" y="245"/>
                  </a:cubicBezTo>
                  <a:cubicBezTo>
                    <a:pt x="636" y="245"/>
                    <a:pt x="636" y="245"/>
                    <a:pt x="636" y="245"/>
                  </a:cubicBezTo>
                  <a:cubicBezTo>
                    <a:pt x="636" y="245"/>
                    <a:pt x="636" y="245"/>
                    <a:pt x="636" y="245"/>
                  </a:cubicBezTo>
                  <a:cubicBezTo>
                    <a:pt x="636" y="246"/>
                    <a:pt x="636" y="246"/>
                    <a:pt x="636" y="246"/>
                  </a:cubicBezTo>
                  <a:close/>
                  <a:moveTo>
                    <a:pt x="636" y="246"/>
                  </a:moveTo>
                  <a:cubicBezTo>
                    <a:pt x="636" y="246"/>
                    <a:pt x="636" y="246"/>
                    <a:pt x="636" y="246"/>
                  </a:cubicBezTo>
                  <a:cubicBezTo>
                    <a:pt x="636" y="246"/>
                    <a:pt x="636" y="246"/>
                    <a:pt x="636" y="246"/>
                  </a:cubicBezTo>
                  <a:close/>
                  <a:moveTo>
                    <a:pt x="574" y="394"/>
                  </a:moveTo>
                  <a:cubicBezTo>
                    <a:pt x="574" y="395"/>
                    <a:pt x="574" y="395"/>
                    <a:pt x="574" y="396"/>
                  </a:cubicBezTo>
                  <a:cubicBezTo>
                    <a:pt x="574" y="396"/>
                    <a:pt x="574" y="396"/>
                    <a:pt x="574" y="396"/>
                  </a:cubicBezTo>
                  <a:cubicBezTo>
                    <a:pt x="574" y="396"/>
                    <a:pt x="574" y="396"/>
                    <a:pt x="574" y="396"/>
                  </a:cubicBezTo>
                  <a:cubicBezTo>
                    <a:pt x="574" y="395"/>
                    <a:pt x="574" y="395"/>
                    <a:pt x="574" y="395"/>
                  </a:cubicBezTo>
                  <a:cubicBezTo>
                    <a:pt x="573" y="395"/>
                    <a:pt x="573" y="395"/>
                    <a:pt x="573" y="395"/>
                  </a:cubicBezTo>
                  <a:cubicBezTo>
                    <a:pt x="573" y="394"/>
                    <a:pt x="574" y="394"/>
                    <a:pt x="574" y="394"/>
                  </a:cubicBezTo>
                  <a:cubicBezTo>
                    <a:pt x="574" y="394"/>
                    <a:pt x="574" y="394"/>
                    <a:pt x="574" y="394"/>
                  </a:cubicBezTo>
                  <a:close/>
                  <a:moveTo>
                    <a:pt x="581" y="1493"/>
                  </a:moveTo>
                  <a:cubicBezTo>
                    <a:pt x="581" y="1493"/>
                    <a:pt x="581" y="1493"/>
                    <a:pt x="581" y="1493"/>
                  </a:cubicBezTo>
                  <a:cubicBezTo>
                    <a:pt x="581" y="1493"/>
                    <a:pt x="581" y="1493"/>
                    <a:pt x="581" y="1493"/>
                  </a:cubicBezTo>
                  <a:cubicBezTo>
                    <a:pt x="581" y="1492"/>
                    <a:pt x="581" y="1492"/>
                    <a:pt x="581" y="1492"/>
                  </a:cubicBezTo>
                  <a:cubicBezTo>
                    <a:pt x="581" y="1492"/>
                    <a:pt x="581" y="1492"/>
                    <a:pt x="581" y="1492"/>
                  </a:cubicBezTo>
                  <a:cubicBezTo>
                    <a:pt x="581" y="1492"/>
                    <a:pt x="580" y="1492"/>
                    <a:pt x="580" y="1492"/>
                  </a:cubicBezTo>
                  <a:cubicBezTo>
                    <a:pt x="580" y="1491"/>
                    <a:pt x="580" y="1491"/>
                    <a:pt x="580" y="1491"/>
                  </a:cubicBezTo>
                  <a:cubicBezTo>
                    <a:pt x="580" y="1491"/>
                    <a:pt x="581" y="1491"/>
                    <a:pt x="581" y="1492"/>
                  </a:cubicBezTo>
                  <a:cubicBezTo>
                    <a:pt x="581" y="1492"/>
                    <a:pt x="581" y="1492"/>
                    <a:pt x="581" y="1492"/>
                  </a:cubicBezTo>
                  <a:cubicBezTo>
                    <a:pt x="581" y="1493"/>
                    <a:pt x="581" y="1493"/>
                    <a:pt x="581" y="1493"/>
                  </a:cubicBezTo>
                  <a:close/>
                  <a:moveTo>
                    <a:pt x="563" y="95"/>
                  </a:moveTo>
                  <a:cubicBezTo>
                    <a:pt x="563" y="95"/>
                    <a:pt x="563" y="95"/>
                    <a:pt x="563" y="95"/>
                  </a:cubicBezTo>
                  <a:cubicBezTo>
                    <a:pt x="563" y="95"/>
                    <a:pt x="563" y="95"/>
                    <a:pt x="563" y="95"/>
                  </a:cubicBezTo>
                  <a:cubicBezTo>
                    <a:pt x="563" y="95"/>
                    <a:pt x="563" y="95"/>
                    <a:pt x="563" y="95"/>
                  </a:cubicBezTo>
                  <a:cubicBezTo>
                    <a:pt x="563" y="95"/>
                    <a:pt x="563" y="95"/>
                    <a:pt x="563" y="95"/>
                  </a:cubicBezTo>
                  <a:close/>
                  <a:moveTo>
                    <a:pt x="557" y="47"/>
                  </a:moveTo>
                  <a:cubicBezTo>
                    <a:pt x="557" y="47"/>
                    <a:pt x="557" y="47"/>
                    <a:pt x="557" y="47"/>
                  </a:cubicBezTo>
                  <a:cubicBezTo>
                    <a:pt x="557" y="47"/>
                    <a:pt x="557" y="47"/>
                    <a:pt x="557" y="47"/>
                  </a:cubicBezTo>
                  <a:cubicBezTo>
                    <a:pt x="557" y="47"/>
                    <a:pt x="557" y="48"/>
                    <a:pt x="557" y="48"/>
                  </a:cubicBezTo>
                  <a:cubicBezTo>
                    <a:pt x="557" y="48"/>
                    <a:pt x="557" y="48"/>
                    <a:pt x="557" y="48"/>
                  </a:cubicBezTo>
                  <a:cubicBezTo>
                    <a:pt x="557" y="48"/>
                    <a:pt x="557" y="48"/>
                    <a:pt x="557" y="48"/>
                  </a:cubicBezTo>
                  <a:cubicBezTo>
                    <a:pt x="557" y="48"/>
                    <a:pt x="557" y="48"/>
                    <a:pt x="557" y="47"/>
                  </a:cubicBezTo>
                  <a:close/>
                  <a:moveTo>
                    <a:pt x="536" y="42"/>
                  </a:moveTo>
                  <a:cubicBezTo>
                    <a:pt x="536" y="42"/>
                    <a:pt x="536" y="42"/>
                    <a:pt x="537" y="42"/>
                  </a:cubicBezTo>
                  <a:cubicBezTo>
                    <a:pt x="538" y="42"/>
                    <a:pt x="539" y="41"/>
                    <a:pt x="540" y="41"/>
                  </a:cubicBezTo>
                  <a:cubicBezTo>
                    <a:pt x="540" y="41"/>
                    <a:pt x="539" y="42"/>
                    <a:pt x="539" y="42"/>
                  </a:cubicBezTo>
                  <a:cubicBezTo>
                    <a:pt x="539" y="42"/>
                    <a:pt x="538" y="42"/>
                    <a:pt x="538" y="42"/>
                  </a:cubicBezTo>
                  <a:cubicBezTo>
                    <a:pt x="537" y="42"/>
                    <a:pt x="537" y="42"/>
                    <a:pt x="537" y="42"/>
                  </a:cubicBezTo>
                  <a:cubicBezTo>
                    <a:pt x="537" y="42"/>
                    <a:pt x="536" y="42"/>
                    <a:pt x="536" y="42"/>
                  </a:cubicBezTo>
                  <a:close/>
                  <a:moveTo>
                    <a:pt x="553" y="40"/>
                  </a:moveTo>
                  <a:cubicBezTo>
                    <a:pt x="551" y="40"/>
                    <a:pt x="550" y="40"/>
                    <a:pt x="548" y="40"/>
                  </a:cubicBezTo>
                  <a:cubicBezTo>
                    <a:pt x="547" y="40"/>
                    <a:pt x="547" y="40"/>
                    <a:pt x="546" y="40"/>
                  </a:cubicBezTo>
                  <a:cubicBezTo>
                    <a:pt x="547" y="40"/>
                    <a:pt x="547" y="40"/>
                    <a:pt x="548" y="40"/>
                  </a:cubicBezTo>
                  <a:cubicBezTo>
                    <a:pt x="549" y="39"/>
                    <a:pt x="550" y="39"/>
                    <a:pt x="552" y="39"/>
                  </a:cubicBezTo>
                  <a:cubicBezTo>
                    <a:pt x="552" y="39"/>
                    <a:pt x="553" y="39"/>
                    <a:pt x="554" y="39"/>
                  </a:cubicBezTo>
                  <a:cubicBezTo>
                    <a:pt x="554" y="39"/>
                    <a:pt x="554" y="39"/>
                    <a:pt x="555" y="39"/>
                  </a:cubicBezTo>
                  <a:cubicBezTo>
                    <a:pt x="554" y="39"/>
                    <a:pt x="553" y="40"/>
                    <a:pt x="553" y="40"/>
                  </a:cubicBezTo>
                  <a:close/>
                  <a:moveTo>
                    <a:pt x="525" y="59"/>
                  </a:moveTo>
                  <a:cubicBezTo>
                    <a:pt x="525" y="59"/>
                    <a:pt x="525" y="59"/>
                    <a:pt x="525" y="59"/>
                  </a:cubicBezTo>
                  <a:cubicBezTo>
                    <a:pt x="525" y="59"/>
                    <a:pt x="525" y="59"/>
                    <a:pt x="525" y="59"/>
                  </a:cubicBezTo>
                  <a:close/>
                  <a:moveTo>
                    <a:pt x="521" y="58"/>
                  </a:moveTo>
                  <a:cubicBezTo>
                    <a:pt x="521" y="58"/>
                    <a:pt x="521" y="58"/>
                    <a:pt x="521" y="58"/>
                  </a:cubicBezTo>
                  <a:cubicBezTo>
                    <a:pt x="521" y="58"/>
                    <a:pt x="521" y="58"/>
                    <a:pt x="521" y="58"/>
                  </a:cubicBezTo>
                  <a:close/>
                  <a:moveTo>
                    <a:pt x="528" y="45"/>
                  </a:moveTo>
                  <a:cubicBezTo>
                    <a:pt x="528" y="45"/>
                    <a:pt x="528" y="45"/>
                    <a:pt x="528" y="44"/>
                  </a:cubicBezTo>
                  <a:cubicBezTo>
                    <a:pt x="529" y="44"/>
                    <a:pt x="530" y="44"/>
                    <a:pt x="530" y="44"/>
                  </a:cubicBezTo>
                  <a:cubicBezTo>
                    <a:pt x="530" y="44"/>
                    <a:pt x="530" y="44"/>
                    <a:pt x="530" y="44"/>
                  </a:cubicBezTo>
                  <a:cubicBezTo>
                    <a:pt x="529" y="44"/>
                    <a:pt x="529" y="45"/>
                    <a:pt x="528" y="46"/>
                  </a:cubicBezTo>
                  <a:cubicBezTo>
                    <a:pt x="528" y="46"/>
                    <a:pt x="528" y="47"/>
                    <a:pt x="527" y="47"/>
                  </a:cubicBezTo>
                  <a:cubicBezTo>
                    <a:pt x="527" y="47"/>
                    <a:pt x="526" y="47"/>
                    <a:pt x="526" y="47"/>
                  </a:cubicBezTo>
                  <a:cubicBezTo>
                    <a:pt x="526" y="47"/>
                    <a:pt x="526" y="47"/>
                    <a:pt x="526" y="47"/>
                  </a:cubicBezTo>
                  <a:cubicBezTo>
                    <a:pt x="526" y="47"/>
                    <a:pt x="527" y="46"/>
                    <a:pt x="528" y="45"/>
                  </a:cubicBezTo>
                  <a:close/>
                  <a:moveTo>
                    <a:pt x="650" y="69"/>
                  </a:moveTo>
                  <a:cubicBezTo>
                    <a:pt x="650" y="69"/>
                    <a:pt x="650" y="69"/>
                    <a:pt x="650" y="69"/>
                  </a:cubicBezTo>
                  <a:cubicBezTo>
                    <a:pt x="650" y="69"/>
                    <a:pt x="650" y="69"/>
                    <a:pt x="650" y="69"/>
                  </a:cubicBezTo>
                  <a:close/>
                  <a:moveTo>
                    <a:pt x="689" y="159"/>
                  </a:moveTo>
                  <a:cubicBezTo>
                    <a:pt x="689" y="160"/>
                    <a:pt x="689" y="160"/>
                    <a:pt x="689" y="160"/>
                  </a:cubicBezTo>
                  <a:cubicBezTo>
                    <a:pt x="689" y="160"/>
                    <a:pt x="689" y="160"/>
                    <a:pt x="689" y="160"/>
                  </a:cubicBezTo>
                  <a:lnTo>
                    <a:pt x="689" y="159"/>
                  </a:lnTo>
                  <a:close/>
                  <a:moveTo>
                    <a:pt x="715" y="91"/>
                  </a:moveTo>
                  <a:cubicBezTo>
                    <a:pt x="715" y="91"/>
                    <a:pt x="715" y="91"/>
                    <a:pt x="715" y="91"/>
                  </a:cubicBezTo>
                  <a:cubicBezTo>
                    <a:pt x="715" y="91"/>
                    <a:pt x="715" y="91"/>
                    <a:pt x="715" y="91"/>
                  </a:cubicBezTo>
                  <a:close/>
                  <a:moveTo>
                    <a:pt x="738" y="112"/>
                  </a:moveTo>
                  <a:cubicBezTo>
                    <a:pt x="737" y="112"/>
                    <a:pt x="737" y="112"/>
                    <a:pt x="737" y="112"/>
                  </a:cubicBezTo>
                  <a:cubicBezTo>
                    <a:pt x="737" y="113"/>
                    <a:pt x="736" y="113"/>
                    <a:pt x="736" y="113"/>
                  </a:cubicBezTo>
                  <a:cubicBezTo>
                    <a:pt x="736" y="113"/>
                    <a:pt x="736" y="113"/>
                    <a:pt x="735" y="113"/>
                  </a:cubicBezTo>
                  <a:cubicBezTo>
                    <a:pt x="735" y="113"/>
                    <a:pt x="735" y="113"/>
                    <a:pt x="734" y="113"/>
                  </a:cubicBezTo>
                  <a:cubicBezTo>
                    <a:pt x="734" y="113"/>
                    <a:pt x="734" y="113"/>
                    <a:pt x="734" y="113"/>
                  </a:cubicBezTo>
                  <a:cubicBezTo>
                    <a:pt x="734" y="113"/>
                    <a:pt x="734" y="113"/>
                    <a:pt x="734" y="113"/>
                  </a:cubicBezTo>
                  <a:cubicBezTo>
                    <a:pt x="734" y="113"/>
                    <a:pt x="734" y="113"/>
                    <a:pt x="734" y="113"/>
                  </a:cubicBezTo>
                  <a:cubicBezTo>
                    <a:pt x="734" y="113"/>
                    <a:pt x="734" y="112"/>
                    <a:pt x="734" y="112"/>
                  </a:cubicBezTo>
                  <a:cubicBezTo>
                    <a:pt x="735" y="112"/>
                    <a:pt x="736" y="112"/>
                    <a:pt x="736" y="112"/>
                  </a:cubicBezTo>
                  <a:cubicBezTo>
                    <a:pt x="737" y="111"/>
                    <a:pt x="737" y="111"/>
                    <a:pt x="737" y="111"/>
                  </a:cubicBezTo>
                  <a:cubicBezTo>
                    <a:pt x="737" y="111"/>
                    <a:pt x="737" y="111"/>
                    <a:pt x="737" y="111"/>
                  </a:cubicBezTo>
                  <a:cubicBezTo>
                    <a:pt x="737" y="111"/>
                    <a:pt x="738" y="111"/>
                    <a:pt x="738" y="112"/>
                  </a:cubicBezTo>
                  <a:cubicBezTo>
                    <a:pt x="738" y="112"/>
                    <a:pt x="738" y="112"/>
                    <a:pt x="738" y="112"/>
                  </a:cubicBezTo>
                  <a:cubicBezTo>
                    <a:pt x="738" y="112"/>
                    <a:pt x="738" y="112"/>
                    <a:pt x="738" y="112"/>
                  </a:cubicBezTo>
                  <a:close/>
                  <a:moveTo>
                    <a:pt x="734" y="117"/>
                  </a:moveTo>
                  <a:cubicBezTo>
                    <a:pt x="734" y="117"/>
                    <a:pt x="734" y="117"/>
                    <a:pt x="735" y="117"/>
                  </a:cubicBezTo>
                  <a:cubicBezTo>
                    <a:pt x="735" y="117"/>
                    <a:pt x="735" y="117"/>
                    <a:pt x="735" y="117"/>
                  </a:cubicBezTo>
                  <a:cubicBezTo>
                    <a:pt x="735" y="117"/>
                    <a:pt x="735" y="117"/>
                    <a:pt x="735" y="117"/>
                  </a:cubicBezTo>
                  <a:cubicBezTo>
                    <a:pt x="734" y="118"/>
                    <a:pt x="734" y="118"/>
                    <a:pt x="734" y="118"/>
                  </a:cubicBezTo>
                  <a:cubicBezTo>
                    <a:pt x="734" y="118"/>
                    <a:pt x="733" y="118"/>
                    <a:pt x="733" y="118"/>
                  </a:cubicBezTo>
                  <a:cubicBezTo>
                    <a:pt x="733" y="118"/>
                    <a:pt x="733" y="118"/>
                    <a:pt x="732" y="118"/>
                  </a:cubicBezTo>
                  <a:cubicBezTo>
                    <a:pt x="733" y="118"/>
                    <a:pt x="733" y="118"/>
                    <a:pt x="733" y="118"/>
                  </a:cubicBezTo>
                  <a:cubicBezTo>
                    <a:pt x="733" y="118"/>
                    <a:pt x="733" y="117"/>
                    <a:pt x="734" y="117"/>
                  </a:cubicBezTo>
                  <a:close/>
                  <a:moveTo>
                    <a:pt x="727" y="103"/>
                  </a:moveTo>
                  <a:cubicBezTo>
                    <a:pt x="727" y="103"/>
                    <a:pt x="727" y="103"/>
                    <a:pt x="727" y="103"/>
                  </a:cubicBezTo>
                  <a:cubicBezTo>
                    <a:pt x="727" y="103"/>
                    <a:pt x="727" y="103"/>
                    <a:pt x="727" y="103"/>
                  </a:cubicBezTo>
                  <a:close/>
                  <a:moveTo>
                    <a:pt x="744" y="124"/>
                  </a:moveTo>
                  <a:cubicBezTo>
                    <a:pt x="743" y="124"/>
                    <a:pt x="743" y="125"/>
                    <a:pt x="743" y="125"/>
                  </a:cubicBezTo>
                  <a:cubicBezTo>
                    <a:pt x="743" y="124"/>
                    <a:pt x="743" y="124"/>
                    <a:pt x="743" y="124"/>
                  </a:cubicBezTo>
                  <a:cubicBezTo>
                    <a:pt x="743" y="124"/>
                    <a:pt x="743" y="123"/>
                    <a:pt x="743" y="123"/>
                  </a:cubicBezTo>
                  <a:cubicBezTo>
                    <a:pt x="743" y="123"/>
                    <a:pt x="744" y="123"/>
                    <a:pt x="744" y="123"/>
                  </a:cubicBezTo>
                  <a:cubicBezTo>
                    <a:pt x="744" y="123"/>
                    <a:pt x="744" y="124"/>
                    <a:pt x="744" y="124"/>
                  </a:cubicBezTo>
                  <a:cubicBezTo>
                    <a:pt x="745" y="124"/>
                    <a:pt x="745" y="124"/>
                    <a:pt x="745" y="124"/>
                  </a:cubicBezTo>
                  <a:lnTo>
                    <a:pt x="744" y="124"/>
                  </a:lnTo>
                  <a:close/>
                  <a:moveTo>
                    <a:pt x="712" y="87"/>
                  </a:moveTo>
                  <a:cubicBezTo>
                    <a:pt x="712" y="88"/>
                    <a:pt x="711" y="88"/>
                    <a:pt x="711" y="88"/>
                  </a:cubicBezTo>
                  <a:cubicBezTo>
                    <a:pt x="711" y="88"/>
                    <a:pt x="711" y="88"/>
                    <a:pt x="711" y="88"/>
                  </a:cubicBezTo>
                  <a:cubicBezTo>
                    <a:pt x="711" y="88"/>
                    <a:pt x="711" y="88"/>
                    <a:pt x="711" y="87"/>
                  </a:cubicBezTo>
                  <a:cubicBezTo>
                    <a:pt x="711" y="87"/>
                    <a:pt x="711" y="87"/>
                    <a:pt x="711" y="87"/>
                  </a:cubicBezTo>
                  <a:cubicBezTo>
                    <a:pt x="712" y="87"/>
                    <a:pt x="712" y="87"/>
                    <a:pt x="712" y="87"/>
                  </a:cubicBezTo>
                  <a:close/>
                  <a:moveTo>
                    <a:pt x="682" y="84"/>
                  </a:moveTo>
                  <a:cubicBezTo>
                    <a:pt x="682" y="83"/>
                    <a:pt x="683" y="83"/>
                    <a:pt x="683" y="83"/>
                  </a:cubicBezTo>
                  <a:cubicBezTo>
                    <a:pt x="684" y="82"/>
                    <a:pt x="684" y="82"/>
                    <a:pt x="684" y="82"/>
                  </a:cubicBezTo>
                  <a:cubicBezTo>
                    <a:pt x="685" y="81"/>
                    <a:pt x="685" y="81"/>
                    <a:pt x="686" y="80"/>
                  </a:cubicBezTo>
                  <a:cubicBezTo>
                    <a:pt x="686" y="80"/>
                    <a:pt x="686" y="80"/>
                    <a:pt x="686" y="80"/>
                  </a:cubicBezTo>
                  <a:cubicBezTo>
                    <a:pt x="686" y="80"/>
                    <a:pt x="686" y="80"/>
                    <a:pt x="687" y="80"/>
                  </a:cubicBezTo>
                  <a:cubicBezTo>
                    <a:pt x="687" y="79"/>
                    <a:pt x="687" y="79"/>
                    <a:pt x="688" y="79"/>
                  </a:cubicBezTo>
                  <a:cubicBezTo>
                    <a:pt x="689" y="77"/>
                    <a:pt x="690" y="76"/>
                    <a:pt x="692" y="75"/>
                  </a:cubicBezTo>
                  <a:cubicBezTo>
                    <a:pt x="692" y="75"/>
                    <a:pt x="693" y="75"/>
                    <a:pt x="693" y="74"/>
                  </a:cubicBezTo>
                  <a:cubicBezTo>
                    <a:pt x="693" y="74"/>
                    <a:pt x="694" y="74"/>
                    <a:pt x="694" y="74"/>
                  </a:cubicBezTo>
                  <a:cubicBezTo>
                    <a:pt x="693" y="75"/>
                    <a:pt x="693" y="75"/>
                    <a:pt x="694" y="76"/>
                  </a:cubicBezTo>
                  <a:cubicBezTo>
                    <a:pt x="694" y="76"/>
                    <a:pt x="694" y="77"/>
                    <a:pt x="694" y="77"/>
                  </a:cubicBezTo>
                  <a:cubicBezTo>
                    <a:pt x="694" y="77"/>
                    <a:pt x="694" y="77"/>
                    <a:pt x="693" y="77"/>
                  </a:cubicBezTo>
                  <a:cubicBezTo>
                    <a:pt x="692" y="76"/>
                    <a:pt x="691" y="77"/>
                    <a:pt x="690" y="78"/>
                  </a:cubicBezTo>
                  <a:cubicBezTo>
                    <a:pt x="690" y="78"/>
                    <a:pt x="690" y="78"/>
                    <a:pt x="690" y="78"/>
                  </a:cubicBezTo>
                  <a:cubicBezTo>
                    <a:pt x="690" y="79"/>
                    <a:pt x="690" y="79"/>
                    <a:pt x="690" y="79"/>
                  </a:cubicBezTo>
                  <a:cubicBezTo>
                    <a:pt x="689" y="79"/>
                    <a:pt x="687" y="80"/>
                    <a:pt x="687" y="82"/>
                  </a:cubicBezTo>
                  <a:cubicBezTo>
                    <a:pt x="687" y="82"/>
                    <a:pt x="688" y="83"/>
                    <a:pt x="688" y="83"/>
                  </a:cubicBezTo>
                  <a:cubicBezTo>
                    <a:pt x="688" y="83"/>
                    <a:pt x="688" y="83"/>
                    <a:pt x="688" y="83"/>
                  </a:cubicBezTo>
                  <a:cubicBezTo>
                    <a:pt x="687" y="84"/>
                    <a:pt x="687" y="84"/>
                    <a:pt x="687" y="85"/>
                  </a:cubicBezTo>
                  <a:cubicBezTo>
                    <a:pt x="686" y="85"/>
                    <a:pt x="685" y="84"/>
                    <a:pt x="684" y="84"/>
                  </a:cubicBezTo>
                  <a:cubicBezTo>
                    <a:pt x="684" y="84"/>
                    <a:pt x="684" y="84"/>
                    <a:pt x="683" y="85"/>
                  </a:cubicBezTo>
                  <a:cubicBezTo>
                    <a:pt x="683" y="85"/>
                    <a:pt x="683" y="85"/>
                    <a:pt x="682" y="85"/>
                  </a:cubicBezTo>
                  <a:cubicBezTo>
                    <a:pt x="682" y="85"/>
                    <a:pt x="682" y="85"/>
                    <a:pt x="682" y="85"/>
                  </a:cubicBezTo>
                  <a:cubicBezTo>
                    <a:pt x="681" y="85"/>
                    <a:pt x="681" y="85"/>
                    <a:pt x="681" y="85"/>
                  </a:cubicBezTo>
                  <a:cubicBezTo>
                    <a:pt x="681" y="84"/>
                    <a:pt x="681" y="84"/>
                    <a:pt x="682" y="84"/>
                  </a:cubicBezTo>
                  <a:close/>
                  <a:moveTo>
                    <a:pt x="699" y="72"/>
                  </a:moveTo>
                  <a:cubicBezTo>
                    <a:pt x="699" y="73"/>
                    <a:pt x="698" y="73"/>
                    <a:pt x="698" y="74"/>
                  </a:cubicBezTo>
                  <a:cubicBezTo>
                    <a:pt x="698" y="74"/>
                    <a:pt x="698" y="74"/>
                    <a:pt x="698" y="74"/>
                  </a:cubicBezTo>
                  <a:cubicBezTo>
                    <a:pt x="697" y="74"/>
                    <a:pt x="697" y="74"/>
                    <a:pt x="697" y="73"/>
                  </a:cubicBezTo>
                  <a:cubicBezTo>
                    <a:pt x="697" y="73"/>
                    <a:pt x="696" y="73"/>
                    <a:pt x="696" y="73"/>
                  </a:cubicBezTo>
                  <a:cubicBezTo>
                    <a:pt x="697" y="73"/>
                    <a:pt x="697" y="73"/>
                    <a:pt x="698" y="73"/>
                  </a:cubicBezTo>
                  <a:cubicBezTo>
                    <a:pt x="698" y="73"/>
                    <a:pt x="698" y="73"/>
                    <a:pt x="699" y="72"/>
                  </a:cubicBezTo>
                  <a:cubicBezTo>
                    <a:pt x="699" y="72"/>
                    <a:pt x="699" y="72"/>
                    <a:pt x="699" y="72"/>
                  </a:cubicBezTo>
                  <a:close/>
                  <a:moveTo>
                    <a:pt x="657" y="94"/>
                  </a:moveTo>
                  <a:cubicBezTo>
                    <a:pt x="657" y="94"/>
                    <a:pt x="658" y="94"/>
                    <a:pt x="658" y="94"/>
                  </a:cubicBezTo>
                  <a:cubicBezTo>
                    <a:pt x="658" y="94"/>
                    <a:pt x="658" y="94"/>
                    <a:pt x="658" y="94"/>
                  </a:cubicBezTo>
                  <a:cubicBezTo>
                    <a:pt x="658" y="94"/>
                    <a:pt x="658" y="94"/>
                    <a:pt x="658" y="95"/>
                  </a:cubicBezTo>
                  <a:cubicBezTo>
                    <a:pt x="658" y="95"/>
                    <a:pt x="658" y="94"/>
                    <a:pt x="658" y="94"/>
                  </a:cubicBezTo>
                  <a:cubicBezTo>
                    <a:pt x="658" y="94"/>
                    <a:pt x="657" y="94"/>
                    <a:pt x="657" y="94"/>
                  </a:cubicBezTo>
                  <a:close/>
                  <a:moveTo>
                    <a:pt x="660" y="111"/>
                  </a:moveTo>
                  <a:cubicBezTo>
                    <a:pt x="660" y="111"/>
                    <a:pt x="660" y="111"/>
                    <a:pt x="660" y="111"/>
                  </a:cubicBezTo>
                  <a:cubicBezTo>
                    <a:pt x="660" y="111"/>
                    <a:pt x="660" y="111"/>
                    <a:pt x="660" y="111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2"/>
                  </a:cubicBezTo>
                  <a:cubicBezTo>
                    <a:pt x="660" y="112"/>
                    <a:pt x="660" y="112"/>
                    <a:pt x="660" y="111"/>
                  </a:cubicBezTo>
                  <a:close/>
                  <a:moveTo>
                    <a:pt x="654" y="92"/>
                  </a:moveTo>
                  <a:cubicBezTo>
                    <a:pt x="655" y="91"/>
                    <a:pt x="655" y="91"/>
                    <a:pt x="655" y="91"/>
                  </a:cubicBezTo>
                  <a:cubicBezTo>
                    <a:pt x="655" y="92"/>
                    <a:pt x="655" y="92"/>
                    <a:pt x="655" y="92"/>
                  </a:cubicBezTo>
                  <a:cubicBezTo>
                    <a:pt x="655" y="92"/>
                    <a:pt x="655" y="92"/>
                    <a:pt x="654" y="92"/>
                  </a:cubicBezTo>
                  <a:close/>
                  <a:moveTo>
                    <a:pt x="702" y="167"/>
                  </a:moveTo>
                  <a:cubicBezTo>
                    <a:pt x="702" y="167"/>
                    <a:pt x="702" y="167"/>
                    <a:pt x="702" y="167"/>
                  </a:cubicBezTo>
                  <a:cubicBezTo>
                    <a:pt x="702" y="167"/>
                    <a:pt x="702" y="167"/>
                    <a:pt x="702" y="167"/>
                  </a:cubicBezTo>
                  <a:close/>
                  <a:moveTo>
                    <a:pt x="701" y="166"/>
                  </a:moveTo>
                  <a:cubicBezTo>
                    <a:pt x="701" y="166"/>
                    <a:pt x="701" y="166"/>
                    <a:pt x="701" y="166"/>
                  </a:cubicBezTo>
                  <a:cubicBezTo>
                    <a:pt x="700" y="166"/>
                    <a:pt x="700" y="166"/>
                    <a:pt x="700" y="167"/>
                  </a:cubicBezTo>
                  <a:cubicBezTo>
                    <a:pt x="700" y="167"/>
                    <a:pt x="700" y="166"/>
                    <a:pt x="700" y="166"/>
                  </a:cubicBezTo>
                  <a:cubicBezTo>
                    <a:pt x="699" y="166"/>
                    <a:pt x="699" y="166"/>
                    <a:pt x="699" y="165"/>
                  </a:cubicBezTo>
                  <a:cubicBezTo>
                    <a:pt x="698" y="165"/>
                    <a:pt x="697" y="165"/>
                    <a:pt x="697" y="165"/>
                  </a:cubicBezTo>
                  <a:cubicBezTo>
                    <a:pt x="696" y="165"/>
                    <a:pt x="696" y="165"/>
                    <a:pt x="696" y="165"/>
                  </a:cubicBezTo>
                  <a:cubicBezTo>
                    <a:pt x="696" y="165"/>
                    <a:pt x="696" y="164"/>
                    <a:pt x="696" y="164"/>
                  </a:cubicBezTo>
                  <a:cubicBezTo>
                    <a:pt x="696" y="164"/>
                    <a:pt x="695" y="164"/>
                    <a:pt x="694" y="164"/>
                  </a:cubicBezTo>
                  <a:cubicBezTo>
                    <a:pt x="694" y="164"/>
                    <a:pt x="694" y="164"/>
                    <a:pt x="694" y="164"/>
                  </a:cubicBezTo>
                  <a:cubicBezTo>
                    <a:pt x="694" y="163"/>
                    <a:pt x="694" y="162"/>
                    <a:pt x="694" y="161"/>
                  </a:cubicBezTo>
                  <a:cubicBezTo>
                    <a:pt x="694" y="161"/>
                    <a:pt x="694" y="161"/>
                    <a:pt x="694" y="161"/>
                  </a:cubicBezTo>
                  <a:cubicBezTo>
                    <a:pt x="694" y="161"/>
                    <a:pt x="694" y="161"/>
                    <a:pt x="695" y="161"/>
                  </a:cubicBezTo>
                  <a:cubicBezTo>
                    <a:pt x="696" y="161"/>
                    <a:pt x="697" y="160"/>
                    <a:pt x="697" y="160"/>
                  </a:cubicBezTo>
                  <a:cubicBezTo>
                    <a:pt x="698" y="160"/>
                    <a:pt x="698" y="159"/>
                    <a:pt x="698" y="159"/>
                  </a:cubicBezTo>
                  <a:cubicBezTo>
                    <a:pt x="698" y="161"/>
                    <a:pt x="699" y="162"/>
                    <a:pt x="701" y="162"/>
                  </a:cubicBezTo>
                  <a:cubicBezTo>
                    <a:pt x="701" y="162"/>
                    <a:pt x="701" y="162"/>
                    <a:pt x="701" y="162"/>
                  </a:cubicBezTo>
                  <a:cubicBezTo>
                    <a:pt x="702" y="162"/>
                    <a:pt x="702" y="162"/>
                    <a:pt x="702" y="162"/>
                  </a:cubicBezTo>
                  <a:cubicBezTo>
                    <a:pt x="702" y="162"/>
                    <a:pt x="702" y="162"/>
                    <a:pt x="703" y="162"/>
                  </a:cubicBezTo>
                  <a:cubicBezTo>
                    <a:pt x="703" y="162"/>
                    <a:pt x="703" y="162"/>
                    <a:pt x="703" y="163"/>
                  </a:cubicBezTo>
                  <a:cubicBezTo>
                    <a:pt x="703" y="163"/>
                    <a:pt x="703" y="163"/>
                    <a:pt x="703" y="163"/>
                  </a:cubicBezTo>
                  <a:cubicBezTo>
                    <a:pt x="703" y="163"/>
                    <a:pt x="703" y="163"/>
                    <a:pt x="703" y="164"/>
                  </a:cubicBezTo>
                  <a:cubicBezTo>
                    <a:pt x="703" y="164"/>
                    <a:pt x="701" y="164"/>
                    <a:pt x="701" y="166"/>
                  </a:cubicBezTo>
                  <a:close/>
                  <a:moveTo>
                    <a:pt x="722" y="86"/>
                  </a:moveTo>
                  <a:cubicBezTo>
                    <a:pt x="722" y="86"/>
                    <a:pt x="722" y="86"/>
                    <a:pt x="722" y="86"/>
                  </a:cubicBezTo>
                  <a:cubicBezTo>
                    <a:pt x="722" y="86"/>
                    <a:pt x="722" y="86"/>
                    <a:pt x="723" y="86"/>
                  </a:cubicBezTo>
                  <a:cubicBezTo>
                    <a:pt x="723" y="86"/>
                    <a:pt x="723" y="86"/>
                    <a:pt x="723" y="86"/>
                  </a:cubicBezTo>
                  <a:cubicBezTo>
                    <a:pt x="722" y="86"/>
                    <a:pt x="722" y="86"/>
                    <a:pt x="722" y="86"/>
                  </a:cubicBezTo>
                  <a:cubicBezTo>
                    <a:pt x="721" y="87"/>
                    <a:pt x="720" y="88"/>
                    <a:pt x="720" y="90"/>
                  </a:cubicBezTo>
                  <a:cubicBezTo>
                    <a:pt x="720" y="90"/>
                    <a:pt x="720" y="90"/>
                    <a:pt x="720" y="91"/>
                  </a:cubicBezTo>
                  <a:cubicBezTo>
                    <a:pt x="719" y="91"/>
                    <a:pt x="719" y="91"/>
                    <a:pt x="718" y="91"/>
                  </a:cubicBezTo>
                  <a:cubicBezTo>
                    <a:pt x="718" y="90"/>
                    <a:pt x="717" y="89"/>
                    <a:pt x="716" y="90"/>
                  </a:cubicBezTo>
                  <a:cubicBezTo>
                    <a:pt x="716" y="89"/>
                    <a:pt x="716" y="89"/>
                    <a:pt x="716" y="89"/>
                  </a:cubicBezTo>
                  <a:cubicBezTo>
                    <a:pt x="716" y="88"/>
                    <a:pt x="715" y="87"/>
                    <a:pt x="714" y="87"/>
                  </a:cubicBezTo>
                  <a:cubicBezTo>
                    <a:pt x="716" y="86"/>
                    <a:pt x="718" y="85"/>
                    <a:pt x="719" y="83"/>
                  </a:cubicBezTo>
                  <a:cubicBezTo>
                    <a:pt x="719" y="84"/>
                    <a:pt x="719" y="84"/>
                    <a:pt x="719" y="85"/>
                  </a:cubicBezTo>
                  <a:cubicBezTo>
                    <a:pt x="720" y="86"/>
                    <a:pt x="721" y="86"/>
                    <a:pt x="722" y="86"/>
                  </a:cubicBezTo>
                  <a:close/>
                  <a:moveTo>
                    <a:pt x="619" y="105"/>
                  </a:moveTo>
                  <a:cubicBezTo>
                    <a:pt x="619" y="105"/>
                    <a:pt x="619" y="105"/>
                    <a:pt x="619" y="105"/>
                  </a:cubicBezTo>
                  <a:cubicBezTo>
                    <a:pt x="619" y="105"/>
                    <a:pt x="619" y="105"/>
                    <a:pt x="619" y="105"/>
                  </a:cubicBezTo>
                  <a:close/>
                  <a:moveTo>
                    <a:pt x="579" y="121"/>
                  </a:moveTo>
                  <a:cubicBezTo>
                    <a:pt x="578" y="121"/>
                    <a:pt x="578" y="122"/>
                    <a:pt x="578" y="122"/>
                  </a:cubicBezTo>
                  <a:cubicBezTo>
                    <a:pt x="579" y="122"/>
                    <a:pt x="579" y="122"/>
                    <a:pt x="579" y="122"/>
                  </a:cubicBezTo>
                  <a:cubicBezTo>
                    <a:pt x="578" y="122"/>
                    <a:pt x="578" y="122"/>
                    <a:pt x="578" y="122"/>
                  </a:cubicBezTo>
                  <a:cubicBezTo>
                    <a:pt x="578" y="122"/>
                    <a:pt x="577" y="123"/>
                    <a:pt x="577" y="123"/>
                  </a:cubicBezTo>
                  <a:cubicBezTo>
                    <a:pt x="577" y="123"/>
                    <a:pt x="576" y="123"/>
                    <a:pt x="576" y="123"/>
                  </a:cubicBezTo>
                  <a:cubicBezTo>
                    <a:pt x="576" y="123"/>
                    <a:pt x="576" y="123"/>
                    <a:pt x="575" y="123"/>
                  </a:cubicBezTo>
                  <a:cubicBezTo>
                    <a:pt x="575" y="123"/>
                    <a:pt x="575" y="123"/>
                    <a:pt x="575" y="123"/>
                  </a:cubicBezTo>
                  <a:cubicBezTo>
                    <a:pt x="576" y="123"/>
                    <a:pt x="576" y="122"/>
                    <a:pt x="577" y="122"/>
                  </a:cubicBezTo>
                  <a:cubicBezTo>
                    <a:pt x="577" y="122"/>
                    <a:pt x="578" y="122"/>
                    <a:pt x="578" y="121"/>
                  </a:cubicBezTo>
                  <a:lnTo>
                    <a:pt x="579" y="121"/>
                  </a:lnTo>
                  <a:close/>
                  <a:moveTo>
                    <a:pt x="588" y="156"/>
                  </a:moveTo>
                  <a:cubicBezTo>
                    <a:pt x="588" y="156"/>
                    <a:pt x="588" y="156"/>
                    <a:pt x="588" y="156"/>
                  </a:cubicBezTo>
                  <a:cubicBezTo>
                    <a:pt x="587" y="157"/>
                    <a:pt x="587" y="157"/>
                    <a:pt x="587" y="157"/>
                  </a:cubicBezTo>
                  <a:cubicBezTo>
                    <a:pt x="587" y="157"/>
                    <a:pt x="587" y="158"/>
                    <a:pt x="587" y="158"/>
                  </a:cubicBezTo>
                  <a:cubicBezTo>
                    <a:pt x="587" y="158"/>
                    <a:pt x="586" y="157"/>
                    <a:pt x="586" y="157"/>
                  </a:cubicBezTo>
                  <a:cubicBezTo>
                    <a:pt x="586" y="157"/>
                    <a:pt x="585" y="156"/>
                    <a:pt x="585" y="156"/>
                  </a:cubicBezTo>
                  <a:cubicBezTo>
                    <a:pt x="585" y="156"/>
                    <a:pt x="585" y="155"/>
                    <a:pt x="585" y="155"/>
                  </a:cubicBezTo>
                  <a:cubicBezTo>
                    <a:pt x="585" y="155"/>
                    <a:pt x="585" y="154"/>
                    <a:pt x="585" y="154"/>
                  </a:cubicBezTo>
                  <a:cubicBezTo>
                    <a:pt x="585" y="154"/>
                    <a:pt x="584" y="153"/>
                    <a:pt x="584" y="152"/>
                  </a:cubicBezTo>
                  <a:cubicBezTo>
                    <a:pt x="585" y="152"/>
                    <a:pt x="585" y="152"/>
                    <a:pt x="586" y="152"/>
                  </a:cubicBezTo>
                  <a:cubicBezTo>
                    <a:pt x="586" y="152"/>
                    <a:pt x="586" y="153"/>
                    <a:pt x="586" y="153"/>
                  </a:cubicBezTo>
                  <a:cubicBezTo>
                    <a:pt x="586" y="154"/>
                    <a:pt x="587" y="155"/>
                    <a:pt x="587" y="156"/>
                  </a:cubicBezTo>
                  <a:cubicBezTo>
                    <a:pt x="588" y="156"/>
                    <a:pt x="588" y="156"/>
                    <a:pt x="588" y="156"/>
                  </a:cubicBezTo>
                  <a:cubicBezTo>
                    <a:pt x="588" y="156"/>
                    <a:pt x="588" y="156"/>
                    <a:pt x="588" y="156"/>
                  </a:cubicBezTo>
                  <a:close/>
                  <a:moveTo>
                    <a:pt x="570" y="128"/>
                  </a:moveTo>
                  <a:cubicBezTo>
                    <a:pt x="570" y="128"/>
                    <a:pt x="570" y="128"/>
                    <a:pt x="569" y="128"/>
                  </a:cubicBezTo>
                  <a:cubicBezTo>
                    <a:pt x="570" y="128"/>
                    <a:pt x="570" y="127"/>
                    <a:pt x="570" y="126"/>
                  </a:cubicBezTo>
                  <a:cubicBezTo>
                    <a:pt x="570" y="126"/>
                    <a:pt x="571" y="126"/>
                    <a:pt x="571" y="125"/>
                  </a:cubicBezTo>
                  <a:cubicBezTo>
                    <a:pt x="571" y="125"/>
                    <a:pt x="571" y="125"/>
                    <a:pt x="571" y="125"/>
                  </a:cubicBezTo>
                  <a:cubicBezTo>
                    <a:pt x="571" y="125"/>
                    <a:pt x="571" y="125"/>
                    <a:pt x="572" y="125"/>
                  </a:cubicBezTo>
                  <a:cubicBezTo>
                    <a:pt x="572" y="125"/>
                    <a:pt x="573" y="125"/>
                    <a:pt x="573" y="125"/>
                  </a:cubicBezTo>
                  <a:cubicBezTo>
                    <a:pt x="573" y="125"/>
                    <a:pt x="573" y="125"/>
                    <a:pt x="574" y="125"/>
                  </a:cubicBezTo>
                  <a:cubicBezTo>
                    <a:pt x="574" y="125"/>
                    <a:pt x="573" y="125"/>
                    <a:pt x="573" y="125"/>
                  </a:cubicBezTo>
                  <a:cubicBezTo>
                    <a:pt x="573" y="126"/>
                    <a:pt x="573" y="127"/>
                    <a:pt x="572" y="127"/>
                  </a:cubicBezTo>
                  <a:cubicBezTo>
                    <a:pt x="572" y="128"/>
                    <a:pt x="572" y="128"/>
                    <a:pt x="572" y="128"/>
                  </a:cubicBezTo>
                  <a:cubicBezTo>
                    <a:pt x="572" y="128"/>
                    <a:pt x="572" y="128"/>
                    <a:pt x="572" y="128"/>
                  </a:cubicBezTo>
                  <a:cubicBezTo>
                    <a:pt x="572" y="129"/>
                    <a:pt x="571" y="129"/>
                    <a:pt x="571" y="129"/>
                  </a:cubicBezTo>
                  <a:cubicBezTo>
                    <a:pt x="571" y="129"/>
                    <a:pt x="571" y="129"/>
                    <a:pt x="570" y="128"/>
                  </a:cubicBezTo>
                  <a:close/>
                  <a:moveTo>
                    <a:pt x="523" y="107"/>
                  </a:moveTo>
                  <a:cubicBezTo>
                    <a:pt x="523" y="106"/>
                    <a:pt x="523" y="106"/>
                    <a:pt x="523" y="106"/>
                  </a:cubicBezTo>
                  <a:cubicBezTo>
                    <a:pt x="522" y="106"/>
                    <a:pt x="522" y="106"/>
                    <a:pt x="521" y="106"/>
                  </a:cubicBezTo>
                  <a:cubicBezTo>
                    <a:pt x="521" y="106"/>
                    <a:pt x="521" y="106"/>
                    <a:pt x="521" y="106"/>
                  </a:cubicBezTo>
                  <a:cubicBezTo>
                    <a:pt x="520" y="106"/>
                    <a:pt x="520" y="106"/>
                    <a:pt x="519" y="106"/>
                  </a:cubicBezTo>
                  <a:cubicBezTo>
                    <a:pt x="520" y="106"/>
                    <a:pt x="520" y="105"/>
                    <a:pt x="520" y="105"/>
                  </a:cubicBezTo>
                  <a:cubicBezTo>
                    <a:pt x="520" y="105"/>
                    <a:pt x="521" y="105"/>
                    <a:pt x="521" y="104"/>
                  </a:cubicBezTo>
                  <a:cubicBezTo>
                    <a:pt x="521" y="104"/>
                    <a:pt x="521" y="104"/>
                    <a:pt x="521" y="104"/>
                  </a:cubicBezTo>
                  <a:cubicBezTo>
                    <a:pt x="522" y="104"/>
                    <a:pt x="522" y="105"/>
                    <a:pt x="522" y="105"/>
                  </a:cubicBezTo>
                  <a:cubicBezTo>
                    <a:pt x="522" y="106"/>
                    <a:pt x="523" y="106"/>
                    <a:pt x="523" y="106"/>
                  </a:cubicBezTo>
                  <a:cubicBezTo>
                    <a:pt x="523" y="106"/>
                    <a:pt x="523" y="106"/>
                    <a:pt x="523" y="106"/>
                  </a:cubicBezTo>
                  <a:cubicBezTo>
                    <a:pt x="523" y="107"/>
                    <a:pt x="523" y="107"/>
                    <a:pt x="523" y="107"/>
                  </a:cubicBezTo>
                  <a:cubicBezTo>
                    <a:pt x="523" y="107"/>
                    <a:pt x="523" y="107"/>
                    <a:pt x="523" y="107"/>
                  </a:cubicBezTo>
                  <a:close/>
                  <a:moveTo>
                    <a:pt x="527" y="105"/>
                  </a:moveTo>
                  <a:cubicBezTo>
                    <a:pt x="527" y="105"/>
                    <a:pt x="527" y="105"/>
                    <a:pt x="526" y="105"/>
                  </a:cubicBezTo>
                  <a:cubicBezTo>
                    <a:pt x="526" y="105"/>
                    <a:pt x="526" y="105"/>
                    <a:pt x="526" y="105"/>
                  </a:cubicBezTo>
                  <a:cubicBezTo>
                    <a:pt x="527" y="105"/>
                    <a:pt x="527" y="105"/>
                    <a:pt x="527" y="105"/>
                  </a:cubicBezTo>
                  <a:close/>
                  <a:moveTo>
                    <a:pt x="527" y="105"/>
                  </a:moveTo>
                  <a:cubicBezTo>
                    <a:pt x="527" y="105"/>
                    <a:pt x="528" y="105"/>
                    <a:pt x="528" y="105"/>
                  </a:cubicBezTo>
                  <a:cubicBezTo>
                    <a:pt x="527" y="106"/>
                    <a:pt x="527" y="106"/>
                    <a:pt x="527" y="106"/>
                  </a:cubicBezTo>
                  <a:lnTo>
                    <a:pt x="527" y="105"/>
                  </a:lnTo>
                  <a:close/>
                  <a:moveTo>
                    <a:pt x="547" y="173"/>
                  </a:moveTo>
                  <a:cubicBezTo>
                    <a:pt x="547" y="173"/>
                    <a:pt x="547" y="173"/>
                    <a:pt x="547" y="173"/>
                  </a:cubicBezTo>
                  <a:cubicBezTo>
                    <a:pt x="547" y="173"/>
                    <a:pt x="547" y="173"/>
                    <a:pt x="547" y="173"/>
                  </a:cubicBezTo>
                  <a:cubicBezTo>
                    <a:pt x="547" y="173"/>
                    <a:pt x="547" y="173"/>
                    <a:pt x="547" y="173"/>
                  </a:cubicBezTo>
                  <a:cubicBezTo>
                    <a:pt x="547" y="173"/>
                    <a:pt x="547" y="173"/>
                    <a:pt x="547" y="173"/>
                  </a:cubicBezTo>
                  <a:close/>
                  <a:moveTo>
                    <a:pt x="542" y="171"/>
                  </a:moveTo>
                  <a:cubicBezTo>
                    <a:pt x="541" y="170"/>
                    <a:pt x="541" y="170"/>
                    <a:pt x="541" y="170"/>
                  </a:cubicBezTo>
                  <a:cubicBezTo>
                    <a:pt x="541" y="170"/>
                    <a:pt x="540" y="169"/>
                    <a:pt x="540" y="169"/>
                  </a:cubicBezTo>
                  <a:cubicBezTo>
                    <a:pt x="540" y="169"/>
                    <a:pt x="540" y="169"/>
                    <a:pt x="540" y="169"/>
                  </a:cubicBezTo>
                  <a:cubicBezTo>
                    <a:pt x="539" y="168"/>
                    <a:pt x="538" y="167"/>
                    <a:pt x="537" y="166"/>
                  </a:cubicBezTo>
                  <a:cubicBezTo>
                    <a:pt x="537" y="166"/>
                    <a:pt x="537" y="165"/>
                    <a:pt x="537" y="165"/>
                  </a:cubicBezTo>
                  <a:cubicBezTo>
                    <a:pt x="537" y="165"/>
                    <a:pt x="537" y="165"/>
                    <a:pt x="537" y="165"/>
                  </a:cubicBezTo>
                  <a:cubicBezTo>
                    <a:pt x="537" y="165"/>
                    <a:pt x="537" y="165"/>
                    <a:pt x="537" y="165"/>
                  </a:cubicBezTo>
                  <a:cubicBezTo>
                    <a:pt x="538" y="166"/>
                    <a:pt x="538" y="166"/>
                    <a:pt x="538" y="166"/>
                  </a:cubicBezTo>
                  <a:cubicBezTo>
                    <a:pt x="538" y="166"/>
                    <a:pt x="538" y="167"/>
                    <a:pt x="539" y="167"/>
                  </a:cubicBezTo>
                  <a:cubicBezTo>
                    <a:pt x="539" y="167"/>
                    <a:pt x="539" y="167"/>
                    <a:pt x="540" y="168"/>
                  </a:cubicBezTo>
                  <a:cubicBezTo>
                    <a:pt x="540" y="168"/>
                    <a:pt x="540" y="168"/>
                    <a:pt x="540" y="168"/>
                  </a:cubicBezTo>
                  <a:cubicBezTo>
                    <a:pt x="541" y="169"/>
                    <a:pt x="542" y="170"/>
                    <a:pt x="542" y="169"/>
                  </a:cubicBezTo>
                  <a:cubicBezTo>
                    <a:pt x="543" y="170"/>
                    <a:pt x="543" y="170"/>
                    <a:pt x="543" y="170"/>
                  </a:cubicBezTo>
                  <a:cubicBezTo>
                    <a:pt x="542" y="170"/>
                    <a:pt x="542" y="170"/>
                    <a:pt x="542" y="171"/>
                  </a:cubicBezTo>
                  <a:close/>
                  <a:moveTo>
                    <a:pt x="534" y="164"/>
                  </a:moveTo>
                  <a:cubicBezTo>
                    <a:pt x="534" y="164"/>
                    <a:pt x="534" y="164"/>
                    <a:pt x="535" y="164"/>
                  </a:cubicBezTo>
                  <a:cubicBezTo>
                    <a:pt x="535" y="164"/>
                    <a:pt x="535" y="164"/>
                    <a:pt x="536" y="164"/>
                  </a:cubicBezTo>
                  <a:cubicBezTo>
                    <a:pt x="535" y="164"/>
                    <a:pt x="534" y="164"/>
                    <a:pt x="533" y="164"/>
                  </a:cubicBezTo>
                  <a:cubicBezTo>
                    <a:pt x="533" y="164"/>
                    <a:pt x="533" y="164"/>
                    <a:pt x="533" y="164"/>
                  </a:cubicBezTo>
                  <a:cubicBezTo>
                    <a:pt x="533" y="164"/>
                    <a:pt x="533" y="164"/>
                    <a:pt x="533" y="164"/>
                  </a:cubicBezTo>
                  <a:cubicBezTo>
                    <a:pt x="533" y="164"/>
                    <a:pt x="532" y="164"/>
                    <a:pt x="532" y="163"/>
                  </a:cubicBezTo>
                  <a:cubicBezTo>
                    <a:pt x="533" y="163"/>
                    <a:pt x="533" y="164"/>
                    <a:pt x="534" y="164"/>
                  </a:cubicBezTo>
                  <a:close/>
                  <a:moveTo>
                    <a:pt x="532" y="104"/>
                  </a:moveTo>
                  <a:cubicBezTo>
                    <a:pt x="532" y="104"/>
                    <a:pt x="532" y="104"/>
                    <a:pt x="532" y="104"/>
                  </a:cubicBezTo>
                  <a:cubicBezTo>
                    <a:pt x="532" y="104"/>
                    <a:pt x="532" y="104"/>
                    <a:pt x="533" y="104"/>
                  </a:cubicBezTo>
                  <a:cubicBezTo>
                    <a:pt x="533" y="104"/>
                    <a:pt x="533" y="104"/>
                    <a:pt x="533" y="104"/>
                  </a:cubicBezTo>
                  <a:cubicBezTo>
                    <a:pt x="533" y="104"/>
                    <a:pt x="532" y="104"/>
                    <a:pt x="532" y="104"/>
                  </a:cubicBezTo>
                  <a:close/>
                  <a:moveTo>
                    <a:pt x="505" y="440"/>
                  </a:moveTo>
                  <a:cubicBezTo>
                    <a:pt x="505" y="440"/>
                    <a:pt x="505" y="440"/>
                    <a:pt x="505" y="440"/>
                  </a:cubicBezTo>
                  <a:cubicBezTo>
                    <a:pt x="505" y="440"/>
                    <a:pt x="505" y="440"/>
                    <a:pt x="505" y="440"/>
                  </a:cubicBezTo>
                  <a:cubicBezTo>
                    <a:pt x="505" y="439"/>
                    <a:pt x="505" y="439"/>
                    <a:pt x="505" y="439"/>
                  </a:cubicBezTo>
                  <a:cubicBezTo>
                    <a:pt x="505" y="439"/>
                    <a:pt x="505" y="439"/>
                    <a:pt x="505" y="439"/>
                  </a:cubicBezTo>
                  <a:cubicBezTo>
                    <a:pt x="505" y="439"/>
                    <a:pt x="505" y="439"/>
                    <a:pt x="505" y="439"/>
                  </a:cubicBezTo>
                  <a:cubicBezTo>
                    <a:pt x="505" y="439"/>
                    <a:pt x="505" y="440"/>
                    <a:pt x="505" y="440"/>
                  </a:cubicBezTo>
                  <a:close/>
                  <a:moveTo>
                    <a:pt x="187" y="324"/>
                  </a:moveTo>
                  <a:cubicBezTo>
                    <a:pt x="187" y="324"/>
                    <a:pt x="187" y="324"/>
                    <a:pt x="187" y="324"/>
                  </a:cubicBezTo>
                  <a:cubicBezTo>
                    <a:pt x="187" y="324"/>
                    <a:pt x="187" y="324"/>
                    <a:pt x="187" y="324"/>
                  </a:cubicBezTo>
                  <a:close/>
                  <a:moveTo>
                    <a:pt x="166" y="337"/>
                  </a:moveTo>
                  <a:cubicBezTo>
                    <a:pt x="166" y="337"/>
                    <a:pt x="166" y="337"/>
                    <a:pt x="166" y="337"/>
                  </a:cubicBezTo>
                  <a:cubicBezTo>
                    <a:pt x="166" y="337"/>
                    <a:pt x="166" y="337"/>
                    <a:pt x="166" y="337"/>
                  </a:cubicBezTo>
                  <a:close/>
                  <a:moveTo>
                    <a:pt x="226" y="199"/>
                  </a:moveTo>
                  <a:cubicBezTo>
                    <a:pt x="226" y="199"/>
                    <a:pt x="226" y="199"/>
                    <a:pt x="226" y="199"/>
                  </a:cubicBezTo>
                  <a:cubicBezTo>
                    <a:pt x="226" y="199"/>
                    <a:pt x="226" y="199"/>
                    <a:pt x="226" y="199"/>
                  </a:cubicBezTo>
                  <a:cubicBezTo>
                    <a:pt x="226" y="199"/>
                    <a:pt x="226" y="199"/>
                    <a:pt x="226" y="199"/>
                  </a:cubicBezTo>
                  <a:close/>
                  <a:moveTo>
                    <a:pt x="224" y="187"/>
                  </a:move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6" y="188"/>
                    <a:pt x="226" y="188"/>
                  </a:cubicBezTo>
                  <a:cubicBezTo>
                    <a:pt x="226" y="188"/>
                    <a:pt x="226" y="188"/>
                    <a:pt x="226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5" y="188"/>
                    <a:pt x="225" y="188"/>
                    <a:pt x="225" y="188"/>
                  </a:cubicBezTo>
                  <a:cubicBezTo>
                    <a:pt x="224" y="187"/>
                    <a:pt x="224" y="187"/>
                    <a:pt x="224" y="187"/>
                  </a:cubicBezTo>
                  <a:close/>
                  <a:moveTo>
                    <a:pt x="221" y="194"/>
                  </a:moveTo>
                  <a:cubicBezTo>
                    <a:pt x="220" y="194"/>
                    <a:pt x="220" y="194"/>
                    <a:pt x="220" y="194"/>
                  </a:cubicBezTo>
                  <a:cubicBezTo>
                    <a:pt x="220" y="194"/>
                    <a:pt x="220" y="194"/>
                    <a:pt x="220" y="194"/>
                  </a:cubicBezTo>
                  <a:lnTo>
                    <a:pt x="221" y="194"/>
                  </a:lnTo>
                  <a:close/>
                  <a:moveTo>
                    <a:pt x="236" y="184"/>
                  </a:moveTo>
                  <a:cubicBezTo>
                    <a:pt x="236" y="184"/>
                    <a:pt x="236" y="184"/>
                    <a:pt x="236" y="184"/>
                  </a:cubicBezTo>
                  <a:cubicBezTo>
                    <a:pt x="236" y="184"/>
                    <a:pt x="236" y="184"/>
                    <a:pt x="236" y="184"/>
                  </a:cubicBezTo>
                  <a:cubicBezTo>
                    <a:pt x="236" y="184"/>
                    <a:pt x="236" y="185"/>
                    <a:pt x="235" y="185"/>
                  </a:cubicBezTo>
                  <a:cubicBezTo>
                    <a:pt x="235" y="185"/>
                    <a:pt x="236" y="184"/>
                    <a:pt x="236" y="184"/>
                  </a:cubicBezTo>
                  <a:close/>
                  <a:moveTo>
                    <a:pt x="236" y="177"/>
                  </a:moveTo>
                  <a:cubicBezTo>
                    <a:pt x="236" y="177"/>
                    <a:pt x="236" y="177"/>
                    <a:pt x="236" y="177"/>
                  </a:cubicBezTo>
                  <a:cubicBezTo>
                    <a:pt x="236" y="178"/>
                    <a:pt x="236" y="178"/>
                    <a:pt x="236" y="179"/>
                  </a:cubicBezTo>
                  <a:cubicBezTo>
                    <a:pt x="236" y="179"/>
                    <a:pt x="237" y="180"/>
                    <a:pt x="238" y="180"/>
                  </a:cubicBezTo>
                  <a:cubicBezTo>
                    <a:pt x="238" y="180"/>
                    <a:pt x="238" y="180"/>
                    <a:pt x="238" y="180"/>
                  </a:cubicBezTo>
                  <a:cubicBezTo>
                    <a:pt x="238" y="180"/>
                    <a:pt x="238" y="180"/>
                    <a:pt x="238" y="180"/>
                  </a:cubicBezTo>
                  <a:cubicBezTo>
                    <a:pt x="237" y="180"/>
                    <a:pt x="237" y="181"/>
                    <a:pt x="236" y="181"/>
                  </a:cubicBezTo>
                  <a:cubicBezTo>
                    <a:pt x="237" y="182"/>
                    <a:pt x="237" y="182"/>
                    <a:pt x="237" y="182"/>
                  </a:cubicBezTo>
                  <a:cubicBezTo>
                    <a:pt x="236" y="181"/>
                    <a:pt x="236" y="181"/>
                    <a:pt x="236" y="181"/>
                  </a:cubicBezTo>
                  <a:cubicBezTo>
                    <a:pt x="236" y="182"/>
                    <a:pt x="236" y="182"/>
                    <a:pt x="236" y="182"/>
                  </a:cubicBezTo>
                  <a:cubicBezTo>
                    <a:pt x="236" y="182"/>
                    <a:pt x="236" y="182"/>
                    <a:pt x="236" y="182"/>
                  </a:cubicBezTo>
                  <a:cubicBezTo>
                    <a:pt x="236" y="181"/>
                    <a:pt x="236" y="181"/>
                    <a:pt x="236" y="181"/>
                  </a:cubicBezTo>
                  <a:cubicBezTo>
                    <a:pt x="236" y="180"/>
                    <a:pt x="236" y="179"/>
                    <a:pt x="236" y="179"/>
                  </a:cubicBezTo>
                  <a:cubicBezTo>
                    <a:pt x="236" y="178"/>
                    <a:pt x="235" y="178"/>
                    <a:pt x="235" y="178"/>
                  </a:cubicBezTo>
                  <a:cubicBezTo>
                    <a:pt x="235" y="178"/>
                    <a:pt x="235" y="178"/>
                    <a:pt x="235" y="178"/>
                  </a:cubicBezTo>
                  <a:cubicBezTo>
                    <a:pt x="235" y="178"/>
                    <a:pt x="236" y="178"/>
                    <a:pt x="236" y="177"/>
                  </a:cubicBezTo>
                  <a:close/>
                  <a:moveTo>
                    <a:pt x="233" y="187"/>
                  </a:moveTo>
                  <a:cubicBezTo>
                    <a:pt x="233" y="188"/>
                    <a:pt x="233" y="188"/>
                    <a:pt x="233" y="188"/>
                  </a:cubicBezTo>
                  <a:cubicBezTo>
                    <a:pt x="233" y="188"/>
                    <a:pt x="233" y="188"/>
                    <a:pt x="233" y="188"/>
                  </a:cubicBezTo>
                  <a:cubicBezTo>
                    <a:pt x="232" y="187"/>
                    <a:pt x="232" y="187"/>
                    <a:pt x="232" y="187"/>
                  </a:cubicBezTo>
                  <a:lnTo>
                    <a:pt x="233" y="187"/>
                  </a:lnTo>
                  <a:close/>
                  <a:moveTo>
                    <a:pt x="232" y="187"/>
                  </a:moveTo>
                  <a:cubicBezTo>
                    <a:pt x="232" y="187"/>
                    <a:pt x="232" y="188"/>
                    <a:pt x="232" y="188"/>
                  </a:cubicBezTo>
                  <a:cubicBezTo>
                    <a:pt x="232" y="188"/>
                    <a:pt x="232" y="187"/>
                    <a:pt x="232" y="187"/>
                  </a:cubicBezTo>
                  <a:close/>
                  <a:moveTo>
                    <a:pt x="231" y="190"/>
                  </a:moveTo>
                  <a:cubicBezTo>
                    <a:pt x="231" y="190"/>
                    <a:pt x="231" y="190"/>
                    <a:pt x="231" y="190"/>
                  </a:cubicBezTo>
                  <a:cubicBezTo>
                    <a:pt x="231" y="190"/>
                    <a:pt x="231" y="190"/>
                    <a:pt x="231" y="190"/>
                  </a:cubicBezTo>
                  <a:cubicBezTo>
                    <a:pt x="231" y="191"/>
                    <a:pt x="230" y="191"/>
                    <a:pt x="230" y="192"/>
                  </a:cubicBezTo>
                  <a:cubicBezTo>
                    <a:pt x="230" y="192"/>
                    <a:pt x="230" y="192"/>
                    <a:pt x="230" y="192"/>
                  </a:cubicBezTo>
                  <a:cubicBezTo>
                    <a:pt x="230" y="191"/>
                    <a:pt x="230" y="191"/>
                    <a:pt x="230" y="190"/>
                  </a:cubicBezTo>
                  <a:cubicBezTo>
                    <a:pt x="230" y="190"/>
                    <a:pt x="230" y="190"/>
                    <a:pt x="231" y="190"/>
                  </a:cubicBezTo>
                  <a:cubicBezTo>
                    <a:pt x="231" y="190"/>
                    <a:pt x="231" y="190"/>
                    <a:pt x="231" y="189"/>
                  </a:cubicBezTo>
                  <a:cubicBezTo>
                    <a:pt x="231" y="190"/>
                    <a:pt x="231" y="190"/>
                    <a:pt x="231" y="190"/>
                  </a:cubicBezTo>
                  <a:close/>
                  <a:moveTo>
                    <a:pt x="226" y="192"/>
                  </a:moveTo>
                  <a:cubicBezTo>
                    <a:pt x="226" y="192"/>
                    <a:pt x="226" y="192"/>
                    <a:pt x="226" y="192"/>
                  </a:cubicBezTo>
                  <a:cubicBezTo>
                    <a:pt x="226" y="191"/>
                    <a:pt x="226" y="191"/>
                    <a:pt x="226" y="191"/>
                  </a:cubicBezTo>
                  <a:lnTo>
                    <a:pt x="226" y="192"/>
                  </a:lnTo>
                  <a:close/>
                  <a:moveTo>
                    <a:pt x="227" y="192"/>
                  </a:move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ubicBezTo>
                    <a:pt x="227" y="192"/>
                    <a:pt x="227" y="192"/>
                    <a:pt x="227" y="192"/>
                  </a:cubicBezTo>
                  <a:close/>
                  <a:moveTo>
                    <a:pt x="226" y="193"/>
                  </a:moveTo>
                  <a:cubicBezTo>
                    <a:pt x="226" y="193"/>
                    <a:pt x="227" y="193"/>
                    <a:pt x="227" y="192"/>
                  </a:cubicBezTo>
                  <a:cubicBezTo>
                    <a:pt x="227" y="192"/>
                    <a:pt x="227" y="193"/>
                    <a:pt x="227" y="193"/>
                  </a:cubicBezTo>
                  <a:cubicBezTo>
                    <a:pt x="228" y="193"/>
                    <a:pt x="228" y="193"/>
                    <a:pt x="228" y="193"/>
                  </a:cubicBezTo>
                  <a:cubicBezTo>
                    <a:pt x="228" y="193"/>
                    <a:pt x="228" y="193"/>
                    <a:pt x="228" y="193"/>
                  </a:cubicBezTo>
                  <a:cubicBezTo>
                    <a:pt x="228" y="193"/>
                    <a:pt x="228" y="193"/>
                    <a:pt x="228" y="194"/>
                  </a:cubicBezTo>
                  <a:cubicBezTo>
                    <a:pt x="228" y="194"/>
                    <a:pt x="228" y="195"/>
                    <a:pt x="228" y="196"/>
                  </a:cubicBezTo>
                  <a:cubicBezTo>
                    <a:pt x="228" y="197"/>
                    <a:pt x="228" y="197"/>
                    <a:pt x="228" y="197"/>
                  </a:cubicBezTo>
                  <a:cubicBezTo>
                    <a:pt x="228" y="197"/>
                    <a:pt x="228" y="197"/>
                    <a:pt x="228" y="197"/>
                  </a:cubicBezTo>
                  <a:cubicBezTo>
                    <a:pt x="228" y="196"/>
                    <a:pt x="228" y="195"/>
                    <a:pt x="227" y="194"/>
                  </a:cubicBezTo>
                  <a:cubicBezTo>
                    <a:pt x="227" y="194"/>
                    <a:pt x="226" y="194"/>
                    <a:pt x="226" y="193"/>
                  </a:cubicBezTo>
                  <a:close/>
                  <a:moveTo>
                    <a:pt x="480" y="447"/>
                  </a:moveTo>
                  <a:cubicBezTo>
                    <a:pt x="480" y="447"/>
                    <a:pt x="480" y="447"/>
                    <a:pt x="480" y="447"/>
                  </a:cubicBezTo>
                  <a:cubicBezTo>
                    <a:pt x="480" y="447"/>
                    <a:pt x="480" y="447"/>
                    <a:pt x="480" y="447"/>
                  </a:cubicBezTo>
                  <a:close/>
                  <a:moveTo>
                    <a:pt x="415" y="383"/>
                  </a:moveTo>
                  <a:cubicBezTo>
                    <a:pt x="415" y="383"/>
                    <a:pt x="415" y="383"/>
                    <a:pt x="415" y="383"/>
                  </a:cubicBezTo>
                  <a:cubicBezTo>
                    <a:pt x="415" y="383"/>
                    <a:pt x="415" y="383"/>
                    <a:pt x="415" y="383"/>
                  </a:cubicBezTo>
                  <a:close/>
                  <a:moveTo>
                    <a:pt x="425" y="373"/>
                  </a:moveTo>
                  <a:cubicBezTo>
                    <a:pt x="425" y="373"/>
                    <a:pt x="425" y="373"/>
                    <a:pt x="425" y="373"/>
                  </a:cubicBezTo>
                  <a:cubicBezTo>
                    <a:pt x="425" y="373"/>
                    <a:pt x="425" y="373"/>
                    <a:pt x="425" y="373"/>
                  </a:cubicBezTo>
                  <a:close/>
                  <a:moveTo>
                    <a:pt x="456" y="399"/>
                  </a:moveTo>
                  <a:cubicBezTo>
                    <a:pt x="456" y="399"/>
                    <a:pt x="456" y="399"/>
                    <a:pt x="456" y="399"/>
                  </a:cubicBezTo>
                  <a:cubicBezTo>
                    <a:pt x="456" y="399"/>
                    <a:pt x="456" y="399"/>
                    <a:pt x="456" y="399"/>
                  </a:cubicBezTo>
                  <a:cubicBezTo>
                    <a:pt x="456" y="399"/>
                    <a:pt x="456" y="399"/>
                    <a:pt x="456" y="399"/>
                  </a:cubicBezTo>
                  <a:close/>
                  <a:moveTo>
                    <a:pt x="457" y="397"/>
                  </a:moveTo>
                  <a:cubicBezTo>
                    <a:pt x="457" y="397"/>
                    <a:pt x="457" y="397"/>
                    <a:pt x="457" y="397"/>
                  </a:cubicBezTo>
                  <a:cubicBezTo>
                    <a:pt x="457" y="396"/>
                    <a:pt x="457" y="396"/>
                    <a:pt x="457" y="396"/>
                  </a:cubicBezTo>
                  <a:cubicBezTo>
                    <a:pt x="457" y="396"/>
                    <a:pt x="457" y="396"/>
                    <a:pt x="457" y="395"/>
                  </a:cubicBezTo>
                  <a:lnTo>
                    <a:pt x="457" y="397"/>
                  </a:lnTo>
                  <a:close/>
                  <a:moveTo>
                    <a:pt x="456" y="387"/>
                  </a:moveTo>
                  <a:cubicBezTo>
                    <a:pt x="456" y="387"/>
                    <a:pt x="456" y="387"/>
                    <a:pt x="456" y="387"/>
                  </a:cubicBezTo>
                  <a:cubicBezTo>
                    <a:pt x="456" y="388"/>
                    <a:pt x="456" y="389"/>
                    <a:pt x="455" y="390"/>
                  </a:cubicBezTo>
                  <a:cubicBezTo>
                    <a:pt x="455" y="390"/>
                    <a:pt x="455" y="391"/>
                    <a:pt x="455" y="392"/>
                  </a:cubicBezTo>
                  <a:cubicBezTo>
                    <a:pt x="456" y="392"/>
                    <a:pt x="456" y="393"/>
                    <a:pt x="456" y="393"/>
                  </a:cubicBezTo>
                  <a:cubicBezTo>
                    <a:pt x="456" y="393"/>
                    <a:pt x="456" y="393"/>
                    <a:pt x="456" y="393"/>
                  </a:cubicBezTo>
                  <a:cubicBezTo>
                    <a:pt x="456" y="394"/>
                    <a:pt x="456" y="394"/>
                    <a:pt x="456" y="395"/>
                  </a:cubicBezTo>
                  <a:cubicBezTo>
                    <a:pt x="455" y="396"/>
                    <a:pt x="455" y="396"/>
                    <a:pt x="455" y="396"/>
                  </a:cubicBezTo>
                  <a:cubicBezTo>
                    <a:pt x="454" y="397"/>
                    <a:pt x="454" y="397"/>
                    <a:pt x="454" y="398"/>
                  </a:cubicBezTo>
                  <a:cubicBezTo>
                    <a:pt x="454" y="398"/>
                    <a:pt x="455" y="399"/>
                    <a:pt x="455" y="399"/>
                  </a:cubicBezTo>
                  <a:cubicBezTo>
                    <a:pt x="454" y="399"/>
                    <a:pt x="453" y="399"/>
                    <a:pt x="453" y="401"/>
                  </a:cubicBezTo>
                  <a:cubicBezTo>
                    <a:pt x="453" y="401"/>
                    <a:pt x="453" y="401"/>
                    <a:pt x="453" y="402"/>
                  </a:cubicBezTo>
                  <a:cubicBezTo>
                    <a:pt x="453" y="402"/>
                    <a:pt x="453" y="402"/>
                    <a:pt x="453" y="402"/>
                  </a:cubicBezTo>
                  <a:cubicBezTo>
                    <a:pt x="453" y="402"/>
                    <a:pt x="453" y="402"/>
                    <a:pt x="452" y="402"/>
                  </a:cubicBezTo>
                  <a:cubicBezTo>
                    <a:pt x="452" y="402"/>
                    <a:pt x="452" y="401"/>
                    <a:pt x="452" y="401"/>
                  </a:cubicBezTo>
                  <a:cubicBezTo>
                    <a:pt x="452" y="401"/>
                    <a:pt x="452" y="401"/>
                    <a:pt x="452" y="401"/>
                  </a:cubicBezTo>
                  <a:cubicBezTo>
                    <a:pt x="452" y="400"/>
                    <a:pt x="451" y="399"/>
                    <a:pt x="451" y="399"/>
                  </a:cubicBezTo>
                  <a:cubicBezTo>
                    <a:pt x="451" y="399"/>
                    <a:pt x="450" y="399"/>
                    <a:pt x="450" y="399"/>
                  </a:cubicBezTo>
                  <a:cubicBezTo>
                    <a:pt x="450" y="399"/>
                    <a:pt x="450" y="399"/>
                    <a:pt x="450" y="399"/>
                  </a:cubicBezTo>
                  <a:cubicBezTo>
                    <a:pt x="451" y="398"/>
                    <a:pt x="451" y="397"/>
                    <a:pt x="451" y="397"/>
                  </a:cubicBezTo>
                  <a:cubicBezTo>
                    <a:pt x="451" y="396"/>
                    <a:pt x="450" y="395"/>
                    <a:pt x="450" y="395"/>
                  </a:cubicBezTo>
                  <a:cubicBezTo>
                    <a:pt x="450" y="395"/>
                    <a:pt x="450" y="395"/>
                    <a:pt x="450" y="395"/>
                  </a:cubicBezTo>
                  <a:cubicBezTo>
                    <a:pt x="450" y="394"/>
                    <a:pt x="450" y="394"/>
                    <a:pt x="450" y="393"/>
                  </a:cubicBezTo>
                  <a:cubicBezTo>
                    <a:pt x="449" y="392"/>
                    <a:pt x="449" y="392"/>
                    <a:pt x="448" y="391"/>
                  </a:cubicBezTo>
                  <a:cubicBezTo>
                    <a:pt x="447" y="390"/>
                    <a:pt x="446" y="390"/>
                    <a:pt x="445" y="391"/>
                  </a:cubicBezTo>
                  <a:cubicBezTo>
                    <a:pt x="444" y="391"/>
                    <a:pt x="444" y="391"/>
                    <a:pt x="444" y="392"/>
                  </a:cubicBezTo>
                  <a:cubicBezTo>
                    <a:pt x="443" y="393"/>
                    <a:pt x="443" y="393"/>
                    <a:pt x="444" y="394"/>
                  </a:cubicBezTo>
                  <a:cubicBezTo>
                    <a:pt x="444" y="394"/>
                    <a:pt x="444" y="394"/>
                    <a:pt x="444" y="395"/>
                  </a:cubicBezTo>
                  <a:cubicBezTo>
                    <a:pt x="444" y="395"/>
                    <a:pt x="444" y="395"/>
                    <a:pt x="444" y="395"/>
                  </a:cubicBezTo>
                  <a:cubicBezTo>
                    <a:pt x="444" y="396"/>
                    <a:pt x="444" y="397"/>
                    <a:pt x="445" y="397"/>
                  </a:cubicBezTo>
                  <a:cubicBezTo>
                    <a:pt x="445" y="398"/>
                    <a:pt x="445" y="398"/>
                    <a:pt x="445" y="398"/>
                  </a:cubicBezTo>
                  <a:cubicBezTo>
                    <a:pt x="445" y="398"/>
                    <a:pt x="445" y="398"/>
                    <a:pt x="445" y="398"/>
                  </a:cubicBezTo>
                  <a:cubicBezTo>
                    <a:pt x="445" y="398"/>
                    <a:pt x="445" y="399"/>
                    <a:pt x="444" y="400"/>
                  </a:cubicBezTo>
                  <a:cubicBezTo>
                    <a:pt x="444" y="400"/>
                    <a:pt x="444" y="401"/>
                    <a:pt x="444" y="401"/>
                  </a:cubicBezTo>
                  <a:cubicBezTo>
                    <a:pt x="443" y="400"/>
                    <a:pt x="443" y="400"/>
                    <a:pt x="442" y="401"/>
                  </a:cubicBezTo>
                  <a:cubicBezTo>
                    <a:pt x="441" y="401"/>
                    <a:pt x="440" y="402"/>
                    <a:pt x="439" y="402"/>
                  </a:cubicBezTo>
                  <a:cubicBezTo>
                    <a:pt x="439" y="403"/>
                    <a:pt x="439" y="403"/>
                    <a:pt x="438" y="404"/>
                  </a:cubicBezTo>
                  <a:cubicBezTo>
                    <a:pt x="438" y="404"/>
                    <a:pt x="438" y="405"/>
                    <a:pt x="438" y="405"/>
                  </a:cubicBezTo>
                  <a:cubicBezTo>
                    <a:pt x="438" y="405"/>
                    <a:pt x="437" y="406"/>
                    <a:pt x="437" y="406"/>
                  </a:cubicBezTo>
                  <a:cubicBezTo>
                    <a:pt x="436" y="407"/>
                    <a:pt x="435" y="407"/>
                    <a:pt x="435" y="408"/>
                  </a:cubicBezTo>
                  <a:cubicBezTo>
                    <a:pt x="435" y="409"/>
                    <a:pt x="435" y="410"/>
                    <a:pt x="435" y="410"/>
                  </a:cubicBezTo>
                  <a:cubicBezTo>
                    <a:pt x="435" y="410"/>
                    <a:pt x="435" y="411"/>
                    <a:pt x="434" y="411"/>
                  </a:cubicBezTo>
                  <a:cubicBezTo>
                    <a:pt x="434" y="412"/>
                    <a:pt x="433" y="413"/>
                    <a:pt x="432" y="413"/>
                  </a:cubicBezTo>
                  <a:cubicBezTo>
                    <a:pt x="432" y="414"/>
                    <a:pt x="432" y="414"/>
                    <a:pt x="432" y="414"/>
                  </a:cubicBezTo>
                  <a:cubicBezTo>
                    <a:pt x="431" y="414"/>
                    <a:pt x="431" y="414"/>
                    <a:pt x="430" y="414"/>
                  </a:cubicBezTo>
                  <a:cubicBezTo>
                    <a:pt x="430" y="414"/>
                    <a:pt x="430" y="414"/>
                    <a:pt x="430" y="414"/>
                  </a:cubicBezTo>
                  <a:cubicBezTo>
                    <a:pt x="430" y="414"/>
                    <a:pt x="431" y="413"/>
                    <a:pt x="431" y="413"/>
                  </a:cubicBezTo>
                  <a:cubicBezTo>
                    <a:pt x="431" y="413"/>
                    <a:pt x="431" y="412"/>
                    <a:pt x="431" y="411"/>
                  </a:cubicBezTo>
                  <a:cubicBezTo>
                    <a:pt x="431" y="411"/>
                    <a:pt x="431" y="411"/>
                    <a:pt x="431" y="411"/>
                  </a:cubicBezTo>
                  <a:cubicBezTo>
                    <a:pt x="431" y="410"/>
                    <a:pt x="431" y="410"/>
                    <a:pt x="431" y="410"/>
                  </a:cubicBezTo>
                  <a:cubicBezTo>
                    <a:pt x="432" y="409"/>
                    <a:pt x="432" y="407"/>
                    <a:pt x="431" y="405"/>
                  </a:cubicBezTo>
                  <a:cubicBezTo>
                    <a:pt x="431" y="405"/>
                    <a:pt x="430" y="405"/>
                    <a:pt x="429" y="405"/>
                  </a:cubicBezTo>
                  <a:cubicBezTo>
                    <a:pt x="428" y="405"/>
                    <a:pt x="427" y="405"/>
                    <a:pt x="427" y="405"/>
                  </a:cubicBezTo>
                  <a:cubicBezTo>
                    <a:pt x="426" y="406"/>
                    <a:pt x="426" y="406"/>
                    <a:pt x="426" y="406"/>
                  </a:cubicBezTo>
                  <a:cubicBezTo>
                    <a:pt x="425" y="406"/>
                    <a:pt x="425" y="406"/>
                    <a:pt x="425" y="406"/>
                  </a:cubicBezTo>
                  <a:cubicBezTo>
                    <a:pt x="425" y="406"/>
                    <a:pt x="425" y="406"/>
                    <a:pt x="425" y="406"/>
                  </a:cubicBezTo>
                  <a:cubicBezTo>
                    <a:pt x="425" y="406"/>
                    <a:pt x="426" y="405"/>
                    <a:pt x="426" y="405"/>
                  </a:cubicBezTo>
                  <a:cubicBezTo>
                    <a:pt x="427" y="404"/>
                    <a:pt x="428" y="404"/>
                    <a:pt x="428" y="403"/>
                  </a:cubicBezTo>
                  <a:cubicBezTo>
                    <a:pt x="429" y="403"/>
                    <a:pt x="429" y="403"/>
                    <a:pt x="429" y="403"/>
                  </a:cubicBezTo>
                  <a:cubicBezTo>
                    <a:pt x="429" y="403"/>
                    <a:pt x="430" y="403"/>
                    <a:pt x="430" y="403"/>
                  </a:cubicBezTo>
                  <a:cubicBezTo>
                    <a:pt x="431" y="402"/>
                    <a:pt x="431" y="401"/>
                    <a:pt x="431" y="401"/>
                  </a:cubicBezTo>
                  <a:cubicBezTo>
                    <a:pt x="432" y="400"/>
                    <a:pt x="432" y="400"/>
                    <a:pt x="432" y="399"/>
                  </a:cubicBezTo>
                  <a:cubicBezTo>
                    <a:pt x="432" y="399"/>
                    <a:pt x="432" y="399"/>
                    <a:pt x="432" y="399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33" y="397"/>
                    <a:pt x="433" y="396"/>
                    <a:pt x="434" y="396"/>
                  </a:cubicBezTo>
                  <a:cubicBezTo>
                    <a:pt x="434" y="396"/>
                    <a:pt x="434" y="396"/>
                    <a:pt x="435" y="395"/>
                  </a:cubicBezTo>
                  <a:cubicBezTo>
                    <a:pt x="436" y="395"/>
                    <a:pt x="436" y="394"/>
                    <a:pt x="436" y="393"/>
                  </a:cubicBezTo>
                  <a:cubicBezTo>
                    <a:pt x="436" y="392"/>
                    <a:pt x="436" y="391"/>
                    <a:pt x="436" y="390"/>
                  </a:cubicBezTo>
                  <a:cubicBezTo>
                    <a:pt x="436" y="390"/>
                    <a:pt x="436" y="388"/>
                    <a:pt x="435" y="388"/>
                  </a:cubicBezTo>
                  <a:cubicBezTo>
                    <a:pt x="435" y="388"/>
                    <a:pt x="434" y="388"/>
                    <a:pt x="434" y="388"/>
                  </a:cubicBezTo>
                  <a:cubicBezTo>
                    <a:pt x="434" y="387"/>
                    <a:pt x="434" y="387"/>
                    <a:pt x="434" y="387"/>
                  </a:cubicBezTo>
                  <a:cubicBezTo>
                    <a:pt x="434" y="387"/>
                    <a:pt x="434" y="387"/>
                    <a:pt x="434" y="387"/>
                  </a:cubicBezTo>
                  <a:cubicBezTo>
                    <a:pt x="434" y="387"/>
                    <a:pt x="433" y="387"/>
                    <a:pt x="433" y="387"/>
                  </a:cubicBezTo>
                  <a:cubicBezTo>
                    <a:pt x="433" y="387"/>
                    <a:pt x="433" y="386"/>
                    <a:pt x="433" y="385"/>
                  </a:cubicBezTo>
                  <a:cubicBezTo>
                    <a:pt x="432" y="385"/>
                    <a:pt x="432" y="385"/>
                    <a:pt x="432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1" y="384"/>
                    <a:pt x="431" y="384"/>
                    <a:pt x="431" y="384"/>
                  </a:cubicBezTo>
                  <a:cubicBezTo>
                    <a:pt x="432" y="384"/>
                    <a:pt x="432" y="384"/>
                    <a:pt x="433" y="383"/>
                  </a:cubicBezTo>
                  <a:cubicBezTo>
                    <a:pt x="433" y="383"/>
                    <a:pt x="433" y="383"/>
                    <a:pt x="433" y="383"/>
                  </a:cubicBezTo>
                  <a:cubicBezTo>
                    <a:pt x="434" y="383"/>
                    <a:pt x="434" y="383"/>
                    <a:pt x="434" y="384"/>
                  </a:cubicBezTo>
                  <a:cubicBezTo>
                    <a:pt x="436" y="385"/>
                    <a:pt x="437" y="384"/>
                    <a:pt x="438" y="382"/>
                  </a:cubicBezTo>
                  <a:cubicBezTo>
                    <a:pt x="438" y="382"/>
                    <a:pt x="438" y="381"/>
                    <a:pt x="438" y="380"/>
                  </a:cubicBezTo>
                  <a:cubicBezTo>
                    <a:pt x="437" y="380"/>
                    <a:pt x="437" y="380"/>
                    <a:pt x="437" y="380"/>
                  </a:cubicBezTo>
                  <a:cubicBezTo>
                    <a:pt x="437" y="379"/>
                    <a:pt x="437" y="379"/>
                    <a:pt x="437" y="378"/>
                  </a:cubicBezTo>
                  <a:cubicBezTo>
                    <a:pt x="437" y="378"/>
                    <a:pt x="437" y="378"/>
                    <a:pt x="437" y="378"/>
                  </a:cubicBezTo>
                  <a:cubicBezTo>
                    <a:pt x="438" y="378"/>
                    <a:pt x="438" y="379"/>
                    <a:pt x="438" y="379"/>
                  </a:cubicBezTo>
                  <a:cubicBezTo>
                    <a:pt x="439" y="380"/>
                    <a:pt x="439" y="380"/>
                    <a:pt x="439" y="380"/>
                  </a:cubicBezTo>
                  <a:cubicBezTo>
                    <a:pt x="439" y="380"/>
                    <a:pt x="439" y="380"/>
                    <a:pt x="440" y="381"/>
                  </a:cubicBezTo>
                  <a:cubicBezTo>
                    <a:pt x="440" y="381"/>
                    <a:pt x="440" y="381"/>
                    <a:pt x="440" y="381"/>
                  </a:cubicBezTo>
                  <a:cubicBezTo>
                    <a:pt x="441" y="382"/>
                    <a:pt x="441" y="383"/>
                    <a:pt x="442" y="383"/>
                  </a:cubicBezTo>
                  <a:cubicBezTo>
                    <a:pt x="443" y="383"/>
                    <a:pt x="444" y="383"/>
                    <a:pt x="445" y="383"/>
                  </a:cubicBezTo>
                  <a:cubicBezTo>
                    <a:pt x="445" y="383"/>
                    <a:pt x="445" y="383"/>
                    <a:pt x="446" y="383"/>
                  </a:cubicBezTo>
                  <a:cubicBezTo>
                    <a:pt x="446" y="383"/>
                    <a:pt x="446" y="383"/>
                    <a:pt x="446" y="383"/>
                  </a:cubicBezTo>
                  <a:cubicBezTo>
                    <a:pt x="446" y="383"/>
                    <a:pt x="446" y="383"/>
                    <a:pt x="447" y="384"/>
                  </a:cubicBezTo>
                  <a:cubicBezTo>
                    <a:pt x="447" y="384"/>
                    <a:pt x="447" y="384"/>
                    <a:pt x="448" y="384"/>
                  </a:cubicBezTo>
                  <a:cubicBezTo>
                    <a:pt x="449" y="384"/>
                    <a:pt x="450" y="384"/>
                    <a:pt x="451" y="384"/>
                  </a:cubicBezTo>
                  <a:cubicBezTo>
                    <a:pt x="451" y="384"/>
                    <a:pt x="451" y="384"/>
                    <a:pt x="451" y="385"/>
                  </a:cubicBezTo>
                  <a:cubicBezTo>
                    <a:pt x="451" y="385"/>
                    <a:pt x="451" y="385"/>
                    <a:pt x="451" y="385"/>
                  </a:cubicBezTo>
                  <a:cubicBezTo>
                    <a:pt x="452" y="386"/>
                    <a:pt x="453" y="386"/>
                    <a:pt x="455" y="386"/>
                  </a:cubicBezTo>
                  <a:cubicBezTo>
                    <a:pt x="455" y="386"/>
                    <a:pt x="456" y="386"/>
                    <a:pt x="456" y="386"/>
                  </a:cubicBezTo>
                  <a:cubicBezTo>
                    <a:pt x="456" y="386"/>
                    <a:pt x="456" y="386"/>
                    <a:pt x="456" y="386"/>
                  </a:cubicBezTo>
                  <a:cubicBezTo>
                    <a:pt x="456" y="386"/>
                    <a:pt x="456" y="386"/>
                    <a:pt x="456" y="387"/>
                  </a:cubicBezTo>
                  <a:close/>
                  <a:moveTo>
                    <a:pt x="442" y="359"/>
                  </a:moveTo>
                  <a:cubicBezTo>
                    <a:pt x="442" y="360"/>
                    <a:pt x="442" y="360"/>
                    <a:pt x="442" y="361"/>
                  </a:cubicBezTo>
                  <a:cubicBezTo>
                    <a:pt x="442" y="361"/>
                    <a:pt x="442" y="361"/>
                    <a:pt x="441" y="361"/>
                  </a:cubicBezTo>
                  <a:cubicBezTo>
                    <a:pt x="441" y="362"/>
                    <a:pt x="441" y="362"/>
                    <a:pt x="440" y="362"/>
                  </a:cubicBezTo>
                  <a:cubicBezTo>
                    <a:pt x="439" y="363"/>
                    <a:pt x="439" y="364"/>
                    <a:pt x="439" y="365"/>
                  </a:cubicBezTo>
                  <a:cubicBezTo>
                    <a:pt x="439" y="365"/>
                    <a:pt x="439" y="366"/>
                    <a:pt x="439" y="366"/>
                  </a:cubicBezTo>
                  <a:cubicBezTo>
                    <a:pt x="439" y="366"/>
                    <a:pt x="439" y="366"/>
                    <a:pt x="439" y="367"/>
                  </a:cubicBezTo>
                  <a:cubicBezTo>
                    <a:pt x="438" y="367"/>
                    <a:pt x="438" y="368"/>
                    <a:pt x="438" y="369"/>
                  </a:cubicBezTo>
                  <a:cubicBezTo>
                    <a:pt x="438" y="370"/>
                    <a:pt x="438" y="371"/>
                    <a:pt x="438" y="372"/>
                  </a:cubicBezTo>
                  <a:cubicBezTo>
                    <a:pt x="438" y="373"/>
                    <a:pt x="438" y="373"/>
                    <a:pt x="438" y="374"/>
                  </a:cubicBezTo>
                  <a:cubicBezTo>
                    <a:pt x="438" y="374"/>
                    <a:pt x="438" y="374"/>
                    <a:pt x="438" y="375"/>
                  </a:cubicBezTo>
                  <a:cubicBezTo>
                    <a:pt x="437" y="375"/>
                    <a:pt x="437" y="376"/>
                    <a:pt x="437" y="377"/>
                  </a:cubicBezTo>
                  <a:cubicBezTo>
                    <a:pt x="437" y="376"/>
                    <a:pt x="437" y="375"/>
                    <a:pt x="436" y="375"/>
                  </a:cubicBezTo>
                  <a:cubicBezTo>
                    <a:pt x="436" y="375"/>
                    <a:pt x="436" y="375"/>
                    <a:pt x="436" y="375"/>
                  </a:cubicBezTo>
                  <a:cubicBezTo>
                    <a:pt x="436" y="374"/>
                    <a:pt x="436" y="374"/>
                    <a:pt x="436" y="374"/>
                  </a:cubicBezTo>
                  <a:cubicBezTo>
                    <a:pt x="436" y="374"/>
                    <a:pt x="436" y="373"/>
                    <a:pt x="436" y="372"/>
                  </a:cubicBezTo>
                  <a:cubicBezTo>
                    <a:pt x="436" y="372"/>
                    <a:pt x="435" y="371"/>
                    <a:pt x="434" y="371"/>
                  </a:cubicBezTo>
                  <a:cubicBezTo>
                    <a:pt x="434" y="371"/>
                    <a:pt x="433" y="371"/>
                    <a:pt x="433" y="371"/>
                  </a:cubicBezTo>
                  <a:cubicBezTo>
                    <a:pt x="431" y="371"/>
                    <a:pt x="431" y="371"/>
                    <a:pt x="431" y="371"/>
                  </a:cubicBezTo>
                  <a:cubicBezTo>
                    <a:pt x="431" y="371"/>
                    <a:pt x="430" y="371"/>
                    <a:pt x="430" y="371"/>
                  </a:cubicBezTo>
                  <a:cubicBezTo>
                    <a:pt x="430" y="371"/>
                    <a:pt x="430" y="371"/>
                    <a:pt x="430" y="371"/>
                  </a:cubicBezTo>
                  <a:cubicBezTo>
                    <a:pt x="429" y="371"/>
                    <a:pt x="429" y="371"/>
                    <a:pt x="429" y="371"/>
                  </a:cubicBezTo>
                  <a:cubicBezTo>
                    <a:pt x="428" y="371"/>
                    <a:pt x="428" y="371"/>
                    <a:pt x="428" y="371"/>
                  </a:cubicBezTo>
                  <a:cubicBezTo>
                    <a:pt x="427" y="371"/>
                    <a:pt x="427" y="371"/>
                    <a:pt x="427" y="371"/>
                  </a:cubicBezTo>
                  <a:cubicBezTo>
                    <a:pt x="427" y="371"/>
                    <a:pt x="426" y="371"/>
                    <a:pt x="426" y="371"/>
                  </a:cubicBezTo>
                  <a:cubicBezTo>
                    <a:pt x="425" y="372"/>
                    <a:pt x="425" y="372"/>
                    <a:pt x="425" y="372"/>
                  </a:cubicBezTo>
                  <a:cubicBezTo>
                    <a:pt x="425" y="372"/>
                    <a:pt x="425" y="372"/>
                    <a:pt x="425" y="372"/>
                  </a:cubicBezTo>
                  <a:cubicBezTo>
                    <a:pt x="424" y="372"/>
                    <a:pt x="424" y="372"/>
                    <a:pt x="424" y="372"/>
                  </a:cubicBezTo>
                  <a:cubicBezTo>
                    <a:pt x="424" y="372"/>
                    <a:pt x="424" y="372"/>
                    <a:pt x="423" y="372"/>
                  </a:cubicBezTo>
                  <a:cubicBezTo>
                    <a:pt x="423" y="372"/>
                    <a:pt x="422" y="372"/>
                    <a:pt x="422" y="372"/>
                  </a:cubicBezTo>
                  <a:cubicBezTo>
                    <a:pt x="421" y="371"/>
                    <a:pt x="420" y="371"/>
                    <a:pt x="420" y="371"/>
                  </a:cubicBezTo>
                  <a:cubicBezTo>
                    <a:pt x="420" y="370"/>
                    <a:pt x="420" y="370"/>
                    <a:pt x="420" y="369"/>
                  </a:cubicBezTo>
                  <a:cubicBezTo>
                    <a:pt x="420" y="369"/>
                    <a:pt x="419" y="368"/>
                    <a:pt x="419" y="368"/>
                  </a:cubicBezTo>
                  <a:cubicBezTo>
                    <a:pt x="419" y="367"/>
                    <a:pt x="419" y="367"/>
                    <a:pt x="419" y="367"/>
                  </a:cubicBezTo>
                  <a:cubicBezTo>
                    <a:pt x="418" y="367"/>
                    <a:pt x="418" y="366"/>
                    <a:pt x="416" y="366"/>
                  </a:cubicBezTo>
                  <a:cubicBezTo>
                    <a:pt x="416" y="367"/>
                    <a:pt x="416" y="367"/>
                    <a:pt x="416" y="367"/>
                  </a:cubicBezTo>
                  <a:cubicBezTo>
                    <a:pt x="416" y="367"/>
                    <a:pt x="416" y="367"/>
                    <a:pt x="416" y="367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6"/>
                    <a:pt x="416" y="366"/>
                    <a:pt x="416" y="366"/>
                  </a:cubicBezTo>
                  <a:cubicBezTo>
                    <a:pt x="416" y="365"/>
                    <a:pt x="416" y="365"/>
                    <a:pt x="416" y="365"/>
                  </a:cubicBezTo>
                  <a:cubicBezTo>
                    <a:pt x="417" y="365"/>
                    <a:pt x="417" y="365"/>
                    <a:pt x="418" y="365"/>
                  </a:cubicBezTo>
                  <a:cubicBezTo>
                    <a:pt x="419" y="365"/>
                    <a:pt x="420" y="364"/>
                    <a:pt x="421" y="364"/>
                  </a:cubicBezTo>
                  <a:cubicBezTo>
                    <a:pt x="421" y="363"/>
                    <a:pt x="422" y="362"/>
                    <a:pt x="422" y="361"/>
                  </a:cubicBezTo>
                  <a:cubicBezTo>
                    <a:pt x="422" y="360"/>
                    <a:pt x="422" y="359"/>
                    <a:pt x="420" y="359"/>
                  </a:cubicBezTo>
                  <a:cubicBezTo>
                    <a:pt x="420" y="359"/>
                    <a:pt x="420" y="359"/>
                    <a:pt x="419" y="359"/>
                  </a:cubicBezTo>
                  <a:cubicBezTo>
                    <a:pt x="418" y="359"/>
                    <a:pt x="416" y="360"/>
                    <a:pt x="415" y="361"/>
                  </a:cubicBezTo>
                  <a:cubicBezTo>
                    <a:pt x="414" y="361"/>
                    <a:pt x="413" y="361"/>
                    <a:pt x="412" y="362"/>
                  </a:cubicBezTo>
                  <a:cubicBezTo>
                    <a:pt x="411" y="362"/>
                    <a:pt x="410" y="363"/>
                    <a:pt x="410" y="363"/>
                  </a:cubicBezTo>
                  <a:cubicBezTo>
                    <a:pt x="409" y="363"/>
                    <a:pt x="408" y="364"/>
                    <a:pt x="408" y="364"/>
                  </a:cubicBezTo>
                  <a:cubicBezTo>
                    <a:pt x="407" y="364"/>
                    <a:pt x="407" y="364"/>
                    <a:pt x="406" y="364"/>
                  </a:cubicBezTo>
                  <a:cubicBezTo>
                    <a:pt x="405" y="364"/>
                    <a:pt x="405" y="364"/>
                    <a:pt x="405" y="364"/>
                  </a:cubicBezTo>
                  <a:cubicBezTo>
                    <a:pt x="405" y="364"/>
                    <a:pt x="405" y="364"/>
                    <a:pt x="404" y="364"/>
                  </a:cubicBezTo>
                  <a:cubicBezTo>
                    <a:pt x="403" y="364"/>
                    <a:pt x="401" y="365"/>
                    <a:pt x="400" y="366"/>
                  </a:cubicBezTo>
                  <a:cubicBezTo>
                    <a:pt x="399" y="367"/>
                    <a:pt x="398" y="367"/>
                    <a:pt x="397" y="367"/>
                  </a:cubicBezTo>
                  <a:cubicBezTo>
                    <a:pt x="396" y="368"/>
                    <a:pt x="396" y="368"/>
                    <a:pt x="396" y="368"/>
                  </a:cubicBezTo>
                  <a:cubicBezTo>
                    <a:pt x="396" y="367"/>
                    <a:pt x="396" y="367"/>
                    <a:pt x="396" y="367"/>
                  </a:cubicBezTo>
                  <a:cubicBezTo>
                    <a:pt x="397" y="367"/>
                    <a:pt x="397" y="365"/>
                    <a:pt x="396" y="364"/>
                  </a:cubicBezTo>
                  <a:cubicBezTo>
                    <a:pt x="396" y="364"/>
                    <a:pt x="395" y="363"/>
                    <a:pt x="394" y="363"/>
                  </a:cubicBezTo>
                  <a:cubicBezTo>
                    <a:pt x="394" y="363"/>
                    <a:pt x="394" y="363"/>
                    <a:pt x="394" y="363"/>
                  </a:cubicBezTo>
                  <a:cubicBezTo>
                    <a:pt x="395" y="362"/>
                    <a:pt x="396" y="362"/>
                    <a:pt x="398" y="362"/>
                  </a:cubicBezTo>
                  <a:cubicBezTo>
                    <a:pt x="399" y="361"/>
                    <a:pt x="400" y="361"/>
                    <a:pt x="402" y="360"/>
                  </a:cubicBezTo>
                  <a:cubicBezTo>
                    <a:pt x="402" y="359"/>
                    <a:pt x="403" y="359"/>
                    <a:pt x="404" y="359"/>
                  </a:cubicBezTo>
                  <a:cubicBezTo>
                    <a:pt x="404" y="359"/>
                    <a:pt x="405" y="359"/>
                    <a:pt x="405" y="358"/>
                  </a:cubicBezTo>
                  <a:cubicBezTo>
                    <a:pt x="405" y="358"/>
                    <a:pt x="406" y="358"/>
                    <a:pt x="406" y="358"/>
                  </a:cubicBezTo>
                  <a:cubicBezTo>
                    <a:pt x="406" y="358"/>
                    <a:pt x="406" y="358"/>
                    <a:pt x="406" y="358"/>
                  </a:cubicBezTo>
                  <a:cubicBezTo>
                    <a:pt x="407" y="357"/>
                    <a:pt x="407" y="357"/>
                    <a:pt x="407" y="357"/>
                  </a:cubicBezTo>
                  <a:cubicBezTo>
                    <a:pt x="407" y="357"/>
                    <a:pt x="408" y="357"/>
                    <a:pt x="408" y="357"/>
                  </a:cubicBezTo>
                  <a:cubicBezTo>
                    <a:pt x="408" y="357"/>
                    <a:pt x="409" y="357"/>
                    <a:pt x="409" y="357"/>
                  </a:cubicBezTo>
                  <a:cubicBezTo>
                    <a:pt x="409" y="357"/>
                    <a:pt x="409" y="357"/>
                    <a:pt x="409" y="357"/>
                  </a:cubicBezTo>
                  <a:cubicBezTo>
                    <a:pt x="410" y="357"/>
                    <a:pt x="410" y="357"/>
                    <a:pt x="410" y="357"/>
                  </a:cubicBezTo>
                  <a:cubicBezTo>
                    <a:pt x="410" y="357"/>
                    <a:pt x="411" y="357"/>
                    <a:pt x="411" y="357"/>
                  </a:cubicBezTo>
                  <a:cubicBezTo>
                    <a:pt x="412" y="356"/>
                    <a:pt x="412" y="356"/>
                    <a:pt x="412" y="356"/>
                  </a:cubicBezTo>
                  <a:cubicBezTo>
                    <a:pt x="412" y="356"/>
                    <a:pt x="413" y="356"/>
                    <a:pt x="413" y="356"/>
                  </a:cubicBezTo>
                  <a:cubicBezTo>
                    <a:pt x="414" y="356"/>
                    <a:pt x="414" y="355"/>
                    <a:pt x="415" y="355"/>
                  </a:cubicBezTo>
                  <a:cubicBezTo>
                    <a:pt x="415" y="355"/>
                    <a:pt x="415" y="355"/>
                    <a:pt x="415" y="355"/>
                  </a:cubicBezTo>
                  <a:cubicBezTo>
                    <a:pt x="415" y="355"/>
                    <a:pt x="415" y="355"/>
                    <a:pt x="415" y="355"/>
                  </a:cubicBezTo>
                  <a:cubicBezTo>
                    <a:pt x="415" y="355"/>
                    <a:pt x="415" y="355"/>
                    <a:pt x="415" y="355"/>
                  </a:cubicBezTo>
                  <a:cubicBezTo>
                    <a:pt x="417" y="352"/>
                    <a:pt x="417" y="352"/>
                    <a:pt x="417" y="352"/>
                  </a:cubicBezTo>
                  <a:cubicBezTo>
                    <a:pt x="417" y="352"/>
                    <a:pt x="417" y="352"/>
                    <a:pt x="418" y="352"/>
                  </a:cubicBezTo>
                  <a:cubicBezTo>
                    <a:pt x="418" y="352"/>
                    <a:pt x="418" y="351"/>
                    <a:pt x="419" y="351"/>
                  </a:cubicBezTo>
                  <a:cubicBezTo>
                    <a:pt x="419" y="351"/>
                    <a:pt x="419" y="351"/>
                    <a:pt x="419" y="351"/>
                  </a:cubicBezTo>
                  <a:cubicBezTo>
                    <a:pt x="419" y="351"/>
                    <a:pt x="419" y="351"/>
                    <a:pt x="419" y="351"/>
                  </a:cubicBezTo>
                  <a:cubicBezTo>
                    <a:pt x="419" y="352"/>
                    <a:pt x="420" y="352"/>
                    <a:pt x="421" y="352"/>
                  </a:cubicBezTo>
                  <a:cubicBezTo>
                    <a:pt x="421" y="352"/>
                    <a:pt x="421" y="352"/>
                    <a:pt x="422" y="352"/>
                  </a:cubicBezTo>
                  <a:cubicBezTo>
                    <a:pt x="422" y="352"/>
                    <a:pt x="422" y="351"/>
                    <a:pt x="423" y="351"/>
                  </a:cubicBezTo>
                  <a:cubicBezTo>
                    <a:pt x="423" y="351"/>
                    <a:pt x="423" y="351"/>
                    <a:pt x="423" y="351"/>
                  </a:cubicBezTo>
                  <a:cubicBezTo>
                    <a:pt x="424" y="350"/>
                    <a:pt x="424" y="350"/>
                    <a:pt x="424" y="350"/>
                  </a:cubicBezTo>
                  <a:cubicBezTo>
                    <a:pt x="424" y="350"/>
                    <a:pt x="424" y="350"/>
                    <a:pt x="424" y="350"/>
                  </a:cubicBezTo>
                  <a:cubicBezTo>
                    <a:pt x="424" y="350"/>
                    <a:pt x="424" y="350"/>
                    <a:pt x="424" y="350"/>
                  </a:cubicBezTo>
                  <a:cubicBezTo>
                    <a:pt x="425" y="351"/>
                    <a:pt x="425" y="351"/>
                    <a:pt x="425" y="351"/>
                  </a:cubicBezTo>
                  <a:cubicBezTo>
                    <a:pt x="425" y="351"/>
                    <a:pt x="425" y="351"/>
                    <a:pt x="425" y="351"/>
                  </a:cubicBezTo>
                  <a:cubicBezTo>
                    <a:pt x="426" y="351"/>
                    <a:pt x="426" y="350"/>
                    <a:pt x="427" y="350"/>
                  </a:cubicBezTo>
                  <a:cubicBezTo>
                    <a:pt x="428" y="349"/>
                    <a:pt x="429" y="349"/>
                    <a:pt x="429" y="348"/>
                  </a:cubicBezTo>
                  <a:cubicBezTo>
                    <a:pt x="429" y="348"/>
                    <a:pt x="429" y="347"/>
                    <a:pt x="429" y="347"/>
                  </a:cubicBezTo>
                  <a:cubicBezTo>
                    <a:pt x="429" y="347"/>
                    <a:pt x="429" y="347"/>
                    <a:pt x="429" y="346"/>
                  </a:cubicBezTo>
                  <a:cubicBezTo>
                    <a:pt x="429" y="346"/>
                    <a:pt x="430" y="346"/>
                    <a:pt x="430" y="346"/>
                  </a:cubicBezTo>
                  <a:cubicBezTo>
                    <a:pt x="431" y="347"/>
                    <a:pt x="432" y="347"/>
                    <a:pt x="433" y="348"/>
                  </a:cubicBezTo>
                  <a:cubicBezTo>
                    <a:pt x="433" y="349"/>
                    <a:pt x="433" y="349"/>
                    <a:pt x="433" y="349"/>
                  </a:cubicBezTo>
                  <a:cubicBezTo>
                    <a:pt x="434" y="349"/>
                    <a:pt x="435" y="350"/>
                    <a:pt x="436" y="350"/>
                  </a:cubicBezTo>
                  <a:cubicBezTo>
                    <a:pt x="437" y="351"/>
                    <a:pt x="437" y="351"/>
                    <a:pt x="437" y="351"/>
                  </a:cubicBezTo>
                  <a:cubicBezTo>
                    <a:pt x="437" y="351"/>
                    <a:pt x="437" y="351"/>
                    <a:pt x="437" y="351"/>
                  </a:cubicBezTo>
                  <a:cubicBezTo>
                    <a:pt x="437" y="351"/>
                    <a:pt x="437" y="352"/>
                    <a:pt x="437" y="352"/>
                  </a:cubicBezTo>
                  <a:cubicBezTo>
                    <a:pt x="437" y="353"/>
                    <a:pt x="437" y="353"/>
                    <a:pt x="437" y="353"/>
                  </a:cubicBezTo>
                  <a:cubicBezTo>
                    <a:pt x="437" y="353"/>
                    <a:pt x="437" y="353"/>
                    <a:pt x="437" y="354"/>
                  </a:cubicBezTo>
                  <a:cubicBezTo>
                    <a:pt x="437" y="354"/>
                    <a:pt x="437" y="354"/>
                    <a:pt x="437" y="355"/>
                  </a:cubicBezTo>
                  <a:cubicBezTo>
                    <a:pt x="436" y="355"/>
                    <a:pt x="436" y="356"/>
                    <a:pt x="436" y="358"/>
                  </a:cubicBezTo>
                  <a:cubicBezTo>
                    <a:pt x="437" y="359"/>
                    <a:pt x="438" y="360"/>
                    <a:pt x="439" y="360"/>
                  </a:cubicBezTo>
                  <a:cubicBezTo>
                    <a:pt x="440" y="360"/>
                    <a:pt x="440" y="360"/>
                    <a:pt x="441" y="359"/>
                  </a:cubicBezTo>
                  <a:cubicBezTo>
                    <a:pt x="441" y="359"/>
                    <a:pt x="442" y="359"/>
                    <a:pt x="442" y="359"/>
                  </a:cubicBezTo>
                  <a:cubicBezTo>
                    <a:pt x="442" y="359"/>
                    <a:pt x="442" y="359"/>
                    <a:pt x="442" y="359"/>
                  </a:cubicBezTo>
                  <a:close/>
                  <a:moveTo>
                    <a:pt x="384" y="426"/>
                  </a:moveTo>
                  <a:cubicBezTo>
                    <a:pt x="384" y="425"/>
                    <a:pt x="385" y="423"/>
                    <a:pt x="386" y="421"/>
                  </a:cubicBezTo>
                  <a:cubicBezTo>
                    <a:pt x="387" y="420"/>
                    <a:pt x="387" y="420"/>
                    <a:pt x="387" y="419"/>
                  </a:cubicBezTo>
                  <a:cubicBezTo>
                    <a:pt x="388" y="418"/>
                    <a:pt x="388" y="417"/>
                    <a:pt x="389" y="417"/>
                  </a:cubicBezTo>
                  <a:cubicBezTo>
                    <a:pt x="389" y="415"/>
                    <a:pt x="390" y="413"/>
                    <a:pt x="391" y="412"/>
                  </a:cubicBezTo>
                  <a:cubicBezTo>
                    <a:pt x="391" y="411"/>
                    <a:pt x="392" y="411"/>
                    <a:pt x="392" y="410"/>
                  </a:cubicBezTo>
                  <a:cubicBezTo>
                    <a:pt x="393" y="409"/>
                    <a:pt x="393" y="408"/>
                    <a:pt x="394" y="407"/>
                  </a:cubicBezTo>
                  <a:cubicBezTo>
                    <a:pt x="395" y="407"/>
                    <a:pt x="395" y="407"/>
                    <a:pt x="395" y="407"/>
                  </a:cubicBezTo>
                  <a:cubicBezTo>
                    <a:pt x="395" y="406"/>
                    <a:pt x="396" y="405"/>
                    <a:pt x="396" y="405"/>
                  </a:cubicBezTo>
                  <a:cubicBezTo>
                    <a:pt x="397" y="405"/>
                    <a:pt x="397" y="405"/>
                    <a:pt x="397" y="404"/>
                  </a:cubicBezTo>
                  <a:cubicBezTo>
                    <a:pt x="398" y="403"/>
                    <a:pt x="398" y="403"/>
                    <a:pt x="398" y="403"/>
                  </a:cubicBezTo>
                  <a:cubicBezTo>
                    <a:pt x="399" y="403"/>
                    <a:pt x="399" y="402"/>
                    <a:pt x="399" y="402"/>
                  </a:cubicBezTo>
                  <a:cubicBezTo>
                    <a:pt x="400" y="402"/>
                    <a:pt x="400" y="401"/>
                    <a:pt x="400" y="401"/>
                  </a:cubicBezTo>
                  <a:cubicBezTo>
                    <a:pt x="400" y="400"/>
                    <a:pt x="400" y="400"/>
                    <a:pt x="401" y="400"/>
                  </a:cubicBezTo>
                  <a:cubicBezTo>
                    <a:pt x="401" y="399"/>
                    <a:pt x="401" y="399"/>
                    <a:pt x="401" y="399"/>
                  </a:cubicBezTo>
                  <a:cubicBezTo>
                    <a:pt x="401" y="399"/>
                    <a:pt x="401" y="398"/>
                    <a:pt x="401" y="398"/>
                  </a:cubicBezTo>
                  <a:cubicBezTo>
                    <a:pt x="401" y="398"/>
                    <a:pt x="401" y="398"/>
                    <a:pt x="401" y="398"/>
                  </a:cubicBezTo>
                  <a:cubicBezTo>
                    <a:pt x="402" y="398"/>
                    <a:pt x="402" y="397"/>
                    <a:pt x="402" y="397"/>
                  </a:cubicBezTo>
                  <a:cubicBezTo>
                    <a:pt x="402" y="397"/>
                    <a:pt x="402" y="397"/>
                    <a:pt x="402" y="397"/>
                  </a:cubicBezTo>
                  <a:cubicBezTo>
                    <a:pt x="404" y="397"/>
                    <a:pt x="405" y="396"/>
                    <a:pt x="405" y="395"/>
                  </a:cubicBezTo>
                  <a:cubicBezTo>
                    <a:pt x="406" y="394"/>
                    <a:pt x="405" y="393"/>
                    <a:pt x="405" y="393"/>
                  </a:cubicBezTo>
                  <a:cubicBezTo>
                    <a:pt x="405" y="392"/>
                    <a:pt x="404" y="392"/>
                    <a:pt x="404" y="392"/>
                  </a:cubicBezTo>
                  <a:cubicBezTo>
                    <a:pt x="404" y="391"/>
                    <a:pt x="404" y="391"/>
                    <a:pt x="404" y="391"/>
                  </a:cubicBezTo>
                  <a:cubicBezTo>
                    <a:pt x="405" y="391"/>
                    <a:pt x="405" y="390"/>
                    <a:pt x="405" y="390"/>
                  </a:cubicBezTo>
                  <a:cubicBezTo>
                    <a:pt x="405" y="390"/>
                    <a:pt x="406" y="390"/>
                    <a:pt x="406" y="390"/>
                  </a:cubicBezTo>
                  <a:cubicBezTo>
                    <a:pt x="406" y="389"/>
                    <a:pt x="406" y="389"/>
                    <a:pt x="406" y="389"/>
                  </a:cubicBezTo>
                  <a:cubicBezTo>
                    <a:pt x="407" y="389"/>
                    <a:pt x="407" y="389"/>
                    <a:pt x="408" y="388"/>
                  </a:cubicBezTo>
                  <a:cubicBezTo>
                    <a:pt x="409" y="387"/>
                    <a:pt x="409" y="387"/>
                    <a:pt x="409" y="387"/>
                  </a:cubicBezTo>
                  <a:cubicBezTo>
                    <a:pt x="409" y="387"/>
                    <a:pt x="410" y="387"/>
                    <a:pt x="410" y="386"/>
                  </a:cubicBezTo>
                  <a:cubicBezTo>
                    <a:pt x="411" y="386"/>
                    <a:pt x="411" y="385"/>
                    <a:pt x="412" y="385"/>
                  </a:cubicBezTo>
                  <a:cubicBezTo>
                    <a:pt x="412" y="384"/>
                    <a:pt x="412" y="384"/>
                    <a:pt x="412" y="384"/>
                  </a:cubicBezTo>
                  <a:cubicBezTo>
                    <a:pt x="413" y="384"/>
                    <a:pt x="413" y="384"/>
                    <a:pt x="414" y="384"/>
                  </a:cubicBezTo>
                  <a:cubicBezTo>
                    <a:pt x="414" y="384"/>
                    <a:pt x="414" y="384"/>
                    <a:pt x="414" y="384"/>
                  </a:cubicBezTo>
                  <a:cubicBezTo>
                    <a:pt x="414" y="385"/>
                    <a:pt x="415" y="385"/>
                    <a:pt x="415" y="385"/>
                  </a:cubicBezTo>
                  <a:cubicBezTo>
                    <a:pt x="416" y="385"/>
                    <a:pt x="416" y="385"/>
                    <a:pt x="416" y="385"/>
                  </a:cubicBezTo>
                  <a:cubicBezTo>
                    <a:pt x="417" y="385"/>
                    <a:pt x="418" y="385"/>
                    <a:pt x="418" y="384"/>
                  </a:cubicBezTo>
                  <a:cubicBezTo>
                    <a:pt x="419" y="384"/>
                    <a:pt x="420" y="383"/>
                    <a:pt x="420" y="383"/>
                  </a:cubicBezTo>
                  <a:cubicBezTo>
                    <a:pt x="420" y="382"/>
                    <a:pt x="420" y="382"/>
                    <a:pt x="420" y="382"/>
                  </a:cubicBezTo>
                  <a:cubicBezTo>
                    <a:pt x="421" y="382"/>
                    <a:pt x="421" y="382"/>
                    <a:pt x="421" y="382"/>
                  </a:cubicBezTo>
                  <a:cubicBezTo>
                    <a:pt x="423" y="382"/>
                    <a:pt x="423" y="382"/>
                    <a:pt x="423" y="382"/>
                  </a:cubicBezTo>
                  <a:cubicBezTo>
                    <a:pt x="423" y="382"/>
                    <a:pt x="424" y="381"/>
                    <a:pt x="424" y="381"/>
                  </a:cubicBezTo>
                  <a:cubicBezTo>
                    <a:pt x="426" y="381"/>
                    <a:pt x="426" y="381"/>
                    <a:pt x="426" y="381"/>
                  </a:cubicBezTo>
                  <a:cubicBezTo>
                    <a:pt x="428" y="381"/>
                    <a:pt x="428" y="381"/>
                    <a:pt x="428" y="381"/>
                  </a:cubicBezTo>
                  <a:cubicBezTo>
                    <a:pt x="428" y="381"/>
                    <a:pt x="429" y="382"/>
                    <a:pt x="429" y="382"/>
                  </a:cubicBezTo>
                  <a:cubicBezTo>
                    <a:pt x="429" y="382"/>
                    <a:pt x="429" y="383"/>
                    <a:pt x="429" y="383"/>
                  </a:cubicBezTo>
                  <a:cubicBezTo>
                    <a:pt x="428" y="383"/>
                    <a:pt x="427" y="383"/>
                    <a:pt x="426" y="384"/>
                  </a:cubicBezTo>
                  <a:cubicBezTo>
                    <a:pt x="426" y="384"/>
                    <a:pt x="426" y="384"/>
                    <a:pt x="425" y="385"/>
                  </a:cubicBezTo>
                  <a:cubicBezTo>
                    <a:pt x="425" y="385"/>
                    <a:pt x="424" y="385"/>
                    <a:pt x="424" y="385"/>
                  </a:cubicBezTo>
                  <a:cubicBezTo>
                    <a:pt x="423" y="386"/>
                    <a:pt x="423" y="387"/>
                    <a:pt x="424" y="387"/>
                  </a:cubicBezTo>
                  <a:cubicBezTo>
                    <a:pt x="423" y="387"/>
                    <a:pt x="423" y="387"/>
                    <a:pt x="423" y="387"/>
                  </a:cubicBezTo>
                  <a:cubicBezTo>
                    <a:pt x="423" y="387"/>
                    <a:pt x="423" y="387"/>
                    <a:pt x="422" y="387"/>
                  </a:cubicBezTo>
                  <a:cubicBezTo>
                    <a:pt x="421" y="387"/>
                    <a:pt x="420" y="389"/>
                    <a:pt x="420" y="389"/>
                  </a:cubicBezTo>
                  <a:cubicBezTo>
                    <a:pt x="419" y="390"/>
                    <a:pt x="419" y="391"/>
                    <a:pt x="419" y="391"/>
                  </a:cubicBezTo>
                  <a:cubicBezTo>
                    <a:pt x="419" y="391"/>
                    <a:pt x="419" y="392"/>
                    <a:pt x="419" y="392"/>
                  </a:cubicBezTo>
                  <a:cubicBezTo>
                    <a:pt x="419" y="392"/>
                    <a:pt x="419" y="392"/>
                    <a:pt x="418" y="392"/>
                  </a:cubicBezTo>
                  <a:cubicBezTo>
                    <a:pt x="418" y="391"/>
                    <a:pt x="418" y="391"/>
                    <a:pt x="418" y="391"/>
                  </a:cubicBezTo>
                  <a:cubicBezTo>
                    <a:pt x="417" y="390"/>
                    <a:pt x="416" y="390"/>
                    <a:pt x="416" y="390"/>
                  </a:cubicBezTo>
                  <a:cubicBezTo>
                    <a:pt x="414" y="391"/>
                    <a:pt x="413" y="392"/>
                    <a:pt x="412" y="394"/>
                  </a:cubicBezTo>
                  <a:cubicBezTo>
                    <a:pt x="410" y="395"/>
                    <a:pt x="409" y="396"/>
                    <a:pt x="408" y="398"/>
                  </a:cubicBezTo>
                  <a:cubicBezTo>
                    <a:pt x="407" y="399"/>
                    <a:pt x="407" y="400"/>
                    <a:pt x="406" y="401"/>
                  </a:cubicBezTo>
                  <a:cubicBezTo>
                    <a:pt x="405" y="402"/>
                    <a:pt x="405" y="402"/>
                    <a:pt x="404" y="403"/>
                  </a:cubicBezTo>
                  <a:cubicBezTo>
                    <a:pt x="403" y="404"/>
                    <a:pt x="401" y="405"/>
                    <a:pt x="400" y="407"/>
                  </a:cubicBezTo>
                  <a:cubicBezTo>
                    <a:pt x="400" y="409"/>
                    <a:pt x="399" y="410"/>
                    <a:pt x="399" y="411"/>
                  </a:cubicBezTo>
                  <a:cubicBezTo>
                    <a:pt x="399" y="413"/>
                    <a:pt x="398" y="414"/>
                    <a:pt x="398" y="415"/>
                  </a:cubicBezTo>
                  <a:cubicBezTo>
                    <a:pt x="397" y="417"/>
                    <a:pt x="396" y="418"/>
                    <a:pt x="394" y="419"/>
                  </a:cubicBezTo>
                  <a:cubicBezTo>
                    <a:pt x="394" y="420"/>
                    <a:pt x="393" y="421"/>
                    <a:pt x="392" y="422"/>
                  </a:cubicBezTo>
                  <a:cubicBezTo>
                    <a:pt x="392" y="422"/>
                    <a:pt x="391" y="423"/>
                    <a:pt x="390" y="424"/>
                  </a:cubicBezTo>
                  <a:cubicBezTo>
                    <a:pt x="389" y="425"/>
                    <a:pt x="388" y="427"/>
                    <a:pt x="387" y="428"/>
                  </a:cubicBezTo>
                  <a:cubicBezTo>
                    <a:pt x="386" y="428"/>
                    <a:pt x="385" y="428"/>
                    <a:pt x="384" y="428"/>
                  </a:cubicBezTo>
                  <a:cubicBezTo>
                    <a:pt x="384" y="428"/>
                    <a:pt x="384" y="427"/>
                    <a:pt x="384" y="426"/>
                  </a:cubicBezTo>
                  <a:close/>
                  <a:moveTo>
                    <a:pt x="414" y="60"/>
                  </a:moveTo>
                  <a:cubicBezTo>
                    <a:pt x="414" y="60"/>
                    <a:pt x="414" y="60"/>
                    <a:pt x="414" y="60"/>
                  </a:cubicBezTo>
                  <a:cubicBezTo>
                    <a:pt x="414" y="60"/>
                    <a:pt x="414" y="60"/>
                    <a:pt x="414" y="60"/>
                  </a:cubicBezTo>
                  <a:close/>
                  <a:moveTo>
                    <a:pt x="541" y="379"/>
                  </a:move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ubicBezTo>
                    <a:pt x="541" y="379"/>
                    <a:pt x="541" y="379"/>
                    <a:pt x="541" y="379"/>
                  </a:cubicBezTo>
                  <a:close/>
                  <a:moveTo>
                    <a:pt x="419" y="60"/>
                  </a:moveTo>
                  <a:cubicBezTo>
                    <a:pt x="419" y="60"/>
                    <a:pt x="419" y="60"/>
                    <a:pt x="419" y="60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19" y="60"/>
                    <a:pt x="419" y="60"/>
                    <a:pt x="419" y="60"/>
                  </a:cubicBezTo>
                  <a:cubicBezTo>
                    <a:pt x="419" y="60"/>
                    <a:pt x="419" y="60"/>
                    <a:pt x="419" y="60"/>
                  </a:cubicBezTo>
                  <a:close/>
                  <a:moveTo>
                    <a:pt x="418" y="61"/>
                  </a:moveTo>
                  <a:cubicBezTo>
                    <a:pt x="418" y="61"/>
                    <a:pt x="418" y="61"/>
                    <a:pt x="418" y="61"/>
                  </a:cubicBezTo>
                  <a:cubicBezTo>
                    <a:pt x="418" y="60"/>
                    <a:pt x="418" y="60"/>
                    <a:pt x="418" y="60"/>
                  </a:cubicBezTo>
                  <a:cubicBezTo>
                    <a:pt x="418" y="61"/>
                    <a:pt x="418" y="61"/>
                    <a:pt x="418" y="61"/>
                  </a:cubicBezTo>
                  <a:close/>
                  <a:moveTo>
                    <a:pt x="201" y="293"/>
                  </a:moveTo>
                  <a:cubicBezTo>
                    <a:pt x="201" y="293"/>
                    <a:pt x="201" y="293"/>
                    <a:pt x="201" y="293"/>
                  </a:cubicBezTo>
                  <a:cubicBezTo>
                    <a:pt x="201" y="293"/>
                    <a:pt x="201" y="293"/>
                    <a:pt x="201" y="293"/>
                  </a:cubicBezTo>
                  <a:cubicBezTo>
                    <a:pt x="201" y="293"/>
                    <a:pt x="201" y="293"/>
                    <a:pt x="202" y="293"/>
                  </a:cubicBezTo>
                  <a:cubicBezTo>
                    <a:pt x="202" y="293"/>
                    <a:pt x="201" y="293"/>
                    <a:pt x="201" y="293"/>
                  </a:cubicBezTo>
                  <a:close/>
                  <a:moveTo>
                    <a:pt x="211" y="242"/>
                  </a:moveTo>
                  <a:cubicBezTo>
                    <a:pt x="211" y="242"/>
                    <a:pt x="210" y="242"/>
                    <a:pt x="210" y="242"/>
                  </a:cubicBezTo>
                  <a:cubicBezTo>
                    <a:pt x="210" y="242"/>
                    <a:pt x="210" y="242"/>
                    <a:pt x="210" y="242"/>
                  </a:cubicBezTo>
                  <a:cubicBezTo>
                    <a:pt x="210" y="242"/>
                    <a:pt x="211" y="242"/>
                    <a:pt x="211" y="241"/>
                  </a:cubicBezTo>
                  <a:cubicBezTo>
                    <a:pt x="211" y="241"/>
                    <a:pt x="211" y="241"/>
                    <a:pt x="211" y="241"/>
                  </a:cubicBezTo>
                  <a:cubicBezTo>
                    <a:pt x="211" y="242"/>
                    <a:pt x="211" y="242"/>
                    <a:pt x="211" y="242"/>
                  </a:cubicBezTo>
                  <a:close/>
                  <a:moveTo>
                    <a:pt x="443" y="472"/>
                  </a:moveTo>
                  <a:cubicBezTo>
                    <a:pt x="443" y="471"/>
                    <a:pt x="443" y="471"/>
                    <a:pt x="443" y="470"/>
                  </a:cubicBezTo>
                  <a:cubicBezTo>
                    <a:pt x="444" y="470"/>
                    <a:pt x="444" y="470"/>
                    <a:pt x="444" y="469"/>
                  </a:cubicBezTo>
                  <a:cubicBezTo>
                    <a:pt x="444" y="469"/>
                    <a:pt x="444" y="470"/>
                    <a:pt x="444" y="470"/>
                  </a:cubicBezTo>
                  <a:cubicBezTo>
                    <a:pt x="444" y="470"/>
                    <a:pt x="443" y="471"/>
                    <a:pt x="443" y="471"/>
                  </a:cubicBezTo>
                  <a:cubicBezTo>
                    <a:pt x="443" y="472"/>
                    <a:pt x="443" y="472"/>
                    <a:pt x="443" y="473"/>
                  </a:cubicBezTo>
                  <a:cubicBezTo>
                    <a:pt x="443" y="473"/>
                    <a:pt x="443" y="473"/>
                    <a:pt x="443" y="473"/>
                  </a:cubicBezTo>
                  <a:cubicBezTo>
                    <a:pt x="443" y="473"/>
                    <a:pt x="443" y="473"/>
                    <a:pt x="443" y="473"/>
                  </a:cubicBezTo>
                  <a:cubicBezTo>
                    <a:pt x="443" y="472"/>
                    <a:pt x="443" y="472"/>
                    <a:pt x="443" y="472"/>
                  </a:cubicBezTo>
                  <a:close/>
                  <a:moveTo>
                    <a:pt x="546" y="375"/>
                  </a:moveTo>
                  <a:cubicBezTo>
                    <a:pt x="546" y="375"/>
                    <a:pt x="546" y="375"/>
                    <a:pt x="545" y="376"/>
                  </a:cubicBezTo>
                  <a:cubicBezTo>
                    <a:pt x="545" y="376"/>
                    <a:pt x="546" y="375"/>
                    <a:pt x="546" y="375"/>
                  </a:cubicBezTo>
                  <a:cubicBezTo>
                    <a:pt x="546" y="375"/>
                    <a:pt x="546" y="375"/>
                    <a:pt x="546" y="375"/>
                  </a:cubicBezTo>
                  <a:cubicBezTo>
                    <a:pt x="546" y="375"/>
                    <a:pt x="546" y="375"/>
                    <a:pt x="546" y="375"/>
                  </a:cubicBezTo>
                  <a:close/>
                  <a:moveTo>
                    <a:pt x="118" y="135"/>
                  </a:moveTo>
                  <a:cubicBezTo>
                    <a:pt x="118" y="135"/>
                    <a:pt x="118" y="135"/>
                    <a:pt x="118" y="135"/>
                  </a:cubicBezTo>
                  <a:cubicBezTo>
                    <a:pt x="118" y="135"/>
                    <a:pt x="118" y="135"/>
                    <a:pt x="118" y="135"/>
                  </a:cubicBezTo>
                  <a:close/>
                  <a:moveTo>
                    <a:pt x="231" y="173"/>
                  </a:moveTo>
                  <a:cubicBezTo>
                    <a:pt x="231" y="173"/>
                    <a:pt x="231" y="172"/>
                    <a:pt x="231" y="172"/>
                  </a:cubicBezTo>
                  <a:cubicBezTo>
                    <a:pt x="231" y="172"/>
                    <a:pt x="231" y="172"/>
                    <a:pt x="232" y="172"/>
                  </a:cubicBezTo>
                  <a:cubicBezTo>
                    <a:pt x="231" y="173"/>
                    <a:pt x="231" y="173"/>
                    <a:pt x="230" y="174"/>
                  </a:cubicBezTo>
                  <a:cubicBezTo>
                    <a:pt x="230" y="174"/>
                    <a:pt x="230" y="174"/>
                    <a:pt x="230" y="174"/>
                  </a:cubicBezTo>
                  <a:cubicBezTo>
                    <a:pt x="230" y="174"/>
                    <a:pt x="230" y="173"/>
                    <a:pt x="231" y="173"/>
                  </a:cubicBezTo>
                  <a:close/>
                  <a:moveTo>
                    <a:pt x="231" y="181"/>
                  </a:moveTo>
                  <a:cubicBezTo>
                    <a:pt x="231" y="181"/>
                    <a:pt x="231" y="181"/>
                    <a:pt x="231" y="181"/>
                  </a:cubicBezTo>
                  <a:cubicBezTo>
                    <a:pt x="231" y="181"/>
                    <a:pt x="231" y="181"/>
                    <a:pt x="231" y="181"/>
                  </a:cubicBezTo>
                  <a:close/>
                  <a:moveTo>
                    <a:pt x="211" y="202"/>
                  </a:moveTo>
                  <a:cubicBezTo>
                    <a:pt x="212" y="203"/>
                    <a:pt x="212" y="203"/>
                    <a:pt x="212" y="203"/>
                  </a:cubicBezTo>
                  <a:cubicBezTo>
                    <a:pt x="211" y="202"/>
                    <a:pt x="211" y="202"/>
                    <a:pt x="211" y="202"/>
                  </a:cubicBezTo>
                  <a:cubicBezTo>
                    <a:pt x="211" y="202"/>
                    <a:pt x="211" y="202"/>
                    <a:pt x="211" y="202"/>
                  </a:cubicBezTo>
                  <a:close/>
                  <a:moveTo>
                    <a:pt x="218" y="209"/>
                  </a:moveTo>
                  <a:cubicBezTo>
                    <a:pt x="218" y="209"/>
                    <a:pt x="218" y="208"/>
                    <a:pt x="218" y="208"/>
                  </a:cubicBezTo>
                  <a:cubicBezTo>
                    <a:pt x="218" y="208"/>
                    <a:pt x="218" y="207"/>
                    <a:pt x="218" y="207"/>
                  </a:cubicBezTo>
                  <a:cubicBezTo>
                    <a:pt x="218" y="207"/>
                    <a:pt x="218" y="207"/>
                    <a:pt x="218" y="207"/>
                  </a:cubicBezTo>
                  <a:cubicBezTo>
                    <a:pt x="218" y="207"/>
                    <a:pt x="218" y="206"/>
                    <a:pt x="218" y="206"/>
                  </a:cubicBezTo>
                  <a:cubicBezTo>
                    <a:pt x="219" y="205"/>
                    <a:pt x="218" y="204"/>
                    <a:pt x="217" y="203"/>
                  </a:cubicBezTo>
                  <a:cubicBezTo>
                    <a:pt x="218" y="203"/>
                    <a:pt x="218" y="203"/>
                    <a:pt x="218" y="203"/>
                  </a:cubicBezTo>
                  <a:cubicBezTo>
                    <a:pt x="218" y="204"/>
                    <a:pt x="219" y="204"/>
                    <a:pt x="220" y="204"/>
                  </a:cubicBezTo>
                  <a:cubicBezTo>
                    <a:pt x="221" y="204"/>
                    <a:pt x="222" y="204"/>
                    <a:pt x="222" y="203"/>
                  </a:cubicBezTo>
                  <a:cubicBezTo>
                    <a:pt x="223" y="203"/>
                    <a:pt x="223" y="202"/>
                    <a:pt x="223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4" y="202"/>
                    <a:pt x="224" y="202"/>
                    <a:pt x="224" y="202"/>
                  </a:cubicBezTo>
                  <a:cubicBezTo>
                    <a:pt x="225" y="202"/>
                    <a:pt x="225" y="201"/>
                    <a:pt x="225" y="201"/>
                  </a:cubicBezTo>
                  <a:cubicBezTo>
                    <a:pt x="225" y="201"/>
                    <a:pt x="226" y="201"/>
                    <a:pt x="226" y="201"/>
                  </a:cubicBezTo>
                  <a:cubicBezTo>
                    <a:pt x="226" y="201"/>
                    <a:pt x="227" y="200"/>
                    <a:pt x="227" y="200"/>
                  </a:cubicBezTo>
                  <a:cubicBezTo>
                    <a:pt x="227" y="200"/>
                    <a:pt x="227" y="201"/>
                    <a:pt x="228" y="201"/>
                  </a:cubicBezTo>
                  <a:cubicBezTo>
                    <a:pt x="228" y="201"/>
                    <a:pt x="228" y="201"/>
                    <a:pt x="228" y="201"/>
                  </a:cubicBezTo>
                  <a:cubicBezTo>
                    <a:pt x="227" y="201"/>
                    <a:pt x="226" y="202"/>
                    <a:pt x="226" y="203"/>
                  </a:cubicBezTo>
                  <a:cubicBezTo>
                    <a:pt x="226" y="203"/>
                    <a:pt x="226" y="203"/>
                    <a:pt x="226" y="203"/>
                  </a:cubicBezTo>
                  <a:cubicBezTo>
                    <a:pt x="226" y="203"/>
                    <a:pt x="225" y="203"/>
                    <a:pt x="225" y="203"/>
                  </a:cubicBezTo>
                  <a:cubicBezTo>
                    <a:pt x="224" y="203"/>
                    <a:pt x="224" y="203"/>
                    <a:pt x="224" y="203"/>
                  </a:cubicBezTo>
                  <a:cubicBezTo>
                    <a:pt x="224" y="203"/>
                    <a:pt x="223" y="204"/>
                    <a:pt x="223" y="204"/>
                  </a:cubicBezTo>
                  <a:cubicBezTo>
                    <a:pt x="223" y="204"/>
                    <a:pt x="223" y="204"/>
                    <a:pt x="223" y="205"/>
                  </a:cubicBezTo>
                  <a:cubicBezTo>
                    <a:pt x="223" y="205"/>
                    <a:pt x="222" y="206"/>
                    <a:pt x="222" y="207"/>
                  </a:cubicBezTo>
                  <a:cubicBezTo>
                    <a:pt x="222" y="207"/>
                    <a:pt x="222" y="208"/>
                    <a:pt x="222" y="208"/>
                  </a:cubicBezTo>
                  <a:cubicBezTo>
                    <a:pt x="222" y="208"/>
                    <a:pt x="222" y="209"/>
                    <a:pt x="222" y="209"/>
                  </a:cubicBezTo>
                  <a:cubicBezTo>
                    <a:pt x="222" y="209"/>
                    <a:pt x="222" y="209"/>
                    <a:pt x="221" y="209"/>
                  </a:cubicBezTo>
                  <a:cubicBezTo>
                    <a:pt x="221" y="209"/>
                    <a:pt x="221" y="209"/>
                    <a:pt x="220" y="210"/>
                  </a:cubicBezTo>
                  <a:cubicBezTo>
                    <a:pt x="220" y="210"/>
                    <a:pt x="220" y="210"/>
                    <a:pt x="219" y="210"/>
                  </a:cubicBezTo>
                  <a:cubicBezTo>
                    <a:pt x="219" y="210"/>
                    <a:pt x="219" y="210"/>
                    <a:pt x="219" y="210"/>
                  </a:cubicBezTo>
                  <a:cubicBezTo>
                    <a:pt x="219" y="210"/>
                    <a:pt x="219" y="211"/>
                    <a:pt x="218" y="211"/>
                  </a:cubicBezTo>
                  <a:cubicBezTo>
                    <a:pt x="218" y="211"/>
                    <a:pt x="217" y="211"/>
                    <a:pt x="217" y="211"/>
                  </a:cubicBezTo>
                  <a:cubicBezTo>
                    <a:pt x="217" y="210"/>
                    <a:pt x="218" y="210"/>
                    <a:pt x="218" y="209"/>
                  </a:cubicBezTo>
                  <a:close/>
                  <a:moveTo>
                    <a:pt x="104" y="489"/>
                  </a:moveTo>
                  <a:cubicBezTo>
                    <a:pt x="104" y="489"/>
                    <a:pt x="104" y="489"/>
                    <a:pt x="104" y="489"/>
                  </a:cubicBezTo>
                  <a:cubicBezTo>
                    <a:pt x="104" y="489"/>
                    <a:pt x="104" y="489"/>
                    <a:pt x="104" y="489"/>
                  </a:cubicBezTo>
                  <a:close/>
                  <a:moveTo>
                    <a:pt x="579" y="1474"/>
                  </a:moveTo>
                  <a:cubicBezTo>
                    <a:pt x="579" y="1474"/>
                    <a:pt x="579" y="1474"/>
                    <a:pt x="579" y="1474"/>
                  </a:cubicBezTo>
                  <a:cubicBezTo>
                    <a:pt x="579" y="1474"/>
                    <a:pt x="579" y="1474"/>
                    <a:pt x="579" y="1474"/>
                  </a:cubicBezTo>
                  <a:close/>
                  <a:moveTo>
                    <a:pt x="565" y="1489"/>
                  </a:moveTo>
                  <a:cubicBezTo>
                    <a:pt x="565" y="1489"/>
                    <a:pt x="565" y="1489"/>
                    <a:pt x="564" y="1488"/>
                  </a:cubicBezTo>
                  <a:cubicBezTo>
                    <a:pt x="565" y="1489"/>
                    <a:pt x="565" y="1489"/>
                    <a:pt x="565" y="1489"/>
                  </a:cubicBezTo>
                  <a:cubicBezTo>
                    <a:pt x="565" y="1489"/>
                    <a:pt x="566" y="1489"/>
                    <a:pt x="567" y="1488"/>
                  </a:cubicBezTo>
                  <a:cubicBezTo>
                    <a:pt x="567" y="1488"/>
                    <a:pt x="567" y="1488"/>
                    <a:pt x="567" y="1488"/>
                  </a:cubicBezTo>
                  <a:cubicBezTo>
                    <a:pt x="568" y="1488"/>
                    <a:pt x="568" y="1488"/>
                    <a:pt x="568" y="1489"/>
                  </a:cubicBezTo>
                  <a:cubicBezTo>
                    <a:pt x="568" y="1489"/>
                    <a:pt x="568" y="1489"/>
                    <a:pt x="568" y="1489"/>
                  </a:cubicBezTo>
                  <a:cubicBezTo>
                    <a:pt x="568" y="1489"/>
                    <a:pt x="567" y="1489"/>
                    <a:pt x="567" y="1489"/>
                  </a:cubicBezTo>
                  <a:cubicBezTo>
                    <a:pt x="566" y="1489"/>
                    <a:pt x="566" y="1489"/>
                    <a:pt x="566" y="1489"/>
                  </a:cubicBezTo>
                  <a:cubicBezTo>
                    <a:pt x="566" y="1489"/>
                    <a:pt x="566" y="1489"/>
                    <a:pt x="565" y="1489"/>
                  </a:cubicBezTo>
                  <a:cubicBezTo>
                    <a:pt x="565" y="1489"/>
                    <a:pt x="565" y="1489"/>
                    <a:pt x="565" y="1489"/>
                  </a:cubicBezTo>
                  <a:close/>
                  <a:moveTo>
                    <a:pt x="559" y="1483"/>
                  </a:moveTo>
                  <a:cubicBezTo>
                    <a:pt x="559" y="1484"/>
                    <a:pt x="559" y="1484"/>
                    <a:pt x="559" y="1484"/>
                  </a:cubicBezTo>
                  <a:cubicBezTo>
                    <a:pt x="559" y="1484"/>
                    <a:pt x="559" y="1484"/>
                    <a:pt x="559" y="1484"/>
                  </a:cubicBezTo>
                  <a:cubicBezTo>
                    <a:pt x="558" y="1484"/>
                    <a:pt x="558" y="1484"/>
                    <a:pt x="558" y="1484"/>
                  </a:cubicBezTo>
                  <a:cubicBezTo>
                    <a:pt x="559" y="1484"/>
                    <a:pt x="559" y="1483"/>
                    <a:pt x="559" y="1483"/>
                  </a:cubicBezTo>
                  <a:cubicBezTo>
                    <a:pt x="558" y="1482"/>
                    <a:pt x="558" y="1481"/>
                    <a:pt x="557" y="1479"/>
                  </a:cubicBezTo>
                  <a:cubicBezTo>
                    <a:pt x="557" y="1479"/>
                    <a:pt x="557" y="1479"/>
                    <a:pt x="557" y="1478"/>
                  </a:cubicBezTo>
                  <a:cubicBezTo>
                    <a:pt x="558" y="1479"/>
                    <a:pt x="559" y="1481"/>
                    <a:pt x="559" y="1482"/>
                  </a:cubicBezTo>
                  <a:cubicBezTo>
                    <a:pt x="559" y="1482"/>
                    <a:pt x="559" y="1483"/>
                    <a:pt x="559" y="1483"/>
                  </a:cubicBezTo>
                  <a:cubicBezTo>
                    <a:pt x="559" y="1483"/>
                    <a:pt x="559" y="1483"/>
                    <a:pt x="559" y="1483"/>
                  </a:cubicBezTo>
                  <a:close/>
                  <a:moveTo>
                    <a:pt x="522" y="1439"/>
                  </a:moveTo>
                  <a:cubicBezTo>
                    <a:pt x="521" y="1439"/>
                    <a:pt x="521" y="1439"/>
                    <a:pt x="521" y="1439"/>
                  </a:cubicBezTo>
                  <a:cubicBezTo>
                    <a:pt x="521" y="1439"/>
                    <a:pt x="521" y="1439"/>
                    <a:pt x="522" y="1438"/>
                  </a:cubicBezTo>
                  <a:cubicBezTo>
                    <a:pt x="522" y="1438"/>
                    <a:pt x="523" y="1438"/>
                    <a:pt x="523" y="1438"/>
                  </a:cubicBezTo>
                  <a:cubicBezTo>
                    <a:pt x="523" y="1438"/>
                    <a:pt x="523" y="1438"/>
                    <a:pt x="524" y="1438"/>
                  </a:cubicBezTo>
                  <a:cubicBezTo>
                    <a:pt x="524" y="1438"/>
                    <a:pt x="524" y="1438"/>
                    <a:pt x="525" y="1438"/>
                  </a:cubicBezTo>
                  <a:cubicBezTo>
                    <a:pt x="525" y="1438"/>
                    <a:pt x="525" y="1438"/>
                    <a:pt x="525" y="1438"/>
                  </a:cubicBezTo>
                  <a:cubicBezTo>
                    <a:pt x="525" y="1439"/>
                    <a:pt x="525" y="1439"/>
                    <a:pt x="525" y="1439"/>
                  </a:cubicBezTo>
                  <a:cubicBezTo>
                    <a:pt x="525" y="1439"/>
                    <a:pt x="525" y="1439"/>
                    <a:pt x="525" y="1439"/>
                  </a:cubicBezTo>
                  <a:cubicBezTo>
                    <a:pt x="524" y="1439"/>
                    <a:pt x="523" y="1439"/>
                    <a:pt x="523" y="1439"/>
                  </a:cubicBezTo>
                  <a:cubicBezTo>
                    <a:pt x="523" y="1439"/>
                    <a:pt x="522" y="1439"/>
                    <a:pt x="522" y="1439"/>
                  </a:cubicBezTo>
                  <a:close/>
                  <a:moveTo>
                    <a:pt x="355" y="1059"/>
                  </a:moveTo>
                  <a:cubicBezTo>
                    <a:pt x="355" y="1059"/>
                    <a:pt x="355" y="1059"/>
                    <a:pt x="355" y="1059"/>
                  </a:cubicBezTo>
                  <a:cubicBezTo>
                    <a:pt x="355" y="1059"/>
                    <a:pt x="355" y="1059"/>
                    <a:pt x="355" y="1059"/>
                  </a:cubicBezTo>
                  <a:cubicBezTo>
                    <a:pt x="355" y="1059"/>
                    <a:pt x="355" y="1059"/>
                    <a:pt x="355" y="1059"/>
                  </a:cubicBezTo>
                  <a:cubicBezTo>
                    <a:pt x="355" y="1059"/>
                    <a:pt x="355" y="1059"/>
                    <a:pt x="355" y="1059"/>
                  </a:cubicBezTo>
                  <a:close/>
                  <a:moveTo>
                    <a:pt x="386" y="804"/>
                  </a:moveTo>
                  <a:cubicBezTo>
                    <a:pt x="386" y="804"/>
                    <a:pt x="386" y="804"/>
                    <a:pt x="386" y="804"/>
                  </a:cubicBezTo>
                  <a:cubicBezTo>
                    <a:pt x="386" y="805"/>
                    <a:pt x="386" y="805"/>
                    <a:pt x="386" y="805"/>
                  </a:cubicBezTo>
                  <a:lnTo>
                    <a:pt x="386" y="804"/>
                  </a:lnTo>
                  <a:close/>
                  <a:moveTo>
                    <a:pt x="607" y="1509"/>
                  </a:moveTo>
                  <a:cubicBezTo>
                    <a:pt x="607" y="1509"/>
                    <a:pt x="607" y="1509"/>
                    <a:pt x="607" y="1509"/>
                  </a:cubicBezTo>
                  <a:cubicBezTo>
                    <a:pt x="607" y="1509"/>
                    <a:pt x="607" y="1509"/>
                    <a:pt x="607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8" y="1509"/>
                  </a:cubicBezTo>
                  <a:cubicBezTo>
                    <a:pt x="608" y="1509"/>
                    <a:pt x="608" y="1509"/>
                    <a:pt x="607" y="1509"/>
                  </a:cubicBezTo>
                  <a:close/>
                  <a:moveTo>
                    <a:pt x="535" y="920"/>
                  </a:moveTo>
                  <a:cubicBezTo>
                    <a:pt x="535" y="920"/>
                    <a:pt x="535" y="920"/>
                    <a:pt x="535" y="920"/>
                  </a:cubicBezTo>
                  <a:cubicBezTo>
                    <a:pt x="535" y="919"/>
                    <a:pt x="535" y="919"/>
                    <a:pt x="535" y="919"/>
                  </a:cubicBezTo>
                  <a:cubicBezTo>
                    <a:pt x="535" y="919"/>
                    <a:pt x="535" y="919"/>
                    <a:pt x="535" y="919"/>
                  </a:cubicBezTo>
                  <a:lnTo>
                    <a:pt x="535" y="920"/>
                  </a:lnTo>
                  <a:close/>
                  <a:moveTo>
                    <a:pt x="530" y="922"/>
                  </a:moveTo>
                  <a:cubicBezTo>
                    <a:pt x="530" y="922"/>
                    <a:pt x="530" y="922"/>
                    <a:pt x="530" y="922"/>
                  </a:cubicBezTo>
                  <a:cubicBezTo>
                    <a:pt x="530" y="922"/>
                    <a:pt x="530" y="922"/>
                    <a:pt x="530" y="922"/>
                  </a:cubicBezTo>
                  <a:cubicBezTo>
                    <a:pt x="530" y="922"/>
                    <a:pt x="530" y="922"/>
                    <a:pt x="530" y="922"/>
                  </a:cubicBezTo>
                  <a:cubicBezTo>
                    <a:pt x="530" y="922"/>
                    <a:pt x="530" y="922"/>
                    <a:pt x="530" y="922"/>
                  </a:cubicBezTo>
                  <a:close/>
                  <a:moveTo>
                    <a:pt x="519" y="925"/>
                  </a:moveTo>
                  <a:cubicBezTo>
                    <a:pt x="519" y="925"/>
                    <a:pt x="519" y="925"/>
                    <a:pt x="519" y="925"/>
                  </a:cubicBezTo>
                  <a:cubicBezTo>
                    <a:pt x="519" y="925"/>
                    <a:pt x="519" y="925"/>
                    <a:pt x="519" y="925"/>
                  </a:cubicBezTo>
                  <a:cubicBezTo>
                    <a:pt x="519" y="925"/>
                    <a:pt x="520" y="925"/>
                    <a:pt x="520" y="925"/>
                  </a:cubicBezTo>
                  <a:cubicBezTo>
                    <a:pt x="520" y="926"/>
                    <a:pt x="519" y="927"/>
                    <a:pt x="520" y="928"/>
                  </a:cubicBezTo>
                  <a:cubicBezTo>
                    <a:pt x="520" y="928"/>
                    <a:pt x="520" y="928"/>
                    <a:pt x="520" y="928"/>
                  </a:cubicBezTo>
                  <a:cubicBezTo>
                    <a:pt x="520" y="928"/>
                    <a:pt x="520" y="928"/>
                    <a:pt x="519" y="928"/>
                  </a:cubicBezTo>
                  <a:cubicBezTo>
                    <a:pt x="519" y="928"/>
                    <a:pt x="519" y="928"/>
                    <a:pt x="519" y="928"/>
                  </a:cubicBezTo>
                  <a:cubicBezTo>
                    <a:pt x="519" y="927"/>
                    <a:pt x="519" y="927"/>
                    <a:pt x="519" y="927"/>
                  </a:cubicBezTo>
                  <a:cubicBezTo>
                    <a:pt x="519" y="926"/>
                    <a:pt x="519" y="925"/>
                    <a:pt x="518" y="925"/>
                  </a:cubicBezTo>
                  <a:cubicBezTo>
                    <a:pt x="518" y="925"/>
                    <a:pt x="518" y="925"/>
                    <a:pt x="518" y="925"/>
                  </a:cubicBezTo>
                  <a:cubicBezTo>
                    <a:pt x="518" y="925"/>
                    <a:pt x="518" y="925"/>
                    <a:pt x="519" y="925"/>
                  </a:cubicBezTo>
                  <a:close/>
                  <a:moveTo>
                    <a:pt x="566" y="921"/>
                  </a:moveTo>
                  <a:cubicBezTo>
                    <a:pt x="566" y="922"/>
                    <a:pt x="566" y="922"/>
                    <a:pt x="566" y="922"/>
                  </a:cubicBezTo>
                  <a:cubicBezTo>
                    <a:pt x="566" y="922"/>
                    <a:pt x="565" y="922"/>
                    <a:pt x="565" y="922"/>
                  </a:cubicBezTo>
                  <a:cubicBezTo>
                    <a:pt x="565" y="922"/>
                    <a:pt x="565" y="922"/>
                    <a:pt x="565" y="922"/>
                  </a:cubicBezTo>
                  <a:cubicBezTo>
                    <a:pt x="565" y="922"/>
                    <a:pt x="565" y="922"/>
                    <a:pt x="565" y="922"/>
                  </a:cubicBezTo>
                  <a:cubicBezTo>
                    <a:pt x="565" y="922"/>
                    <a:pt x="565" y="922"/>
                    <a:pt x="566" y="922"/>
                  </a:cubicBezTo>
                  <a:cubicBezTo>
                    <a:pt x="566" y="921"/>
                    <a:pt x="566" y="921"/>
                    <a:pt x="566" y="921"/>
                  </a:cubicBezTo>
                  <a:cubicBezTo>
                    <a:pt x="566" y="921"/>
                    <a:pt x="566" y="921"/>
                    <a:pt x="566" y="921"/>
                  </a:cubicBezTo>
                  <a:close/>
                  <a:moveTo>
                    <a:pt x="584" y="1483"/>
                  </a:moveTo>
                  <a:cubicBezTo>
                    <a:pt x="584" y="1483"/>
                    <a:pt x="584" y="1483"/>
                    <a:pt x="585" y="1483"/>
                  </a:cubicBezTo>
                  <a:cubicBezTo>
                    <a:pt x="584" y="1483"/>
                    <a:pt x="584" y="1483"/>
                    <a:pt x="584" y="1483"/>
                  </a:cubicBezTo>
                  <a:cubicBezTo>
                    <a:pt x="584" y="1483"/>
                    <a:pt x="584" y="1483"/>
                    <a:pt x="584" y="1483"/>
                  </a:cubicBezTo>
                  <a:close/>
                  <a:moveTo>
                    <a:pt x="579" y="1488"/>
                  </a:moveTo>
                  <a:cubicBezTo>
                    <a:pt x="579" y="1488"/>
                    <a:pt x="579" y="1488"/>
                    <a:pt x="579" y="1488"/>
                  </a:cubicBezTo>
                  <a:cubicBezTo>
                    <a:pt x="579" y="1488"/>
                    <a:pt x="579" y="1488"/>
                    <a:pt x="579" y="1488"/>
                  </a:cubicBezTo>
                  <a:close/>
                  <a:moveTo>
                    <a:pt x="581" y="1486"/>
                  </a:moveTo>
                  <a:cubicBezTo>
                    <a:pt x="581" y="1486"/>
                    <a:pt x="581" y="1486"/>
                    <a:pt x="581" y="1486"/>
                  </a:cubicBezTo>
                  <a:cubicBezTo>
                    <a:pt x="582" y="1486"/>
                    <a:pt x="583" y="1486"/>
                    <a:pt x="583" y="1485"/>
                  </a:cubicBezTo>
                  <a:cubicBezTo>
                    <a:pt x="583" y="1486"/>
                    <a:pt x="583" y="1486"/>
                    <a:pt x="583" y="1486"/>
                  </a:cubicBezTo>
                  <a:cubicBezTo>
                    <a:pt x="583" y="1486"/>
                    <a:pt x="583" y="1486"/>
                    <a:pt x="583" y="1487"/>
                  </a:cubicBezTo>
                  <a:cubicBezTo>
                    <a:pt x="583" y="1487"/>
                    <a:pt x="582" y="1486"/>
                    <a:pt x="581" y="1486"/>
                  </a:cubicBezTo>
                  <a:cubicBezTo>
                    <a:pt x="581" y="1486"/>
                    <a:pt x="581" y="1486"/>
                    <a:pt x="581" y="1486"/>
                  </a:cubicBezTo>
                  <a:cubicBezTo>
                    <a:pt x="581" y="1486"/>
                    <a:pt x="581" y="1486"/>
                    <a:pt x="581" y="1486"/>
                  </a:cubicBezTo>
                  <a:close/>
                  <a:moveTo>
                    <a:pt x="531" y="1456"/>
                  </a:move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3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6"/>
                    <a:pt x="532" y="1456"/>
                    <a:pt x="532" y="1456"/>
                  </a:cubicBezTo>
                  <a:cubicBezTo>
                    <a:pt x="532" y="1457"/>
                    <a:pt x="532" y="1457"/>
                    <a:pt x="532" y="1457"/>
                  </a:cubicBezTo>
                  <a:cubicBezTo>
                    <a:pt x="532" y="1458"/>
                    <a:pt x="532" y="1458"/>
                    <a:pt x="532" y="1459"/>
                  </a:cubicBezTo>
                  <a:cubicBezTo>
                    <a:pt x="532" y="1458"/>
                    <a:pt x="532" y="1458"/>
                    <a:pt x="531" y="1458"/>
                  </a:cubicBezTo>
                  <a:cubicBezTo>
                    <a:pt x="531" y="1458"/>
                    <a:pt x="531" y="1457"/>
                    <a:pt x="531" y="1456"/>
                  </a:cubicBezTo>
                  <a:cubicBezTo>
                    <a:pt x="530" y="1456"/>
                    <a:pt x="530" y="1456"/>
                    <a:pt x="530" y="1456"/>
                  </a:cubicBezTo>
                  <a:cubicBezTo>
                    <a:pt x="530" y="1456"/>
                    <a:pt x="531" y="1456"/>
                    <a:pt x="531" y="1456"/>
                  </a:cubicBezTo>
                  <a:close/>
                  <a:moveTo>
                    <a:pt x="575" y="1494"/>
                  </a:moveTo>
                  <a:cubicBezTo>
                    <a:pt x="575" y="1493"/>
                    <a:pt x="575" y="1493"/>
                    <a:pt x="575" y="1492"/>
                  </a:cubicBezTo>
                  <a:cubicBezTo>
                    <a:pt x="575" y="1492"/>
                    <a:pt x="575" y="1493"/>
                    <a:pt x="575" y="1493"/>
                  </a:cubicBezTo>
                  <a:cubicBezTo>
                    <a:pt x="575" y="1493"/>
                    <a:pt x="575" y="1493"/>
                    <a:pt x="575" y="1493"/>
                  </a:cubicBezTo>
                  <a:cubicBezTo>
                    <a:pt x="575" y="1493"/>
                    <a:pt x="575" y="1493"/>
                    <a:pt x="575" y="1493"/>
                  </a:cubicBezTo>
                  <a:cubicBezTo>
                    <a:pt x="575" y="1494"/>
                    <a:pt x="575" y="1494"/>
                    <a:pt x="575" y="1495"/>
                  </a:cubicBezTo>
                  <a:cubicBezTo>
                    <a:pt x="575" y="1495"/>
                    <a:pt x="574" y="1495"/>
                    <a:pt x="574" y="1495"/>
                  </a:cubicBezTo>
                  <a:cubicBezTo>
                    <a:pt x="574" y="1494"/>
                    <a:pt x="575" y="1494"/>
                    <a:pt x="575" y="1494"/>
                  </a:cubicBezTo>
                  <a:close/>
                  <a:moveTo>
                    <a:pt x="390" y="797"/>
                  </a:moveTo>
                  <a:cubicBezTo>
                    <a:pt x="389" y="797"/>
                    <a:pt x="389" y="797"/>
                    <a:pt x="389" y="797"/>
                  </a:cubicBezTo>
                  <a:cubicBezTo>
                    <a:pt x="389" y="797"/>
                    <a:pt x="388" y="798"/>
                    <a:pt x="388" y="798"/>
                  </a:cubicBezTo>
                  <a:cubicBezTo>
                    <a:pt x="388" y="799"/>
                    <a:pt x="388" y="799"/>
                    <a:pt x="388" y="799"/>
                  </a:cubicBezTo>
                  <a:cubicBezTo>
                    <a:pt x="388" y="800"/>
                    <a:pt x="388" y="800"/>
                    <a:pt x="388" y="800"/>
                  </a:cubicBezTo>
                  <a:cubicBezTo>
                    <a:pt x="388" y="800"/>
                    <a:pt x="388" y="801"/>
                    <a:pt x="388" y="801"/>
                  </a:cubicBezTo>
                  <a:cubicBezTo>
                    <a:pt x="388" y="801"/>
                    <a:pt x="388" y="802"/>
                    <a:pt x="388" y="802"/>
                  </a:cubicBezTo>
                  <a:cubicBezTo>
                    <a:pt x="388" y="802"/>
                    <a:pt x="388" y="802"/>
                    <a:pt x="387" y="803"/>
                  </a:cubicBezTo>
                  <a:cubicBezTo>
                    <a:pt x="387" y="803"/>
                    <a:pt x="387" y="803"/>
                    <a:pt x="387" y="803"/>
                  </a:cubicBezTo>
                  <a:cubicBezTo>
                    <a:pt x="387" y="803"/>
                    <a:pt x="387" y="803"/>
                    <a:pt x="387" y="803"/>
                  </a:cubicBezTo>
                  <a:cubicBezTo>
                    <a:pt x="387" y="803"/>
                    <a:pt x="386" y="803"/>
                    <a:pt x="386" y="803"/>
                  </a:cubicBezTo>
                  <a:cubicBezTo>
                    <a:pt x="386" y="803"/>
                    <a:pt x="386" y="803"/>
                    <a:pt x="386" y="802"/>
                  </a:cubicBezTo>
                  <a:cubicBezTo>
                    <a:pt x="386" y="801"/>
                    <a:pt x="386" y="800"/>
                    <a:pt x="386" y="800"/>
                  </a:cubicBezTo>
                  <a:cubicBezTo>
                    <a:pt x="386" y="799"/>
                    <a:pt x="385" y="798"/>
                    <a:pt x="385" y="797"/>
                  </a:cubicBezTo>
                  <a:cubicBezTo>
                    <a:pt x="384" y="798"/>
                    <a:pt x="384" y="798"/>
                    <a:pt x="384" y="798"/>
                  </a:cubicBezTo>
                  <a:cubicBezTo>
                    <a:pt x="384" y="797"/>
                    <a:pt x="384" y="797"/>
                    <a:pt x="384" y="797"/>
                  </a:cubicBezTo>
                  <a:cubicBezTo>
                    <a:pt x="384" y="797"/>
                    <a:pt x="384" y="796"/>
                    <a:pt x="384" y="796"/>
                  </a:cubicBezTo>
                  <a:cubicBezTo>
                    <a:pt x="384" y="796"/>
                    <a:pt x="384" y="796"/>
                    <a:pt x="384" y="796"/>
                  </a:cubicBezTo>
                  <a:cubicBezTo>
                    <a:pt x="384" y="796"/>
                    <a:pt x="384" y="795"/>
                    <a:pt x="385" y="795"/>
                  </a:cubicBezTo>
                  <a:cubicBezTo>
                    <a:pt x="385" y="795"/>
                    <a:pt x="386" y="794"/>
                    <a:pt x="386" y="794"/>
                  </a:cubicBezTo>
                  <a:cubicBezTo>
                    <a:pt x="387" y="793"/>
                    <a:pt x="387" y="792"/>
                    <a:pt x="388" y="791"/>
                  </a:cubicBezTo>
                  <a:cubicBezTo>
                    <a:pt x="388" y="791"/>
                    <a:pt x="388" y="791"/>
                    <a:pt x="388" y="792"/>
                  </a:cubicBezTo>
                  <a:cubicBezTo>
                    <a:pt x="388" y="792"/>
                    <a:pt x="388" y="792"/>
                    <a:pt x="388" y="792"/>
                  </a:cubicBezTo>
                  <a:cubicBezTo>
                    <a:pt x="388" y="792"/>
                    <a:pt x="388" y="793"/>
                    <a:pt x="388" y="793"/>
                  </a:cubicBezTo>
                  <a:cubicBezTo>
                    <a:pt x="388" y="794"/>
                    <a:pt x="388" y="794"/>
                    <a:pt x="388" y="795"/>
                  </a:cubicBezTo>
                  <a:cubicBezTo>
                    <a:pt x="388" y="795"/>
                    <a:pt x="388" y="795"/>
                    <a:pt x="388" y="796"/>
                  </a:cubicBezTo>
                  <a:cubicBezTo>
                    <a:pt x="389" y="796"/>
                    <a:pt x="389" y="796"/>
                    <a:pt x="389" y="797"/>
                  </a:cubicBezTo>
                  <a:lnTo>
                    <a:pt x="390" y="797"/>
                  </a:lnTo>
                  <a:close/>
                  <a:moveTo>
                    <a:pt x="572" y="1495"/>
                  </a:moveTo>
                  <a:cubicBezTo>
                    <a:pt x="572" y="1496"/>
                    <a:pt x="571" y="1496"/>
                    <a:pt x="572" y="1497"/>
                  </a:cubicBezTo>
                  <a:cubicBezTo>
                    <a:pt x="571" y="1496"/>
                    <a:pt x="571" y="1496"/>
                    <a:pt x="571" y="1495"/>
                  </a:cubicBezTo>
                  <a:cubicBezTo>
                    <a:pt x="571" y="1495"/>
                    <a:pt x="571" y="1495"/>
                    <a:pt x="572" y="1495"/>
                  </a:cubicBezTo>
                  <a:close/>
                  <a:moveTo>
                    <a:pt x="554" y="1404"/>
                  </a:moveTo>
                  <a:cubicBezTo>
                    <a:pt x="554" y="1403"/>
                    <a:pt x="554" y="1403"/>
                    <a:pt x="554" y="1403"/>
                  </a:cubicBezTo>
                  <a:cubicBezTo>
                    <a:pt x="554" y="1403"/>
                    <a:pt x="554" y="1403"/>
                    <a:pt x="554" y="1403"/>
                  </a:cubicBezTo>
                  <a:cubicBezTo>
                    <a:pt x="554" y="1404"/>
                    <a:pt x="554" y="1404"/>
                    <a:pt x="554" y="1404"/>
                  </a:cubicBezTo>
                  <a:cubicBezTo>
                    <a:pt x="554" y="1404"/>
                    <a:pt x="554" y="1404"/>
                    <a:pt x="554" y="1404"/>
                  </a:cubicBezTo>
                  <a:close/>
                  <a:moveTo>
                    <a:pt x="563" y="1277"/>
                  </a:moveTo>
                  <a:cubicBezTo>
                    <a:pt x="562" y="1277"/>
                    <a:pt x="562" y="1277"/>
                    <a:pt x="561" y="1277"/>
                  </a:cubicBezTo>
                  <a:cubicBezTo>
                    <a:pt x="561" y="1277"/>
                    <a:pt x="561" y="1276"/>
                    <a:pt x="560" y="1276"/>
                  </a:cubicBezTo>
                  <a:cubicBezTo>
                    <a:pt x="559" y="1277"/>
                    <a:pt x="559" y="1277"/>
                    <a:pt x="559" y="1277"/>
                  </a:cubicBezTo>
                  <a:cubicBezTo>
                    <a:pt x="560" y="1275"/>
                    <a:pt x="560" y="1275"/>
                    <a:pt x="560" y="1275"/>
                  </a:cubicBezTo>
                  <a:cubicBezTo>
                    <a:pt x="560" y="1275"/>
                    <a:pt x="559" y="1275"/>
                    <a:pt x="559" y="1275"/>
                  </a:cubicBezTo>
                  <a:cubicBezTo>
                    <a:pt x="559" y="1274"/>
                    <a:pt x="559" y="1274"/>
                    <a:pt x="559" y="1274"/>
                  </a:cubicBezTo>
                  <a:cubicBezTo>
                    <a:pt x="559" y="1273"/>
                    <a:pt x="559" y="1273"/>
                    <a:pt x="559" y="1273"/>
                  </a:cubicBezTo>
                  <a:cubicBezTo>
                    <a:pt x="559" y="1273"/>
                    <a:pt x="559" y="1273"/>
                    <a:pt x="559" y="1273"/>
                  </a:cubicBezTo>
                  <a:cubicBezTo>
                    <a:pt x="559" y="1273"/>
                    <a:pt x="559" y="1274"/>
                    <a:pt x="559" y="1274"/>
                  </a:cubicBezTo>
                  <a:cubicBezTo>
                    <a:pt x="560" y="1275"/>
                    <a:pt x="561" y="1276"/>
                    <a:pt x="562" y="1277"/>
                  </a:cubicBezTo>
                  <a:cubicBezTo>
                    <a:pt x="562" y="1277"/>
                    <a:pt x="563" y="1277"/>
                    <a:pt x="563" y="1277"/>
                  </a:cubicBezTo>
                  <a:cubicBezTo>
                    <a:pt x="563" y="1277"/>
                    <a:pt x="563" y="1277"/>
                    <a:pt x="563" y="1277"/>
                  </a:cubicBezTo>
                  <a:cubicBezTo>
                    <a:pt x="563" y="1277"/>
                    <a:pt x="563" y="1277"/>
                    <a:pt x="563" y="1277"/>
                  </a:cubicBezTo>
                  <a:close/>
                  <a:moveTo>
                    <a:pt x="364" y="575"/>
                  </a:moveTo>
                  <a:cubicBezTo>
                    <a:pt x="364" y="575"/>
                    <a:pt x="364" y="575"/>
                    <a:pt x="364" y="575"/>
                  </a:cubicBezTo>
                  <a:cubicBezTo>
                    <a:pt x="364" y="575"/>
                    <a:pt x="364" y="575"/>
                    <a:pt x="364" y="575"/>
                  </a:cubicBezTo>
                  <a:close/>
                  <a:moveTo>
                    <a:pt x="582" y="402"/>
                  </a:moveTo>
                  <a:cubicBezTo>
                    <a:pt x="581" y="402"/>
                    <a:pt x="581" y="402"/>
                    <a:pt x="581" y="402"/>
                  </a:cubicBezTo>
                  <a:cubicBezTo>
                    <a:pt x="581" y="401"/>
                    <a:pt x="580" y="401"/>
                    <a:pt x="579" y="401"/>
                  </a:cubicBezTo>
                  <a:cubicBezTo>
                    <a:pt x="579" y="401"/>
                    <a:pt x="579" y="401"/>
                    <a:pt x="578" y="401"/>
                  </a:cubicBezTo>
                  <a:cubicBezTo>
                    <a:pt x="578" y="401"/>
                    <a:pt x="578" y="400"/>
                    <a:pt x="578" y="400"/>
                  </a:cubicBezTo>
                  <a:cubicBezTo>
                    <a:pt x="577" y="400"/>
                    <a:pt x="577" y="399"/>
                    <a:pt x="576" y="399"/>
                  </a:cubicBezTo>
                  <a:cubicBezTo>
                    <a:pt x="576" y="399"/>
                    <a:pt x="576" y="399"/>
                    <a:pt x="576" y="399"/>
                  </a:cubicBezTo>
                  <a:cubicBezTo>
                    <a:pt x="577" y="399"/>
                    <a:pt x="578" y="399"/>
                    <a:pt x="578" y="399"/>
                  </a:cubicBezTo>
                  <a:cubicBezTo>
                    <a:pt x="578" y="399"/>
                    <a:pt x="579" y="399"/>
                    <a:pt x="579" y="399"/>
                  </a:cubicBezTo>
                  <a:cubicBezTo>
                    <a:pt x="580" y="399"/>
                    <a:pt x="580" y="399"/>
                    <a:pt x="580" y="399"/>
                  </a:cubicBezTo>
                  <a:cubicBezTo>
                    <a:pt x="580" y="399"/>
                    <a:pt x="580" y="399"/>
                    <a:pt x="580" y="399"/>
                  </a:cubicBezTo>
                  <a:cubicBezTo>
                    <a:pt x="580" y="400"/>
                    <a:pt x="580" y="400"/>
                    <a:pt x="580" y="400"/>
                  </a:cubicBezTo>
                  <a:cubicBezTo>
                    <a:pt x="580" y="401"/>
                    <a:pt x="581" y="402"/>
                    <a:pt x="583" y="402"/>
                  </a:cubicBezTo>
                  <a:cubicBezTo>
                    <a:pt x="582" y="402"/>
                    <a:pt x="582" y="402"/>
                    <a:pt x="582" y="402"/>
                  </a:cubicBezTo>
                  <a:close/>
                  <a:moveTo>
                    <a:pt x="570" y="406"/>
                  </a:moveTo>
                  <a:cubicBezTo>
                    <a:pt x="570" y="406"/>
                    <a:pt x="570" y="406"/>
                    <a:pt x="570" y="406"/>
                  </a:cubicBezTo>
                  <a:cubicBezTo>
                    <a:pt x="570" y="406"/>
                    <a:pt x="570" y="406"/>
                    <a:pt x="570" y="406"/>
                  </a:cubicBezTo>
                  <a:close/>
                  <a:moveTo>
                    <a:pt x="572" y="395"/>
                  </a:moveTo>
                  <a:cubicBezTo>
                    <a:pt x="572" y="395"/>
                    <a:pt x="572" y="395"/>
                    <a:pt x="572" y="395"/>
                  </a:cubicBezTo>
                  <a:cubicBezTo>
                    <a:pt x="572" y="395"/>
                    <a:pt x="572" y="395"/>
                    <a:pt x="572" y="395"/>
                  </a:cubicBezTo>
                  <a:close/>
                  <a:moveTo>
                    <a:pt x="568" y="407"/>
                  </a:moveTo>
                  <a:cubicBezTo>
                    <a:pt x="568" y="407"/>
                    <a:pt x="568" y="407"/>
                    <a:pt x="568" y="408"/>
                  </a:cubicBezTo>
                  <a:cubicBezTo>
                    <a:pt x="568" y="408"/>
                    <a:pt x="567" y="408"/>
                    <a:pt x="567" y="408"/>
                  </a:cubicBezTo>
                  <a:cubicBezTo>
                    <a:pt x="567" y="408"/>
                    <a:pt x="567" y="408"/>
                    <a:pt x="567" y="407"/>
                  </a:cubicBezTo>
                  <a:cubicBezTo>
                    <a:pt x="567" y="407"/>
                    <a:pt x="567" y="407"/>
                    <a:pt x="568" y="407"/>
                  </a:cubicBezTo>
                  <a:cubicBezTo>
                    <a:pt x="568" y="407"/>
                    <a:pt x="568" y="407"/>
                    <a:pt x="568" y="407"/>
                  </a:cubicBezTo>
                  <a:cubicBezTo>
                    <a:pt x="568" y="406"/>
                    <a:pt x="568" y="406"/>
                    <a:pt x="568" y="406"/>
                  </a:cubicBezTo>
                  <a:cubicBezTo>
                    <a:pt x="568" y="406"/>
                    <a:pt x="568" y="406"/>
                    <a:pt x="568" y="406"/>
                  </a:cubicBezTo>
                  <a:lnTo>
                    <a:pt x="568" y="407"/>
                  </a:lnTo>
                  <a:close/>
                  <a:moveTo>
                    <a:pt x="574" y="377"/>
                  </a:moveTo>
                  <a:cubicBezTo>
                    <a:pt x="574" y="376"/>
                    <a:pt x="574" y="376"/>
                    <a:pt x="574" y="376"/>
                  </a:cubicBezTo>
                  <a:cubicBezTo>
                    <a:pt x="574" y="376"/>
                    <a:pt x="574" y="376"/>
                    <a:pt x="574" y="376"/>
                  </a:cubicBezTo>
                  <a:cubicBezTo>
                    <a:pt x="575" y="376"/>
                    <a:pt x="575" y="376"/>
                    <a:pt x="575" y="376"/>
                  </a:cubicBezTo>
                  <a:cubicBezTo>
                    <a:pt x="575" y="377"/>
                    <a:pt x="575" y="377"/>
                    <a:pt x="575" y="377"/>
                  </a:cubicBezTo>
                  <a:cubicBezTo>
                    <a:pt x="575" y="377"/>
                    <a:pt x="575" y="377"/>
                    <a:pt x="575" y="377"/>
                  </a:cubicBezTo>
                  <a:cubicBezTo>
                    <a:pt x="575" y="378"/>
                    <a:pt x="574" y="378"/>
                    <a:pt x="574" y="378"/>
                  </a:cubicBezTo>
                  <a:cubicBezTo>
                    <a:pt x="574" y="378"/>
                    <a:pt x="574" y="378"/>
                    <a:pt x="574" y="378"/>
                  </a:cubicBezTo>
                  <a:cubicBezTo>
                    <a:pt x="574" y="377"/>
                    <a:pt x="574" y="377"/>
                    <a:pt x="574" y="377"/>
                  </a:cubicBezTo>
                  <a:cubicBezTo>
                    <a:pt x="574" y="377"/>
                    <a:pt x="574" y="377"/>
                    <a:pt x="574" y="377"/>
                  </a:cubicBezTo>
                  <a:close/>
                  <a:moveTo>
                    <a:pt x="665" y="114"/>
                  </a:moveTo>
                  <a:cubicBezTo>
                    <a:pt x="665" y="114"/>
                    <a:pt x="664" y="114"/>
                    <a:pt x="664" y="114"/>
                  </a:cubicBezTo>
                  <a:cubicBezTo>
                    <a:pt x="664" y="114"/>
                    <a:pt x="664" y="114"/>
                    <a:pt x="664" y="114"/>
                  </a:cubicBezTo>
                  <a:cubicBezTo>
                    <a:pt x="664" y="114"/>
                    <a:pt x="664" y="114"/>
                    <a:pt x="664" y="114"/>
                  </a:cubicBezTo>
                  <a:cubicBezTo>
                    <a:pt x="665" y="113"/>
                    <a:pt x="665" y="114"/>
                    <a:pt x="665" y="114"/>
                  </a:cubicBezTo>
                  <a:cubicBezTo>
                    <a:pt x="666" y="114"/>
                    <a:pt x="666" y="114"/>
                    <a:pt x="666" y="114"/>
                  </a:cubicBezTo>
                  <a:cubicBezTo>
                    <a:pt x="666" y="114"/>
                    <a:pt x="665" y="114"/>
                    <a:pt x="665" y="114"/>
                  </a:cubicBezTo>
                  <a:close/>
                  <a:moveTo>
                    <a:pt x="697" y="128"/>
                  </a:moveTo>
                  <a:cubicBezTo>
                    <a:pt x="697" y="128"/>
                    <a:pt x="697" y="128"/>
                    <a:pt x="697" y="128"/>
                  </a:cubicBezTo>
                  <a:cubicBezTo>
                    <a:pt x="697" y="128"/>
                    <a:pt x="697" y="128"/>
                    <a:pt x="697" y="128"/>
                  </a:cubicBezTo>
                  <a:close/>
                  <a:moveTo>
                    <a:pt x="659" y="196"/>
                  </a:moveTo>
                  <a:cubicBezTo>
                    <a:pt x="659" y="196"/>
                    <a:pt x="659" y="196"/>
                    <a:pt x="659" y="196"/>
                  </a:cubicBezTo>
                  <a:cubicBezTo>
                    <a:pt x="659" y="196"/>
                    <a:pt x="659" y="196"/>
                    <a:pt x="659" y="196"/>
                  </a:cubicBezTo>
                  <a:cubicBezTo>
                    <a:pt x="659" y="196"/>
                    <a:pt x="659" y="196"/>
                    <a:pt x="659" y="196"/>
                  </a:cubicBezTo>
                  <a:close/>
                  <a:moveTo>
                    <a:pt x="702" y="167"/>
                  </a:moveTo>
                  <a:cubicBezTo>
                    <a:pt x="702" y="166"/>
                    <a:pt x="702" y="166"/>
                    <a:pt x="702" y="166"/>
                  </a:cubicBezTo>
                  <a:cubicBezTo>
                    <a:pt x="702" y="166"/>
                    <a:pt x="702" y="166"/>
                    <a:pt x="702" y="166"/>
                  </a:cubicBezTo>
                  <a:cubicBezTo>
                    <a:pt x="702" y="167"/>
                    <a:pt x="702" y="167"/>
                    <a:pt x="702" y="167"/>
                  </a:cubicBezTo>
                  <a:close/>
                  <a:moveTo>
                    <a:pt x="720" y="78"/>
                  </a:moveTo>
                  <a:cubicBezTo>
                    <a:pt x="720" y="79"/>
                    <a:pt x="720" y="79"/>
                    <a:pt x="720" y="79"/>
                  </a:cubicBezTo>
                  <a:cubicBezTo>
                    <a:pt x="720" y="79"/>
                    <a:pt x="720" y="80"/>
                    <a:pt x="720" y="80"/>
                  </a:cubicBezTo>
                  <a:cubicBezTo>
                    <a:pt x="720" y="80"/>
                    <a:pt x="720" y="80"/>
                    <a:pt x="720" y="80"/>
                  </a:cubicBezTo>
                  <a:cubicBezTo>
                    <a:pt x="720" y="79"/>
                    <a:pt x="720" y="79"/>
                    <a:pt x="720" y="78"/>
                  </a:cubicBezTo>
                  <a:cubicBezTo>
                    <a:pt x="720" y="78"/>
                    <a:pt x="720" y="78"/>
                    <a:pt x="720" y="77"/>
                  </a:cubicBezTo>
                  <a:cubicBezTo>
                    <a:pt x="720" y="77"/>
                    <a:pt x="720" y="78"/>
                    <a:pt x="720" y="78"/>
                  </a:cubicBezTo>
                  <a:close/>
                  <a:moveTo>
                    <a:pt x="625" y="116"/>
                  </a:moveTo>
                  <a:cubicBezTo>
                    <a:pt x="625" y="116"/>
                    <a:pt x="625" y="116"/>
                    <a:pt x="625" y="116"/>
                  </a:cubicBezTo>
                  <a:cubicBezTo>
                    <a:pt x="625" y="116"/>
                    <a:pt x="625" y="116"/>
                    <a:pt x="625" y="116"/>
                  </a:cubicBezTo>
                  <a:close/>
                  <a:moveTo>
                    <a:pt x="642" y="78"/>
                  </a:moveTo>
                  <a:cubicBezTo>
                    <a:pt x="642" y="77"/>
                    <a:pt x="642" y="77"/>
                    <a:pt x="642" y="77"/>
                  </a:cubicBezTo>
                  <a:cubicBezTo>
                    <a:pt x="642" y="77"/>
                    <a:pt x="642" y="77"/>
                    <a:pt x="642" y="77"/>
                  </a:cubicBezTo>
                  <a:cubicBezTo>
                    <a:pt x="642" y="78"/>
                    <a:pt x="642" y="78"/>
                    <a:pt x="642" y="78"/>
                  </a:cubicBezTo>
                  <a:cubicBezTo>
                    <a:pt x="642" y="78"/>
                    <a:pt x="642" y="78"/>
                    <a:pt x="642" y="78"/>
                  </a:cubicBezTo>
                  <a:close/>
                  <a:moveTo>
                    <a:pt x="669" y="56"/>
                  </a:moveTo>
                  <a:cubicBezTo>
                    <a:pt x="669" y="56"/>
                    <a:pt x="669" y="56"/>
                    <a:pt x="669" y="56"/>
                  </a:cubicBezTo>
                  <a:cubicBezTo>
                    <a:pt x="669" y="56"/>
                    <a:pt x="669" y="56"/>
                    <a:pt x="669" y="56"/>
                  </a:cubicBezTo>
                  <a:close/>
                  <a:moveTo>
                    <a:pt x="612" y="90"/>
                  </a:moveTo>
                  <a:cubicBezTo>
                    <a:pt x="612" y="90"/>
                    <a:pt x="612" y="90"/>
                    <a:pt x="612" y="90"/>
                  </a:cubicBezTo>
                  <a:cubicBezTo>
                    <a:pt x="612" y="90"/>
                    <a:pt x="612" y="90"/>
                    <a:pt x="612" y="90"/>
                  </a:cubicBezTo>
                  <a:close/>
                  <a:moveTo>
                    <a:pt x="592" y="110"/>
                  </a:moveTo>
                  <a:cubicBezTo>
                    <a:pt x="592" y="111"/>
                    <a:pt x="592" y="111"/>
                    <a:pt x="592" y="111"/>
                  </a:cubicBezTo>
                  <a:cubicBezTo>
                    <a:pt x="592" y="109"/>
                    <a:pt x="592" y="109"/>
                    <a:pt x="592" y="109"/>
                  </a:cubicBezTo>
                  <a:cubicBezTo>
                    <a:pt x="592" y="109"/>
                    <a:pt x="592" y="110"/>
                    <a:pt x="592" y="110"/>
                  </a:cubicBezTo>
                  <a:close/>
                  <a:moveTo>
                    <a:pt x="566" y="121"/>
                  </a:moveTo>
                  <a:cubicBezTo>
                    <a:pt x="566" y="121"/>
                    <a:pt x="566" y="121"/>
                    <a:pt x="566" y="121"/>
                  </a:cubicBezTo>
                  <a:cubicBezTo>
                    <a:pt x="567" y="121"/>
                    <a:pt x="567" y="121"/>
                    <a:pt x="567" y="121"/>
                  </a:cubicBezTo>
                  <a:cubicBezTo>
                    <a:pt x="567" y="121"/>
                    <a:pt x="567" y="121"/>
                    <a:pt x="567" y="121"/>
                  </a:cubicBezTo>
                  <a:cubicBezTo>
                    <a:pt x="567" y="122"/>
                    <a:pt x="567" y="122"/>
                    <a:pt x="567" y="122"/>
                  </a:cubicBezTo>
                  <a:cubicBezTo>
                    <a:pt x="567" y="123"/>
                    <a:pt x="566" y="123"/>
                    <a:pt x="566" y="124"/>
                  </a:cubicBezTo>
                  <a:cubicBezTo>
                    <a:pt x="566" y="124"/>
                    <a:pt x="565" y="124"/>
                    <a:pt x="565" y="124"/>
                  </a:cubicBezTo>
                  <a:cubicBezTo>
                    <a:pt x="565" y="124"/>
                    <a:pt x="565" y="124"/>
                    <a:pt x="565" y="124"/>
                  </a:cubicBezTo>
                  <a:cubicBezTo>
                    <a:pt x="565" y="124"/>
                    <a:pt x="565" y="124"/>
                    <a:pt x="565" y="123"/>
                  </a:cubicBezTo>
                  <a:cubicBezTo>
                    <a:pt x="565" y="123"/>
                    <a:pt x="565" y="123"/>
                    <a:pt x="565" y="123"/>
                  </a:cubicBezTo>
                  <a:cubicBezTo>
                    <a:pt x="565" y="122"/>
                    <a:pt x="566" y="122"/>
                    <a:pt x="566" y="121"/>
                  </a:cubicBezTo>
                  <a:close/>
                  <a:moveTo>
                    <a:pt x="604" y="54"/>
                  </a:moveTo>
                  <a:cubicBezTo>
                    <a:pt x="604" y="54"/>
                    <a:pt x="604" y="54"/>
                    <a:pt x="604" y="54"/>
                  </a:cubicBezTo>
                  <a:cubicBezTo>
                    <a:pt x="604" y="54"/>
                    <a:pt x="604" y="54"/>
                    <a:pt x="604" y="54"/>
                  </a:cubicBezTo>
                  <a:close/>
                  <a:moveTo>
                    <a:pt x="569" y="53"/>
                  </a:moveTo>
                  <a:cubicBezTo>
                    <a:pt x="569" y="53"/>
                    <a:pt x="569" y="53"/>
                    <a:pt x="569" y="53"/>
                  </a:cubicBezTo>
                  <a:cubicBezTo>
                    <a:pt x="569" y="53"/>
                    <a:pt x="569" y="53"/>
                    <a:pt x="569" y="53"/>
                  </a:cubicBezTo>
                  <a:close/>
                  <a:moveTo>
                    <a:pt x="507" y="114"/>
                  </a:moveTo>
                  <a:cubicBezTo>
                    <a:pt x="507" y="114"/>
                    <a:pt x="507" y="114"/>
                    <a:pt x="507" y="114"/>
                  </a:cubicBezTo>
                  <a:cubicBezTo>
                    <a:pt x="507" y="114"/>
                    <a:pt x="507" y="114"/>
                    <a:pt x="507" y="114"/>
                  </a:cubicBezTo>
                  <a:close/>
                  <a:moveTo>
                    <a:pt x="330" y="3"/>
                  </a:moveTo>
                  <a:cubicBezTo>
                    <a:pt x="330" y="3"/>
                    <a:pt x="330" y="3"/>
                    <a:pt x="330" y="3"/>
                  </a:cubicBezTo>
                  <a:cubicBezTo>
                    <a:pt x="330" y="3"/>
                    <a:pt x="330" y="3"/>
                    <a:pt x="330" y="3"/>
                  </a:cubicBezTo>
                  <a:close/>
                  <a:moveTo>
                    <a:pt x="264" y="11"/>
                  </a:moveTo>
                  <a:cubicBezTo>
                    <a:pt x="264" y="11"/>
                    <a:pt x="264" y="11"/>
                    <a:pt x="264" y="11"/>
                  </a:cubicBezTo>
                  <a:cubicBezTo>
                    <a:pt x="264" y="11"/>
                    <a:pt x="264" y="11"/>
                    <a:pt x="264" y="11"/>
                  </a:cubicBezTo>
                  <a:close/>
                  <a:moveTo>
                    <a:pt x="100" y="133"/>
                  </a:moveTo>
                  <a:cubicBezTo>
                    <a:pt x="100" y="132"/>
                    <a:pt x="100" y="132"/>
                    <a:pt x="100" y="132"/>
                  </a:cubicBezTo>
                  <a:cubicBezTo>
                    <a:pt x="101" y="132"/>
                    <a:pt x="101" y="132"/>
                    <a:pt x="101" y="132"/>
                  </a:cubicBezTo>
                  <a:cubicBezTo>
                    <a:pt x="101" y="132"/>
                    <a:pt x="101" y="132"/>
                    <a:pt x="101" y="132"/>
                  </a:cubicBezTo>
                  <a:lnTo>
                    <a:pt x="100" y="133"/>
                  </a:lnTo>
                  <a:close/>
                  <a:moveTo>
                    <a:pt x="91" y="148"/>
                  </a:moveTo>
                  <a:cubicBezTo>
                    <a:pt x="91" y="148"/>
                    <a:pt x="91" y="148"/>
                    <a:pt x="91" y="148"/>
                  </a:cubicBezTo>
                  <a:cubicBezTo>
                    <a:pt x="91" y="148"/>
                    <a:pt x="91" y="148"/>
                    <a:pt x="91" y="148"/>
                  </a:cubicBezTo>
                  <a:close/>
                  <a:moveTo>
                    <a:pt x="58" y="163"/>
                  </a:moveTo>
                  <a:cubicBezTo>
                    <a:pt x="58" y="163"/>
                    <a:pt x="58" y="163"/>
                    <a:pt x="58" y="163"/>
                  </a:cubicBezTo>
                  <a:cubicBezTo>
                    <a:pt x="58" y="163"/>
                    <a:pt x="58" y="163"/>
                    <a:pt x="58" y="163"/>
                  </a:cubicBezTo>
                  <a:close/>
                  <a:moveTo>
                    <a:pt x="195" y="303"/>
                  </a:moveTo>
                  <a:cubicBezTo>
                    <a:pt x="195" y="303"/>
                    <a:pt x="195" y="303"/>
                    <a:pt x="195" y="303"/>
                  </a:cubicBezTo>
                  <a:cubicBezTo>
                    <a:pt x="195" y="303"/>
                    <a:pt x="195" y="303"/>
                    <a:pt x="195" y="303"/>
                  </a:cubicBezTo>
                  <a:close/>
                  <a:moveTo>
                    <a:pt x="190" y="322"/>
                  </a:moveTo>
                  <a:cubicBezTo>
                    <a:pt x="190" y="322"/>
                    <a:pt x="190" y="322"/>
                    <a:pt x="190" y="322"/>
                  </a:cubicBezTo>
                  <a:cubicBezTo>
                    <a:pt x="190" y="322"/>
                    <a:pt x="190" y="322"/>
                    <a:pt x="190" y="322"/>
                  </a:cubicBezTo>
                  <a:cubicBezTo>
                    <a:pt x="190" y="322"/>
                    <a:pt x="190" y="322"/>
                    <a:pt x="190" y="322"/>
                  </a:cubicBezTo>
                  <a:close/>
                  <a:moveTo>
                    <a:pt x="105" y="494"/>
                  </a:moveTo>
                  <a:cubicBezTo>
                    <a:pt x="105" y="494"/>
                    <a:pt x="105" y="494"/>
                    <a:pt x="105" y="494"/>
                  </a:cubicBezTo>
                  <a:cubicBezTo>
                    <a:pt x="105" y="494"/>
                    <a:pt x="105" y="494"/>
                    <a:pt x="105" y="494"/>
                  </a:cubicBezTo>
                  <a:close/>
                  <a:moveTo>
                    <a:pt x="102" y="568"/>
                  </a:moveTo>
                  <a:cubicBezTo>
                    <a:pt x="102" y="568"/>
                    <a:pt x="102" y="568"/>
                    <a:pt x="102" y="568"/>
                  </a:cubicBezTo>
                  <a:cubicBezTo>
                    <a:pt x="102" y="568"/>
                    <a:pt x="102" y="568"/>
                    <a:pt x="102" y="568"/>
                  </a:cubicBezTo>
                  <a:cubicBezTo>
                    <a:pt x="102" y="568"/>
                    <a:pt x="102" y="568"/>
                    <a:pt x="102" y="568"/>
                  </a:cubicBezTo>
                  <a:close/>
                  <a:moveTo>
                    <a:pt x="99" y="577"/>
                  </a:moveTo>
                  <a:cubicBezTo>
                    <a:pt x="99" y="577"/>
                    <a:pt x="99" y="577"/>
                    <a:pt x="99" y="577"/>
                  </a:cubicBezTo>
                  <a:cubicBezTo>
                    <a:pt x="99" y="577"/>
                    <a:pt x="99" y="577"/>
                    <a:pt x="99" y="577"/>
                  </a:cubicBezTo>
                  <a:close/>
                  <a:moveTo>
                    <a:pt x="100" y="578"/>
                  </a:moveTo>
                  <a:cubicBezTo>
                    <a:pt x="100" y="578"/>
                    <a:pt x="100" y="578"/>
                    <a:pt x="100" y="578"/>
                  </a:cubicBezTo>
                  <a:cubicBezTo>
                    <a:pt x="100" y="578"/>
                    <a:pt x="100" y="578"/>
                    <a:pt x="100" y="578"/>
                  </a:cubicBezTo>
                  <a:close/>
                  <a:moveTo>
                    <a:pt x="113" y="614"/>
                  </a:moveTo>
                  <a:cubicBezTo>
                    <a:pt x="113" y="614"/>
                    <a:pt x="113" y="614"/>
                    <a:pt x="113" y="614"/>
                  </a:cubicBezTo>
                  <a:cubicBezTo>
                    <a:pt x="113" y="614"/>
                    <a:pt x="113" y="614"/>
                    <a:pt x="113" y="614"/>
                  </a:cubicBezTo>
                  <a:close/>
                  <a:moveTo>
                    <a:pt x="134" y="605"/>
                  </a:moveTo>
                  <a:cubicBezTo>
                    <a:pt x="134" y="605"/>
                    <a:pt x="134" y="604"/>
                    <a:pt x="134" y="604"/>
                  </a:cubicBezTo>
                  <a:cubicBezTo>
                    <a:pt x="134" y="604"/>
                    <a:pt x="134" y="604"/>
                    <a:pt x="134" y="604"/>
                  </a:cubicBezTo>
                  <a:lnTo>
                    <a:pt x="134" y="605"/>
                  </a:lnTo>
                  <a:close/>
                  <a:moveTo>
                    <a:pt x="151" y="691"/>
                  </a:moveTo>
                  <a:cubicBezTo>
                    <a:pt x="151" y="691"/>
                    <a:pt x="151" y="691"/>
                    <a:pt x="151" y="691"/>
                  </a:cubicBezTo>
                  <a:cubicBezTo>
                    <a:pt x="151" y="691"/>
                    <a:pt x="151" y="691"/>
                    <a:pt x="151" y="691"/>
                  </a:cubicBezTo>
                  <a:close/>
                  <a:moveTo>
                    <a:pt x="159" y="695"/>
                  </a:moveTo>
                  <a:cubicBezTo>
                    <a:pt x="159" y="695"/>
                    <a:pt x="159" y="695"/>
                    <a:pt x="159" y="695"/>
                  </a:cubicBezTo>
                  <a:cubicBezTo>
                    <a:pt x="159" y="695"/>
                    <a:pt x="159" y="695"/>
                    <a:pt x="159" y="695"/>
                  </a:cubicBezTo>
                  <a:close/>
                  <a:moveTo>
                    <a:pt x="188" y="719"/>
                  </a:moveTo>
                  <a:cubicBezTo>
                    <a:pt x="188" y="719"/>
                    <a:pt x="188" y="719"/>
                    <a:pt x="188" y="719"/>
                  </a:cubicBezTo>
                  <a:cubicBezTo>
                    <a:pt x="189" y="719"/>
                    <a:pt x="189" y="719"/>
                    <a:pt x="189" y="719"/>
                  </a:cubicBezTo>
                  <a:lnTo>
                    <a:pt x="188" y="719"/>
                  </a:lnTo>
                  <a:close/>
                  <a:moveTo>
                    <a:pt x="571" y="1499"/>
                  </a:moveTo>
                  <a:cubicBezTo>
                    <a:pt x="571" y="1498"/>
                    <a:pt x="572" y="1498"/>
                    <a:pt x="572" y="1497"/>
                  </a:cubicBezTo>
                  <a:cubicBezTo>
                    <a:pt x="572" y="1497"/>
                    <a:pt x="572" y="1497"/>
                    <a:pt x="572" y="1497"/>
                  </a:cubicBezTo>
                  <a:cubicBezTo>
                    <a:pt x="572" y="1498"/>
                    <a:pt x="572" y="1499"/>
                    <a:pt x="573" y="1499"/>
                  </a:cubicBezTo>
                  <a:cubicBezTo>
                    <a:pt x="572" y="1499"/>
                    <a:pt x="572" y="1499"/>
                    <a:pt x="571" y="1499"/>
                  </a:cubicBezTo>
                  <a:close/>
                  <a:moveTo>
                    <a:pt x="564" y="1326"/>
                  </a:moveTo>
                  <a:cubicBezTo>
                    <a:pt x="564" y="1326"/>
                    <a:pt x="564" y="1326"/>
                    <a:pt x="564" y="1326"/>
                  </a:cubicBezTo>
                  <a:cubicBezTo>
                    <a:pt x="564" y="1326"/>
                    <a:pt x="564" y="1326"/>
                    <a:pt x="564" y="1326"/>
                  </a:cubicBezTo>
                  <a:close/>
                  <a:moveTo>
                    <a:pt x="659" y="1048"/>
                  </a:moveTo>
                  <a:cubicBezTo>
                    <a:pt x="659" y="1048"/>
                    <a:pt x="659" y="1048"/>
                    <a:pt x="659" y="1048"/>
                  </a:cubicBezTo>
                  <a:cubicBezTo>
                    <a:pt x="659" y="1048"/>
                    <a:pt x="659" y="1048"/>
                    <a:pt x="659" y="1048"/>
                  </a:cubicBezTo>
                  <a:close/>
                  <a:moveTo>
                    <a:pt x="473" y="795"/>
                  </a:move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ubicBezTo>
                    <a:pt x="473" y="795"/>
                    <a:pt x="473" y="795"/>
                    <a:pt x="473" y="795"/>
                  </a:cubicBezTo>
                  <a:close/>
                  <a:moveTo>
                    <a:pt x="468" y="789"/>
                  </a:moveTo>
                  <a:cubicBezTo>
                    <a:pt x="468" y="789"/>
                    <a:pt x="468" y="789"/>
                    <a:pt x="468" y="789"/>
                  </a:cubicBezTo>
                  <a:cubicBezTo>
                    <a:pt x="468" y="789"/>
                    <a:pt x="468" y="790"/>
                    <a:pt x="468" y="790"/>
                  </a:cubicBezTo>
                  <a:cubicBezTo>
                    <a:pt x="468" y="790"/>
                    <a:pt x="468" y="790"/>
                    <a:pt x="468" y="790"/>
                  </a:cubicBezTo>
                  <a:cubicBezTo>
                    <a:pt x="468" y="790"/>
                    <a:pt x="468" y="791"/>
                    <a:pt x="468" y="791"/>
                  </a:cubicBezTo>
                  <a:cubicBezTo>
                    <a:pt x="468" y="791"/>
                    <a:pt x="468" y="791"/>
                    <a:pt x="468" y="791"/>
                  </a:cubicBezTo>
                  <a:cubicBezTo>
                    <a:pt x="465" y="793"/>
                    <a:pt x="464" y="794"/>
                    <a:pt x="465" y="795"/>
                  </a:cubicBezTo>
                  <a:cubicBezTo>
                    <a:pt x="465" y="795"/>
                    <a:pt x="465" y="795"/>
                    <a:pt x="465" y="795"/>
                  </a:cubicBezTo>
                  <a:cubicBezTo>
                    <a:pt x="464" y="795"/>
                    <a:pt x="464" y="795"/>
                    <a:pt x="463" y="795"/>
                  </a:cubicBezTo>
                  <a:cubicBezTo>
                    <a:pt x="463" y="795"/>
                    <a:pt x="463" y="795"/>
                    <a:pt x="462" y="795"/>
                  </a:cubicBezTo>
                  <a:cubicBezTo>
                    <a:pt x="462" y="794"/>
                    <a:pt x="462" y="793"/>
                    <a:pt x="461" y="793"/>
                  </a:cubicBezTo>
                  <a:cubicBezTo>
                    <a:pt x="461" y="793"/>
                    <a:pt x="460" y="792"/>
                    <a:pt x="460" y="792"/>
                  </a:cubicBezTo>
                  <a:cubicBezTo>
                    <a:pt x="460" y="792"/>
                    <a:pt x="459" y="792"/>
                    <a:pt x="459" y="792"/>
                  </a:cubicBezTo>
                  <a:cubicBezTo>
                    <a:pt x="459" y="791"/>
                    <a:pt x="459" y="791"/>
                    <a:pt x="459" y="791"/>
                  </a:cubicBezTo>
                  <a:cubicBezTo>
                    <a:pt x="459" y="791"/>
                    <a:pt x="459" y="791"/>
                    <a:pt x="459" y="791"/>
                  </a:cubicBezTo>
                  <a:cubicBezTo>
                    <a:pt x="459" y="791"/>
                    <a:pt x="459" y="791"/>
                    <a:pt x="459" y="791"/>
                  </a:cubicBezTo>
                  <a:cubicBezTo>
                    <a:pt x="460" y="791"/>
                    <a:pt x="460" y="791"/>
                    <a:pt x="460" y="791"/>
                  </a:cubicBezTo>
                  <a:cubicBezTo>
                    <a:pt x="461" y="791"/>
                    <a:pt x="461" y="791"/>
                    <a:pt x="461" y="791"/>
                  </a:cubicBezTo>
                  <a:cubicBezTo>
                    <a:pt x="461" y="791"/>
                    <a:pt x="461" y="791"/>
                    <a:pt x="462" y="791"/>
                  </a:cubicBezTo>
                  <a:cubicBezTo>
                    <a:pt x="462" y="791"/>
                    <a:pt x="463" y="791"/>
                    <a:pt x="463" y="791"/>
                  </a:cubicBezTo>
                  <a:cubicBezTo>
                    <a:pt x="464" y="791"/>
                    <a:pt x="464" y="791"/>
                    <a:pt x="464" y="791"/>
                  </a:cubicBezTo>
                  <a:cubicBezTo>
                    <a:pt x="464" y="791"/>
                    <a:pt x="464" y="791"/>
                    <a:pt x="465" y="791"/>
                  </a:cubicBezTo>
                  <a:cubicBezTo>
                    <a:pt x="465" y="791"/>
                    <a:pt x="466" y="792"/>
                    <a:pt x="467" y="791"/>
                  </a:cubicBezTo>
                  <a:cubicBezTo>
                    <a:pt x="467" y="791"/>
                    <a:pt x="468" y="790"/>
                    <a:pt x="468" y="789"/>
                  </a:cubicBezTo>
                  <a:close/>
                  <a:moveTo>
                    <a:pt x="341" y="810"/>
                  </a:moveTo>
                  <a:cubicBezTo>
                    <a:pt x="340" y="811"/>
                    <a:pt x="340" y="811"/>
                    <a:pt x="340" y="811"/>
                  </a:cubicBezTo>
                  <a:cubicBezTo>
                    <a:pt x="340" y="811"/>
                    <a:pt x="340" y="811"/>
                    <a:pt x="340" y="811"/>
                  </a:cubicBezTo>
                  <a:cubicBezTo>
                    <a:pt x="341" y="810"/>
                    <a:pt x="341" y="810"/>
                    <a:pt x="341" y="810"/>
                  </a:cubicBezTo>
                  <a:cubicBezTo>
                    <a:pt x="341" y="810"/>
                    <a:pt x="341" y="810"/>
                    <a:pt x="341" y="810"/>
                  </a:cubicBezTo>
                  <a:close/>
                  <a:moveTo>
                    <a:pt x="307" y="805"/>
                  </a:moveTo>
                  <a:cubicBezTo>
                    <a:pt x="307" y="805"/>
                    <a:pt x="307" y="805"/>
                    <a:pt x="307" y="805"/>
                  </a:cubicBezTo>
                  <a:cubicBezTo>
                    <a:pt x="307" y="805"/>
                    <a:pt x="307" y="805"/>
                    <a:pt x="307" y="805"/>
                  </a:cubicBezTo>
                  <a:close/>
                  <a:moveTo>
                    <a:pt x="299" y="744"/>
                  </a:moveTo>
                  <a:cubicBezTo>
                    <a:pt x="298" y="743"/>
                    <a:pt x="298" y="743"/>
                    <a:pt x="298" y="743"/>
                  </a:cubicBezTo>
                  <a:cubicBezTo>
                    <a:pt x="298" y="743"/>
                    <a:pt x="298" y="743"/>
                    <a:pt x="298" y="743"/>
                  </a:cubicBezTo>
                  <a:cubicBezTo>
                    <a:pt x="299" y="743"/>
                    <a:pt x="299" y="743"/>
                    <a:pt x="299" y="743"/>
                  </a:cubicBezTo>
                  <a:lnTo>
                    <a:pt x="299" y="744"/>
                  </a:lnTo>
                  <a:close/>
                  <a:moveTo>
                    <a:pt x="361" y="605"/>
                  </a:moveTo>
                  <a:cubicBezTo>
                    <a:pt x="361" y="605"/>
                    <a:pt x="361" y="605"/>
                    <a:pt x="361" y="605"/>
                  </a:cubicBezTo>
                  <a:cubicBezTo>
                    <a:pt x="361" y="605"/>
                    <a:pt x="361" y="605"/>
                    <a:pt x="361" y="605"/>
                  </a:cubicBezTo>
                  <a:close/>
                  <a:moveTo>
                    <a:pt x="440" y="483"/>
                  </a:moveTo>
                  <a:cubicBezTo>
                    <a:pt x="440" y="482"/>
                    <a:pt x="440" y="482"/>
                    <a:pt x="440" y="481"/>
                  </a:cubicBezTo>
                  <a:cubicBezTo>
                    <a:pt x="441" y="480"/>
                    <a:pt x="441" y="479"/>
                    <a:pt x="441" y="478"/>
                  </a:cubicBezTo>
                  <a:cubicBezTo>
                    <a:pt x="441" y="478"/>
                    <a:pt x="441" y="478"/>
                    <a:pt x="440" y="478"/>
                  </a:cubicBezTo>
                  <a:cubicBezTo>
                    <a:pt x="441" y="478"/>
                    <a:pt x="441" y="478"/>
                    <a:pt x="441" y="478"/>
                  </a:cubicBezTo>
                  <a:cubicBezTo>
                    <a:pt x="441" y="478"/>
                    <a:pt x="442" y="477"/>
                    <a:pt x="442" y="476"/>
                  </a:cubicBezTo>
                  <a:cubicBezTo>
                    <a:pt x="442" y="476"/>
                    <a:pt x="442" y="476"/>
                    <a:pt x="442" y="476"/>
                  </a:cubicBezTo>
                  <a:cubicBezTo>
                    <a:pt x="442" y="477"/>
                    <a:pt x="442" y="477"/>
                    <a:pt x="443" y="477"/>
                  </a:cubicBezTo>
                  <a:cubicBezTo>
                    <a:pt x="443" y="478"/>
                    <a:pt x="443" y="478"/>
                    <a:pt x="443" y="478"/>
                  </a:cubicBezTo>
                  <a:cubicBezTo>
                    <a:pt x="443" y="478"/>
                    <a:pt x="443" y="478"/>
                    <a:pt x="443" y="479"/>
                  </a:cubicBezTo>
                  <a:cubicBezTo>
                    <a:pt x="443" y="479"/>
                    <a:pt x="443" y="479"/>
                    <a:pt x="443" y="479"/>
                  </a:cubicBezTo>
                  <a:cubicBezTo>
                    <a:pt x="443" y="480"/>
                    <a:pt x="443" y="480"/>
                    <a:pt x="443" y="481"/>
                  </a:cubicBezTo>
                  <a:cubicBezTo>
                    <a:pt x="443" y="481"/>
                    <a:pt x="443" y="481"/>
                    <a:pt x="442" y="481"/>
                  </a:cubicBezTo>
                  <a:cubicBezTo>
                    <a:pt x="442" y="481"/>
                    <a:pt x="442" y="481"/>
                    <a:pt x="442" y="481"/>
                  </a:cubicBezTo>
                  <a:cubicBezTo>
                    <a:pt x="441" y="482"/>
                    <a:pt x="441" y="483"/>
                    <a:pt x="440" y="484"/>
                  </a:cubicBezTo>
                  <a:lnTo>
                    <a:pt x="440" y="483"/>
                  </a:lnTo>
                  <a:close/>
                  <a:moveTo>
                    <a:pt x="455" y="467"/>
                  </a:moveTo>
                  <a:cubicBezTo>
                    <a:pt x="456" y="467"/>
                    <a:pt x="456" y="467"/>
                    <a:pt x="456" y="467"/>
                  </a:cubicBezTo>
                  <a:cubicBezTo>
                    <a:pt x="456" y="467"/>
                    <a:pt x="456" y="467"/>
                    <a:pt x="455" y="467"/>
                  </a:cubicBezTo>
                  <a:cubicBezTo>
                    <a:pt x="455" y="467"/>
                    <a:pt x="455" y="467"/>
                    <a:pt x="455" y="467"/>
                  </a:cubicBezTo>
                  <a:close/>
                  <a:moveTo>
                    <a:pt x="501" y="444"/>
                  </a:moveTo>
                  <a:cubicBezTo>
                    <a:pt x="501" y="444"/>
                    <a:pt x="501" y="444"/>
                    <a:pt x="501" y="444"/>
                  </a:cubicBezTo>
                  <a:cubicBezTo>
                    <a:pt x="501" y="444"/>
                    <a:pt x="501" y="444"/>
                    <a:pt x="501" y="444"/>
                  </a:cubicBezTo>
                  <a:close/>
                  <a:moveTo>
                    <a:pt x="508" y="430"/>
                  </a:moveTo>
                  <a:cubicBezTo>
                    <a:pt x="508" y="430"/>
                    <a:pt x="508" y="430"/>
                    <a:pt x="508" y="430"/>
                  </a:cubicBezTo>
                  <a:cubicBezTo>
                    <a:pt x="508" y="430"/>
                    <a:pt x="508" y="430"/>
                    <a:pt x="508" y="430"/>
                  </a:cubicBezTo>
                  <a:close/>
                  <a:moveTo>
                    <a:pt x="580" y="414"/>
                  </a:moveTo>
                  <a:cubicBezTo>
                    <a:pt x="580" y="414"/>
                    <a:pt x="580" y="414"/>
                    <a:pt x="580" y="414"/>
                  </a:cubicBezTo>
                  <a:cubicBezTo>
                    <a:pt x="580" y="414"/>
                    <a:pt x="580" y="414"/>
                    <a:pt x="580" y="414"/>
                  </a:cubicBezTo>
                  <a:close/>
                  <a:moveTo>
                    <a:pt x="583" y="375"/>
                  </a:moveTo>
                  <a:cubicBezTo>
                    <a:pt x="584" y="375"/>
                    <a:pt x="584" y="375"/>
                    <a:pt x="584" y="375"/>
                  </a:cubicBezTo>
                  <a:cubicBezTo>
                    <a:pt x="584" y="375"/>
                    <a:pt x="584" y="375"/>
                    <a:pt x="584" y="375"/>
                  </a:cubicBezTo>
                  <a:lnTo>
                    <a:pt x="583" y="375"/>
                  </a:lnTo>
                  <a:close/>
                  <a:moveTo>
                    <a:pt x="589" y="370"/>
                  </a:moveTo>
                  <a:cubicBezTo>
                    <a:pt x="588" y="370"/>
                    <a:pt x="588" y="370"/>
                    <a:pt x="588" y="370"/>
                  </a:cubicBezTo>
                  <a:cubicBezTo>
                    <a:pt x="589" y="370"/>
                    <a:pt x="589" y="370"/>
                    <a:pt x="589" y="370"/>
                  </a:cubicBezTo>
                  <a:close/>
                  <a:moveTo>
                    <a:pt x="589" y="369"/>
                  </a:moveTo>
                  <a:cubicBezTo>
                    <a:pt x="588" y="369"/>
                    <a:pt x="588" y="369"/>
                    <a:pt x="588" y="369"/>
                  </a:cubicBezTo>
                  <a:cubicBezTo>
                    <a:pt x="588" y="369"/>
                    <a:pt x="588" y="369"/>
                    <a:pt x="588" y="369"/>
                  </a:cubicBezTo>
                  <a:cubicBezTo>
                    <a:pt x="589" y="369"/>
                    <a:pt x="589" y="369"/>
                    <a:pt x="589" y="369"/>
                  </a:cubicBezTo>
                  <a:close/>
                  <a:moveTo>
                    <a:pt x="589" y="353"/>
                  </a:moveTo>
                  <a:cubicBezTo>
                    <a:pt x="588" y="352"/>
                    <a:pt x="588" y="352"/>
                    <a:pt x="588" y="352"/>
                  </a:cubicBezTo>
                  <a:cubicBezTo>
                    <a:pt x="588" y="352"/>
                    <a:pt x="588" y="352"/>
                    <a:pt x="588" y="352"/>
                  </a:cubicBezTo>
                  <a:cubicBezTo>
                    <a:pt x="589" y="353"/>
                    <a:pt x="589" y="353"/>
                    <a:pt x="589" y="353"/>
                  </a:cubicBezTo>
                  <a:cubicBezTo>
                    <a:pt x="589" y="353"/>
                    <a:pt x="589" y="353"/>
                    <a:pt x="589" y="353"/>
                  </a:cubicBezTo>
                  <a:close/>
                  <a:moveTo>
                    <a:pt x="671" y="309"/>
                  </a:moveTo>
                  <a:cubicBezTo>
                    <a:pt x="671" y="309"/>
                    <a:pt x="671" y="309"/>
                    <a:pt x="671" y="309"/>
                  </a:cubicBezTo>
                  <a:cubicBezTo>
                    <a:pt x="672" y="308"/>
                    <a:pt x="672" y="308"/>
                    <a:pt x="672" y="308"/>
                  </a:cubicBezTo>
                  <a:cubicBezTo>
                    <a:pt x="672" y="308"/>
                    <a:pt x="672" y="308"/>
                    <a:pt x="672" y="308"/>
                  </a:cubicBezTo>
                  <a:lnTo>
                    <a:pt x="671" y="309"/>
                  </a:lnTo>
                  <a:close/>
                  <a:moveTo>
                    <a:pt x="672" y="245"/>
                  </a:move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ubicBezTo>
                    <a:pt x="672" y="245"/>
                    <a:pt x="672" y="245"/>
                    <a:pt x="672" y="245"/>
                  </a:cubicBezTo>
                  <a:close/>
                  <a:moveTo>
                    <a:pt x="661" y="246"/>
                  </a:moveTo>
                  <a:cubicBezTo>
                    <a:pt x="661" y="246"/>
                    <a:pt x="661" y="246"/>
                    <a:pt x="661" y="246"/>
                  </a:cubicBezTo>
                  <a:cubicBezTo>
                    <a:pt x="661" y="246"/>
                    <a:pt x="661" y="246"/>
                    <a:pt x="661" y="246"/>
                  </a:cubicBezTo>
                  <a:close/>
                  <a:moveTo>
                    <a:pt x="646" y="257"/>
                  </a:moveTo>
                  <a:cubicBezTo>
                    <a:pt x="646" y="257"/>
                    <a:pt x="646" y="257"/>
                    <a:pt x="646" y="257"/>
                  </a:cubicBezTo>
                  <a:cubicBezTo>
                    <a:pt x="646" y="257"/>
                    <a:pt x="646" y="257"/>
                    <a:pt x="646" y="257"/>
                  </a:cubicBezTo>
                  <a:close/>
                  <a:moveTo>
                    <a:pt x="593" y="233"/>
                  </a:moveTo>
                  <a:cubicBezTo>
                    <a:pt x="593" y="233"/>
                    <a:pt x="593" y="233"/>
                    <a:pt x="593" y="233"/>
                  </a:cubicBezTo>
                  <a:cubicBezTo>
                    <a:pt x="593" y="233"/>
                    <a:pt x="593" y="233"/>
                    <a:pt x="593" y="233"/>
                  </a:cubicBezTo>
                  <a:cubicBezTo>
                    <a:pt x="593" y="233"/>
                    <a:pt x="593" y="233"/>
                    <a:pt x="593" y="233"/>
                  </a:cubicBezTo>
                  <a:close/>
                  <a:moveTo>
                    <a:pt x="522" y="191"/>
                  </a:move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lose/>
                  <a:moveTo>
                    <a:pt x="522" y="191"/>
                  </a:moveTo>
                  <a:cubicBezTo>
                    <a:pt x="522" y="191"/>
                    <a:pt x="522" y="191"/>
                    <a:pt x="522" y="191"/>
                  </a:cubicBezTo>
                  <a:cubicBezTo>
                    <a:pt x="522" y="191"/>
                    <a:pt x="522" y="191"/>
                    <a:pt x="522" y="191"/>
                  </a:cubicBezTo>
                  <a:close/>
                  <a:moveTo>
                    <a:pt x="579" y="169"/>
                  </a:moveTo>
                  <a:cubicBezTo>
                    <a:pt x="579" y="169"/>
                    <a:pt x="579" y="169"/>
                    <a:pt x="579" y="169"/>
                  </a:cubicBezTo>
                  <a:cubicBezTo>
                    <a:pt x="579" y="169"/>
                    <a:pt x="579" y="169"/>
                    <a:pt x="579" y="169"/>
                  </a:cubicBezTo>
                  <a:close/>
                  <a:moveTo>
                    <a:pt x="654" y="172"/>
                  </a:moveTo>
                  <a:cubicBezTo>
                    <a:pt x="654" y="172"/>
                    <a:pt x="654" y="172"/>
                    <a:pt x="654" y="172"/>
                  </a:cubicBezTo>
                  <a:cubicBezTo>
                    <a:pt x="654" y="172"/>
                    <a:pt x="654" y="172"/>
                    <a:pt x="654" y="1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5" name="Freeform 124"/>
            <p:cNvSpPr>
              <a:spLocks noEditPoints="1"/>
            </p:cNvSpPr>
            <p:nvPr/>
          </p:nvSpPr>
          <p:spPr bwMode="auto">
            <a:xfrm>
              <a:off x="2666" y="439"/>
              <a:ext cx="161" cy="111"/>
            </a:xfrm>
            <a:custGeom>
              <a:avLst/>
              <a:gdLst>
                <a:gd name="T0" fmla="*/ 64 w 68"/>
                <a:gd name="T1" fmla="*/ 32 h 47"/>
                <a:gd name="T2" fmla="*/ 59 w 68"/>
                <a:gd name="T3" fmla="*/ 28 h 47"/>
                <a:gd name="T4" fmla="*/ 55 w 68"/>
                <a:gd name="T5" fmla="*/ 29 h 47"/>
                <a:gd name="T6" fmla="*/ 53 w 68"/>
                <a:gd name="T7" fmla="*/ 27 h 47"/>
                <a:gd name="T8" fmla="*/ 49 w 68"/>
                <a:gd name="T9" fmla="*/ 28 h 47"/>
                <a:gd name="T10" fmla="*/ 47 w 68"/>
                <a:gd name="T11" fmla="*/ 29 h 47"/>
                <a:gd name="T12" fmla="*/ 42 w 68"/>
                <a:gd name="T13" fmla="*/ 28 h 47"/>
                <a:gd name="T14" fmla="*/ 39 w 68"/>
                <a:gd name="T15" fmla="*/ 29 h 47"/>
                <a:gd name="T16" fmla="*/ 37 w 68"/>
                <a:gd name="T17" fmla="*/ 29 h 47"/>
                <a:gd name="T18" fmla="*/ 34 w 68"/>
                <a:gd name="T19" fmla="*/ 25 h 47"/>
                <a:gd name="T20" fmla="*/ 32 w 68"/>
                <a:gd name="T21" fmla="*/ 27 h 47"/>
                <a:gd name="T22" fmla="*/ 27 w 68"/>
                <a:gd name="T23" fmla="*/ 24 h 47"/>
                <a:gd name="T24" fmla="*/ 27 w 68"/>
                <a:gd name="T25" fmla="*/ 21 h 47"/>
                <a:gd name="T26" fmla="*/ 31 w 68"/>
                <a:gd name="T27" fmla="*/ 17 h 47"/>
                <a:gd name="T28" fmla="*/ 25 w 68"/>
                <a:gd name="T29" fmla="*/ 10 h 47"/>
                <a:gd name="T30" fmla="*/ 22 w 68"/>
                <a:gd name="T31" fmla="*/ 8 h 47"/>
                <a:gd name="T32" fmla="*/ 20 w 68"/>
                <a:gd name="T33" fmla="*/ 5 h 47"/>
                <a:gd name="T34" fmla="*/ 18 w 68"/>
                <a:gd name="T35" fmla="*/ 2 h 47"/>
                <a:gd name="T36" fmla="*/ 12 w 68"/>
                <a:gd name="T37" fmla="*/ 0 h 47"/>
                <a:gd name="T38" fmla="*/ 9 w 68"/>
                <a:gd name="T39" fmla="*/ 4 h 47"/>
                <a:gd name="T40" fmla="*/ 8 w 68"/>
                <a:gd name="T41" fmla="*/ 9 h 47"/>
                <a:gd name="T42" fmla="*/ 7 w 68"/>
                <a:gd name="T43" fmla="*/ 11 h 47"/>
                <a:gd name="T44" fmla="*/ 10 w 68"/>
                <a:gd name="T45" fmla="*/ 13 h 47"/>
                <a:gd name="T46" fmla="*/ 14 w 68"/>
                <a:gd name="T47" fmla="*/ 14 h 47"/>
                <a:gd name="T48" fmla="*/ 14 w 68"/>
                <a:gd name="T49" fmla="*/ 17 h 47"/>
                <a:gd name="T50" fmla="*/ 13 w 68"/>
                <a:gd name="T51" fmla="*/ 19 h 47"/>
                <a:gd name="T52" fmla="*/ 11 w 68"/>
                <a:gd name="T53" fmla="*/ 20 h 47"/>
                <a:gd name="T54" fmla="*/ 5 w 68"/>
                <a:gd name="T55" fmla="*/ 23 h 47"/>
                <a:gd name="T56" fmla="*/ 3 w 68"/>
                <a:gd name="T57" fmla="*/ 27 h 47"/>
                <a:gd name="T58" fmla="*/ 0 w 68"/>
                <a:gd name="T59" fmla="*/ 34 h 47"/>
                <a:gd name="T60" fmla="*/ 4 w 68"/>
                <a:gd name="T61" fmla="*/ 36 h 47"/>
                <a:gd name="T62" fmla="*/ 13 w 68"/>
                <a:gd name="T63" fmla="*/ 36 h 47"/>
                <a:gd name="T64" fmla="*/ 14 w 68"/>
                <a:gd name="T65" fmla="*/ 36 h 47"/>
                <a:gd name="T66" fmla="*/ 16 w 68"/>
                <a:gd name="T67" fmla="*/ 40 h 47"/>
                <a:gd name="T68" fmla="*/ 20 w 68"/>
                <a:gd name="T69" fmla="*/ 42 h 47"/>
                <a:gd name="T70" fmla="*/ 23 w 68"/>
                <a:gd name="T71" fmla="*/ 42 h 47"/>
                <a:gd name="T72" fmla="*/ 28 w 68"/>
                <a:gd name="T73" fmla="*/ 42 h 47"/>
                <a:gd name="T74" fmla="*/ 31 w 68"/>
                <a:gd name="T75" fmla="*/ 44 h 47"/>
                <a:gd name="T76" fmla="*/ 34 w 68"/>
                <a:gd name="T77" fmla="*/ 44 h 47"/>
                <a:gd name="T78" fmla="*/ 37 w 68"/>
                <a:gd name="T79" fmla="*/ 43 h 47"/>
                <a:gd name="T80" fmla="*/ 38 w 68"/>
                <a:gd name="T81" fmla="*/ 43 h 47"/>
                <a:gd name="T82" fmla="*/ 39 w 68"/>
                <a:gd name="T83" fmla="*/ 46 h 47"/>
                <a:gd name="T84" fmla="*/ 46 w 68"/>
                <a:gd name="T85" fmla="*/ 46 h 47"/>
                <a:gd name="T86" fmla="*/ 53 w 68"/>
                <a:gd name="T87" fmla="*/ 47 h 47"/>
                <a:gd name="T88" fmla="*/ 58 w 68"/>
                <a:gd name="T89" fmla="*/ 44 h 47"/>
                <a:gd name="T90" fmla="*/ 60 w 68"/>
                <a:gd name="T91" fmla="*/ 40 h 47"/>
                <a:gd name="T92" fmla="*/ 63 w 68"/>
                <a:gd name="T93" fmla="*/ 38 h 47"/>
                <a:gd name="T94" fmla="*/ 67 w 68"/>
                <a:gd name="T95" fmla="*/ 33 h 47"/>
                <a:gd name="T96" fmla="*/ 24 w 68"/>
                <a:gd name="T97" fmla="*/ 25 h 47"/>
                <a:gd name="T98" fmla="*/ 46 w 68"/>
                <a:gd name="T99" fmla="*/ 30 h 47"/>
                <a:gd name="T100" fmla="*/ 46 w 68"/>
                <a:gd name="T101" fmla="*/ 30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8" h="47">
                  <a:moveTo>
                    <a:pt x="64" y="32"/>
                  </a:move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64" y="32"/>
                    <a:pt x="64" y="32"/>
                    <a:pt x="64" y="31"/>
                  </a:cubicBezTo>
                  <a:cubicBezTo>
                    <a:pt x="64" y="31"/>
                    <a:pt x="64" y="31"/>
                    <a:pt x="64" y="30"/>
                  </a:cubicBezTo>
                  <a:cubicBezTo>
                    <a:pt x="63" y="29"/>
                    <a:pt x="61" y="28"/>
                    <a:pt x="59" y="28"/>
                  </a:cubicBezTo>
                  <a:cubicBezTo>
                    <a:pt x="58" y="28"/>
                    <a:pt x="57" y="28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8"/>
                    <a:pt x="54" y="28"/>
                    <a:pt x="53" y="27"/>
                  </a:cubicBezTo>
                  <a:cubicBezTo>
                    <a:pt x="53" y="27"/>
                    <a:pt x="52" y="27"/>
                    <a:pt x="50" y="28"/>
                  </a:cubicBezTo>
                  <a:cubicBezTo>
                    <a:pt x="50" y="28"/>
                    <a:pt x="50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8"/>
                    <a:pt x="45" y="27"/>
                    <a:pt x="43" y="28"/>
                  </a:cubicBezTo>
                  <a:cubicBezTo>
                    <a:pt x="43" y="28"/>
                    <a:pt x="43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9"/>
                  </a:cubicBezTo>
                  <a:cubicBezTo>
                    <a:pt x="38" y="29"/>
                    <a:pt x="38" y="30"/>
                    <a:pt x="38" y="30"/>
                  </a:cubicBezTo>
                  <a:cubicBezTo>
                    <a:pt x="38" y="30"/>
                    <a:pt x="38" y="30"/>
                    <a:pt x="38" y="30"/>
                  </a:cubicBezTo>
                  <a:cubicBezTo>
                    <a:pt x="37" y="30"/>
                    <a:pt x="37" y="29"/>
                    <a:pt x="37" y="29"/>
                  </a:cubicBezTo>
                  <a:cubicBezTo>
                    <a:pt x="37" y="29"/>
                    <a:pt x="38" y="28"/>
                    <a:pt x="37" y="27"/>
                  </a:cubicBezTo>
                  <a:cubicBezTo>
                    <a:pt x="37" y="25"/>
                    <a:pt x="36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3" y="25"/>
                    <a:pt x="32" y="26"/>
                    <a:pt x="32" y="26"/>
                  </a:cubicBezTo>
                  <a:cubicBezTo>
                    <a:pt x="32" y="26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1" y="26"/>
                    <a:pt x="31" y="26"/>
                    <a:pt x="30" y="26"/>
                  </a:cubicBezTo>
                  <a:cubicBezTo>
                    <a:pt x="30" y="24"/>
                    <a:pt x="29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3"/>
                    <a:pt x="27" y="22"/>
                    <a:pt x="27" y="21"/>
                  </a:cubicBezTo>
                  <a:cubicBezTo>
                    <a:pt x="28" y="22"/>
                    <a:pt x="30" y="21"/>
                    <a:pt x="31" y="20"/>
                  </a:cubicBezTo>
                  <a:cubicBezTo>
                    <a:pt x="31" y="19"/>
                    <a:pt x="31" y="18"/>
                    <a:pt x="30" y="18"/>
                  </a:cubicBezTo>
                  <a:cubicBezTo>
                    <a:pt x="31" y="18"/>
                    <a:pt x="31" y="17"/>
                    <a:pt x="31" y="17"/>
                  </a:cubicBezTo>
                  <a:cubicBezTo>
                    <a:pt x="32" y="16"/>
                    <a:pt x="31" y="15"/>
                    <a:pt x="30" y="13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9" y="11"/>
                    <a:pt x="28" y="10"/>
                    <a:pt x="25" y="10"/>
                  </a:cubicBezTo>
                  <a:cubicBezTo>
                    <a:pt x="25" y="10"/>
                    <a:pt x="24" y="9"/>
                    <a:pt x="24" y="9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9"/>
                    <a:pt x="23" y="8"/>
                    <a:pt x="22" y="8"/>
                  </a:cubicBezTo>
                  <a:cubicBezTo>
                    <a:pt x="23" y="8"/>
                    <a:pt x="23" y="7"/>
                    <a:pt x="23" y="6"/>
                  </a:cubicBezTo>
                  <a:cubicBezTo>
                    <a:pt x="22" y="5"/>
                    <a:pt x="21" y="4"/>
                    <a:pt x="20" y="4"/>
                  </a:cubicBezTo>
                  <a:cubicBezTo>
                    <a:pt x="20" y="5"/>
                    <a:pt x="20" y="5"/>
                    <a:pt x="20" y="5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19" y="3"/>
                    <a:pt x="19" y="3"/>
                    <a:pt x="18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7" y="1"/>
                    <a:pt x="15" y="1"/>
                    <a:pt x="15" y="1"/>
                  </a:cubicBezTo>
                  <a:cubicBezTo>
                    <a:pt x="14" y="1"/>
                    <a:pt x="13" y="0"/>
                    <a:pt x="13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0" y="0"/>
                    <a:pt x="9" y="1"/>
                    <a:pt x="9" y="2"/>
                  </a:cubicBezTo>
                  <a:cubicBezTo>
                    <a:pt x="9" y="3"/>
                    <a:pt x="9" y="3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9" y="4"/>
                    <a:pt x="8" y="3"/>
                    <a:pt x="8" y="3"/>
                  </a:cubicBezTo>
                  <a:cubicBezTo>
                    <a:pt x="7" y="3"/>
                    <a:pt x="6" y="4"/>
                    <a:pt x="6" y="5"/>
                  </a:cubicBezTo>
                  <a:cubicBezTo>
                    <a:pt x="6" y="6"/>
                    <a:pt x="6" y="8"/>
                    <a:pt x="8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2"/>
                    <a:pt x="7" y="12"/>
                    <a:pt x="8" y="12"/>
                  </a:cubicBezTo>
                  <a:cubicBezTo>
                    <a:pt x="8" y="12"/>
                    <a:pt x="9" y="12"/>
                    <a:pt x="9" y="12"/>
                  </a:cubicBezTo>
                  <a:cubicBezTo>
                    <a:pt x="10" y="12"/>
                    <a:pt x="10" y="12"/>
                    <a:pt x="10" y="13"/>
                  </a:cubicBezTo>
                  <a:cubicBezTo>
                    <a:pt x="10" y="13"/>
                    <a:pt x="11" y="13"/>
                    <a:pt x="11" y="14"/>
                  </a:cubicBezTo>
                  <a:cubicBezTo>
                    <a:pt x="12" y="14"/>
                    <a:pt x="12" y="15"/>
                    <a:pt x="14" y="15"/>
                  </a:cubicBezTo>
                  <a:cubicBezTo>
                    <a:pt x="14" y="15"/>
                    <a:pt x="14" y="14"/>
                    <a:pt x="14" y="14"/>
                  </a:cubicBezTo>
                  <a:cubicBezTo>
                    <a:pt x="14" y="15"/>
                    <a:pt x="14" y="15"/>
                    <a:pt x="14" y="15"/>
                  </a:cubicBezTo>
                  <a:cubicBezTo>
                    <a:pt x="14" y="15"/>
                    <a:pt x="14" y="15"/>
                    <a:pt x="14" y="16"/>
                  </a:cubicBezTo>
                  <a:cubicBezTo>
                    <a:pt x="14" y="16"/>
                    <a:pt x="14" y="17"/>
                    <a:pt x="14" y="17"/>
                  </a:cubicBezTo>
                  <a:cubicBezTo>
                    <a:pt x="14" y="18"/>
                    <a:pt x="14" y="18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2" y="19"/>
                    <a:pt x="12" y="20"/>
                    <a:pt x="12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1"/>
                    <a:pt x="9" y="21"/>
                  </a:cubicBezTo>
                  <a:cubicBezTo>
                    <a:pt x="8" y="22"/>
                    <a:pt x="8" y="22"/>
                    <a:pt x="7" y="22"/>
                  </a:cubicBezTo>
                  <a:cubicBezTo>
                    <a:pt x="7" y="22"/>
                    <a:pt x="6" y="23"/>
                    <a:pt x="5" y="23"/>
                  </a:cubicBezTo>
                  <a:cubicBezTo>
                    <a:pt x="4" y="23"/>
                    <a:pt x="4" y="24"/>
                    <a:pt x="3" y="25"/>
                  </a:cubicBezTo>
                  <a:cubicBezTo>
                    <a:pt x="3" y="26"/>
                    <a:pt x="3" y="27"/>
                    <a:pt x="3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27"/>
                    <a:pt x="3" y="28"/>
                    <a:pt x="3" y="28"/>
                  </a:cubicBezTo>
                  <a:cubicBezTo>
                    <a:pt x="2" y="28"/>
                    <a:pt x="0" y="28"/>
                    <a:pt x="0" y="30"/>
                  </a:cubicBezTo>
                  <a:cubicBezTo>
                    <a:pt x="0" y="32"/>
                    <a:pt x="0" y="34"/>
                    <a:pt x="0" y="34"/>
                  </a:cubicBezTo>
                  <a:cubicBezTo>
                    <a:pt x="1" y="35"/>
                    <a:pt x="1" y="35"/>
                    <a:pt x="2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6"/>
                    <a:pt x="4" y="36"/>
                  </a:cubicBezTo>
                  <a:cubicBezTo>
                    <a:pt x="4" y="37"/>
                    <a:pt x="6" y="37"/>
                    <a:pt x="6" y="37"/>
                  </a:cubicBezTo>
                  <a:cubicBezTo>
                    <a:pt x="8" y="37"/>
                    <a:pt x="10" y="38"/>
                    <a:pt x="11" y="37"/>
                  </a:cubicBezTo>
                  <a:cubicBezTo>
                    <a:pt x="12" y="37"/>
                    <a:pt x="12" y="36"/>
                    <a:pt x="13" y="36"/>
                  </a:cubicBezTo>
                  <a:cubicBezTo>
                    <a:pt x="13" y="35"/>
                    <a:pt x="13" y="35"/>
                    <a:pt x="13" y="35"/>
                  </a:cubicBezTo>
                  <a:cubicBezTo>
                    <a:pt x="13" y="35"/>
                    <a:pt x="13" y="35"/>
                    <a:pt x="13" y="36"/>
                  </a:cubicBezTo>
                  <a:cubicBezTo>
                    <a:pt x="14" y="36"/>
                    <a:pt x="14" y="36"/>
                    <a:pt x="14" y="36"/>
                  </a:cubicBezTo>
                  <a:cubicBezTo>
                    <a:pt x="14" y="37"/>
                    <a:pt x="13" y="37"/>
                    <a:pt x="13" y="38"/>
                  </a:cubicBezTo>
                  <a:cubicBezTo>
                    <a:pt x="13" y="38"/>
                    <a:pt x="13" y="39"/>
                    <a:pt x="13" y="39"/>
                  </a:cubicBezTo>
                  <a:cubicBezTo>
                    <a:pt x="14" y="40"/>
                    <a:pt x="15" y="40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6" y="40"/>
                    <a:pt x="17" y="41"/>
                    <a:pt x="17" y="41"/>
                  </a:cubicBezTo>
                  <a:cubicBezTo>
                    <a:pt x="18" y="41"/>
                    <a:pt x="19" y="42"/>
                    <a:pt x="20" y="42"/>
                  </a:cubicBezTo>
                  <a:cubicBezTo>
                    <a:pt x="20" y="42"/>
                    <a:pt x="20" y="42"/>
                    <a:pt x="20" y="41"/>
                  </a:cubicBezTo>
                  <a:cubicBezTo>
                    <a:pt x="20" y="42"/>
                    <a:pt x="21" y="42"/>
                    <a:pt x="21" y="43"/>
                  </a:cubicBezTo>
                  <a:cubicBezTo>
                    <a:pt x="22" y="43"/>
                    <a:pt x="23" y="43"/>
                    <a:pt x="23" y="42"/>
                  </a:cubicBezTo>
                  <a:cubicBezTo>
                    <a:pt x="24" y="43"/>
                    <a:pt x="24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6" y="43"/>
                    <a:pt x="27" y="43"/>
                    <a:pt x="28" y="42"/>
                  </a:cubicBezTo>
                  <a:cubicBezTo>
                    <a:pt x="28" y="42"/>
                    <a:pt x="28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3"/>
                    <a:pt x="29" y="43"/>
                    <a:pt x="31" y="44"/>
                  </a:cubicBezTo>
                  <a:cubicBezTo>
                    <a:pt x="31" y="44"/>
                    <a:pt x="31" y="44"/>
                    <a:pt x="32" y="44"/>
                  </a:cubicBezTo>
                  <a:cubicBezTo>
                    <a:pt x="32" y="44"/>
                    <a:pt x="33" y="44"/>
                    <a:pt x="33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5" y="44"/>
                    <a:pt x="36" y="44"/>
                    <a:pt x="37" y="43"/>
                  </a:cubicBezTo>
                  <a:cubicBezTo>
                    <a:pt x="36" y="42"/>
                    <a:pt x="36" y="42"/>
                    <a:pt x="36" y="42"/>
                  </a:cubicBez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8" y="42"/>
                    <a:pt x="38" y="42"/>
                  </a:cubicBezTo>
                  <a:cubicBezTo>
                    <a:pt x="38" y="42"/>
                    <a:pt x="38" y="42"/>
                    <a:pt x="38" y="42"/>
                  </a:cubicBezTo>
                  <a:cubicBezTo>
                    <a:pt x="38" y="42"/>
                    <a:pt x="38" y="43"/>
                    <a:pt x="38" y="43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8" y="44"/>
                    <a:pt x="38" y="44"/>
                    <a:pt x="38" y="44"/>
                  </a:cubicBezTo>
                  <a:cubicBezTo>
                    <a:pt x="38" y="45"/>
                    <a:pt x="38" y="45"/>
                    <a:pt x="39" y="46"/>
                  </a:cubicBezTo>
                  <a:cubicBezTo>
                    <a:pt x="39" y="47"/>
                    <a:pt x="40" y="47"/>
                    <a:pt x="42" y="47"/>
                  </a:cubicBezTo>
                  <a:cubicBezTo>
                    <a:pt x="43" y="47"/>
                    <a:pt x="44" y="47"/>
                    <a:pt x="45" y="46"/>
                  </a:cubicBezTo>
                  <a:cubicBezTo>
                    <a:pt x="46" y="46"/>
                    <a:pt x="46" y="46"/>
                    <a:pt x="46" y="46"/>
                  </a:cubicBezTo>
                  <a:cubicBezTo>
                    <a:pt x="47" y="46"/>
                    <a:pt x="48" y="46"/>
                    <a:pt x="49" y="4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0" y="47"/>
                    <a:pt x="52" y="47"/>
                    <a:pt x="53" y="47"/>
                  </a:cubicBezTo>
                  <a:cubicBezTo>
                    <a:pt x="54" y="46"/>
                    <a:pt x="54" y="46"/>
                    <a:pt x="55" y="45"/>
                  </a:cubicBezTo>
                  <a:cubicBezTo>
                    <a:pt x="55" y="45"/>
                    <a:pt x="55" y="45"/>
                    <a:pt x="56" y="45"/>
                  </a:cubicBezTo>
                  <a:cubicBezTo>
                    <a:pt x="56" y="44"/>
                    <a:pt x="57" y="44"/>
                    <a:pt x="58" y="44"/>
                  </a:cubicBezTo>
                  <a:cubicBezTo>
                    <a:pt x="58" y="44"/>
                    <a:pt x="60" y="44"/>
                    <a:pt x="60" y="43"/>
                  </a:cubicBezTo>
                  <a:cubicBezTo>
                    <a:pt x="60" y="42"/>
                    <a:pt x="60" y="41"/>
                    <a:pt x="60" y="41"/>
                  </a:cubicBezTo>
                  <a:cubicBezTo>
                    <a:pt x="60" y="41"/>
                    <a:pt x="60" y="40"/>
                    <a:pt x="60" y="40"/>
                  </a:cubicBezTo>
                  <a:cubicBezTo>
                    <a:pt x="60" y="40"/>
                    <a:pt x="60" y="40"/>
                    <a:pt x="61" y="40"/>
                  </a:cubicBezTo>
                  <a:cubicBezTo>
                    <a:pt x="61" y="40"/>
                    <a:pt x="62" y="39"/>
                    <a:pt x="62" y="39"/>
                  </a:cubicBezTo>
                  <a:cubicBezTo>
                    <a:pt x="63" y="39"/>
                    <a:pt x="63" y="39"/>
                    <a:pt x="63" y="38"/>
                  </a:cubicBezTo>
                  <a:cubicBezTo>
                    <a:pt x="63" y="38"/>
                    <a:pt x="63" y="38"/>
                    <a:pt x="64" y="38"/>
                  </a:cubicBezTo>
                  <a:cubicBezTo>
                    <a:pt x="64" y="38"/>
                    <a:pt x="66" y="38"/>
                    <a:pt x="66" y="37"/>
                  </a:cubicBezTo>
                  <a:cubicBezTo>
                    <a:pt x="68" y="36"/>
                    <a:pt x="67" y="34"/>
                    <a:pt x="67" y="33"/>
                  </a:cubicBezTo>
                  <a:cubicBezTo>
                    <a:pt x="66" y="32"/>
                    <a:pt x="65" y="32"/>
                    <a:pt x="64" y="32"/>
                  </a:cubicBezTo>
                  <a:close/>
                  <a:moveTo>
                    <a:pt x="24" y="25"/>
                  </a:moveTo>
                  <a:cubicBezTo>
                    <a:pt x="24" y="25"/>
                    <a:pt x="24" y="25"/>
                    <a:pt x="24" y="25"/>
                  </a:cubicBezTo>
                  <a:cubicBezTo>
                    <a:pt x="24" y="24"/>
                    <a:pt x="24" y="24"/>
                    <a:pt x="24" y="24"/>
                  </a:cubicBezTo>
                  <a:lnTo>
                    <a:pt x="24" y="25"/>
                  </a:lnTo>
                  <a:close/>
                  <a:moveTo>
                    <a:pt x="46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6" name="Freeform 125"/>
            <p:cNvSpPr>
              <a:spLocks noEditPoints="1"/>
            </p:cNvSpPr>
            <p:nvPr/>
          </p:nvSpPr>
          <p:spPr bwMode="auto">
            <a:xfrm>
              <a:off x="2581" y="439"/>
              <a:ext cx="85" cy="57"/>
            </a:xfrm>
            <a:custGeom>
              <a:avLst/>
              <a:gdLst>
                <a:gd name="T0" fmla="*/ 19 w 36"/>
                <a:gd name="T1" fmla="*/ 7 h 24"/>
                <a:gd name="T2" fmla="*/ 19 w 36"/>
                <a:gd name="T3" fmla="*/ 7 h 24"/>
                <a:gd name="T4" fmla="*/ 19 w 36"/>
                <a:gd name="T5" fmla="*/ 3 h 24"/>
                <a:gd name="T6" fmla="*/ 18 w 36"/>
                <a:gd name="T7" fmla="*/ 1 h 24"/>
                <a:gd name="T8" fmla="*/ 14 w 36"/>
                <a:gd name="T9" fmla="*/ 3 h 24"/>
                <a:gd name="T10" fmla="*/ 14 w 36"/>
                <a:gd name="T11" fmla="*/ 4 h 24"/>
                <a:gd name="T12" fmla="*/ 10 w 36"/>
                <a:gd name="T13" fmla="*/ 8 h 24"/>
                <a:gd name="T14" fmla="*/ 8 w 36"/>
                <a:gd name="T15" fmla="*/ 8 h 24"/>
                <a:gd name="T16" fmla="*/ 4 w 36"/>
                <a:gd name="T17" fmla="*/ 9 h 24"/>
                <a:gd name="T18" fmla="*/ 4 w 36"/>
                <a:gd name="T19" fmla="*/ 10 h 24"/>
                <a:gd name="T20" fmla="*/ 3 w 36"/>
                <a:gd name="T21" fmla="*/ 9 h 24"/>
                <a:gd name="T22" fmla="*/ 0 w 36"/>
                <a:gd name="T23" fmla="*/ 10 h 24"/>
                <a:gd name="T24" fmla="*/ 3 w 36"/>
                <a:gd name="T25" fmla="*/ 14 h 24"/>
                <a:gd name="T26" fmla="*/ 6 w 36"/>
                <a:gd name="T27" fmla="*/ 14 h 24"/>
                <a:gd name="T28" fmla="*/ 9 w 36"/>
                <a:gd name="T29" fmla="*/ 14 h 24"/>
                <a:gd name="T30" fmla="*/ 8 w 36"/>
                <a:gd name="T31" fmla="*/ 15 h 24"/>
                <a:gd name="T32" fmla="*/ 3 w 36"/>
                <a:gd name="T33" fmla="*/ 15 h 24"/>
                <a:gd name="T34" fmla="*/ 3 w 36"/>
                <a:gd name="T35" fmla="*/ 15 h 24"/>
                <a:gd name="T36" fmla="*/ 3 w 36"/>
                <a:gd name="T37" fmla="*/ 18 h 24"/>
                <a:gd name="T38" fmla="*/ 3 w 36"/>
                <a:gd name="T39" fmla="*/ 18 h 24"/>
                <a:gd name="T40" fmla="*/ 1 w 36"/>
                <a:gd name="T41" fmla="*/ 20 h 24"/>
                <a:gd name="T42" fmla="*/ 5 w 36"/>
                <a:gd name="T43" fmla="*/ 22 h 24"/>
                <a:gd name="T44" fmla="*/ 8 w 36"/>
                <a:gd name="T45" fmla="*/ 22 h 24"/>
                <a:gd name="T46" fmla="*/ 9 w 36"/>
                <a:gd name="T47" fmla="*/ 23 h 24"/>
                <a:gd name="T48" fmla="*/ 12 w 36"/>
                <a:gd name="T49" fmla="*/ 23 h 24"/>
                <a:gd name="T50" fmla="*/ 14 w 36"/>
                <a:gd name="T51" fmla="*/ 23 h 24"/>
                <a:gd name="T52" fmla="*/ 17 w 36"/>
                <a:gd name="T53" fmla="*/ 19 h 24"/>
                <a:gd name="T54" fmla="*/ 20 w 36"/>
                <a:gd name="T55" fmla="*/ 18 h 24"/>
                <a:gd name="T56" fmla="*/ 22 w 36"/>
                <a:gd name="T57" fmla="*/ 20 h 24"/>
                <a:gd name="T58" fmla="*/ 25 w 36"/>
                <a:gd name="T59" fmla="*/ 18 h 24"/>
                <a:gd name="T60" fmla="*/ 28 w 36"/>
                <a:gd name="T61" fmla="*/ 17 h 24"/>
                <a:gd name="T62" fmla="*/ 28 w 36"/>
                <a:gd name="T63" fmla="*/ 15 h 24"/>
                <a:gd name="T64" fmla="*/ 31 w 36"/>
                <a:gd name="T65" fmla="*/ 11 h 24"/>
                <a:gd name="T66" fmla="*/ 33 w 36"/>
                <a:gd name="T67" fmla="*/ 10 h 24"/>
                <a:gd name="T68" fmla="*/ 35 w 36"/>
                <a:gd name="T69" fmla="*/ 4 h 24"/>
                <a:gd name="T70" fmla="*/ 31 w 36"/>
                <a:gd name="T71" fmla="*/ 4 h 24"/>
                <a:gd name="T72" fmla="*/ 31 w 36"/>
                <a:gd name="T73" fmla="*/ 4 h 24"/>
                <a:gd name="T74" fmla="*/ 30 w 36"/>
                <a:gd name="T75" fmla="*/ 2 h 24"/>
                <a:gd name="T76" fmla="*/ 27 w 36"/>
                <a:gd name="T77" fmla="*/ 0 h 24"/>
                <a:gd name="T78" fmla="*/ 25 w 36"/>
                <a:gd name="T79" fmla="*/ 1 h 24"/>
                <a:gd name="T80" fmla="*/ 22 w 36"/>
                <a:gd name="T81" fmla="*/ 2 h 24"/>
                <a:gd name="T82" fmla="*/ 20 w 36"/>
                <a:gd name="T83" fmla="*/ 4 h 24"/>
                <a:gd name="T84" fmla="*/ 19 w 36"/>
                <a:gd name="T85" fmla="*/ 7 h 24"/>
                <a:gd name="T86" fmla="*/ 4 w 36"/>
                <a:gd name="T87" fmla="*/ 10 h 24"/>
                <a:gd name="T88" fmla="*/ 11 w 36"/>
                <a:gd name="T89" fmla="*/ 23 h 24"/>
                <a:gd name="T90" fmla="*/ 11 w 36"/>
                <a:gd name="T91" fmla="*/ 2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6" h="24">
                  <a:moveTo>
                    <a:pt x="19" y="7"/>
                  </a:move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19" y="5"/>
                    <a:pt x="19" y="4"/>
                    <a:pt x="19" y="3"/>
                  </a:cubicBezTo>
                  <a:cubicBezTo>
                    <a:pt x="19" y="2"/>
                    <a:pt x="19" y="2"/>
                    <a:pt x="18" y="1"/>
                  </a:cubicBezTo>
                  <a:cubicBezTo>
                    <a:pt x="18" y="1"/>
                    <a:pt x="18" y="1"/>
                    <a:pt x="18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5" y="1"/>
                    <a:pt x="14" y="2"/>
                    <a:pt x="14" y="3"/>
                  </a:cubicBezTo>
                  <a:cubicBezTo>
                    <a:pt x="14" y="3"/>
                    <a:pt x="14" y="3"/>
                    <a:pt x="14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4"/>
                    <a:pt x="12" y="4"/>
                    <a:pt x="11" y="6"/>
                  </a:cubicBezTo>
                  <a:cubicBezTo>
                    <a:pt x="11" y="7"/>
                    <a:pt x="11" y="7"/>
                    <a:pt x="10" y="8"/>
                  </a:cubicBezTo>
                  <a:cubicBezTo>
                    <a:pt x="10" y="8"/>
                    <a:pt x="10" y="8"/>
                    <a:pt x="10" y="8"/>
                  </a:cubicBezTo>
                  <a:cubicBezTo>
                    <a:pt x="9" y="8"/>
                    <a:pt x="9" y="8"/>
                    <a:pt x="8" y="8"/>
                  </a:cubicBezTo>
                  <a:cubicBezTo>
                    <a:pt x="7" y="8"/>
                    <a:pt x="7" y="9"/>
                    <a:pt x="6" y="9"/>
                  </a:cubicBezTo>
                  <a:cubicBezTo>
                    <a:pt x="5" y="9"/>
                    <a:pt x="5" y="9"/>
                    <a:pt x="4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4" y="9"/>
                    <a:pt x="4" y="9"/>
                    <a:pt x="3" y="9"/>
                  </a:cubicBezTo>
                  <a:cubicBezTo>
                    <a:pt x="3" y="9"/>
                    <a:pt x="3" y="9"/>
                    <a:pt x="2" y="9"/>
                  </a:cubicBezTo>
                  <a:cubicBezTo>
                    <a:pt x="2" y="9"/>
                    <a:pt x="1" y="9"/>
                    <a:pt x="0" y="10"/>
                  </a:cubicBezTo>
                  <a:cubicBezTo>
                    <a:pt x="0" y="11"/>
                    <a:pt x="0" y="11"/>
                    <a:pt x="0" y="12"/>
                  </a:cubicBezTo>
                  <a:cubicBezTo>
                    <a:pt x="1" y="13"/>
                    <a:pt x="2" y="14"/>
                    <a:pt x="3" y="14"/>
                  </a:cubicBezTo>
                  <a:cubicBezTo>
                    <a:pt x="3" y="14"/>
                    <a:pt x="4" y="14"/>
                    <a:pt x="4" y="14"/>
                  </a:cubicBezTo>
                  <a:cubicBezTo>
                    <a:pt x="5" y="14"/>
                    <a:pt x="5" y="13"/>
                    <a:pt x="6" y="14"/>
                  </a:cubicBezTo>
                  <a:cubicBezTo>
                    <a:pt x="6" y="14"/>
                    <a:pt x="7" y="14"/>
                    <a:pt x="7" y="14"/>
                  </a:cubicBezTo>
                  <a:cubicBezTo>
                    <a:pt x="8" y="14"/>
                    <a:pt x="8" y="14"/>
                    <a:pt x="9" y="14"/>
                  </a:cubicBezTo>
                  <a:cubicBezTo>
                    <a:pt x="9" y="14"/>
                    <a:pt x="9" y="14"/>
                    <a:pt x="10" y="14"/>
                  </a:cubicBezTo>
                  <a:cubicBezTo>
                    <a:pt x="9" y="14"/>
                    <a:pt x="8" y="15"/>
                    <a:pt x="8" y="15"/>
                  </a:cubicBezTo>
                  <a:cubicBezTo>
                    <a:pt x="8" y="15"/>
                    <a:pt x="8" y="15"/>
                    <a:pt x="7" y="15"/>
                  </a:cubicBezTo>
                  <a:cubicBezTo>
                    <a:pt x="6" y="14"/>
                    <a:pt x="5" y="14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3" y="15"/>
                    <a:pt x="3" y="15"/>
                    <a:pt x="3" y="15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2" y="18"/>
                    <a:pt x="2" y="18"/>
                    <a:pt x="2" y="18"/>
                  </a:cubicBezTo>
                  <a:cubicBezTo>
                    <a:pt x="0" y="19"/>
                    <a:pt x="0" y="20"/>
                    <a:pt x="1" y="20"/>
                  </a:cubicBezTo>
                  <a:cubicBezTo>
                    <a:pt x="1" y="22"/>
                    <a:pt x="4" y="22"/>
                    <a:pt x="4" y="22"/>
                  </a:cubicBezTo>
                  <a:cubicBezTo>
                    <a:pt x="5" y="22"/>
                    <a:pt x="5" y="22"/>
                    <a:pt x="5" y="22"/>
                  </a:cubicBezTo>
                  <a:cubicBezTo>
                    <a:pt x="5" y="22"/>
                    <a:pt x="6" y="22"/>
                    <a:pt x="6" y="22"/>
                  </a:cubicBezTo>
                  <a:cubicBezTo>
                    <a:pt x="7" y="22"/>
                    <a:pt x="7" y="22"/>
                    <a:pt x="8" y="22"/>
                  </a:cubicBezTo>
                  <a:cubicBezTo>
                    <a:pt x="8" y="22"/>
                    <a:pt x="9" y="22"/>
                    <a:pt x="9" y="22"/>
                  </a:cubicBezTo>
                  <a:cubicBezTo>
                    <a:pt x="9" y="22"/>
                    <a:pt x="9" y="22"/>
                    <a:pt x="9" y="23"/>
                  </a:cubicBezTo>
                  <a:cubicBezTo>
                    <a:pt x="9" y="23"/>
                    <a:pt x="10" y="24"/>
                    <a:pt x="11" y="24"/>
                  </a:cubicBezTo>
                  <a:cubicBezTo>
                    <a:pt x="11" y="24"/>
                    <a:pt x="12" y="24"/>
                    <a:pt x="12" y="23"/>
                  </a:cubicBezTo>
                  <a:cubicBezTo>
                    <a:pt x="12" y="23"/>
                    <a:pt x="12" y="23"/>
                    <a:pt x="12" y="23"/>
                  </a:cubicBezTo>
                  <a:cubicBezTo>
                    <a:pt x="13" y="23"/>
                    <a:pt x="13" y="23"/>
                    <a:pt x="14" y="23"/>
                  </a:cubicBezTo>
                  <a:cubicBezTo>
                    <a:pt x="14" y="23"/>
                    <a:pt x="14" y="23"/>
                    <a:pt x="15" y="23"/>
                  </a:cubicBezTo>
                  <a:cubicBezTo>
                    <a:pt x="17" y="23"/>
                    <a:pt x="17" y="21"/>
                    <a:pt x="17" y="19"/>
                  </a:cubicBezTo>
                  <a:cubicBezTo>
                    <a:pt x="17" y="19"/>
                    <a:pt x="17" y="19"/>
                    <a:pt x="18" y="19"/>
                  </a:cubicBezTo>
                  <a:cubicBezTo>
                    <a:pt x="18" y="18"/>
                    <a:pt x="19" y="18"/>
                    <a:pt x="20" y="18"/>
                  </a:cubicBezTo>
                  <a:cubicBezTo>
                    <a:pt x="20" y="19"/>
                    <a:pt x="21" y="20"/>
                    <a:pt x="22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3" y="20"/>
                    <a:pt x="24" y="19"/>
                    <a:pt x="24" y="18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25" y="18"/>
                    <a:pt x="26" y="18"/>
                    <a:pt x="26" y="18"/>
                  </a:cubicBezTo>
                  <a:cubicBezTo>
                    <a:pt x="27" y="18"/>
                    <a:pt x="27" y="18"/>
                    <a:pt x="28" y="17"/>
                  </a:cubicBezTo>
                  <a:cubicBezTo>
                    <a:pt x="28" y="16"/>
                    <a:pt x="28" y="15"/>
                    <a:pt x="28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7" y="14"/>
                    <a:pt x="27" y="14"/>
                    <a:pt x="27" y="14"/>
                  </a:cubicBezTo>
                  <a:cubicBezTo>
                    <a:pt x="29" y="14"/>
                    <a:pt x="30" y="13"/>
                    <a:pt x="31" y="11"/>
                  </a:cubicBezTo>
                  <a:cubicBezTo>
                    <a:pt x="31" y="11"/>
                    <a:pt x="32" y="11"/>
                    <a:pt x="32" y="10"/>
                  </a:cubicBezTo>
                  <a:cubicBezTo>
                    <a:pt x="32" y="10"/>
                    <a:pt x="32" y="10"/>
                    <a:pt x="33" y="10"/>
                  </a:cubicBezTo>
                  <a:cubicBezTo>
                    <a:pt x="33" y="10"/>
                    <a:pt x="34" y="10"/>
                    <a:pt x="35" y="9"/>
                  </a:cubicBezTo>
                  <a:cubicBezTo>
                    <a:pt x="36" y="7"/>
                    <a:pt x="35" y="4"/>
                    <a:pt x="35" y="4"/>
                  </a:cubicBezTo>
                  <a:cubicBezTo>
                    <a:pt x="35" y="2"/>
                    <a:pt x="33" y="2"/>
                    <a:pt x="32" y="3"/>
                  </a:cubicBezTo>
                  <a:cubicBezTo>
                    <a:pt x="31" y="3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1" y="4"/>
                    <a:pt x="31" y="4"/>
                    <a:pt x="31" y="4"/>
                  </a:cubicBezTo>
                  <a:cubicBezTo>
                    <a:pt x="30" y="3"/>
                    <a:pt x="30" y="3"/>
                    <a:pt x="30" y="2"/>
                  </a:cubicBezTo>
                  <a:cubicBezTo>
                    <a:pt x="30" y="2"/>
                    <a:pt x="30" y="2"/>
                    <a:pt x="30" y="2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9" y="1"/>
                    <a:pt x="28" y="0"/>
                    <a:pt x="27" y="0"/>
                  </a:cubicBezTo>
                  <a:cubicBezTo>
                    <a:pt x="26" y="0"/>
                    <a:pt x="26" y="0"/>
                    <a:pt x="25" y="0"/>
                  </a:cubicBezTo>
                  <a:cubicBezTo>
                    <a:pt x="25" y="1"/>
                    <a:pt x="25" y="1"/>
                    <a:pt x="25" y="1"/>
                  </a:cubicBezTo>
                  <a:cubicBezTo>
                    <a:pt x="24" y="1"/>
                    <a:pt x="24" y="1"/>
                    <a:pt x="24" y="1"/>
                  </a:cubicBezTo>
                  <a:cubicBezTo>
                    <a:pt x="23" y="1"/>
                    <a:pt x="22" y="2"/>
                    <a:pt x="22" y="2"/>
                  </a:cubicBezTo>
                  <a:cubicBezTo>
                    <a:pt x="21" y="3"/>
                    <a:pt x="21" y="3"/>
                    <a:pt x="21" y="4"/>
                  </a:cubicBezTo>
                  <a:cubicBezTo>
                    <a:pt x="21" y="4"/>
                    <a:pt x="21" y="4"/>
                    <a:pt x="20" y="4"/>
                  </a:cubicBezTo>
                  <a:cubicBezTo>
                    <a:pt x="20" y="5"/>
                    <a:pt x="19" y="6"/>
                    <a:pt x="19" y="6"/>
                  </a:cubicBezTo>
                  <a:cubicBezTo>
                    <a:pt x="19" y="6"/>
                    <a:pt x="19" y="7"/>
                    <a:pt x="19" y="7"/>
                  </a:cubicBezTo>
                  <a:close/>
                  <a:moveTo>
                    <a:pt x="4" y="10"/>
                  </a:move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lose/>
                  <a:moveTo>
                    <a:pt x="11" y="23"/>
                  </a:moveTo>
                  <a:cubicBezTo>
                    <a:pt x="11" y="23"/>
                    <a:pt x="11" y="23"/>
                    <a:pt x="11" y="23"/>
                  </a:cubicBezTo>
                  <a:cubicBezTo>
                    <a:pt x="11" y="23"/>
                    <a:pt x="11" y="23"/>
                    <a:pt x="11" y="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7" name="Freeform 126"/>
            <p:cNvSpPr>
              <a:spLocks/>
            </p:cNvSpPr>
            <p:nvPr/>
          </p:nvSpPr>
          <p:spPr bwMode="auto">
            <a:xfrm>
              <a:off x="2624" y="716"/>
              <a:ext cx="49" cy="38"/>
            </a:xfrm>
            <a:custGeom>
              <a:avLst/>
              <a:gdLst>
                <a:gd name="T0" fmla="*/ 5 w 21"/>
                <a:gd name="T1" fmla="*/ 15 h 16"/>
                <a:gd name="T2" fmla="*/ 6 w 21"/>
                <a:gd name="T3" fmla="*/ 15 h 16"/>
                <a:gd name="T4" fmla="*/ 7 w 21"/>
                <a:gd name="T5" fmla="*/ 16 h 16"/>
                <a:gd name="T6" fmla="*/ 9 w 21"/>
                <a:gd name="T7" fmla="*/ 16 h 16"/>
                <a:gd name="T8" fmla="*/ 9 w 21"/>
                <a:gd name="T9" fmla="*/ 16 h 16"/>
                <a:gd name="T10" fmla="*/ 11 w 21"/>
                <a:gd name="T11" fmla="*/ 15 h 16"/>
                <a:gd name="T12" fmla="*/ 12 w 21"/>
                <a:gd name="T13" fmla="*/ 15 h 16"/>
                <a:gd name="T14" fmla="*/ 15 w 21"/>
                <a:gd name="T15" fmla="*/ 12 h 16"/>
                <a:gd name="T16" fmla="*/ 16 w 21"/>
                <a:gd name="T17" fmla="*/ 11 h 16"/>
                <a:gd name="T18" fmla="*/ 17 w 21"/>
                <a:gd name="T19" fmla="*/ 9 h 16"/>
                <a:gd name="T20" fmla="*/ 20 w 21"/>
                <a:gd name="T21" fmla="*/ 3 h 16"/>
                <a:gd name="T22" fmla="*/ 15 w 21"/>
                <a:gd name="T23" fmla="*/ 0 h 16"/>
                <a:gd name="T24" fmla="*/ 15 w 21"/>
                <a:gd name="T25" fmla="*/ 0 h 16"/>
                <a:gd name="T26" fmla="*/ 14 w 21"/>
                <a:gd name="T27" fmla="*/ 0 h 16"/>
                <a:gd name="T28" fmla="*/ 11 w 21"/>
                <a:gd name="T29" fmla="*/ 1 h 16"/>
                <a:gd name="T30" fmla="*/ 9 w 21"/>
                <a:gd name="T31" fmla="*/ 2 h 16"/>
                <a:gd name="T32" fmla="*/ 9 w 21"/>
                <a:gd name="T33" fmla="*/ 3 h 16"/>
                <a:gd name="T34" fmla="*/ 7 w 21"/>
                <a:gd name="T35" fmla="*/ 4 h 16"/>
                <a:gd name="T36" fmla="*/ 4 w 21"/>
                <a:gd name="T37" fmla="*/ 8 h 16"/>
                <a:gd name="T38" fmla="*/ 3 w 21"/>
                <a:gd name="T39" fmla="*/ 9 h 16"/>
                <a:gd name="T40" fmla="*/ 2 w 21"/>
                <a:gd name="T41" fmla="*/ 13 h 16"/>
                <a:gd name="T42" fmla="*/ 5 w 21"/>
                <a:gd name="T43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1" h="16">
                  <a:moveTo>
                    <a:pt x="5" y="15"/>
                  </a:moveTo>
                  <a:cubicBezTo>
                    <a:pt x="5" y="15"/>
                    <a:pt x="6" y="15"/>
                    <a:pt x="6" y="15"/>
                  </a:cubicBezTo>
                  <a:cubicBezTo>
                    <a:pt x="6" y="15"/>
                    <a:pt x="6" y="15"/>
                    <a:pt x="7" y="16"/>
                  </a:cubicBezTo>
                  <a:cubicBezTo>
                    <a:pt x="7" y="16"/>
                    <a:pt x="8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10" y="16"/>
                    <a:pt x="11" y="16"/>
                    <a:pt x="11" y="15"/>
                  </a:cubicBezTo>
                  <a:cubicBezTo>
                    <a:pt x="12" y="15"/>
                    <a:pt x="12" y="15"/>
                    <a:pt x="12" y="15"/>
                  </a:cubicBezTo>
                  <a:cubicBezTo>
                    <a:pt x="13" y="14"/>
                    <a:pt x="14" y="13"/>
                    <a:pt x="15" y="12"/>
                  </a:cubicBezTo>
                  <a:cubicBezTo>
                    <a:pt x="15" y="12"/>
                    <a:pt x="15" y="11"/>
                    <a:pt x="16" y="11"/>
                  </a:cubicBezTo>
                  <a:cubicBezTo>
                    <a:pt x="16" y="10"/>
                    <a:pt x="16" y="9"/>
                    <a:pt x="17" y="9"/>
                  </a:cubicBezTo>
                  <a:cubicBezTo>
                    <a:pt x="20" y="7"/>
                    <a:pt x="21" y="6"/>
                    <a:pt x="20" y="3"/>
                  </a:cubicBezTo>
                  <a:cubicBezTo>
                    <a:pt x="19" y="1"/>
                    <a:pt x="17" y="0"/>
                    <a:pt x="1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13" y="0"/>
                    <a:pt x="12" y="0"/>
                    <a:pt x="11" y="1"/>
                  </a:cubicBezTo>
                  <a:cubicBezTo>
                    <a:pt x="10" y="1"/>
                    <a:pt x="10" y="2"/>
                    <a:pt x="9" y="2"/>
                  </a:cubicBezTo>
                  <a:cubicBezTo>
                    <a:pt x="9" y="2"/>
                    <a:pt x="9" y="3"/>
                    <a:pt x="9" y="3"/>
                  </a:cubicBezTo>
                  <a:cubicBezTo>
                    <a:pt x="8" y="3"/>
                    <a:pt x="8" y="4"/>
                    <a:pt x="7" y="4"/>
                  </a:cubicBezTo>
                  <a:cubicBezTo>
                    <a:pt x="5" y="5"/>
                    <a:pt x="4" y="6"/>
                    <a:pt x="4" y="8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2" y="10"/>
                    <a:pt x="0" y="11"/>
                    <a:pt x="2" y="13"/>
                  </a:cubicBezTo>
                  <a:cubicBezTo>
                    <a:pt x="2" y="15"/>
                    <a:pt x="4" y="15"/>
                    <a:pt x="5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8" name="Freeform 127"/>
            <p:cNvSpPr>
              <a:spLocks/>
            </p:cNvSpPr>
            <p:nvPr/>
          </p:nvSpPr>
          <p:spPr bwMode="auto">
            <a:xfrm>
              <a:off x="2621" y="482"/>
              <a:ext cx="50" cy="35"/>
            </a:xfrm>
            <a:custGeom>
              <a:avLst/>
              <a:gdLst>
                <a:gd name="T0" fmla="*/ 17 w 21"/>
                <a:gd name="T1" fmla="*/ 0 h 15"/>
                <a:gd name="T2" fmla="*/ 13 w 21"/>
                <a:gd name="T3" fmla="*/ 1 h 15"/>
                <a:gd name="T4" fmla="*/ 12 w 21"/>
                <a:gd name="T5" fmla="*/ 1 h 15"/>
                <a:gd name="T6" fmla="*/ 7 w 21"/>
                <a:gd name="T7" fmla="*/ 2 h 15"/>
                <a:gd name="T8" fmla="*/ 6 w 21"/>
                <a:gd name="T9" fmla="*/ 3 h 15"/>
                <a:gd name="T10" fmla="*/ 6 w 21"/>
                <a:gd name="T11" fmla="*/ 3 h 15"/>
                <a:gd name="T12" fmla="*/ 4 w 21"/>
                <a:gd name="T13" fmla="*/ 3 h 15"/>
                <a:gd name="T14" fmla="*/ 3 w 21"/>
                <a:gd name="T15" fmla="*/ 4 h 15"/>
                <a:gd name="T16" fmla="*/ 0 w 21"/>
                <a:gd name="T17" fmla="*/ 7 h 15"/>
                <a:gd name="T18" fmla="*/ 2 w 21"/>
                <a:gd name="T19" fmla="*/ 8 h 15"/>
                <a:gd name="T20" fmla="*/ 2 w 21"/>
                <a:gd name="T21" fmla="*/ 10 h 15"/>
                <a:gd name="T22" fmla="*/ 4 w 21"/>
                <a:gd name="T23" fmla="*/ 12 h 15"/>
                <a:gd name="T24" fmla="*/ 7 w 21"/>
                <a:gd name="T25" fmla="*/ 13 h 15"/>
                <a:gd name="T26" fmla="*/ 10 w 21"/>
                <a:gd name="T27" fmla="*/ 15 h 15"/>
                <a:gd name="T28" fmla="*/ 15 w 21"/>
                <a:gd name="T29" fmla="*/ 11 h 15"/>
                <a:gd name="T30" fmla="*/ 15 w 21"/>
                <a:gd name="T31" fmla="*/ 10 h 15"/>
                <a:gd name="T32" fmla="*/ 17 w 21"/>
                <a:gd name="T33" fmla="*/ 9 h 15"/>
                <a:gd name="T34" fmla="*/ 21 w 21"/>
                <a:gd name="T35" fmla="*/ 3 h 15"/>
                <a:gd name="T36" fmla="*/ 17 w 21"/>
                <a:gd name="T37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" h="15">
                  <a:moveTo>
                    <a:pt x="17" y="0"/>
                  </a:moveTo>
                  <a:cubicBezTo>
                    <a:pt x="16" y="0"/>
                    <a:pt x="15" y="0"/>
                    <a:pt x="13" y="1"/>
                  </a:cubicBezTo>
                  <a:cubicBezTo>
                    <a:pt x="13" y="1"/>
                    <a:pt x="12" y="1"/>
                    <a:pt x="12" y="1"/>
                  </a:cubicBezTo>
                  <a:cubicBezTo>
                    <a:pt x="10" y="1"/>
                    <a:pt x="9" y="2"/>
                    <a:pt x="7" y="2"/>
                  </a:cubicBezTo>
                  <a:cubicBezTo>
                    <a:pt x="7" y="3"/>
                    <a:pt x="6" y="3"/>
                    <a:pt x="6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4" y="3"/>
                    <a:pt x="3" y="3"/>
                    <a:pt x="3" y="4"/>
                  </a:cubicBezTo>
                  <a:cubicBezTo>
                    <a:pt x="3" y="4"/>
                    <a:pt x="0" y="5"/>
                    <a:pt x="0" y="7"/>
                  </a:cubicBezTo>
                  <a:cubicBezTo>
                    <a:pt x="0" y="7"/>
                    <a:pt x="1" y="8"/>
                    <a:pt x="2" y="8"/>
                  </a:cubicBezTo>
                  <a:cubicBezTo>
                    <a:pt x="2" y="9"/>
                    <a:pt x="2" y="9"/>
                    <a:pt x="2" y="10"/>
                  </a:cubicBezTo>
                  <a:cubicBezTo>
                    <a:pt x="2" y="11"/>
                    <a:pt x="4" y="11"/>
                    <a:pt x="4" y="12"/>
                  </a:cubicBezTo>
                  <a:cubicBezTo>
                    <a:pt x="5" y="12"/>
                    <a:pt x="6" y="13"/>
                    <a:pt x="7" y="13"/>
                  </a:cubicBezTo>
                  <a:cubicBezTo>
                    <a:pt x="8" y="14"/>
                    <a:pt x="9" y="15"/>
                    <a:pt x="10" y="15"/>
                  </a:cubicBezTo>
                  <a:cubicBezTo>
                    <a:pt x="12" y="15"/>
                    <a:pt x="13" y="13"/>
                    <a:pt x="15" y="11"/>
                  </a:cubicBezTo>
                  <a:cubicBezTo>
                    <a:pt x="15" y="11"/>
                    <a:pt x="15" y="10"/>
                    <a:pt x="15" y="10"/>
                  </a:cubicBezTo>
                  <a:cubicBezTo>
                    <a:pt x="16" y="10"/>
                    <a:pt x="16" y="9"/>
                    <a:pt x="17" y="9"/>
                  </a:cubicBezTo>
                  <a:cubicBezTo>
                    <a:pt x="19" y="7"/>
                    <a:pt x="21" y="6"/>
                    <a:pt x="21" y="3"/>
                  </a:cubicBezTo>
                  <a:cubicBezTo>
                    <a:pt x="21" y="1"/>
                    <a:pt x="19" y="0"/>
                    <a:pt x="1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29" name="Freeform 128"/>
            <p:cNvSpPr>
              <a:spLocks/>
            </p:cNvSpPr>
            <p:nvPr/>
          </p:nvSpPr>
          <p:spPr bwMode="auto">
            <a:xfrm>
              <a:off x="2664" y="356"/>
              <a:ext cx="59" cy="64"/>
            </a:xfrm>
            <a:custGeom>
              <a:avLst/>
              <a:gdLst>
                <a:gd name="T0" fmla="*/ 3 w 25"/>
                <a:gd name="T1" fmla="*/ 16 h 27"/>
                <a:gd name="T2" fmla="*/ 3 w 25"/>
                <a:gd name="T3" fmla="*/ 16 h 27"/>
                <a:gd name="T4" fmla="*/ 5 w 25"/>
                <a:gd name="T5" fmla="*/ 16 h 27"/>
                <a:gd name="T6" fmla="*/ 6 w 25"/>
                <a:gd name="T7" fmla="*/ 15 h 27"/>
                <a:gd name="T8" fmla="*/ 6 w 25"/>
                <a:gd name="T9" fmla="*/ 16 h 27"/>
                <a:gd name="T10" fmla="*/ 7 w 25"/>
                <a:gd name="T11" fmla="*/ 18 h 27"/>
                <a:gd name="T12" fmla="*/ 9 w 25"/>
                <a:gd name="T13" fmla="*/ 18 h 27"/>
                <a:gd name="T14" fmla="*/ 9 w 25"/>
                <a:gd name="T15" fmla="*/ 18 h 27"/>
                <a:gd name="T16" fmla="*/ 10 w 25"/>
                <a:gd name="T17" fmla="*/ 18 h 27"/>
                <a:gd name="T18" fmla="*/ 10 w 25"/>
                <a:gd name="T19" fmla="*/ 19 h 27"/>
                <a:gd name="T20" fmla="*/ 11 w 25"/>
                <a:gd name="T21" fmla="*/ 19 h 27"/>
                <a:gd name="T22" fmla="*/ 11 w 25"/>
                <a:gd name="T23" fmla="*/ 20 h 27"/>
                <a:gd name="T24" fmla="*/ 11 w 25"/>
                <a:gd name="T25" fmla="*/ 20 h 27"/>
                <a:gd name="T26" fmla="*/ 9 w 25"/>
                <a:gd name="T27" fmla="*/ 24 h 27"/>
                <a:gd name="T28" fmla="*/ 10 w 25"/>
                <a:gd name="T29" fmla="*/ 26 h 27"/>
                <a:gd name="T30" fmla="*/ 12 w 25"/>
                <a:gd name="T31" fmla="*/ 27 h 27"/>
                <a:gd name="T32" fmla="*/ 13 w 25"/>
                <a:gd name="T33" fmla="*/ 27 h 27"/>
                <a:gd name="T34" fmla="*/ 14 w 25"/>
                <a:gd name="T35" fmla="*/ 27 h 27"/>
                <a:gd name="T36" fmla="*/ 15 w 25"/>
                <a:gd name="T37" fmla="*/ 27 h 27"/>
                <a:gd name="T38" fmla="*/ 17 w 25"/>
                <a:gd name="T39" fmla="*/ 25 h 27"/>
                <a:gd name="T40" fmla="*/ 18 w 25"/>
                <a:gd name="T41" fmla="*/ 25 h 27"/>
                <a:gd name="T42" fmla="*/ 18 w 25"/>
                <a:gd name="T43" fmla="*/ 24 h 27"/>
                <a:gd name="T44" fmla="*/ 19 w 25"/>
                <a:gd name="T45" fmla="*/ 23 h 27"/>
                <a:gd name="T46" fmla="*/ 20 w 25"/>
                <a:gd name="T47" fmla="*/ 21 h 27"/>
                <a:gd name="T48" fmla="*/ 20 w 25"/>
                <a:gd name="T49" fmla="*/ 20 h 27"/>
                <a:gd name="T50" fmla="*/ 21 w 25"/>
                <a:gd name="T51" fmla="*/ 20 h 27"/>
                <a:gd name="T52" fmla="*/ 25 w 25"/>
                <a:gd name="T53" fmla="*/ 16 h 27"/>
                <a:gd name="T54" fmla="*/ 25 w 25"/>
                <a:gd name="T55" fmla="*/ 15 h 27"/>
                <a:gd name="T56" fmla="*/ 25 w 25"/>
                <a:gd name="T57" fmla="*/ 15 h 27"/>
                <a:gd name="T58" fmla="*/ 25 w 25"/>
                <a:gd name="T59" fmla="*/ 14 h 27"/>
                <a:gd name="T60" fmla="*/ 25 w 25"/>
                <a:gd name="T61" fmla="*/ 12 h 27"/>
                <a:gd name="T62" fmla="*/ 22 w 25"/>
                <a:gd name="T63" fmla="*/ 10 h 27"/>
                <a:gd name="T64" fmla="*/ 22 w 25"/>
                <a:gd name="T65" fmla="*/ 10 h 27"/>
                <a:gd name="T66" fmla="*/ 22 w 25"/>
                <a:gd name="T67" fmla="*/ 10 h 27"/>
                <a:gd name="T68" fmla="*/ 22 w 25"/>
                <a:gd name="T69" fmla="*/ 8 h 27"/>
                <a:gd name="T70" fmla="*/ 20 w 25"/>
                <a:gd name="T71" fmla="*/ 6 h 27"/>
                <a:gd name="T72" fmla="*/ 19 w 25"/>
                <a:gd name="T73" fmla="*/ 7 h 27"/>
                <a:gd name="T74" fmla="*/ 19 w 25"/>
                <a:gd name="T75" fmla="*/ 7 h 27"/>
                <a:gd name="T76" fmla="*/ 18 w 25"/>
                <a:gd name="T77" fmla="*/ 4 h 27"/>
                <a:gd name="T78" fmla="*/ 18 w 25"/>
                <a:gd name="T79" fmla="*/ 3 h 27"/>
                <a:gd name="T80" fmla="*/ 14 w 25"/>
                <a:gd name="T81" fmla="*/ 0 h 27"/>
                <a:gd name="T82" fmla="*/ 12 w 25"/>
                <a:gd name="T83" fmla="*/ 1 h 27"/>
                <a:gd name="T84" fmla="*/ 12 w 25"/>
                <a:gd name="T85" fmla="*/ 1 h 27"/>
                <a:gd name="T86" fmla="*/ 11 w 25"/>
                <a:gd name="T87" fmla="*/ 2 h 27"/>
                <a:gd name="T88" fmla="*/ 8 w 25"/>
                <a:gd name="T89" fmla="*/ 4 h 27"/>
                <a:gd name="T90" fmla="*/ 9 w 25"/>
                <a:gd name="T91" fmla="*/ 5 h 27"/>
                <a:gd name="T92" fmla="*/ 8 w 25"/>
                <a:gd name="T93" fmla="*/ 6 h 27"/>
                <a:gd name="T94" fmla="*/ 8 w 25"/>
                <a:gd name="T95" fmla="*/ 6 h 27"/>
                <a:gd name="T96" fmla="*/ 7 w 25"/>
                <a:gd name="T97" fmla="*/ 8 h 27"/>
                <a:gd name="T98" fmla="*/ 8 w 25"/>
                <a:gd name="T99" fmla="*/ 9 h 27"/>
                <a:gd name="T100" fmla="*/ 8 w 25"/>
                <a:gd name="T101" fmla="*/ 9 h 27"/>
                <a:gd name="T102" fmla="*/ 8 w 25"/>
                <a:gd name="T103" fmla="*/ 9 h 27"/>
                <a:gd name="T104" fmla="*/ 7 w 25"/>
                <a:gd name="T105" fmla="*/ 10 h 27"/>
                <a:gd name="T106" fmla="*/ 7 w 25"/>
                <a:gd name="T107" fmla="*/ 11 h 27"/>
                <a:gd name="T108" fmla="*/ 7 w 25"/>
                <a:gd name="T109" fmla="*/ 11 h 27"/>
                <a:gd name="T110" fmla="*/ 4 w 25"/>
                <a:gd name="T111" fmla="*/ 10 h 27"/>
                <a:gd name="T112" fmla="*/ 2 w 25"/>
                <a:gd name="T113" fmla="*/ 11 h 27"/>
                <a:gd name="T114" fmla="*/ 0 w 25"/>
                <a:gd name="T115" fmla="*/ 14 h 27"/>
                <a:gd name="T116" fmla="*/ 3 w 25"/>
                <a:gd name="T117" fmla="*/ 1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5" h="27">
                  <a:moveTo>
                    <a:pt x="3" y="16"/>
                  </a:moveTo>
                  <a:cubicBezTo>
                    <a:pt x="3" y="16"/>
                    <a:pt x="3" y="16"/>
                    <a:pt x="3" y="16"/>
                  </a:cubicBezTo>
                  <a:cubicBezTo>
                    <a:pt x="4" y="16"/>
                    <a:pt x="4" y="16"/>
                    <a:pt x="5" y="16"/>
                  </a:cubicBezTo>
                  <a:cubicBezTo>
                    <a:pt x="5" y="16"/>
                    <a:pt x="5" y="15"/>
                    <a:pt x="6" y="15"/>
                  </a:cubicBezTo>
                  <a:cubicBezTo>
                    <a:pt x="6" y="16"/>
                    <a:pt x="6" y="16"/>
                    <a:pt x="6" y="16"/>
                  </a:cubicBezTo>
                  <a:cubicBezTo>
                    <a:pt x="6" y="16"/>
                    <a:pt x="6" y="17"/>
                    <a:pt x="7" y="18"/>
                  </a:cubicBezTo>
                  <a:cubicBezTo>
                    <a:pt x="8" y="18"/>
                    <a:pt x="8" y="18"/>
                    <a:pt x="9" y="18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8"/>
                    <a:pt x="10" y="18"/>
                    <a:pt x="10" y="18"/>
                  </a:cubicBezTo>
                  <a:cubicBezTo>
                    <a:pt x="10" y="18"/>
                    <a:pt x="10" y="19"/>
                    <a:pt x="10" y="19"/>
                  </a:cubicBezTo>
                  <a:cubicBezTo>
                    <a:pt x="11" y="19"/>
                    <a:pt x="11" y="19"/>
                    <a:pt x="11" y="19"/>
                  </a:cubicBezTo>
                  <a:cubicBezTo>
                    <a:pt x="11" y="19"/>
                    <a:pt x="11" y="20"/>
                    <a:pt x="11" y="2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0" y="21"/>
                    <a:pt x="9" y="23"/>
                    <a:pt x="9" y="24"/>
                  </a:cubicBezTo>
                  <a:cubicBezTo>
                    <a:pt x="9" y="25"/>
                    <a:pt x="10" y="26"/>
                    <a:pt x="10" y="26"/>
                  </a:cubicBezTo>
                  <a:cubicBezTo>
                    <a:pt x="11" y="26"/>
                    <a:pt x="12" y="26"/>
                    <a:pt x="12" y="27"/>
                  </a:cubicBezTo>
                  <a:cubicBezTo>
                    <a:pt x="13" y="27"/>
                    <a:pt x="13" y="27"/>
                    <a:pt x="13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5" y="27"/>
                    <a:pt x="15" y="27"/>
                    <a:pt x="15" y="27"/>
                  </a:cubicBezTo>
                  <a:cubicBezTo>
                    <a:pt x="16" y="26"/>
                    <a:pt x="17" y="26"/>
                    <a:pt x="17" y="25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4"/>
                    <a:pt x="18" y="24"/>
                    <a:pt x="18" y="24"/>
                  </a:cubicBezTo>
                  <a:cubicBezTo>
                    <a:pt x="19" y="24"/>
                    <a:pt x="19" y="24"/>
                    <a:pt x="19" y="23"/>
                  </a:cubicBezTo>
                  <a:cubicBezTo>
                    <a:pt x="20" y="22"/>
                    <a:pt x="20" y="22"/>
                    <a:pt x="20" y="21"/>
                  </a:cubicBezTo>
                  <a:cubicBezTo>
                    <a:pt x="20" y="21"/>
                    <a:pt x="20" y="20"/>
                    <a:pt x="20" y="20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3" y="19"/>
                    <a:pt x="25" y="19"/>
                    <a:pt x="25" y="16"/>
                  </a:cubicBezTo>
                  <a:cubicBezTo>
                    <a:pt x="25" y="16"/>
                    <a:pt x="25" y="16"/>
                    <a:pt x="25" y="15"/>
                  </a:cubicBezTo>
                  <a:cubicBezTo>
                    <a:pt x="25" y="15"/>
                    <a:pt x="25" y="15"/>
                    <a:pt x="25" y="15"/>
                  </a:cubicBezTo>
                  <a:cubicBezTo>
                    <a:pt x="25" y="15"/>
                    <a:pt x="25" y="14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4" y="11"/>
                    <a:pt x="23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2" y="10"/>
                    <a:pt x="22" y="10"/>
                  </a:cubicBezTo>
                  <a:cubicBezTo>
                    <a:pt x="22" y="10"/>
                    <a:pt x="23" y="9"/>
                    <a:pt x="22" y="8"/>
                  </a:cubicBezTo>
                  <a:cubicBezTo>
                    <a:pt x="22" y="7"/>
                    <a:pt x="21" y="6"/>
                    <a:pt x="20" y="6"/>
                  </a:cubicBezTo>
                  <a:cubicBezTo>
                    <a:pt x="20" y="6"/>
                    <a:pt x="19" y="6"/>
                    <a:pt x="19" y="7"/>
                  </a:cubicBezTo>
                  <a:cubicBezTo>
                    <a:pt x="19" y="7"/>
                    <a:pt x="19" y="7"/>
                    <a:pt x="19" y="7"/>
                  </a:cubicBezTo>
                  <a:cubicBezTo>
                    <a:pt x="19" y="6"/>
                    <a:pt x="18" y="5"/>
                    <a:pt x="18" y="4"/>
                  </a:cubicBezTo>
                  <a:cubicBezTo>
                    <a:pt x="18" y="4"/>
                    <a:pt x="18" y="3"/>
                    <a:pt x="18" y="3"/>
                  </a:cubicBezTo>
                  <a:cubicBezTo>
                    <a:pt x="17" y="1"/>
                    <a:pt x="16" y="0"/>
                    <a:pt x="14" y="0"/>
                  </a:cubicBezTo>
                  <a:cubicBezTo>
                    <a:pt x="14" y="0"/>
                    <a:pt x="13" y="0"/>
                    <a:pt x="12" y="1"/>
                  </a:cubicBezTo>
                  <a:cubicBezTo>
                    <a:pt x="12" y="1"/>
                    <a:pt x="12" y="1"/>
                    <a:pt x="12" y="1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0" y="2"/>
                    <a:pt x="9" y="3"/>
                    <a:pt x="8" y="4"/>
                  </a:cubicBezTo>
                  <a:cubicBezTo>
                    <a:pt x="8" y="5"/>
                    <a:pt x="9" y="5"/>
                    <a:pt x="9" y="5"/>
                  </a:cubicBezTo>
                  <a:cubicBezTo>
                    <a:pt x="9" y="6"/>
                    <a:pt x="9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7" y="6"/>
                    <a:pt x="6" y="7"/>
                    <a:pt x="7" y="8"/>
                  </a:cubicBezTo>
                  <a:cubicBezTo>
                    <a:pt x="7" y="8"/>
                    <a:pt x="7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8" y="9"/>
                    <a:pt x="8" y="9"/>
                  </a:cubicBezTo>
                  <a:cubicBezTo>
                    <a:pt x="8" y="9"/>
                    <a:pt x="7" y="10"/>
                    <a:pt x="7" y="10"/>
                  </a:cubicBezTo>
                  <a:cubicBezTo>
                    <a:pt x="7" y="10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6" y="11"/>
                    <a:pt x="5" y="10"/>
                    <a:pt x="4" y="10"/>
                  </a:cubicBezTo>
                  <a:cubicBezTo>
                    <a:pt x="3" y="10"/>
                    <a:pt x="2" y="10"/>
                    <a:pt x="2" y="11"/>
                  </a:cubicBezTo>
                  <a:cubicBezTo>
                    <a:pt x="0" y="12"/>
                    <a:pt x="0" y="13"/>
                    <a:pt x="0" y="14"/>
                  </a:cubicBezTo>
                  <a:cubicBezTo>
                    <a:pt x="0" y="15"/>
                    <a:pt x="1" y="16"/>
                    <a:pt x="3" y="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0" name="Freeform 129"/>
            <p:cNvSpPr>
              <a:spLocks noEditPoints="1"/>
            </p:cNvSpPr>
            <p:nvPr/>
          </p:nvSpPr>
          <p:spPr bwMode="auto">
            <a:xfrm>
              <a:off x="3449" y="1580"/>
              <a:ext cx="26" cy="26"/>
            </a:xfrm>
            <a:custGeom>
              <a:avLst/>
              <a:gdLst>
                <a:gd name="T0" fmla="*/ 3 w 11"/>
                <a:gd name="T1" fmla="*/ 7 h 11"/>
                <a:gd name="T2" fmla="*/ 3 w 11"/>
                <a:gd name="T3" fmla="*/ 7 h 11"/>
                <a:gd name="T4" fmla="*/ 3 w 11"/>
                <a:gd name="T5" fmla="*/ 8 h 11"/>
                <a:gd name="T6" fmla="*/ 3 w 11"/>
                <a:gd name="T7" fmla="*/ 9 h 11"/>
                <a:gd name="T8" fmla="*/ 4 w 11"/>
                <a:gd name="T9" fmla="*/ 10 h 11"/>
                <a:gd name="T10" fmla="*/ 4 w 11"/>
                <a:gd name="T11" fmla="*/ 10 h 11"/>
                <a:gd name="T12" fmla="*/ 5 w 11"/>
                <a:gd name="T13" fmla="*/ 11 h 11"/>
                <a:gd name="T14" fmla="*/ 6 w 11"/>
                <a:gd name="T15" fmla="*/ 10 h 11"/>
                <a:gd name="T16" fmla="*/ 7 w 11"/>
                <a:gd name="T17" fmla="*/ 9 h 11"/>
                <a:gd name="T18" fmla="*/ 9 w 11"/>
                <a:gd name="T19" fmla="*/ 7 h 11"/>
                <a:gd name="T20" fmla="*/ 9 w 11"/>
                <a:gd name="T21" fmla="*/ 6 h 11"/>
                <a:gd name="T22" fmla="*/ 8 w 11"/>
                <a:gd name="T23" fmla="*/ 6 h 11"/>
                <a:gd name="T24" fmla="*/ 8 w 11"/>
                <a:gd name="T25" fmla="*/ 6 h 11"/>
                <a:gd name="T26" fmla="*/ 9 w 11"/>
                <a:gd name="T27" fmla="*/ 6 h 11"/>
                <a:gd name="T28" fmla="*/ 10 w 11"/>
                <a:gd name="T29" fmla="*/ 5 h 11"/>
                <a:gd name="T30" fmla="*/ 10 w 11"/>
                <a:gd name="T31" fmla="*/ 5 h 11"/>
                <a:gd name="T32" fmla="*/ 10 w 11"/>
                <a:gd name="T33" fmla="*/ 3 h 11"/>
                <a:gd name="T34" fmla="*/ 9 w 11"/>
                <a:gd name="T35" fmla="*/ 2 h 11"/>
                <a:gd name="T36" fmla="*/ 8 w 11"/>
                <a:gd name="T37" fmla="*/ 2 h 11"/>
                <a:gd name="T38" fmla="*/ 8 w 11"/>
                <a:gd name="T39" fmla="*/ 1 h 11"/>
                <a:gd name="T40" fmla="*/ 6 w 11"/>
                <a:gd name="T41" fmla="*/ 0 h 11"/>
                <a:gd name="T42" fmla="*/ 5 w 11"/>
                <a:gd name="T43" fmla="*/ 0 h 11"/>
                <a:gd name="T44" fmla="*/ 4 w 11"/>
                <a:gd name="T45" fmla="*/ 1 h 11"/>
                <a:gd name="T46" fmla="*/ 3 w 11"/>
                <a:gd name="T47" fmla="*/ 1 h 11"/>
                <a:gd name="T48" fmla="*/ 1 w 11"/>
                <a:gd name="T49" fmla="*/ 2 h 11"/>
                <a:gd name="T50" fmla="*/ 1 w 11"/>
                <a:gd name="T51" fmla="*/ 6 h 11"/>
                <a:gd name="T52" fmla="*/ 3 w 11"/>
                <a:gd name="T53" fmla="*/ 7 h 11"/>
                <a:gd name="T54" fmla="*/ 8 w 11"/>
                <a:gd name="T55" fmla="*/ 6 h 11"/>
                <a:gd name="T56" fmla="*/ 8 w 11"/>
                <a:gd name="T57" fmla="*/ 6 h 11"/>
                <a:gd name="T58" fmla="*/ 8 w 11"/>
                <a:gd name="T59" fmla="*/ 6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1" h="11">
                  <a:moveTo>
                    <a:pt x="3" y="7"/>
                  </a:moveTo>
                  <a:cubicBezTo>
                    <a:pt x="3" y="7"/>
                    <a:pt x="3" y="7"/>
                    <a:pt x="3" y="7"/>
                  </a:cubicBezTo>
                  <a:cubicBezTo>
                    <a:pt x="3" y="8"/>
                    <a:pt x="4" y="8"/>
                    <a:pt x="3" y="8"/>
                  </a:cubicBezTo>
                  <a:cubicBezTo>
                    <a:pt x="3" y="8"/>
                    <a:pt x="3" y="9"/>
                    <a:pt x="3" y="9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4" y="10"/>
                    <a:pt x="4" y="10"/>
                    <a:pt x="4" y="10"/>
                  </a:cubicBezTo>
                  <a:cubicBezTo>
                    <a:pt x="5" y="11"/>
                    <a:pt x="5" y="11"/>
                    <a:pt x="5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6" y="10"/>
                    <a:pt x="7" y="9"/>
                    <a:pt x="7" y="9"/>
                  </a:cubicBezTo>
                  <a:cubicBezTo>
                    <a:pt x="8" y="9"/>
                    <a:pt x="8" y="8"/>
                    <a:pt x="9" y="7"/>
                  </a:cubicBezTo>
                  <a:cubicBezTo>
                    <a:pt x="9" y="7"/>
                    <a:pt x="9" y="6"/>
                    <a:pt x="9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ubicBezTo>
                    <a:pt x="9" y="6"/>
                    <a:pt x="9" y="6"/>
                    <a:pt x="9" y="6"/>
                  </a:cubicBezTo>
                  <a:cubicBezTo>
                    <a:pt x="9" y="6"/>
                    <a:pt x="9" y="6"/>
                    <a:pt x="10" y="5"/>
                  </a:cubicBezTo>
                  <a:cubicBezTo>
                    <a:pt x="10" y="5"/>
                    <a:pt x="10" y="5"/>
                    <a:pt x="10" y="5"/>
                  </a:cubicBezTo>
                  <a:cubicBezTo>
                    <a:pt x="10" y="5"/>
                    <a:pt x="11" y="4"/>
                    <a:pt x="10" y="3"/>
                  </a:cubicBezTo>
                  <a:cubicBezTo>
                    <a:pt x="10" y="3"/>
                    <a:pt x="10" y="2"/>
                    <a:pt x="9" y="2"/>
                  </a:cubicBezTo>
                  <a:cubicBezTo>
                    <a:pt x="9" y="2"/>
                    <a:pt x="9" y="2"/>
                    <a:pt x="8" y="2"/>
                  </a:cubicBezTo>
                  <a:cubicBezTo>
                    <a:pt x="8" y="2"/>
                    <a:pt x="8" y="2"/>
                    <a:pt x="8" y="1"/>
                  </a:cubicBezTo>
                  <a:cubicBezTo>
                    <a:pt x="8" y="1"/>
                    <a:pt x="8" y="0"/>
                    <a:pt x="6" y="0"/>
                  </a:cubicBezTo>
                  <a:cubicBezTo>
                    <a:pt x="6" y="0"/>
                    <a:pt x="5" y="0"/>
                    <a:pt x="5" y="0"/>
                  </a:cubicBezTo>
                  <a:cubicBezTo>
                    <a:pt x="5" y="0"/>
                    <a:pt x="4" y="0"/>
                    <a:pt x="4" y="1"/>
                  </a:cubicBezTo>
                  <a:cubicBezTo>
                    <a:pt x="4" y="1"/>
                    <a:pt x="3" y="1"/>
                    <a:pt x="3" y="1"/>
                  </a:cubicBezTo>
                  <a:cubicBezTo>
                    <a:pt x="3" y="1"/>
                    <a:pt x="2" y="2"/>
                    <a:pt x="1" y="2"/>
                  </a:cubicBezTo>
                  <a:cubicBezTo>
                    <a:pt x="0" y="4"/>
                    <a:pt x="0" y="6"/>
                    <a:pt x="1" y="6"/>
                  </a:cubicBezTo>
                  <a:cubicBezTo>
                    <a:pt x="1" y="7"/>
                    <a:pt x="2" y="7"/>
                    <a:pt x="3" y="7"/>
                  </a:cubicBezTo>
                  <a:close/>
                  <a:moveTo>
                    <a:pt x="8" y="6"/>
                  </a:moveTo>
                  <a:cubicBezTo>
                    <a:pt x="8" y="6"/>
                    <a:pt x="8" y="6"/>
                    <a:pt x="8" y="6"/>
                  </a:cubicBezTo>
                  <a:cubicBezTo>
                    <a:pt x="8" y="6"/>
                    <a:pt x="8" y="6"/>
                    <a:pt x="8" y="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  <p:sp>
          <p:nvSpPr>
            <p:cNvPr id="131" name="Freeform 130"/>
            <p:cNvSpPr>
              <a:spLocks/>
            </p:cNvSpPr>
            <p:nvPr/>
          </p:nvSpPr>
          <p:spPr bwMode="auto">
            <a:xfrm>
              <a:off x="3775" y="1128"/>
              <a:ext cx="22" cy="33"/>
            </a:xfrm>
            <a:custGeom>
              <a:avLst/>
              <a:gdLst>
                <a:gd name="T0" fmla="*/ 2 w 9"/>
                <a:gd name="T1" fmla="*/ 14 h 14"/>
                <a:gd name="T2" fmla="*/ 3 w 9"/>
                <a:gd name="T3" fmla="*/ 13 h 14"/>
                <a:gd name="T4" fmla="*/ 4 w 9"/>
                <a:gd name="T5" fmla="*/ 11 h 14"/>
                <a:gd name="T6" fmla="*/ 6 w 9"/>
                <a:gd name="T7" fmla="*/ 11 h 14"/>
                <a:gd name="T8" fmla="*/ 6 w 9"/>
                <a:gd name="T9" fmla="*/ 10 h 14"/>
                <a:gd name="T10" fmla="*/ 7 w 9"/>
                <a:gd name="T11" fmla="*/ 9 h 14"/>
                <a:gd name="T12" fmla="*/ 7 w 9"/>
                <a:gd name="T13" fmla="*/ 9 h 14"/>
                <a:gd name="T14" fmla="*/ 7 w 9"/>
                <a:gd name="T15" fmla="*/ 9 h 14"/>
                <a:gd name="T16" fmla="*/ 7 w 9"/>
                <a:gd name="T17" fmla="*/ 9 h 14"/>
                <a:gd name="T18" fmla="*/ 8 w 9"/>
                <a:gd name="T19" fmla="*/ 6 h 14"/>
                <a:gd name="T20" fmla="*/ 8 w 9"/>
                <a:gd name="T21" fmla="*/ 5 h 14"/>
                <a:gd name="T22" fmla="*/ 8 w 9"/>
                <a:gd name="T23" fmla="*/ 4 h 14"/>
                <a:gd name="T24" fmla="*/ 9 w 9"/>
                <a:gd name="T25" fmla="*/ 3 h 14"/>
                <a:gd name="T26" fmla="*/ 9 w 9"/>
                <a:gd name="T27" fmla="*/ 2 h 14"/>
                <a:gd name="T28" fmla="*/ 7 w 9"/>
                <a:gd name="T29" fmla="*/ 1 h 14"/>
                <a:gd name="T30" fmla="*/ 4 w 9"/>
                <a:gd name="T31" fmla="*/ 2 h 14"/>
                <a:gd name="T32" fmla="*/ 4 w 9"/>
                <a:gd name="T33" fmla="*/ 2 h 14"/>
                <a:gd name="T34" fmla="*/ 3 w 9"/>
                <a:gd name="T35" fmla="*/ 3 h 14"/>
                <a:gd name="T36" fmla="*/ 1 w 9"/>
                <a:gd name="T37" fmla="*/ 5 h 14"/>
                <a:gd name="T38" fmla="*/ 0 w 9"/>
                <a:gd name="T39" fmla="*/ 8 h 14"/>
                <a:gd name="T40" fmla="*/ 0 w 9"/>
                <a:gd name="T41" fmla="*/ 8 h 14"/>
                <a:gd name="T42" fmla="*/ 0 w 9"/>
                <a:gd name="T43" fmla="*/ 9 h 14"/>
                <a:gd name="T44" fmla="*/ 0 w 9"/>
                <a:gd name="T45" fmla="*/ 12 h 14"/>
                <a:gd name="T46" fmla="*/ 2 w 9"/>
                <a:gd name="T4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" h="14">
                  <a:moveTo>
                    <a:pt x="2" y="14"/>
                  </a:moveTo>
                  <a:cubicBezTo>
                    <a:pt x="3" y="13"/>
                    <a:pt x="3" y="13"/>
                    <a:pt x="3" y="13"/>
                  </a:cubicBezTo>
                  <a:cubicBezTo>
                    <a:pt x="4" y="13"/>
                    <a:pt x="4" y="12"/>
                    <a:pt x="4" y="11"/>
                  </a:cubicBezTo>
                  <a:cubicBezTo>
                    <a:pt x="5" y="11"/>
                    <a:pt x="5" y="11"/>
                    <a:pt x="6" y="11"/>
                  </a:cubicBezTo>
                  <a:cubicBezTo>
                    <a:pt x="6" y="10"/>
                    <a:pt x="6" y="10"/>
                    <a:pt x="6" y="10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9" y="8"/>
                    <a:pt x="8" y="6"/>
                    <a:pt x="8" y="6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8" y="5"/>
                    <a:pt x="8" y="5"/>
                    <a:pt x="8" y="4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9" y="3"/>
                    <a:pt x="9" y="2"/>
                    <a:pt x="9" y="2"/>
                  </a:cubicBezTo>
                  <a:cubicBezTo>
                    <a:pt x="9" y="1"/>
                    <a:pt x="8" y="1"/>
                    <a:pt x="7" y="1"/>
                  </a:cubicBezTo>
                  <a:cubicBezTo>
                    <a:pt x="6" y="0"/>
                    <a:pt x="5" y="1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3" y="2"/>
                    <a:pt x="3" y="3"/>
                    <a:pt x="3" y="3"/>
                  </a:cubicBezTo>
                  <a:cubicBezTo>
                    <a:pt x="2" y="3"/>
                    <a:pt x="1" y="4"/>
                    <a:pt x="1" y="5"/>
                  </a:cubicBezTo>
                  <a:cubicBezTo>
                    <a:pt x="0" y="6"/>
                    <a:pt x="0" y="7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9"/>
                    <a:pt x="0" y="9"/>
                  </a:cubicBezTo>
                  <a:cubicBezTo>
                    <a:pt x="0" y="10"/>
                    <a:pt x="0" y="11"/>
                    <a:pt x="0" y="12"/>
                  </a:cubicBezTo>
                  <a:cubicBezTo>
                    <a:pt x="1" y="13"/>
                    <a:pt x="2" y="14"/>
                    <a:pt x="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umer Profile – Employment and Children in household</a:t>
            </a:r>
            <a:endParaRPr lang="en-IN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7</a:t>
            </a:fld>
            <a:endParaRPr lang="en-IN" dirty="0"/>
          </a:p>
        </p:txBody>
      </p:sp>
      <p:graphicFrame>
        <p:nvGraphicFramePr>
          <p:cNvPr id="5" name="Chart 4"/>
          <p:cNvGraphicFramePr/>
          <p:nvPr>
            <p:extLst>
              <p:ext uri="{D42A27DB-BD31-4B8C-83A1-F6EECF244321}">
                <p14:modId xmlns:p14="http://schemas.microsoft.com/office/powerpoint/2010/main" val="4086393053"/>
              </p:ext>
            </p:extLst>
          </p:nvPr>
        </p:nvGraphicFramePr>
        <p:xfrm>
          <a:off x="-442740" y="1735623"/>
          <a:ext cx="7598191" cy="3155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/>
          <p:nvPr>
            <p:extLst>
              <p:ext uri="{D42A27DB-BD31-4B8C-83A1-F6EECF244321}">
                <p14:modId xmlns:p14="http://schemas.microsoft.com/office/powerpoint/2010/main" val="281507283"/>
              </p:ext>
            </p:extLst>
          </p:nvPr>
        </p:nvGraphicFramePr>
        <p:xfrm>
          <a:off x="6191568" y="1985443"/>
          <a:ext cx="6000431" cy="27585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32" name="Group 131"/>
          <p:cNvGrpSpPr/>
          <p:nvPr/>
        </p:nvGrpSpPr>
        <p:grpSpPr>
          <a:xfrm>
            <a:off x="0" y="5413970"/>
            <a:ext cx="12192000" cy="454030"/>
            <a:chOff x="0" y="4682444"/>
            <a:chExt cx="12192000" cy="454030"/>
          </a:xfrm>
        </p:grpSpPr>
        <p:sp>
          <p:nvSpPr>
            <p:cNvPr id="133" name="Rectangle 132"/>
            <p:cNvSpPr/>
            <p:nvPr/>
          </p:nvSpPr>
          <p:spPr>
            <a:xfrm>
              <a:off x="0" y="4682444"/>
              <a:ext cx="12192000" cy="454030"/>
            </a:xfrm>
            <a:prstGeom prst="rect">
              <a:avLst/>
            </a:prstGeom>
            <a:solidFill>
              <a:schemeClr val="accent5">
                <a:lumMod val="75000"/>
                <a:alpha val="79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34" name="Rectangle 133"/>
            <p:cNvSpPr/>
            <p:nvPr/>
          </p:nvSpPr>
          <p:spPr>
            <a:xfrm>
              <a:off x="317552" y="4713786"/>
              <a:ext cx="11874447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lvl="0" indent="-342900">
                <a:spcAft>
                  <a:spcPts val="0"/>
                </a:spcAft>
                <a:buFont typeface="Wingdings" panose="05000000000000000000" pitchFamily="2" charset="2"/>
                <a:buChar char="v"/>
                <a:tabLst>
                  <a:tab pos="457200" algn="l"/>
                </a:tabLst>
              </a:pPr>
              <a:r>
                <a:rPr lang="en-US" dirty="0">
                  <a:solidFill>
                    <a:schemeClr val="bg1"/>
                  </a:solidFill>
                  <a:latin typeface="+mj-lt"/>
                </a:rPr>
                <a:t>47% of consumers are salaried employees, 27% self-employed, 7% are retired, 7% are homemakers and 5% are students. </a:t>
              </a:r>
            </a:p>
          </p:txBody>
        </p:sp>
      </p:grpSp>
      <p:grpSp>
        <p:nvGrpSpPr>
          <p:cNvPr id="135" name="Group 134"/>
          <p:cNvGrpSpPr/>
          <p:nvPr/>
        </p:nvGrpSpPr>
        <p:grpSpPr>
          <a:xfrm>
            <a:off x="0" y="5996862"/>
            <a:ext cx="12192000" cy="454030"/>
            <a:chOff x="0" y="5830110"/>
            <a:chExt cx="12192000" cy="454030"/>
          </a:xfrm>
        </p:grpSpPr>
        <p:sp>
          <p:nvSpPr>
            <p:cNvPr id="136" name="Rectangle 135"/>
            <p:cNvSpPr/>
            <p:nvPr/>
          </p:nvSpPr>
          <p:spPr>
            <a:xfrm>
              <a:off x="0" y="5830110"/>
              <a:ext cx="12192000" cy="454030"/>
            </a:xfrm>
            <a:prstGeom prst="rect">
              <a:avLst/>
            </a:prstGeom>
            <a:solidFill>
              <a:schemeClr val="accent1">
                <a:lumMod val="75000"/>
                <a:alpha val="79000"/>
              </a:schemeClr>
            </a:solidFill>
            <a:ln>
              <a:solidFill>
                <a:schemeClr val="accent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dirty="0"/>
            </a:p>
          </p:txBody>
        </p:sp>
        <p:sp>
          <p:nvSpPr>
            <p:cNvPr id="137" name="Rectangle 136"/>
            <p:cNvSpPr/>
            <p:nvPr/>
          </p:nvSpPr>
          <p:spPr>
            <a:xfrm>
              <a:off x="317553" y="5864417"/>
              <a:ext cx="1037987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lvl="0" indent="-342900">
                <a:spcAft>
                  <a:spcPts val="0"/>
                </a:spcAft>
                <a:buFont typeface="Wingdings" panose="05000000000000000000" pitchFamily="2" charset="2"/>
                <a:buChar char="v"/>
                <a:tabLst>
                  <a:tab pos="457200" algn="l"/>
                </a:tabLst>
              </a:pPr>
              <a:r>
                <a:rPr lang="en-US" dirty="0">
                  <a:solidFill>
                    <a:schemeClr val="bg1"/>
                  </a:solidFill>
                </a:rPr>
                <a:t>Mix of households with kids and without kid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28430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1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5009911"/>
            <a:ext cx="12192000" cy="1869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715594" y="1142865"/>
            <a:ext cx="7123605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Strong impact on</a:t>
            </a:r>
            <a:r>
              <a:rPr kumimoji="0" lang="en-US" sz="2000" b="1" i="0" u="none" strike="noStrike" kern="0" cap="none" spc="0" normalizeH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 doctor consultation across regions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More people are making use of digital consultation through phone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8" name="Oval 7"/>
          <p:cNvSpPr>
            <a:spLocks noChangeAspect="1"/>
          </p:cNvSpPr>
          <p:nvPr/>
        </p:nvSpPr>
        <p:spPr>
          <a:xfrm>
            <a:off x="750302" y="2380854"/>
            <a:ext cx="965292" cy="965292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Oval 10"/>
          <p:cNvSpPr>
            <a:spLocks noChangeAspect="1"/>
          </p:cNvSpPr>
          <p:nvPr/>
        </p:nvSpPr>
        <p:spPr>
          <a:xfrm>
            <a:off x="750302" y="3783917"/>
            <a:ext cx="965292" cy="96529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750302" y="977791"/>
            <a:ext cx="965292" cy="965292"/>
            <a:chOff x="750302" y="1885175"/>
            <a:chExt cx="965292" cy="965292"/>
          </a:xfrm>
        </p:grpSpPr>
        <p:sp>
          <p:nvSpPr>
            <p:cNvPr id="14" name="Oval 13"/>
            <p:cNvSpPr>
              <a:spLocks noChangeAspect="1"/>
            </p:cNvSpPr>
            <p:nvPr/>
          </p:nvSpPr>
          <p:spPr>
            <a:xfrm>
              <a:off x="750302" y="1885175"/>
              <a:ext cx="965292" cy="965292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POWER_USER_ID_ICONS_Microscope"/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260241" y="2576617"/>
              <a:ext cx="32540" cy="60431"/>
            </a:xfrm>
            <a:custGeom>
              <a:avLst/>
              <a:gdLst>
                <a:gd name="T0" fmla="*/ 0 w 38"/>
                <a:gd name="T1" fmla="*/ 0 h 67"/>
                <a:gd name="T2" fmla="*/ 38 w 38"/>
                <a:gd name="T3" fmla="*/ 67 h 67"/>
                <a:gd name="T4" fmla="*/ 9 w 38"/>
                <a:gd name="T5" fmla="*/ 16 h 67"/>
                <a:gd name="T6" fmla="*/ 0 w 38"/>
                <a:gd name="T7" fmla="*/ 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67">
                  <a:moveTo>
                    <a:pt x="0" y="0"/>
                  </a:moveTo>
                  <a:lnTo>
                    <a:pt x="38" y="67"/>
                  </a:lnTo>
                  <a:lnTo>
                    <a:pt x="9" y="1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25" name="Oval 24"/>
          <p:cNvSpPr>
            <a:spLocks noChangeAspect="1"/>
          </p:cNvSpPr>
          <p:nvPr/>
        </p:nvSpPr>
        <p:spPr>
          <a:xfrm>
            <a:off x="750302" y="5186981"/>
            <a:ext cx="965292" cy="96529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1715594" y="2545005"/>
            <a:ext cx="7123605" cy="67710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Online consultation experience is positive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More so with video calls and chats. 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715595" y="3808646"/>
            <a:ext cx="6329510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Travel related consultation is likely to grow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Main purpose would be for check-ups but there will be traction for vaccines as well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715594" y="5072288"/>
            <a:ext cx="6329509" cy="123110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</a:rPr>
              <a:t>New Way of Consultation</a:t>
            </a: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chemeClr val="accent3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Digital is gaining traction as a mode of consultation in developing markets and should be pushed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 smtClean="0">
                <a:solidFill>
                  <a:schemeClr val="bg1"/>
                </a:solidFill>
              </a:rPr>
              <a:t>Developed markets will take more time and more effort.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/>
              <a:t>Summa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8</a:t>
            </a:fld>
            <a:endParaRPr lang="en-IN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6927" y="1415423"/>
            <a:ext cx="4415073" cy="4025747"/>
          </a:xfrm>
          <a:prstGeom prst="rect">
            <a:avLst/>
          </a:prstGeom>
        </p:spPr>
      </p:pic>
      <p:sp>
        <p:nvSpPr>
          <p:cNvPr id="36" name="Freeform 5"/>
          <p:cNvSpPr>
            <a:spLocks noEditPoints="1"/>
          </p:cNvSpPr>
          <p:nvPr/>
        </p:nvSpPr>
        <p:spPr bwMode="auto">
          <a:xfrm>
            <a:off x="810588" y="1091094"/>
            <a:ext cx="809211" cy="718033"/>
          </a:xfrm>
          <a:custGeom>
            <a:avLst/>
            <a:gdLst>
              <a:gd name="T0" fmla="*/ 0 w 1716"/>
              <a:gd name="T1" fmla="*/ 995 h 1522"/>
              <a:gd name="T2" fmla="*/ 1100 w 1716"/>
              <a:gd name="T3" fmla="*/ 973 h 1522"/>
              <a:gd name="T4" fmla="*/ 918 w 1716"/>
              <a:gd name="T5" fmla="*/ 1058 h 1522"/>
              <a:gd name="T6" fmla="*/ 1701 w 1716"/>
              <a:gd name="T7" fmla="*/ 1522 h 1522"/>
              <a:gd name="T8" fmla="*/ 810 w 1716"/>
              <a:gd name="T9" fmla="*/ 1522 h 1522"/>
              <a:gd name="T10" fmla="*/ 800 w 1716"/>
              <a:gd name="T11" fmla="*/ 1333 h 1522"/>
              <a:gd name="T12" fmla="*/ 801 w 1716"/>
              <a:gd name="T13" fmla="*/ 1253 h 1522"/>
              <a:gd name="T14" fmla="*/ 1085 w 1716"/>
              <a:gd name="T15" fmla="*/ 998 h 1522"/>
              <a:gd name="T16" fmla="*/ 1120 w 1716"/>
              <a:gd name="T17" fmla="*/ 961 h 1522"/>
              <a:gd name="T18" fmla="*/ 1021 w 1716"/>
              <a:gd name="T19" fmla="*/ 751 h 1522"/>
              <a:gd name="T20" fmla="*/ 1057 w 1716"/>
              <a:gd name="T21" fmla="*/ 588 h 1522"/>
              <a:gd name="T22" fmla="*/ 1214 w 1716"/>
              <a:gd name="T23" fmla="*/ 490 h 1522"/>
              <a:gd name="T24" fmla="*/ 1244 w 1716"/>
              <a:gd name="T25" fmla="*/ 490 h 1522"/>
              <a:gd name="T26" fmla="*/ 1401 w 1716"/>
              <a:gd name="T27" fmla="*/ 561 h 1522"/>
              <a:gd name="T28" fmla="*/ 1435 w 1716"/>
              <a:gd name="T29" fmla="*/ 727 h 1522"/>
              <a:gd name="T30" fmla="*/ 1432 w 1716"/>
              <a:gd name="T31" fmla="*/ 811 h 1522"/>
              <a:gd name="T32" fmla="*/ 1355 w 1716"/>
              <a:gd name="T33" fmla="*/ 969 h 1522"/>
              <a:gd name="T34" fmla="*/ 1548 w 1716"/>
              <a:gd name="T35" fmla="*/ 1069 h 1522"/>
              <a:gd name="T36" fmla="*/ 1672 w 1716"/>
              <a:gd name="T37" fmla="*/ 1290 h 1522"/>
              <a:gd name="T38" fmla="*/ 1716 w 1716"/>
              <a:gd name="T39" fmla="*/ 1372 h 1522"/>
              <a:gd name="T40" fmla="*/ 436 w 1716"/>
              <a:gd name="T41" fmla="*/ 171 h 1522"/>
              <a:gd name="T42" fmla="*/ 628 w 1716"/>
              <a:gd name="T43" fmla="*/ 1 h 1522"/>
              <a:gd name="T44" fmla="*/ 655 w 1716"/>
              <a:gd name="T45" fmla="*/ 0 h 1522"/>
              <a:gd name="T46" fmla="*/ 715 w 1716"/>
              <a:gd name="T47" fmla="*/ 7 h 1522"/>
              <a:gd name="T48" fmla="*/ 874 w 1716"/>
              <a:gd name="T49" fmla="*/ 257 h 1522"/>
              <a:gd name="T50" fmla="*/ 893 w 1716"/>
              <a:gd name="T51" fmla="*/ 283 h 1522"/>
              <a:gd name="T52" fmla="*/ 748 w 1716"/>
              <a:gd name="T53" fmla="*/ 557 h 1522"/>
              <a:gd name="T54" fmla="*/ 469 w 1716"/>
              <a:gd name="T55" fmla="*/ 377 h 1522"/>
              <a:gd name="T56" fmla="*/ 178 w 1716"/>
              <a:gd name="T57" fmla="*/ 942 h 1522"/>
              <a:gd name="T58" fmla="*/ 178 w 1716"/>
              <a:gd name="T59" fmla="*/ 844 h 1522"/>
              <a:gd name="T60" fmla="*/ 411 w 1716"/>
              <a:gd name="T61" fmla="*/ 592 h 1522"/>
              <a:gd name="T62" fmla="*/ 422 w 1716"/>
              <a:gd name="T63" fmla="*/ 643 h 1522"/>
              <a:gd name="T64" fmla="*/ 347 w 1716"/>
              <a:gd name="T65" fmla="*/ 791 h 1522"/>
              <a:gd name="T66" fmla="*/ 382 w 1716"/>
              <a:gd name="T67" fmla="*/ 905 h 1522"/>
              <a:gd name="T68" fmla="*/ 408 w 1716"/>
              <a:gd name="T69" fmla="*/ 910 h 1522"/>
              <a:gd name="T70" fmla="*/ 424 w 1716"/>
              <a:gd name="T71" fmla="*/ 890 h 1522"/>
              <a:gd name="T72" fmla="*/ 402 w 1716"/>
              <a:gd name="T73" fmla="*/ 902 h 1522"/>
              <a:gd name="T74" fmla="*/ 358 w 1716"/>
              <a:gd name="T75" fmla="*/ 789 h 1522"/>
              <a:gd name="T76" fmla="*/ 438 w 1716"/>
              <a:gd name="T77" fmla="*/ 673 h 1522"/>
              <a:gd name="T78" fmla="*/ 556 w 1716"/>
              <a:gd name="T79" fmla="*/ 749 h 1522"/>
              <a:gd name="T80" fmla="*/ 546 w 1716"/>
              <a:gd name="T81" fmla="*/ 873 h 1522"/>
              <a:gd name="T82" fmla="*/ 516 w 1716"/>
              <a:gd name="T83" fmla="*/ 883 h 1522"/>
              <a:gd name="T84" fmla="*/ 548 w 1716"/>
              <a:gd name="T85" fmla="*/ 881 h 1522"/>
              <a:gd name="T86" fmla="*/ 564 w 1716"/>
              <a:gd name="T87" fmla="*/ 748 h 1522"/>
              <a:gd name="T88" fmla="*/ 441 w 1716"/>
              <a:gd name="T89" fmla="*/ 659 h 1522"/>
              <a:gd name="T90" fmla="*/ 490 w 1716"/>
              <a:gd name="T91" fmla="*/ 558 h 1522"/>
              <a:gd name="T92" fmla="*/ 615 w 1716"/>
              <a:gd name="T93" fmla="*/ 927 h 1522"/>
              <a:gd name="T94" fmla="*/ 714 w 1716"/>
              <a:gd name="T95" fmla="*/ 587 h 1522"/>
              <a:gd name="T96" fmla="*/ 786 w 1716"/>
              <a:gd name="T97" fmla="*/ 527 h 1522"/>
              <a:gd name="T98" fmla="*/ 888 w 1716"/>
              <a:gd name="T99" fmla="*/ 758 h 1522"/>
              <a:gd name="T100" fmla="*/ 881 w 1716"/>
              <a:gd name="T101" fmla="*/ 841 h 1522"/>
              <a:gd name="T102" fmla="*/ 896 w 1716"/>
              <a:gd name="T103" fmla="*/ 590 h 1522"/>
              <a:gd name="T104" fmla="*/ 1013 w 1716"/>
              <a:gd name="T105" fmla="*/ 731 h 1522"/>
              <a:gd name="T106" fmla="*/ 1055 w 1716"/>
              <a:gd name="T107" fmla="*/ 844 h 1522"/>
              <a:gd name="T108" fmla="*/ 965 w 1716"/>
              <a:gd name="T109" fmla="*/ 854 h 1522"/>
              <a:gd name="T110" fmla="*/ 965 w 1716"/>
              <a:gd name="T111" fmla="*/ 854 h 1522"/>
              <a:gd name="T112" fmla="*/ 911 w 1716"/>
              <a:gd name="T113" fmla="*/ 804 h 152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716" h="1522">
                <a:moveTo>
                  <a:pt x="815" y="1159"/>
                </a:moveTo>
                <a:cubicBezTo>
                  <a:pt x="39" y="1159"/>
                  <a:pt x="39" y="1159"/>
                  <a:pt x="39" y="1159"/>
                </a:cubicBezTo>
                <a:cubicBezTo>
                  <a:pt x="17" y="1159"/>
                  <a:pt x="0" y="1141"/>
                  <a:pt x="0" y="1120"/>
                </a:cubicBezTo>
                <a:cubicBezTo>
                  <a:pt x="0" y="995"/>
                  <a:pt x="0" y="995"/>
                  <a:pt x="0" y="995"/>
                </a:cubicBezTo>
                <a:cubicBezTo>
                  <a:pt x="0" y="974"/>
                  <a:pt x="17" y="957"/>
                  <a:pt x="39" y="957"/>
                </a:cubicBezTo>
                <a:cubicBezTo>
                  <a:pt x="1102" y="957"/>
                  <a:pt x="1102" y="957"/>
                  <a:pt x="1102" y="957"/>
                </a:cubicBezTo>
                <a:cubicBezTo>
                  <a:pt x="1103" y="959"/>
                  <a:pt x="1105" y="962"/>
                  <a:pt x="1107" y="964"/>
                </a:cubicBezTo>
                <a:cubicBezTo>
                  <a:pt x="1105" y="967"/>
                  <a:pt x="1102" y="970"/>
                  <a:pt x="1100" y="973"/>
                </a:cubicBezTo>
                <a:cubicBezTo>
                  <a:pt x="1093" y="978"/>
                  <a:pt x="1086" y="984"/>
                  <a:pt x="1079" y="988"/>
                </a:cubicBezTo>
                <a:cubicBezTo>
                  <a:pt x="1061" y="999"/>
                  <a:pt x="1043" y="1005"/>
                  <a:pt x="1024" y="1012"/>
                </a:cubicBezTo>
                <a:cubicBezTo>
                  <a:pt x="1019" y="1014"/>
                  <a:pt x="1013" y="1016"/>
                  <a:pt x="1008" y="1018"/>
                </a:cubicBezTo>
                <a:cubicBezTo>
                  <a:pt x="978" y="1029"/>
                  <a:pt x="947" y="1041"/>
                  <a:pt x="918" y="1058"/>
                </a:cubicBezTo>
                <a:cubicBezTo>
                  <a:pt x="891" y="1073"/>
                  <a:pt x="869" y="1090"/>
                  <a:pt x="850" y="1110"/>
                </a:cubicBezTo>
                <a:cubicBezTo>
                  <a:pt x="836" y="1125"/>
                  <a:pt x="825" y="1141"/>
                  <a:pt x="815" y="1159"/>
                </a:cubicBezTo>
                <a:close/>
                <a:moveTo>
                  <a:pt x="1716" y="1372"/>
                </a:moveTo>
                <a:cubicBezTo>
                  <a:pt x="1701" y="1522"/>
                  <a:pt x="1701" y="1522"/>
                  <a:pt x="1701" y="1522"/>
                </a:cubicBezTo>
                <a:cubicBezTo>
                  <a:pt x="1662" y="1522"/>
                  <a:pt x="1662" y="1522"/>
                  <a:pt x="1662" y="1522"/>
                </a:cubicBezTo>
                <a:cubicBezTo>
                  <a:pt x="1677" y="1372"/>
                  <a:pt x="1677" y="1372"/>
                  <a:pt x="1677" y="1372"/>
                </a:cubicBezTo>
                <a:cubicBezTo>
                  <a:pt x="795" y="1372"/>
                  <a:pt x="795" y="1372"/>
                  <a:pt x="795" y="1372"/>
                </a:cubicBezTo>
                <a:cubicBezTo>
                  <a:pt x="810" y="1522"/>
                  <a:pt x="810" y="1522"/>
                  <a:pt x="810" y="1522"/>
                </a:cubicBezTo>
                <a:cubicBezTo>
                  <a:pt x="771" y="1522"/>
                  <a:pt x="771" y="1522"/>
                  <a:pt x="771" y="1522"/>
                </a:cubicBezTo>
                <a:cubicBezTo>
                  <a:pt x="756" y="1372"/>
                  <a:pt x="756" y="1372"/>
                  <a:pt x="756" y="1372"/>
                </a:cubicBezTo>
                <a:cubicBezTo>
                  <a:pt x="756" y="1351"/>
                  <a:pt x="773" y="1333"/>
                  <a:pt x="794" y="1333"/>
                </a:cubicBezTo>
                <a:cubicBezTo>
                  <a:pt x="800" y="1333"/>
                  <a:pt x="800" y="1333"/>
                  <a:pt x="800" y="1333"/>
                </a:cubicBezTo>
                <a:cubicBezTo>
                  <a:pt x="800" y="1332"/>
                  <a:pt x="800" y="1331"/>
                  <a:pt x="799" y="1329"/>
                </a:cubicBezTo>
                <a:cubicBezTo>
                  <a:pt x="799" y="1310"/>
                  <a:pt x="799" y="1290"/>
                  <a:pt x="799" y="1270"/>
                </a:cubicBezTo>
                <a:cubicBezTo>
                  <a:pt x="800" y="1266"/>
                  <a:pt x="800" y="1262"/>
                  <a:pt x="800" y="1259"/>
                </a:cubicBezTo>
                <a:cubicBezTo>
                  <a:pt x="800" y="1257"/>
                  <a:pt x="800" y="1255"/>
                  <a:pt x="801" y="1253"/>
                </a:cubicBezTo>
                <a:cubicBezTo>
                  <a:pt x="806" y="1196"/>
                  <a:pt x="827" y="1152"/>
                  <a:pt x="859" y="1118"/>
                </a:cubicBezTo>
                <a:cubicBezTo>
                  <a:pt x="879" y="1097"/>
                  <a:pt x="900" y="1081"/>
                  <a:pt x="923" y="1068"/>
                </a:cubicBezTo>
                <a:cubicBezTo>
                  <a:pt x="952" y="1052"/>
                  <a:pt x="983" y="1041"/>
                  <a:pt x="1013" y="1029"/>
                </a:cubicBezTo>
                <a:cubicBezTo>
                  <a:pt x="1037" y="1020"/>
                  <a:pt x="1062" y="1012"/>
                  <a:pt x="1085" y="998"/>
                </a:cubicBezTo>
                <a:cubicBezTo>
                  <a:pt x="1093" y="994"/>
                  <a:pt x="1101" y="988"/>
                  <a:pt x="1108" y="981"/>
                </a:cubicBezTo>
                <a:cubicBezTo>
                  <a:pt x="1112" y="978"/>
                  <a:pt x="1115" y="973"/>
                  <a:pt x="1118" y="968"/>
                </a:cubicBezTo>
                <a:cubicBezTo>
                  <a:pt x="1118" y="968"/>
                  <a:pt x="1118" y="968"/>
                  <a:pt x="1118" y="968"/>
                </a:cubicBezTo>
                <a:cubicBezTo>
                  <a:pt x="1118" y="968"/>
                  <a:pt x="1119" y="966"/>
                  <a:pt x="1120" y="961"/>
                </a:cubicBezTo>
                <a:cubicBezTo>
                  <a:pt x="1095" y="930"/>
                  <a:pt x="1080" y="890"/>
                  <a:pt x="1071" y="851"/>
                </a:cubicBezTo>
                <a:cubicBezTo>
                  <a:pt x="1070" y="845"/>
                  <a:pt x="1069" y="839"/>
                  <a:pt x="1066" y="833"/>
                </a:cubicBezTo>
                <a:cubicBezTo>
                  <a:pt x="1063" y="828"/>
                  <a:pt x="1058" y="824"/>
                  <a:pt x="1053" y="819"/>
                </a:cubicBezTo>
                <a:cubicBezTo>
                  <a:pt x="1035" y="801"/>
                  <a:pt x="1023" y="776"/>
                  <a:pt x="1021" y="751"/>
                </a:cubicBezTo>
                <a:cubicBezTo>
                  <a:pt x="1020" y="744"/>
                  <a:pt x="1020" y="737"/>
                  <a:pt x="1024" y="732"/>
                </a:cubicBezTo>
                <a:cubicBezTo>
                  <a:pt x="1027" y="726"/>
                  <a:pt x="1034" y="723"/>
                  <a:pt x="1039" y="725"/>
                </a:cubicBezTo>
                <a:cubicBezTo>
                  <a:pt x="1034" y="699"/>
                  <a:pt x="1031" y="672"/>
                  <a:pt x="1036" y="645"/>
                </a:cubicBezTo>
                <a:cubicBezTo>
                  <a:pt x="1039" y="626"/>
                  <a:pt x="1044" y="602"/>
                  <a:pt x="1057" y="588"/>
                </a:cubicBezTo>
                <a:cubicBezTo>
                  <a:pt x="1059" y="585"/>
                  <a:pt x="1087" y="568"/>
                  <a:pt x="1087" y="568"/>
                </a:cubicBezTo>
                <a:cubicBezTo>
                  <a:pt x="1085" y="550"/>
                  <a:pt x="1088" y="542"/>
                  <a:pt x="1103" y="531"/>
                </a:cubicBezTo>
                <a:cubicBezTo>
                  <a:pt x="1134" y="505"/>
                  <a:pt x="1171" y="493"/>
                  <a:pt x="1211" y="490"/>
                </a:cubicBezTo>
                <a:cubicBezTo>
                  <a:pt x="1212" y="490"/>
                  <a:pt x="1213" y="490"/>
                  <a:pt x="1214" y="490"/>
                </a:cubicBezTo>
                <a:cubicBezTo>
                  <a:pt x="1216" y="490"/>
                  <a:pt x="1217" y="490"/>
                  <a:pt x="1218" y="490"/>
                </a:cubicBezTo>
                <a:cubicBezTo>
                  <a:pt x="1221" y="489"/>
                  <a:pt x="1224" y="489"/>
                  <a:pt x="1226" y="489"/>
                </a:cubicBezTo>
                <a:cubicBezTo>
                  <a:pt x="1229" y="489"/>
                  <a:pt x="1233" y="489"/>
                  <a:pt x="1236" y="489"/>
                </a:cubicBezTo>
                <a:cubicBezTo>
                  <a:pt x="1238" y="489"/>
                  <a:pt x="1241" y="489"/>
                  <a:pt x="1244" y="490"/>
                </a:cubicBezTo>
                <a:cubicBezTo>
                  <a:pt x="1245" y="490"/>
                  <a:pt x="1246" y="490"/>
                  <a:pt x="1248" y="490"/>
                </a:cubicBezTo>
                <a:cubicBezTo>
                  <a:pt x="1250" y="490"/>
                  <a:pt x="1252" y="490"/>
                  <a:pt x="1254" y="490"/>
                </a:cubicBezTo>
                <a:cubicBezTo>
                  <a:pt x="1266" y="492"/>
                  <a:pt x="1279" y="493"/>
                  <a:pt x="1291" y="495"/>
                </a:cubicBezTo>
                <a:cubicBezTo>
                  <a:pt x="1334" y="505"/>
                  <a:pt x="1372" y="526"/>
                  <a:pt x="1401" y="561"/>
                </a:cubicBezTo>
                <a:cubicBezTo>
                  <a:pt x="1426" y="592"/>
                  <a:pt x="1439" y="628"/>
                  <a:pt x="1440" y="668"/>
                </a:cubicBezTo>
                <a:cubicBezTo>
                  <a:pt x="1441" y="687"/>
                  <a:pt x="1439" y="706"/>
                  <a:pt x="1435" y="725"/>
                </a:cubicBezTo>
                <a:cubicBezTo>
                  <a:pt x="1435" y="724"/>
                  <a:pt x="1435" y="724"/>
                  <a:pt x="1435" y="724"/>
                </a:cubicBezTo>
                <a:cubicBezTo>
                  <a:pt x="1435" y="725"/>
                  <a:pt x="1435" y="726"/>
                  <a:pt x="1435" y="727"/>
                </a:cubicBezTo>
                <a:cubicBezTo>
                  <a:pt x="1439" y="722"/>
                  <a:pt x="1447" y="724"/>
                  <a:pt x="1451" y="729"/>
                </a:cubicBezTo>
                <a:cubicBezTo>
                  <a:pt x="1451" y="730"/>
                  <a:pt x="1452" y="731"/>
                  <a:pt x="1452" y="733"/>
                </a:cubicBezTo>
                <a:cubicBezTo>
                  <a:pt x="1454" y="737"/>
                  <a:pt x="1453" y="742"/>
                  <a:pt x="1453" y="747"/>
                </a:cubicBezTo>
                <a:cubicBezTo>
                  <a:pt x="1451" y="770"/>
                  <a:pt x="1448" y="794"/>
                  <a:pt x="1432" y="811"/>
                </a:cubicBezTo>
                <a:cubicBezTo>
                  <a:pt x="1426" y="818"/>
                  <a:pt x="1418" y="823"/>
                  <a:pt x="1413" y="831"/>
                </a:cubicBezTo>
                <a:cubicBezTo>
                  <a:pt x="1407" y="838"/>
                  <a:pt x="1405" y="847"/>
                  <a:pt x="1403" y="855"/>
                </a:cubicBezTo>
                <a:cubicBezTo>
                  <a:pt x="1393" y="895"/>
                  <a:pt x="1377" y="933"/>
                  <a:pt x="1353" y="965"/>
                </a:cubicBezTo>
                <a:cubicBezTo>
                  <a:pt x="1355" y="969"/>
                  <a:pt x="1355" y="969"/>
                  <a:pt x="1355" y="969"/>
                </a:cubicBezTo>
                <a:cubicBezTo>
                  <a:pt x="1356" y="972"/>
                  <a:pt x="1357" y="974"/>
                  <a:pt x="1359" y="975"/>
                </a:cubicBezTo>
                <a:cubicBezTo>
                  <a:pt x="1367" y="986"/>
                  <a:pt x="1376" y="993"/>
                  <a:pt x="1386" y="998"/>
                </a:cubicBezTo>
                <a:cubicBezTo>
                  <a:pt x="1409" y="1011"/>
                  <a:pt x="1432" y="1019"/>
                  <a:pt x="1455" y="1028"/>
                </a:cubicBezTo>
                <a:cubicBezTo>
                  <a:pt x="1487" y="1040"/>
                  <a:pt x="1518" y="1052"/>
                  <a:pt x="1548" y="1069"/>
                </a:cubicBezTo>
                <a:cubicBezTo>
                  <a:pt x="1576" y="1084"/>
                  <a:pt x="1601" y="1103"/>
                  <a:pt x="1623" y="1130"/>
                </a:cubicBezTo>
                <a:cubicBezTo>
                  <a:pt x="1644" y="1155"/>
                  <a:pt x="1659" y="1186"/>
                  <a:pt x="1666" y="1223"/>
                </a:cubicBezTo>
                <a:cubicBezTo>
                  <a:pt x="1669" y="1236"/>
                  <a:pt x="1670" y="1250"/>
                  <a:pt x="1672" y="1263"/>
                </a:cubicBezTo>
                <a:cubicBezTo>
                  <a:pt x="1672" y="1272"/>
                  <a:pt x="1672" y="1281"/>
                  <a:pt x="1672" y="1290"/>
                </a:cubicBezTo>
                <a:cubicBezTo>
                  <a:pt x="1672" y="1300"/>
                  <a:pt x="1672" y="1310"/>
                  <a:pt x="1671" y="1320"/>
                </a:cubicBezTo>
                <a:cubicBezTo>
                  <a:pt x="1671" y="1325"/>
                  <a:pt x="1670" y="1329"/>
                  <a:pt x="1670" y="1333"/>
                </a:cubicBezTo>
                <a:cubicBezTo>
                  <a:pt x="1677" y="1333"/>
                  <a:pt x="1677" y="1333"/>
                  <a:pt x="1677" y="1333"/>
                </a:cubicBezTo>
                <a:cubicBezTo>
                  <a:pt x="1699" y="1333"/>
                  <a:pt x="1716" y="1351"/>
                  <a:pt x="1716" y="1372"/>
                </a:cubicBezTo>
                <a:close/>
                <a:moveTo>
                  <a:pt x="420" y="287"/>
                </a:moveTo>
                <a:cubicBezTo>
                  <a:pt x="419" y="280"/>
                  <a:pt x="419" y="272"/>
                  <a:pt x="423" y="266"/>
                </a:cubicBezTo>
                <a:cubicBezTo>
                  <a:pt x="426" y="260"/>
                  <a:pt x="434" y="256"/>
                  <a:pt x="440" y="258"/>
                </a:cubicBezTo>
                <a:cubicBezTo>
                  <a:pt x="434" y="230"/>
                  <a:pt x="431" y="201"/>
                  <a:pt x="436" y="171"/>
                </a:cubicBezTo>
                <a:cubicBezTo>
                  <a:pt x="439" y="151"/>
                  <a:pt x="445" y="124"/>
                  <a:pt x="459" y="108"/>
                </a:cubicBezTo>
                <a:cubicBezTo>
                  <a:pt x="462" y="105"/>
                  <a:pt x="492" y="86"/>
                  <a:pt x="492" y="86"/>
                </a:cubicBezTo>
                <a:cubicBezTo>
                  <a:pt x="490" y="66"/>
                  <a:pt x="494" y="58"/>
                  <a:pt x="509" y="46"/>
                </a:cubicBezTo>
                <a:cubicBezTo>
                  <a:pt x="544" y="18"/>
                  <a:pt x="584" y="4"/>
                  <a:pt x="628" y="1"/>
                </a:cubicBezTo>
                <a:cubicBezTo>
                  <a:pt x="629" y="1"/>
                  <a:pt x="630" y="1"/>
                  <a:pt x="632" y="1"/>
                </a:cubicBezTo>
                <a:cubicBezTo>
                  <a:pt x="633" y="1"/>
                  <a:pt x="635" y="1"/>
                  <a:pt x="636" y="1"/>
                </a:cubicBezTo>
                <a:cubicBezTo>
                  <a:pt x="639" y="0"/>
                  <a:pt x="642" y="0"/>
                  <a:pt x="645" y="0"/>
                </a:cubicBezTo>
                <a:cubicBezTo>
                  <a:pt x="648" y="0"/>
                  <a:pt x="652" y="0"/>
                  <a:pt x="655" y="0"/>
                </a:cubicBezTo>
                <a:cubicBezTo>
                  <a:pt x="658" y="0"/>
                  <a:pt x="661" y="0"/>
                  <a:pt x="664" y="1"/>
                </a:cubicBezTo>
                <a:cubicBezTo>
                  <a:pt x="665" y="1"/>
                  <a:pt x="667" y="1"/>
                  <a:pt x="669" y="1"/>
                </a:cubicBezTo>
                <a:cubicBezTo>
                  <a:pt x="671" y="1"/>
                  <a:pt x="673" y="1"/>
                  <a:pt x="676" y="1"/>
                </a:cubicBezTo>
                <a:cubicBezTo>
                  <a:pt x="689" y="3"/>
                  <a:pt x="702" y="4"/>
                  <a:pt x="715" y="7"/>
                </a:cubicBezTo>
                <a:cubicBezTo>
                  <a:pt x="763" y="18"/>
                  <a:pt x="805" y="40"/>
                  <a:pt x="836" y="79"/>
                </a:cubicBezTo>
                <a:cubicBezTo>
                  <a:pt x="864" y="113"/>
                  <a:pt x="879" y="152"/>
                  <a:pt x="880" y="196"/>
                </a:cubicBezTo>
                <a:cubicBezTo>
                  <a:pt x="880" y="217"/>
                  <a:pt x="878" y="238"/>
                  <a:pt x="874" y="258"/>
                </a:cubicBezTo>
                <a:cubicBezTo>
                  <a:pt x="874" y="258"/>
                  <a:pt x="874" y="257"/>
                  <a:pt x="874" y="257"/>
                </a:cubicBezTo>
                <a:cubicBezTo>
                  <a:pt x="874" y="258"/>
                  <a:pt x="874" y="259"/>
                  <a:pt x="874" y="260"/>
                </a:cubicBezTo>
                <a:cubicBezTo>
                  <a:pt x="878" y="255"/>
                  <a:pt x="887" y="257"/>
                  <a:pt x="891" y="263"/>
                </a:cubicBezTo>
                <a:cubicBezTo>
                  <a:pt x="892" y="264"/>
                  <a:pt x="892" y="265"/>
                  <a:pt x="893" y="267"/>
                </a:cubicBezTo>
                <a:cubicBezTo>
                  <a:pt x="894" y="272"/>
                  <a:pt x="894" y="277"/>
                  <a:pt x="893" y="283"/>
                </a:cubicBezTo>
                <a:cubicBezTo>
                  <a:pt x="891" y="308"/>
                  <a:pt x="887" y="334"/>
                  <a:pt x="871" y="353"/>
                </a:cubicBezTo>
                <a:cubicBezTo>
                  <a:pt x="864" y="360"/>
                  <a:pt x="855" y="366"/>
                  <a:pt x="849" y="374"/>
                </a:cubicBezTo>
                <a:cubicBezTo>
                  <a:pt x="844" y="382"/>
                  <a:pt x="841" y="392"/>
                  <a:pt x="839" y="402"/>
                </a:cubicBezTo>
                <a:cubicBezTo>
                  <a:pt x="824" y="461"/>
                  <a:pt x="796" y="519"/>
                  <a:pt x="748" y="557"/>
                </a:cubicBezTo>
                <a:cubicBezTo>
                  <a:pt x="726" y="575"/>
                  <a:pt x="699" y="588"/>
                  <a:pt x="670" y="591"/>
                </a:cubicBezTo>
                <a:cubicBezTo>
                  <a:pt x="617" y="596"/>
                  <a:pt x="568" y="565"/>
                  <a:pt x="535" y="527"/>
                </a:cubicBezTo>
                <a:cubicBezTo>
                  <a:pt x="505" y="491"/>
                  <a:pt x="485" y="443"/>
                  <a:pt x="475" y="397"/>
                </a:cubicBezTo>
                <a:cubicBezTo>
                  <a:pt x="474" y="390"/>
                  <a:pt x="472" y="383"/>
                  <a:pt x="469" y="377"/>
                </a:cubicBezTo>
                <a:cubicBezTo>
                  <a:pt x="466" y="371"/>
                  <a:pt x="460" y="367"/>
                  <a:pt x="455" y="362"/>
                </a:cubicBezTo>
                <a:cubicBezTo>
                  <a:pt x="435" y="342"/>
                  <a:pt x="422" y="315"/>
                  <a:pt x="420" y="287"/>
                </a:cubicBezTo>
                <a:close/>
                <a:moveTo>
                  <a:pt x="1090" y="942"/>
                </a:moveTo>
                <a:cubicBezTo>
                  <a:pt x="178" y="942"/>
                  <a:pt x="178" y="942"/>
                  <a:pt x="178" y="942"/>
                </a:cubicBezTo>
                <a:cubicBezTo>
                  <a:pt x="178" y="941"/>
                  <a:pt x="178" y="940"/>
                  <a:pt x="178" y="938"/>
                </a:cubicBezTo>
                <a:cubicBezTo>
                  <a:pt x="178" y="932"/>
                  <a:pt x="177" y="927"/>
                  <a:pt x="177" y="921"/>
                </a:cubicBezTo>
                <a:cubicBezTo>
                  <a:pt x="177" y="899"/>
                  <a:pt x="177" y="877"/>
                  <a:pt x="177" y="856"/>
                </a:cubicBezTo>
                <a:cubicBezTo>
                  <a:pt x="177" y="852"/>
                  <a:pt x="178" y="848"/>
                  <a:pt x="178" y="844"/>
                </a:cubicBezTo>
                <a:cubicBezTo>
                  <a:pt x="178" y="842"/>
                  <a:pt x="178" y="839"/>
                  <a:pt x="178" y="837"/>
                </a:cubicBezTo>
                <a:cubicBezTo>
                  <a:pt x="184" y="775"/>
                  <a:pt x="207" y="727"/>
                  <a:pt x="242" y="690"/>
                </a:cubicBezTo>
                <a:cubicBezTo>
                  <a:pt x="264" y="666"/>
                  <a:pt x="288" y="649"/>
                  <a:pt x="313" y="635"/>
                </a:cubicBezTo>
                <a:cubicBezTo>
                  <a:pt x="345" y="617"/>
                  <a:pt x="378" y="605"/>
                  <a:pt x="411" y="592"/>
                </a:cubicBezTo>
                <a:cubicBezTo>
                  <a:pt x="416" y="590"/>
                  <a:pt x="421" y="588"/>
                  <a:pt x="426" y="586"/>
                </a:cubicBezTo>
                <a:cubicBezTo>
                  <a:pt x="421" y="601"/>
                  <a:pt x="420" y="620"/>
                  <a:pt x="424" y="642"/>
                </a:cubicBezTo>
                <a:cubicBezTo>
                  <a:pt x="430" y="641"/>
                  <a:pt x="430" y="641"/>
                  <a:pt x="430" y="641"/>
                </a:cubicBezTo>
                <a:cubicBezTo>
                  <a:pt x="422" y="643"/>
                  <a:pt x="422" y="643"/>
                  <a:pt x="422" y="643"/>
                </a:cubicBezTo>
                <a:cubicBezTo>
                  <a:pt x="426" y="662"/>
                  <a:pt x="426" y="662"/>
                  <a:pt x="426" y="662"/>
                </a:cubicBezTo>
                <a:cubicBezTo>
                  <a:pt x="414" y="666"/>
                  <a:pt x="403" y="670"/>
                  <a:pt x="392" y="676"/>
                </a:cubicBezTo>
                <a:cubicBezTo>
                  <a:pt x="358" y="695"/>
                  <a:pt x="335" y="729"/>
                  <a:pt x="344" y="773"/>
                </a:cubicBezTo>
                <a:cubicBezTo>
                  <a:pt x="347" y="791"/>
                  <a:pt x="347" y="791"/>
                  <a:pt x="347" y="791"/>
                </a:cubicBezTo>
                <a:cubicBezTo>
                  <a:pt x="350" y="790"/>
                  <a:pt x="350" y="790"/>
                  <a:pt x="350" y="790"/>
                </a:cubicBezTo>
                <a:cubicBezTo>
                  <a:pt x="369" y="886"/>
                  <a:pt x="369" y="886"/>
                  <a:pt x="369" y="886"/>
                </a:cubicBezTo>
                <a:cubicBezTo>
                  <a:pt x="370" y="894"/>
                  <a:pt x="375" y="901"/>
                  <a:pt x="382" y="905"/>
                </a:cubicBezTo>
                <a:cubicBezTo>
                  <a:pt x="382" y="905"/>
                  <a:pt x="382" y="905"/>
                  <a:pt x="382" y="905"/>
                </a:cubicBezTo>
                <a:cubicBezTo>
                  <a:pt x="388" y="909"/>
                  <a:pt x="396" y="911"/>
                  <a:pt x="404" y="909"/>
                </a:cubicBezTo>
                <a:cubicBezTo>
                  <a:pt x="408" y="909"/>
                  <a:pt x="408" y="909"/>
                  <a:pt x="408" y="909"/>
                </a:cubicBezTo>
                <a:cubicBezTo>
                  <a:pt x="408" y="910"/>
                  <a:pt x="408" y="910"/>
                  <a:pt x="408" y="910"/>
                </a:cubicBezTo>
                <a:cubicBezTo>
                  <a:pt x="408" y="910"/>
                  <a:pt x="408" y="910"/>
                  <a:pt x="408" y="910"/>
                </a:cubicBezTo>
                <a:cubicBezTo>
                  <a:pt x="418" y="908"/>
                  <a:pt x="418" y="908"/>
                  <a:pt x="418" y="908"/>
                </a:cubicBezTo>
                <a:cubicBezTo>
                  <a:pt x="421" y="911"/>
                  <a:pt x="425" y="913"/>
                  <a:pt x="429" y="912"/>
                </a:cubicBezTo>
                <a:cubicBezTo>
                  <a:pt x="435" y="911"/>
                  <a:pt x="439" y="905"/>
                  <a:pt x="438" y="899"/>
                </a:cubicBezTo>
                <a:cubicBezTo>
                  <a:pt x="436" y="893"/>
                  <a:pt x="430" y="889"/>
                  <a:pt x="424" y="890"/>
                </a:cubicBezTo>
                <a:cubicBezTo>
                  <a:pt x="420" y="891"/>
                  <a:pt x="417" y="894"/>
                  <a:pt x="416" y="897"/>
                </a:cubicBezTo>
                <a:cubicBezTo>
                  <a:pt x="406" y="899"/>
                  <a:pt x="406" y="899"/>
                  <a:pt x="406" y="899"/>
                </a:cubicBezTo>
                <a:cubicBezTo>
                  <a:pt x="406" y="901"/>
                  <a:pt x="406" y="901"/>
                  <a:pt x="406" y="901"/>
                </a:cubicBezTo>
                <a:cubicBezTo>
                  <a:pt x="402" y="902"/>
                  <a:pt x="402" y="902"/>
                  <a:pt x="402" y="902"/>
                </a:cubicBezTo>
                <a:cubicBezTo>
                  <a:pt x="397" y="903"/>
                  <a:pt x="391" y="901"/>
                  <a:pt x="386" y="898"/>
                </a:cubicBezTo>
                <a:cubicBezTo>
                  <a:pt x="386" y="898"/>
                  <a:pt x="386" y="898"/>
                  <a:pt x="386" y="898"/>
                </a:cubicBezTo>
                <a:cubicBezTo>
                  <a:pt x="381" y="895"/>
                  <a:pt x="378" y="890"/>
                  <a:pt x="377" y="884"/>
                </a:cubicBezTo>
                <a:cubicBezTo>
                  <a:pt x="358" y="789"/>
                  <a:pt x="358" y="789"/>
                  <a:pt x="358" y="789"/>
                </a:cubicBezTo>
                <a:cubicBezTo>
                  <a:pt x="360" y="788"/>
                  <a:pt x="360" y="788"/>
                  <a:pt x="360" y="788"/>
                </a:cubicBezTo>
                <a:cubicBezTo>
                  <a:pt x="357" y="771"/>
                  <a:pt x="357" y="771"/>
                  <a:pt x="357" y="771"/>
                </a:cubicBezTo>
                <a:cubicBezTo>
                  <a:pt x="349" y="733"/>
                  <a:pt x="369" y="704"/>
                  <a:pt x="399" y="688"/>
                </a:cubicBezTo>
                <a:cubicBezTo>
                  <a:pt x="411" y="681"/>
                  <a:pt x="424" y="676"/>
                  <a:pt x="438" y="673"/>
                </a:cubicBezTo>
                <a:cubicBezTo>
                  <a:pt x="451" y="671"/>
                  <a:pt x="466" y="670"/>
                  <a:pt x="479" y="672"/>
                </a:cubicBezTo>
                <a:cubicBezTo>
                  <a:pt x="513" y="676"/>
                  <a:pt x="542" y="695"/>
                  <a:pt x="550" y="732"/>
                </a:cubicBezTo>
                <a:cubicBezTo>
                  <a:pt x="553" y="750"/>
                  <a:pt x="553" y="750"/>
                  <a:pt x="553" y="750"/>
                </a:cubicBezTo>
                <a:cubicBezTo>
                  <a:pt x="556" y="749"/>
                  <a:pt x="556" y="749"/>
                  <a:pt x="556" y="749"/>
                </a:cubicBezTo>
                <a:cubicBezTo>
                  <a:pt x="575" y="845"/>
                  <a:pt x="575" y="845"/>
                  <a:pt x="575" y="845"/>
                </a:cubicBezTo>
                <a:cubicBezTo>
                  <a:pt x="576" y="851"/>
                  <a:pt x="575" y="857"/>
                  <a:pt x="572" y="861"/>
                </a:cubicBezTo>
                <a:cubicBezTo>
                  <a:pt x="569" y="866"/>
                  <a:pt x="564" y="870"/>
                  <a:pt x="558" y="871"/>
                </a:cubicBezTo>
                <a:cubicBezTo>
                  <a:pt x="546" y="873"/>
                  <a:pt x="546" y="873"/>
                  <a:pt x="546" y="873"/>
                </a:cubicBezTo>
                <a:cubicBezTo>
                  <a:pt x="546" y="871"/>
                  <a:pt x="546" y="871"/>
                  <a:pt x="546" y="871"/>
                </a:cubicBezTo>
                <a:cubicBezTo>
                  <a:pt x="536" y="874"/>
                  <a:pt x="536" y="874"/>
                  <a:pt x="536" y="874"/>
                </a:cubicBezTo>
                <a:cubicBezTo>
                  <a:pt x="533" y="871"/>
                  <a:pt x="529" y="869"/>
                  <a:pt x="525" y="870"/>
                </a:cubicBezTo>
                <a:cubicBezTo>
                  <a:pt x="519" y="871"/>
                  <a:pt x="515" y="877"/>
                  <a:pt x="516" y="883"/>
                </a:cubicBezTo>
                <a:cubicBezTo>
                  <a:pt x="518" y="889"/>
                  <a:pt x="524" y="893"/>
                  <a:pt x="530" y="892"/>
                </a:cubicBezTo>
                <a:cubicBezTo>
                  <a:pt x="534" y="891"/>
                  <a:pt x="537" y="888"/>
                  <a:pt x="538" y="885"/>
                </a:cubicBezTo>
                <a:cubicBezTo>
                  <a:pt x="548" y="883"/>
                  <a:pt x="548" y="883"/>
                  <a:pt x="548" y="883"/>
                </a:cubicBezTo>
                <a:cubicBezTo>
                  <a:pt x="548" y="881"/>
                  <a:pt x="548" y="881"/>
                  <a:pt x="548" y="881"/>
                </a:cubicBezTo>
                <a:cubicBezTo>
                  <a:pt x="559" y="879"/>
                  <a:pt x="559" y="879"/>
                  <a:pt x="559" y="879"/>
                </a:cubicBezTo>
                <a:cubicBezTo>
                  <a:pt x="567" y="877"/>
                  <a:pt x="574" y="872"/>
                  <a:pt x="578" y="866"/>
                </a:cubicBezTo>
                <a:cubicBezTo>
                  <a:pt x="583" y="859"/>
                  <a:pt x="584" y="851"/>
                  <a:pt x="583" y="843"/>
                </a:cubicBezTo>
                <a:cubicBezTo>
                  <a:pt x="564" y="748"/>
                  <a:pt x="564" y="748"/>
                  <a:pt x="564" y="748"/>
                </a:cubicBezTo>
                <a:cubicBezTo>
                  <a:pt x="566" y="747"/>
                  <a:pt x="566" y="747"/>
                  <a:pt x="566" y="747"/>
                </a:cubicBezTo>
                <a:cubicBezTo>
                  <a:pt x="563" y="730"/>
                  <a:pt x="563" y="730"/>
                  <a:pt x="563" y="730"/>
                </a:cubicBezTo>
                <a:cubicBezTo>
                  <a:pt x="554" y="686"/>
                  <a:pt x="520" y="663"/>
                  <a:pt x="481" y="658"/>
                </a:cubicBezTo>
                <a:cubicBezTo>
                  <a:pt x="468" y="657"/>
                  <a:pt x="454" y="657"/>
                  <a:pt x="441" y="659"/>
                </a:cubicBezTo>
                <a:cubicBezTo>
                  <a:pt x="437" y="640"/>
                  <a:pt x="437" y="640"/>
                  <a:pt x="437" y="640"/>
                </a:cubicBezTo>
                <a:cubicBezTo>
                  <a:pt x="435" y="640"/>
                  <a:pt x="435" y="640"/>
                  <a:pt x="435" y="640"/>
                </a:cubicBezTo>
                <a:cubicBezTo>
                  <a:pt x="430" y="615"/>
                  <a:pt x="434" y="595"/>
                  <a:pt x="441" y="581"/>
                </a:cubicBezTo>
                <a:cubicBezTo>
                  <a:pt x="458" y="574"/>
                  <a:pt x="474" y="568"/>
                  <a:pt x="490" y="558"/>
                </a:cubicBezTo>
                <a:cubicBezTo>
                  <a:pt x="499" y="553"/>
                  <a:pt x="507" y="547"/>
                  <a:pt x="515" y="540"/>
                </a:cubicBezTo>
                <a:cubicBezTo>
                  <a:pt x="519" y="536"/>
                  <a:pt x="523" y="531"/>
                  <a:pt x="526" y="525"/>
                </a:cubicBezTo>
                <a:cubicBezTo>
                  <a:pt x="527" y="527"/>
                  <a:pt x="529" y="529"/>
                  <a:pt x="530" y="531"/>
                </a:cubicBezTo>
                <a:cubicBezTo>
                  <a:pt x="615" y="927"/>
                  <a:pt x="615" y="927"/>
                  <a:pt x="615" y="927"/>
                </a:cubicBezTo>
                <a:cubicBezTo>
                  <a:pt x="629" y="648"/>
                  <a:pt x="629" y="648"/>
                  <a:pt x="629" y="648"/>
                </a:cubicBezTo>
                <a:cubicBezTo>
                  <a:pt x="603" y="588"/>
                  <a:pt x="603" y="588"/>
                  <a:pt x="603" y="588"/>
                </a:cubicBezTo>
                <a:cubicBezTo>
                  <a:pt x="624" y="598"/>
                  <a:pt x="646" y="602"/>
                  <a:pt x="669" y="600"/>
                </a:cubicBezTo>
                <a:cubicBezTo>
                  <a:pt x="685" y="599"/>
                  <a:pt x="700" y="594"/>
                  <a:pt x="714" y="587"/>
                </a:cubicBezTo>
                <a:cubicBezTo>
                  <a:pt x="687" y="648"/>
                  <a:pt x="687" y="648"/>
                  <a:pt x="687" y="648"/>
                </a:cubicBezTo>
                <a:cubicBezTo>
                  <a:pt x="701" y="926"/>
                  <a:pt x="701" y="926"/>
                  <a:pt x="701" y="926"/>
                </a:cubicBezTo>
                <a:cubicBezTo>
                  <a:pt x="780" y="533"/>
                  <a:pt x="780" y="533"/>
                  <a:pt x="780" y="533"/>
                </a:cubicBezTo>
                <a:cubicBezTo>
                  <a:pt x="782" y="531"/>
                  <a:pt x="784" y="529"/>
                  <a:pt x="786" y="527"/>
                </a:cubicBezTo>
                <a:cubicBezTo>
                  <a:pt x="787" y="529"/>
                  <a:pt x="788" y="531"/>
                  <a:pt x="790" y="533"/>
                </a:cubicBezTo>
                <a:cubicBezTo>
                  <a:pt x="799" y="545"/>
                  <a:pt x="809" y="552"/>
                  <a:pt x="820" y="558"/>
                </a:cubicBezTo>
                <a:cubicBezTo>
                  <a:pt x="833" y="565"/>
                  <a:pt x="845" y="571"/>
                  <a:pt x="858" y="576"/>
                </a:cubicBezTo>
                <a:cubicBezTo>
                  <a:pt x="881" y="608"/>
                  <a:pt x="897" y="662"/>
                  <a:pt x="888" y="758"/>
                </a:cubicBezTo>
                <a:cubicBezTo>
                  <a:pt x="888" y="758"/>
                  <a:pt x="888" y="758"/>
                  <a:pt x="888" y="758"/>
                </a:cubicBezTo>
                <a:cubicBezTo>
                  <a:pt x="868" y="758"/>
                  <a:pt x="851" y="772"/>
                  <a:pt x="847" y="792"/>
                </a:cubicBezTo>
                <a:cubicBezTo>
                  <a:pt x="843" y="815"/>
                  <a:pt x="859" y="837"/>
                  <a:pt x="881" y="841"/>
                </a:cubicBezTo>
                <a:cubicBezTo>
                  <a:pt x="881" y="841"/>
                  <a:pt x="881" y="841"/>
                  <a:pt x="881" y="841"/>
                </a:cubicBezTo>
                <a:cubicBezTo>
                  <a:pt x="904" y="845"/>
                  <a:pt x="926" y="829"/>
                  <a:pt x="930" y="807"/>
                </a:cubicBezTo>
                <a:cubicBezTo>
                  <a:pt x="933" y="785"/>
                  <a:pt x="920" y="764"/>
                  <a:pt x="899" y="759"/>
                </a:cubicBezTo>
                <a:cubicBezTo>
                  <a:pt x="907" y="673"/>
                  <a:pt x="895" y="618"/>
                  <a:pt x="876" y="583"/>
                </a:cubicBezTo>
                <a:cubicBezTo>
                  <a:pt x="882" y="585"/>
                  <a:pt x="889" y="588"/>
                  <a:pt x="896" y="590"/>
                </a:cubicBezTo>
                <a:cubicBezTo>
                  <a:pt x="930" y="604"/>
                  <a:pt x="965" y="617"/>
                  <a:pt x="998" y="635"/>
                </a:cubicBezTo>
                <a:cubicBezTo>
                  <a:pt x="1007" y="640"/>
                  <a:pt x="1015" y="645"/>
                  <a:pt x="1023" y="651"/>
                </a:cubicBezTo>
                <a:cubicBezTo>
                  <a:pt x="1020" y="672"/>
                  <a:pt x="1021" y="695"/>
                  <a:pt x="1025" y="720"/>
                </a:cubicBezTo>
                <a:cubicBezTo>
                  <a:pt x="1020" y="722"/>
                  <a:pt x="1016" y="726"/>
                  <a:pt x="1013" y="731"/>
                </a:cubicBezTo>
                <a:cubicBezTo>
                  <a:pt x="1008" y="739"/>
                  <a:pt x="1008" y="749"/>
                  <a:pt x="1009" y="757"/>
                </a:cubicBezTo>
                <a:cubicBezTo>
                  <a:pt x="1012" y="785"/>
                  <a:pt x="1024" y="812"/>
                  <a:pt x="1045" y="833"/>
                </a:cubicBezTo>
                <a:cubicBezTo>
                  <a:pt x="1046" y="833"/>
                  <a:pt x="1047" y="834"/>
                  <a:pt x="1048" y="835"/>
                </a:cubicBezTo>
                <a:cubicBezTo>
                  <a:pt x="1051" y="838"/>
                  <a:pt x="1054" y="841"/>
                  <a:pt x="1055" y="844"/>
                </a:cubicBezTo>
                <a:cubicBezTo>
                  <a:pt x="1057" y="848"/>
                  <a:pt x="1058" y="852"/>
                  <a:pt x="1059" y="857"/>
                </a:cubicBezTo>
                <a:cubicBezTo>
                  <a:pt x="1060" y="859"/>
                  <a:pt x="1060" y="859"/>
                  <a:pt x="1060" y="859"/>
                </a:cubicBezTo>
                <a:cubicBezTo>
                  <a:pt x="1066" y="889"/>
                  <a:pt x="1077" y="918"/>
                  <a:pt x="1090" y="942"/>
                </a:cubicBezTo>
                <a:close/>
                <a:moveTo>
                  <a:pt x="965" y="854"/>
                </a:moveTo>
                <a:cubicBezTo>
                  <a:pt x="820" y="854"/>
                  <a:pt x="820" y="854"/>
                  <a:pt x="820" y="854"/>
                </a:cubicBezTo>
                <a:cubicBezTo>
                  <a:pt x="820" y="909"/>
                  <a:pt x="820" y="909"/>
                  <a:pt x="820" y="909"/>
                </a:cubicBezTo>
                <a:cubicBezTo>
                  <a:pt x="965" y="909"/>
                  <a:pt x="965" y="909"/>
                  <a:pt x="965" y="909"/>
                </a:cubicBezTo>
                <a:lnTo>
                  <a:pt x="965" y="854"/>
                </a:lnTo>
                <a:close/>
                <a:moveTo>
                  <a:pt x="866" y="796"/>
                </a:moveTo>
                <a:cubicBezTo>
                  <a:pt x="863" y="808"/>
                  <a:pt x="872" y="820"/>
                  <a:pt x="885" y="822"/>
                </a:cubicBezTo>
                <a:cubicBezTo>
                  <a:pt x="885" y="822"/>
                  <a:pt x="885" y="822"/>
                  <a:pt x="885" y="822"/>
                </a:cubicBezTo>
                <a:cubicBezTo>
                  <a:pt x="897" y="825"/>
                  <a:pt x="909" y="816"/>
                  <a:pt x="911" y="804"/>
                </a:cubicBezTo>
                <a:cubicBezTo>
                  <a:pt x="913" y="791"/>
                  <a:pt x="905" y="779"/>
                  <a:pt x="892" y="777"/>
                </a:cubicBezTo>
                <a:cubicBezTo>
                  <a:pt x="880" y="775"/>
                  <a:pt x="868" y="783"/>
                  <a:pt x="866" y="79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44" name="Group 43"/>
          <p:cNvGrpSpPr/>
          <p:nvPr/>
        </p:nvGrpSpPr>
        <p:grpSpPr>
          <a:xfrm>
            <a:off x="876849" y="2645666"/>
            <a:ext cx="742950" cy="399882"/>
            <a:chOff x="-1476375" y="2244725"/>
            <a:chExt cx="1619250" cy="871538"/>
          </a:xfrm>
          <a:solidFill>
            <a:schemeClr val="bg1"/>
          </a:solidFill>
        </p:grpSpPr>
        <p:sp>
          <p:nvSpPr>
            <p:cNvPr id="40" name="Freeform 9"/>
            <p:cNvSpPr>
              <a:spLocks noEditPoints="1"/>
            </p:cNvSpPr>
            <p:nvPr/>
          </p:nvSpPr>
          <p:spPr bwMode="auto">
            <a:xfrm>
              <a:off x="-1476375" y="2244725"/>
              <a:ext cx="1444625" cy="871538"/>
            </a:xfrm>
            <a:custGeom>
              <a:avLst/>
              <a:gdLst>
                <a:gd name="T0" fmla="*/ 10075 w 11419"/>
                <a:gd name="T1" fmla="*/ 6487 h 6891"/>
                <a:gd name="T2" fmla="*/ 10075 w 11419"/>
                <a:gd name="T3" fmla="*/ 5907 h 6891"/>
                <a:gd name="T4" fmla="*/ 1575 w 11419"/>
                <a:gd name="T5" fmla="*/ 5907 h 6891"/>
                <a:gd name="T6" fmla="*/ 1575 w 11419"/>
                <a:gd name="T7" fmla="*/ 394 h 6891"/>
                <a:gd name="T8" fmla="*/ 11025 w 11419"/>
                <a:gd name="T9" fmla="*/ 394 h 6891"/>
                <a:gd name="T10" fmla="*/ 11025 w 11419"/>
                <a:gd name="T11" fmla="*/ 1566 h 6891"/>
                <a:gd name="T12" fmla="*/ 11419 w 11419"/>
                <a:gd name="T13" fmla="*/ 1566 h 6891"/>
                <a:gd name="T14" fmla="*/ 11419 w 11419"/>
                <a:gd name="T15" fmla="*/ 394 h 6891"/>
                <a:gd name="T16" fmla="*/ 11025 w 11419"/>
                <a:gd name="T17" fmla="*/ 0 h 6891"/>
                <a:gd name="T18" fmla="*/ 1575 w 11419"/>
                <a:gd name="T19" fmla="*/ 0 h 6891"/>
                <a:gd name="T20" fmla="*/ 1181 w 11419"/>
                <a:gd name="T21" fmla="*/ 394 h 6891"/>
                <a:gd name="T22" fmla="*/ 1181 w 11419"/>
                <a:gd name="T23" fmla="*/ 6300 h 6891"/>
                <a:gd name="T24" fmla="*/ 98 w 11419"/>
                <a:gd name="T25" fmla="*/ 6300 h 6891"/>
                <a:gd name="T26" fmla="*/ 0 w 11419"/>
                <a:gd name="T27" fmla="*/ 6399 h 6891"/>
                <a:gd name="T28" fmla="*/ 0 w 11419"/>
                <a:gd name="T29" fmla="*/ 6497 h 6891"/>
                <a:gd name="T30" fmla="*/ 394 w 11419"/>
                <a:gd name="T31" fmla="*/ 6891 h 6891"/>
                <a:gd name="T32" fmla="*/ 10267 w 11419"/>
                <a:gd name="T33" fmla="*/ 6891 h 6891"/>
                <a:gd name="T34" fmla="*/ 10075 w 11419"/>
                <a:gd name="T35" fmla="*/ 6487 h 6891"/>
                <a:gd name="T36" fmla="*/ 7087 w 11419"/>
                <a:gd name="T37" fmla="*/ 6497 h 6891"/>
                <a:gd name="T38" fmla="*/ 5512 w 11419"/>
                <a:gd name="T39" fmla="*/ 6497 h 6891"/>
                <a:gd name="T40" fmla="*/ 5217 w 11419"/>
                <a:gd name="T41" fmla="*/ 6301 h 6891"/>
                <a:gd name="T42" fmla="*/ 7383 w 11419"/>
                <a:gd name="T43" fmla="*/ 6301 h 6891"/>
                <a:gd name="T44" fmla="*/ 7087 w 11419"/>
                <a:gd name="T45" fmla="*/ 6497 h 68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419" h="6891">
                  <a:moveTo>
                    <a:pt x="10075" y="6487"/>
                  </a:moveTo>
                  <a:cubicBezTo>
                    <a:pt x="10075" y="5907"/>
                    <a:pt x="10075" y="5907"/>
                    <a:pt x="10075" y="5907"/>
                  </a:cubicBezTo>
                  <a:cubicBezTo>
                    <a:pt x="1575" y="5907"/>
                    <a:pt x="1575" y="5907"/>
                    <a:pt x="1575" y="5907"/>
                  </a:cubicBezTo>
                  <a:cubicBezTo>
                    <a:pt x="1575" y="394"/>
                    <a:pt x="1575" y="394"/>
                    <a:pt x="1575" y="394"/>
                  </a:cubicBezTo>
                  <a:cubicBezTo>
                    <a:pt x="11025" y="394"/>
                    <a:pt x="11025" y="394"/>
                    <a:pt x="11025" y="394"/>
                  </a:cubicBezTo>
                  <a:cubicBezTo>
                    <a:pt x="11025" y="1566"/>
                    <a:pt x="11025" y="1566"/>
                    <a:pt x="11025" y="1566"/>
                  </a:cubicBezTo>
                  <a:cubicBezTo>
                    <a:pt x="11419" y="1566"/>
                    <a:pt x="11419" y="1566"/>
                    <a:pt x="11419" y="1566"/>
                  </a:cubicBezTo>
                  <a:cubicBezTo>
                    <a:pt x="11419" y="394"/>
                    <a:pt x="11419" y="394"/>
                    <a:pt x="11419" y="394"/>
                  </a:cubicBezTo>
                  <a:cubicBezTo>
                    <a:pt x="11419" y="178"/>
                    <a:pt x="11242" y="0"/>
                    <a:pt x="11025" y="0"/>
                  </a:cubicBezTo>
                  <a:cubicBezTo>
                    <a:pt x="1575" y="0"/>
                    <a:pt x="1575" y="0"/>
                    <a:pt x="1575" y="0"/>
                  </a:cubicBezTo>
                  <a:cubicBezTo>
                    <a:pt x="1358" y="0"/>
                    <a:pt x="1181" y="178"/>
                    <a:pt x="1181" y="394"/>
                  </a:cubicBezTo>
                  <a:cubicBezTo>
                    <a:pt x="1181" y="6300"/>
                    <a:pt x="1181" y="6300"/>
                    <a:pt x="1181" y="6300"/>
                  </a:cubicBezTo>
                  <a:cubicBezTo>
                    <a:pt x="98" y="6300"/>
                    <a:pt x="98" y="6300"/>
                    <a:pt x="98" y="6300"/>
                  </a:cubicBezTo>
                  <a:cubicBezTo>
                    <a:pt x="44" y="6301"/>
                    <a:pt x="0" y="6345"/>
                    <a:pt x="0" y="6399"/>
                  </a:cubicBezTo>
                  <a:cubicBezTo>
                    <a:pt x="0" y="6497"/>
                    <a:pt x="0" y="6497"/>
                    <a:pt x="0" y="6497"/>
                  </a:cubicBezTo>
                  <a:cubicBezTo>
                    <a:pt x="0" y="6714"/>
                    <a:pt x="177" y="6891"/>
                    <a:pt x="394" y="6891"/>
                  </a:cubicBezTo>
                  <a:cubicBezTo>
                    <a:pt x="10267" y="6891"/>
                    <a:pt x="10267" y="6891"/>
                    <a:pt x="10267" y="6891"/>
                  </a:cubicBezTo>
                  <a:cubicBezTo>
                    <a:pt x="10151" y="6794"/>
                    <a:pt x="10075" y="6650"/>
                    <a:pt x="10075" y="6487"/>
                  </a:cubicBezTo>
                  <a:close/>
                  <a:moveTo>
                    <a:pt x="7087" y="6497"/>
                  </a:moveTo>
                  <a:cubicBezTo>
                    <a:pt x="5512" y="6497"/>
                    <a:pt x="5512" y="6497"/>
                    <a:pt x="5512" y="6497"/>
                  </a:cubicBezTo>
                  <a:cubicBezTo>
                    <a:pt x="5296" y="6497"/>
                    <a:pt x="5217" y="6409"/>
                    <a:pt x="5217" y="6301"/>
                  </a:cubicBezTo>
                  <a:cubicBezTo>
                    <a:pt x="7383" y="6301"/>
                    <a:pt x="7383" y="6301"/>
                    <a:pt x="7383" y="6301"/>
                  </a:cubicBezTo>
                  <a:cubicBezTo>
                    <a:pt x="7383" y="6409"/>
                    <a:pt x="7304" y="6497"/>
                    <a:pt x="7087" y="64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1" name="Freeform 10"/>
            <p:cNvSpPr>
              <a:spLocks/>
            </p:cNvSpPr>
            <p:nvPr/>
          </p:nvSpPr>
          <p:spPr bwMode="auto">
            <a:xfrm>
              <a:off x="-915988" y="2357438"/>
              <a:ext cx="473075" cy="571500"/>
            </a:xfrm>
            <a:custGeom>
              <a:avLst/>
              <a:gdLst>
                <a:gd name="T0" fmla="*/ 980 w 3738"/>
                <a:gd name="T1" fmla="*/ 2925 h 4528"/>
                <a:gd name="T2" fmla="*/ 0 w 3738"/>
                <a:gd name="T3" fmla="*/ 4335 h 4528"/>
                <a:gd name="T4" fmla="*/ 245 w 3738"/>
                <a:gd name="T5" fmla="*/ 4528 h 4528"/>
                <a:gd name="T6" fmla="*/ 3492 w 3738"/>
                <a:gd name="T7" fmla="*/ 4528 h 4528"/>
                <a:gd name="T8" fmla="*/ 3738 w 3738"/>
                <a:gd name="T9" fmla="*/ 4346 h 4528"/>
                <a:gd name="T10" fmla="*/ 2769 w 3738"/>
                <a:gd name="T11" fmla="*/ 2929 h 4528"/>
                <a:gd name="T12" fmla="*/ 2765 w 3738"/>
                <a:gd name="T13" fmla="*/ 3323 h 4528"/>
                <a:gd name="T14" fmla="*/ 3000 w 3738"/>
                <a:gd name="T15" fmla="*/ 4059 h 4528"/>
                <a:gd name="T16" fmla="*/ 2876 w 3738"/>
                <a:gd name="T17" fmla="*/ 4346 h 4528"/>
                <a:gd name="T18" fmla="*/ 2837 w 3738"/>
                <a:gd name="T19" fmla="*/ 4010 h 4528"/>
                <a:gd name="T20" fmla="*/ 2646 w 3738"/>
                <a:gd name="T21" fmla="*/ 3461 h 4528"/>
                <a:gd name="T22" fmla="*/ 2170 w 3738"/>
                <a:gd name="T23" fmla="*/ 3834 h 4528"/>
                <a:gd name="T24" fmla="*/ 2060 w 3738"/>
                <a:gd name="T25" fmla="*/ 4135 h 4528"/>
                <a:gd name="T26" fmla="*/ 2001 w 3738"/>
                <a:gd name="T27" fmla="*/ 3804 h 4528"/>
                <a:gd name="T28" fmla="*/ 2599 w 3738"/>
                <a:gd name="T29" fmla="*/ 3279 h 4528"/>
                <a:gd name="T30" fmla="*/ 2489 w 3738"/>
                <a:gd name="T31" fmla="*/ 2807 h 4528"/>
                <a:gd name="T32" fmla="*/ 2381 w 3738"/>
                <a:gd name="T33" fmla="*/ 2708 h 4528"/>
                <a:gd name="T34" fmla="*/ 2518 w 3738"/>
                <a:gd name="T35" fmla="*/ 1985 h 4528"/>
                <a:gd name="T36" fmla="*/ 2708 w 3738"/>
                <a:gd name="T37" fmla="*/ 1491 h 4528"/>
                <a:gd name="T38" fmla="*/ 2651 w 3738"/>
                <a:gd name="T39" fmla="*/ 1133 h 4528"/>
                <a:gd name="T40" fmla="*/ 2715 w 3738"/>
                <a:gd name="T41" fmla="*/ 716 h 4528"/>
                <a:gd name="T42" fmla="*/ 2245 w 3738"/>
                <a:gd name="T43" fmla="*/ 80 h 4528"/>
                <a:gd name="T44" fmla="*/ 1081 w 3738"/>
                <a:gd name="T45" fmla="*/ 432 h 4528"/>
                <a:gd name="T46" fmla="*/ 1086 w 3738"/>
                <a:gd name="T47" fmla="*/ 1108 h 4528"/>
                <a:gd name="T48" fmla="*/ 996 w 3738"/>
                <a:gd name="T49" fmla="*/ 1182 h 4528"/>
                <a:gd name="T50" fmla="*/ 1169 w 3738"/>
                <a:gd name="T51" fmla="*/ 1654 h 4528"/>
                <a:gd name="T52" fmla="*/ 1393 w 3738"/>
                <a:gd name="T53" fmla="*/ 2278 h 4528"/>
                <a:gd name="T54" fmla="*/ 1249 w 3738"/>
                <a:gd name="T55" fmla="*/ 2806 h 4528"/>
                <a:gd name="T56" fmla="*/ 1173 w 3738"/>
                <a:gd name="T57" fmla="*/ 3364 h 4528"/>
                <a:gd name="T58" fmla="*/ 1471 w 3738"/>
                <a:gd name="T59" fmla="*/ 3808 h 4528"/>
                <a:gd name="T60" fmla="*/ 924 w 3738"/>
                <a:gd name="T61" fmla="*/ 3808 h 4528"/>
                <a:gd name="T62" fmla="*/ 1005 w 3738"/>
                <a:gd name="T63" fmla="*/ 3393 h 4528"/>
                <a:gd name="T64" fmla="*/ 1007 w 3738"/>
                <a:gd name="T65" fmla="*/ 2915 h 4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738" h="4528">
                  <a:moveTo>
                    <a:pt x="1007" y="2915"/>
                  </a:moveTo>
                  <a:cubicBezTo>
                    <a:pt x="998" y="2919"/>
                    <a:pt x="990" y="2922"/>
                    <a:pt x="980" y="2925"/>
                  </a:cubicBezTo>
                  <a:cubicBezTo>
                    <a:pt x="744" y="3010"/>
                    <a:pt x="336" y="3160"/>
                    <a:pt x="185" y="3393"/>
                  </a:cubicBezTo>
                  <a:cubicBezTo>
                    <a:pt x="38" y="3631"/>
                    <a:pt x="0" y="4332"/>
                    <a:pt x="0" y="4335"/>
                  </a:cubicBezTo>
                  <a:cubicBezTo>
                    <a:pt x="1" y="4398"/>
                    <a:pt x="11" y="4448"/>
                    <a:pt x="41" y="4475"/>
                  </a:cubicBezTo>
                  <a:cubicBezTo>
                    <a:pt x="80" y="4528"/>
                    <a:pt x="162" y="4528"/>
                    <a:pt x="245" y="4528"/>
                  </a:cubicBezTo>
                  <a:cubicBezTo>
                    <a:pt x="520" y="4527"/>
                    <a:pt x="1218" y="4528"/>
                    <a:pt x="1869" y="4528"/>
                  </a:cubicBezTo>
                  <a:cubicBezTo>
                    <a:pt x="2520" y="4528"/>
                    <a:pt x="3218" y="4527"/>
                    <a:pt x="3492" y="4528"/>
                  </a:cubicBezTo>
                  <a:cubicBezTo>
                    <a:pt x="3576" y="4528"/>
                    <a:pt x="3646" y="4508"/>
                    <a:pt x="3681" y="4479"/>
                  </a:cubicBezTo>
                  <a:cubicBezTo>
                    <a:pt x="3715" y="4450"/>
                    <a:pt x="3737" y="4410"/>
                    <a:pt x="3738" y="4346"/>
                  </a:cubicBezTo>
                  <a:cubicBezTo>
                    <a:pt x="3738" y="4345"/>
                    <a:pt x="3717" y="3644"/>
                    <a:pt x="3552" y="3394"/>
                  </a:cubicBezTo>
                  <a:cubicBezTo>
                    <a:pt x="3404" y="3163"/>
                    <a:pt x="3007" y="3015"/>
                    <a:pt x="2769" y="2929"/>
                  </a:cubicBezTo>
                  <a:cubicBezTo>
                    <a:pt x="2782" y="2974"/>
                    <a:pt x="2791" y="3024"/>
                    <a:pt x="2791" y="3080"/>
                  </a:cubicBezTo>
                  <a:cubicBezTo>
                    <a:pt x="2791" y="3154"/>
                    <a:pt x="2776" y="3255"/>
                    <a:pt x="2765" y="3323"/>
                  </a:cubicBezTo>
                  <a:cubicBezTo>
                    <a:pt x="2861" y="3364"/>
                    <a:pt x="2934" y="3430"/>
                    <a:pt x="2980" y="3522"/>
                  </a:cubicBezTo>
                  <a:cubicBezTo>
                    <a:pt x="3069" y="3697"/>
                    <a:pt x="3035" y="3922"/>
                    <a:pt x="3000" y="4059"/>
                  </a:cubicBezTo>
                  <a:cubicBezTo>
                    <a:pt x="3029" y="4090"/>
                    <a:pt x="3047" y="4130"/>
                    <a:pt x="3047" y="4175"/>
                  </a:cubicBezTo>
                  <a:cubicBezTo>
                    <a:pt x="3047" y="4270"/>
                    <a:pt x="2970" y="4346"/>
                    <a:pt x="2876" y="4346"/>
                  </a:cubicBezTo>
                  <a:cubicBezTo>
                    <a:pt x="2782" y="4346"/>
                    <a:pt x="2705" y="4270"/>
                    <a:pt x="2705" y="4175"/>
                  </a:cubicBezTo>
                  <a:cubicBezTo>
                    <a:pt x="2705" y="4095"/>
                    <a:pt x="2762" y="4028"/>
                    <a:pt x="2837" y="4010"/>
                  </a:cubicBezTo>
                  <a:cubicBezTo>
                    <a:pt x="2865" y="3898"/>
                    <a:pt x="2891" y="3724"/>
                    <a:pt x="2827" y="3599"/>
                  </a:cubicBezTo>
                  <a:cubicBezTo>
                    <a:pt x="2792" y="3529"/>
                    <a:pt x="2733" y="3484"/>
                    <a:pt x="2646" y="3461"/>
                  </a:cubicBezTo>
                  <a:cubicBezTo>
                    <a:pt x="2540" y="3433"/>
                    <a:pt x="2453" y="3444"/>
                    <a:pt x="2378" y="3494"/>
                  </a:cubicBezTo>
                  <a:cubicBezTo>
                    <a:pt x="2262" y="3572"/>
                    <a:pt x="2200" y="3727"/>
                    <a:pt x="2170" y="3834"/>
                  </a:cubicBezTo>
                  <a:cubicBezTo>
                    <a:pt x="2207" y="3866"/>
                    <a:pt x="2231" y="3911"/>
                    <a:pt x="2231" y="3964"/>
                  </a:cubicBezTo>
                  <a:cubicBezTo>
                    <a:pt x="2231" y="4058"/>
                    <a:pt x="2154" y="4135"/>
                    <a:pt x="2060" y="4135"/>
                  </a:cubicBezTo>
                  <a:cubicBezTo>
                    <a:pt x="1966" y="4135"/>
                    <a:pt x="1890" y="4058"/>
                    <a:pt x="1890" y="3964"/>
                  </a:cubicBezTo>
                  <a:cubicBezTo>
                    <a:pt x="1890" y="3890"/>
                    <a:pt x="1936" y="3828"/>
                    <a:pt x="2001" y="3804"/>
                  </a:cubicBezTo>
                  <a:cubicBezTo>
                    <a:pt x="2036" y="3672"/>
                    <a:pt x="2116" y="3464"/>
                    <a:pt x="2282" y="3352"/>
                  </a:cubicBezTo>
                  <a:cubicBezTo>
                    <a:pt x="2375" y="3290"/>
                    <a:pt x="2482" y="3266"/>
                    <a:pt x="2599" y="3279"/>
                  </a:cubicBezTo>
                  <a:cubicBezTo>
                    <a:pt x="2609" y="3219"/>
                    <a:pt x="2620" y="3138"/>
                    <a:pt x="2620" y="3081"/>
                  </a:cubicBezTo>
                  <a:cubicBezTo>
                    <a:pt x="2619" y="2894"/>
                    <a:pt x="2490" y="2808"/>
                    <a:pt x="2489" y="2807"/>
                  </a:cubicBezTo>
                  <a:cubicBezTo>
                    <a:pt x="2490" y="2807"/>
                    <a:pt x="2490" y="2807"/>
                    <a:pt x="2490" y="2807"/>
                  </a:cubicBezTo>
                  <a:cubicBezTo>
                    <a:pt x="2441" y="2776"/>
                    <a:pt x="2409" y="2745"/>
                    <a:pt x="2381" y="2708"/>
                  </a:cubicBezTo>
                  <a:cubicBezTo>
                    <a:pt x="2319" y="2626"/>
                    <a:pt x="2345" y="2278"/>
                    <a:pt x="2345" y="2278"/>
                  </a:cubicBezTo>
                  <a:cubicBezTo>
                    <a:pt x="2345" y="2278"/>
                    <a:pt x="2475" y="2098"/>
                    <a:pt x="2518" y="1985"/>
                  </a:cubicBezTo>
                  <a:cubicBezTo>
                    <a:pt x="2560" y="1872"/>
                    <a:pt x="2569" y="1654"/>
                    <a:pt x="2569" y="1654"/>
                  </a:cubicBezTo>
                  <a:cubicBezTo>
                    <a:pt x="2569" y="1654"/>
                    <a:pt x="2680" y="1580"/>
                    <a:pt x="2708" y="1491"/>
                  </a:cubicBezTo>
                  <a:cubicBezTo>
                    <a:pt x="2736" y="1401"/>
                    <a:pt x="2760" y="1249"/>
                    <a:pt x="2741" y="1182"/>
                  </a:cubicBezTo>
                  <a:cubicBezTo>
                    <a:pt x="2727" y="1132"/>
                    <a:pt x="2676" y="1131"/>
                    <a:pt x="2651" y="1133"/>
                  </a:cubicBezTo>
                  <a:cubicBezTo>
                    <a:pt x="2652" y="1130"/>
                    <a:pt x="2653" y="1127"/>
                    <a:pt x="2654" y="1124"/>
                  </a:cubicBezTo>
                  <a:cubicBezTo>
                    <a:pt x="2701" y="967"/>
                    <a:pt x="2715" y="879"/>
                    <a:pt x="2715" y="716"/>
                  </a:cubicBezTo>
                  <a:cubicBezTo>
                    <a:pt x="2716" y="410"/>
                    <a:pt x="2604" y="207"/>
                    <a:pt x="2462" y="128"/>
                  </a:cubicBezTo>
                  <a:cubicBezTo>
                    <a:pt x="2347" y="65"/>
                    <a:pt x="2245" y="80"/>
                    <a:pt x="2245" y="80"/>
                  </a:cubicBezTo>
                  <a:cubicBezTo>
                    <a:pt x="2130" y="17"/>
                    <a:pt x="1934" y="0"/>
                    <a:pt x="1758" y="0"/>
                  </a:cubicBezTo>
                  <a:cubicBezTo>
                    <a:pt x="1406" y="0"/>
                    <a:pt x="1159" y="239"/>
                    <a:pt x="1081" y="432"/>
                  </a:cubicBezTo>
                  <a:cubicBezTo>
                    <a:pt x="1022" y="580"/>
                    <a:pt x="1014" y="673"/>
                    <a:pt x="1028" y="842"/>
                  </a:cubicBezTo>
                  <a:cubicBezTo>
                    <a:pt x="1036" y="950"/>
                    <a:pt x="1063" y="1040"/>
                    <a:pt x="1086" y="1108"/>
                  </a:cubicBezTo>
                  <a:cubicBezTo>
                    <a:pt x="1089" y="1115"/>
                    <a:pt x="1092" y="1124"/>
                    <a:pt x="1095" y="1134"/>
                  </a:cubicBezTo>
                  <a:cubicBezTo>
                    <a:pt x="1076" y="1131"/>
                    <a:pt x="1012" y="1125"/>
                    <a:pt x="996" y="1182"/>
                  </a:cubicBezTo>
                  <a:cubicBezTo>
                    <a:pt x="977" y="1248"/>
                    <a:pt x="1001" y="1401"/>
                    <a:pt x="1029" y="1491"/>
                  </a:cubicBezTo>
                  <a:cubicBezTo>
                    <a:pt x="1058" y="1580"/>
                    <a:pt x="1169" y="1654"/>
                    <a:pt x="1169" y="1654"/>
                  </a:cubicBezTo>
                  <a:cubicBezTo>
                    <a:pt x="1169" y="1654"/>
                    <a:pt x="1177" y="1872"/>
                    <a:pt x="1220" y="1985"/>
                  </a:cubicBezTo>
                  <a:cubicBezTo>
                    <a:pt x="1262" y="2098"/>
                    <a:pt x="1393" y="2278"/>
                    <a:pt x="1393" y="2278"/>
                  </a:cubicBezTo>
                  <a:cubicBezTo>
                    <a:pt x="1393" y="2278"/>
                    <a:pt x="1419" y="2626"/>
                    <a:pt x="1357" y="2708"/>
                  </a:cubicBezTo>
                  <a:cubicBezTo>
                    <a:pt x="1329" y="2745"/>
                    <a:pt x="1297" y="2776"/>
                    <a:pt x="1249" y="2806"/>
                  </a:cubicBezTo>
                  <a:cubicBezTo>
                    <a:pt x="1226" y="2835"/>
                    <a:pt x="1170" y="2914"/>
                    <a:pt x="1163" y="3014"/>
                  </a:cubicBezTo>
                  <a:cubicBezTo>
                    <a:pt x="1154" y="3146"/>
                    <a:pt x="1157" y="3274"/>
                    <a:pt x="1173" y="3364"/>
                  </a:cubicBezTo>
                  <a:cubicBezTo>
                    <a:pt x="1185" y="3430"/>
                    <a:pt x="1196" y="3487"/>
                    <a:pt x="1207" y="3535"/>
                  </a:cubicBezTo>
                  <a:cubicBezTo>
                    <a:pt x="1353" y="3540"/>
                    <a:pt x="1471" y="3660"/>
                    <a:pt x="1471" y="3808"/>
                  </a:cubicBezTo>
                  <a:cubicBezTo>
                    <a:pt x="1471" y="3958"/>
                    <a:pt x="1348" y="4081"/>
                    <a:pt x="1198" y="4081"/>
                  </a:cubicBezTo>
                  <a:cubicBezTo>
                    <a:pt x="1047" y="4081"/>
                    <a:pt x="924" y="3958"/>
                    <a:pt x="924" y="3808"/>
                  </a:cubicBezTo>
                  <a:cubicBezTo>
                    <a:pt x="924" y="3715"/>
                    <a:pt x="971" y="3632"/>
                    <a:pt x="1043" y="3583"/>
                  </a:cubicBezTo>
                  <a:cubicBezTo>
                    <a:pt x="1031" y="3530"/>
                    <a:pt x="1018" y="3467"/>
                    <a:pt x="1005" y="3393"/>
                  </a:cubicBezTo>
                  <a:cubicBezTo>
                    <a:pt x="981" y="3252"/>
                    <a:pt x="987" y="3088"/>
                    <a:pt x="993" y="3002"/>
                  </a:cubicBezTo>
                  <a:cubicBezTo>
                    <a:pt x="995" y="2972"/>
                    <a:pt x="1000" y="2943"/>
                    <a:pt x="1007" y="29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-185738" y="2459038"/>
              <a:ext cx="328613" cy="657225"/>
            </a:xfrm>
            <a:custGeom>
              <a:avLst/>
              <a:gdLst>
                <a:gd name="T0" fmla="*/ 2196 w 2600"/>
                <a:gd name="T1" fmla="*/ 0 h 5200"/>
                <a:gd name="T2" fmla="*/ 1947 w 2600"/>
                <a:gd name="T3" fmla="*/ 0 h 5200"/>
                <a:gd name="T4" fmla="*/ 404 w 2600"/>
                <a:gd name="T5" fmla="*/ 0 h 5200"/>
                <a:gd name="T6" fmla="*/ 0 w 2600"/>
                <a:gd name="T7" fmla="*/ 404 h 5200"/>
                <a:gd name="T8" fmla="*/ 0 w 2600"/>
                <a:gd name="T9" fmla="*/ 4216 h 5200"/>
                <a:gd name="T10" fmla="*/ 0 w 2600"/>
                <a:gd name="T11" fmla="*/ 4796 h 5200"/>
                <a:gd name="T12" fmla="*/ 404 w 2600"/>
                <a:gd name="T13" fmla="*/ 5200 h 5200"/>
                <a:gd name="T14" fmla="*/ 2006 w 2600"/>
                <a:gd name="T15" fmla="*/ 5200 h 5200"/>
                <a:gd name="T16" fmla="*/ 2196 w 2600"/>
                <a:gd name="T17" fmla="*/ 5200 h 5200"/>
                <a:gd name="T18" fmla="*/ 2600 w 2600"/>
                <a:gd name="T19" fmla="*/ 4796 h 5200"/>
                <a:gd name="T20" fmla="*/ 2600 w 2600"/>
                <a:gd name="T21" fmla="*/ 404 h 5200"/>
                <a:gd name="T22" fmla="*/ 2196 w 2600"/>
                <a:gd name="T23" fmla="*/ 0 h 5200"/>
                <a:gd name="T24" fmla="*/ 2198 w 2600"/>
                <a:gd name="T25" fmla="*/ 4984 h 5200"/>
                <a:gd name="T26" fmla="*/ 402 w 2600"/>
                <a:gd name="T27" fmla="*/ 4984 h 5200"/>
                <a:gd name="T28" fmla="*/ 188 w 2600"/>
                <a:gd name="T29" fmla="*/ 4769 h 5200"/>
                <a:gd name="T30" fmla="*/ 188 w 2600"/>
                <a:gd name="T31" fmla="*/ 4216 h 5200"/>
                <a:gd name="T32" fmla="*/ 188 w 2600"/>
                <a:gd name="T33" fmla="*/ 431 h 5200"/>
                <a:gd name="T34" fmla="*/ 402 w 2600"/>
                <a:gd name="T35" fmla="*/ 217 h 5200"/>
                <a:gd name="T36" fmla="*/ 644 w 2600"/>
                <a:gd name="T37" fmla="*/ 217 h 5200"/>
                <a:gd name="T38" fmla="*/ 672 w 2600"/>
                <a:gd name="T39" fmla="*/ 245 h 5200"/>
                <a:gd name="T40" fmla="*/ 672 w 2600"/>
                <a:gd name="T41" fmla="*/ 260 h 5200"/>
                <a:gd name="T42" fmla="*/ 801 w 2600"/>
                <a:gd name="T43" fmla="*/ 388 h 5200"/>
                <a:gd name="T44" fmla="*/ 1799 w 2600"/>
                <a:gd name="T45" fmla="*/ 388 h 5200"/>
                <a:gd name="T46" fmla="*/ 1927 w 2600"/>
                <a:gd name="T47" fmla="*/ 260 h 5200"/>
                <a:gd name="T48" fmla="*/ 1927 w 2600"/>
                <a:gd name="T49" fmla="*/ 245 h 5200"/>
                <a:gd name="T50" fmla="*/ 1956 w 2600"/>
                <a:gd name="T51" fmla="*/ 217 h 5200"/>
                <a:gd name="T52" fmla="*/ 2198 w 2600"/>
                <a:gd name="T53" fmla="*/ 217 h 5200"/>
                <a:gd name="T54" fmla="*/ 2412 w 2600"/>
                <a:gd name="T55" fmla="*/ 431 h 5200"/>
                <a:gd name="T56" fmla="*/ 2412 w 2600"/>
                <a:gd name="T57" fmla="*/ 4769 h 5200"/>
                <a:gd name="T58" fmla="*/ 2395 w 2600"/>
                <a:gd name="T59" fmla="*/ 4853 h 5200"/>
                <a:gd name="T60" fmla="*/ 2198 w 2600"/>
                <a:gd name="T61" fmla="*/ 4984 h 5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600" h="5200">
                  <a:moveTo>
                    <a:pt x="2196" y="0"/>
                  </a:moveTo>
                  <a:cubicBezTo>
                    <a:pt x="1947" y="0"/>
                    <a:pt x="1947" y="0"/>
                    <a:pt x="1947" y="0"/>
                  </a:cubicBezTo>
                  <a:cubicBezTo>
                    <a:pt x="404" y="0"/>
                    <a:pt x="404" y="0"/>
                    <a:pt x="404" y="0"/>
                  </a:cubicBezTo>
                  <a:cubicBezTo>
                    <a:pt x="182" y="0"/>
                    <a:pt x="0" y="182"/>
                    <a:pt x="0" y="404"/>
                  </a:cubicBezTo>
                  <a:cubicBezTo>
                    <a:pt x="0" y="4216"/>
                    <a:pt x="0" y="4216"/>
                    <a:pt x="0" y="4216"/>
                  </a:cubicBezTo>
                  <a:cubicBezTo>
                    <a:pt x="0" y="4796"/>
                    <a:pt x="0" y="4796"/>
                    <a:pt x="0" y="4796"/>
                  </a:cubicBezTo>
                  <a:cubicBezTo>
                    <a:pt x="0" y="5018"/>
                    <a:pt x="182" y="5200"/>
                    <a:pt x="404" y="5200"/>
                  </a:cubicBezTo>
                  <a:cubicBezTo>
                    <a:pt x="2006" y="5200"/>
                    <a:pt x="2006" y="5200"/>
                    <a:pt x="2006" y="5200"/>
                  </a:cubicBezTo>
                  <a:cubicBezTo>
                    <a:pt x="2196" y="5200"/>
                    <a:pt x="2196" y="5200"/>
                    <a:pt x="2196" y="5200"/>
                  </a:cubicBezTo>
                  <a:cubicBezTo>
                    <a:pt x="2418" y="5200"/>
                    <a:pt x="2600" y="5018"/>
                    <a:pt x="2600" y="4796"/>
                  </a:cubicBezTo>
                  <a:cubicBezTo>
                    <a:pt x="2600" y="404"/>
                    <a:pt x="2600" y="404"/>
                    <a:pt x="2600" y="404"/>
                  </a:cubicBezTo>
                  <a:cubicBezTo>
                    <a:pt x="2600" y="182"/>
                    <a:pt x="2418" y="0"/>
                    <a:pt x="2196" y="0"/>
                  </a:cubicBezTo>
                  <a:close/>
                  <a:moveTo>
                    <a:pt x="2198" y="4984"/>
                  </a:moveTo>
                  <a:cubicBezTo>
                    <a:pt x="402" y="4984"/>
                    <a:pt x="402" y="4984"/>
                    <a:pt x="402" y="4984"/>
                  </a:cubicBezTo>
                  <a:cubicBezTo>
                    <a:pt x="284" y="4984"/>
                    <a:pt x="188" y="4887"/>
                    <a:pt x="188" y="4769"/>
                  </a:cubicBezTo>
                  <a:cubicBezTo>
                    <a:pt x="188" y="4216"/>
                    <a:pt x="188" y="4216"/>
                    <a:pt x="188" y="4216"/>
                  </a:cubicBezTo>
                  <a:cubicBezTo>
                    <a:pt x="188" y="431"/>
                    <a:pt x="188" y="431"/>
                    <a:pt x="188" y="431"/>
                  </a:cubicBezTo>
                  <a:cubicBezTo>
                    <a:pt x="188" y="313"/>
                    <a:pt x="284" y="217"/>
                    <a:pt x="402" y="217"/>
                  </a:cubicBezTo>
                  <a:cubicBezTo>
                    <a:pt x="644" y="217"/>
                    <a:pt x="644" y="217"/>
                    <a:pt x="644" y="217"/>
                  </a:cubicBezTo>
                  <a:cubicBezTo>
                    <a:pt x="660" y="217"/>
                    <a:pt x="672" y="230"/>
                    <a:pt x="672" y="245"/>
                  </a:cubicBezTo>
                  <a:cubicBezTo>
                    <a:pt x="672" y="260"/>
                    <a:pt x="672" y="260"/>
                    <a:pt x="672" y="260"/>
                  </a:cubicBezTo>
                  <a:cubicBezTo>
                    <a:pt x="672" y="330"/>
                    <a:pt x="730" y="388"/>
                    <a:pt x="801" y="388"/>
                  </a:cubicBezTo>
                  <a:cubicBezTo>
                    <a:pt x="1799" y="388"/>
                    <a:pt x="1799" y="388"/>
                    <a:pt x="1799" y="388"/>
                  </a:cubicBezTo>
                  <a:cubicBezTo>
                    <a:pt x="1869" y="388"/>
                    <a:pt x="1927" y="330"/>
                    <a:pt x="1927" y="260"/>
                  </a:cubicBezTo>
                  <a:cubicBezTo>
                    <a:pt x="1927" y="245"/>
                    <a:pt x="1927" y="245"/>
                    <a:pt x="1927" y="245"/>
                  </a:cubicBezTo>
                  <a:cubicBezTo>
                    <a:pt x="1927" y="230"/>
                    <a:pt x="1940" y="217"/>
                    <a:pt x="1956" y="217"/>
                  </a:cubicBezTo>
                  <a:cubicBezTo>
                    <a:pt x="2198" y="217"/>
                    <a:pt x="2198" y="217"/>
                    <a:pt x="2198" y="217"/>
                  </a:cubicBezTo>
                  <a:cubicBezTo>
                    <a:pt x="2316" y="217"/>
                    <a:pt x="2412" y="313"/>
                    <a:pt x="2412" y="431"/>
                  </a:cubicBezTo>
                  <a:cubicBezTo>
                    <a:pt x="2412" y="4769"/>
                    <a:pt x="2412" y="4769"/>
                    <a:pt x="2412" y="4769"/>
                  </a:cubicBezTo>
                  <a:cubicBezTo>
                    <a:pt x="2412" y="4799"/>
                    <a:pt x="2406" y="4827"/>
                    <a:pt x="2395" y="4853"/>
                  </a:cubicBezTo>
                  <a:cubicBezTo>
                    <a:pt x="2362" y="4930"/>
                    <a:pt x="2286" y="4984"/>
                    <a:pt x="2198" y="49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auto">
            <a:xfrm>
              <a:off x="-138113" y="2660650"/>
              <a:ext cx="233363" cy="247650"/>
            </a:xfrm>
            <a:custGeom>
              <a:avLst/>
              <a:gdLst>
                <a:gd name="T0" fmla="*/ 1635 w 1852"/>
                <a:gd name="T1" fmla="*/ 1576 h 1959"/>
                <a:gd name="T2" fmla="*/ 1162 w 1852"/>
                <a:gd name="T3" fmla="*/ 1251 h 1959"/>
                <a:gd name="T4" fmla="*/ 1153 w 1852"/>
                <a:gd name="T5" fmla="*/ 1127 h 1959"/>
                <a:gd name="T6" fmla="*/ 1322 w 1852"/>
                <a:gd name="T7" fmla="*/ 1146 h 1959"/>
                <a:gd name="T8" fmla="*/ 1508 w 1852"/>
                <a:gd name="T9" fmla="*/ 1098 h 1959"/>
                <a:gd name="T10" fmla="*/ 1437 w 1852"/>
                <a:gd name="T11" fmla="*/ 990 h 1959"/>
                <a:gd name="T12" fmla="*/ 1386 w 1852"/>
                <a:gd name="T13" fmla="*/ 514 h 1959"/>
                <a:gd name="T14" fmla="*/ 1257 w 1852"/>
                <a:gd name="T15" fmla="*/ 148 h 1959"/>
                <a:gd name="T16" fmla="*/ 926 w 1852"/>
                <a:gd name="T17" fmla="*/ 54 h 1959"/>
                <a:gd name="T18" fmla="*/ 845 w 1852"/>
                <a:gd name="T19" fmla="*/ 37 h 1959"/>
                <a:gd name="T20" fmla="*/ 595 w 1852"/>
                <a:gd name="T21" fmla="*/ 147 h 1959"/>
                <a:gd name="T22" fmla="*/ 466 w 1852"/>
                <a:gd name="T23" fmla="*/ 514 h 1959"/>
                <a:gd name="T24" fmla="*/ 451 w 1852"/>
                <a:gd name="T25" fmla="*/ 865 h 1959"/>
                <a:gd name="T26" fmla="*/ 415 w 1852"/>
                <a:gd name="T27" fmla="*/ 990 h 1959"/>
                <a:gd name="T28" fmla="*/ 344 w 1852"/>
                <a:gd name="T29" fmla="*/ 1098 h 1959"/>
                <a:gd name="T30" fmla="*/ 451 w 1852"/>
                <a:gd name="T31" fmla="*/ 1136 h 1959"/>
                <a:gd name="T32" fmla="*/ 531 w 1852"/>
                <a:gd name="T33" fmla="*/ 1146 h 1959"/>
                <a:gd name="T34" fmla="*/ 699 w 1852"/>
                <a:gd name="T35" fmla="*/ 1127 h 1959"/>
                <a:gd name="T36" fmla="*/ 690 w 1852"/>
                <a:gd name="T37" fmla="*/ 1251 h 1959"/>
                <a:gd name="T38" fmla="*/ 451 w 1852"/>
                <a:gd name="T39" fmla="*/ 1459 h 1959"/>
                <a:gd name="T40" fmla="*/ 217 w 1852"/>
                <a:gd name="T41" fmla="*/ 1576 h 1959"/>
                <a:gd name="T42" fmla="*/ 2 w 1852"/>
                <a:gd name="T43" fmla="*/ 1883 h 1959"/>
                <a:gd name="T44" fmla="*/ 77 w 1852"/>
                <a:gd name="T45" fmla="*/ 1959 h 1959"/>
                <a:gd name="T46" fmla="*/ 451 w 1852"/>
                <a:gd name="T47" fmla="*/ 1959 h 1959"/>
                <a:gd name="T48" fmla="*/ 845 w 1852"/>
                <a:gd name="T49" fmla="*/ 1959 h 1959"/>
                <a:gd name="T50" fmla="*/ 926 w 1852"/>
                <a:gd name="T51" fmla="*/ 1959 h 1959"/>
                <a:gd name="T52" fmla="*/ 1775 w 1852"/>
                <a:gd name="T53" fmla="*/ 1959 h 1959"/>
                <a:gd name="T54" fmla="*/ 1850 w 1852"/>
                <a:gd name="T55" fmla="*/ 1883 h 1959"/>
                <a:gd name="T56" fmla="*/ 1635 w 1852"/>
                <a:gd name="T57" fmla="*/ 1576 h 19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52" h="1959">
                  <a:moveTo>
                    <a:pt x="1635" y="1576"/>
                  </a:moveTo>
                  <a:cubicBezTo>
                    <a:pt x="1384" y="1426"/>
                    <a:pt x="1188" y="1414"/>
                    <a:pt x="1162" y="1251"/>
                  </a:cubicBezTo>
                  <a:cubicBezTo>
                    <a:pt x="1154" y="1200"/>
                    <a:pt x="1152" y="1177"/>
                    <a:pt x="1153" y="1127"/>
                  </a:cubicBezTo>
                  <a:cubicBezTo>
                    <a:pt x="1155" y="1125"/>
                    <a:pt x="1227" y="1146"/>
                    <a:pt x="1322" y="1146"/>
                  </a:cubicBezTo>
                  <a:cubicBezTo>
                    <a:pt x="1416" y="1146"/>
                    <a:pt x="1508" y="1098"/>
                    <a:pt x="1508" y="1098"/>
                  </a:cubicBezTo>
                  <a:cubicBezTo>
                    <a:pt x="1508" y="1098"/>
                    <a:pt x="1469" y="1070"/>
                    <a:pt x="1437" y="990"/>
                  </a:cubicBezTo>
                  <a:cubicBezTo>
                    <a:pt x="1371" y="813"/>
                    <a:pt x="1386" y="690"/>
                    <a:pt x="1386" y="514"/>
                  </a:cubicBezTo>
                  <a:cubicBezTo>
                    <a:pt x="1385" y="340"/>
                    <a:pt x="1325" y="213"/>
                    <a:pt x="1257" y="148"/>
                  </a:cubicBezTo>
                  <a:cubicBezTo>
                    <a:pt x="1177" y="70"/>
                    <a:pt x="1058" y="0"/>
                    <a:pt x="926" y="54"/>
                  </a:cubicBezTo>
                  <a:cubicBezTo>
                    <a:pt x="898" y="43"/>
                    <a:pt x="871" y="38"/>
                    <a:pt x="845" y="37"/>
                  </a:cubicBezTo>
                  <a:cubicBezTo>
                    <a:pt x="746" y="31"/>
                    <a:pt x="658" y="86"/>
                    <a:pt x="595" y="147"/>
                  </a:cubicBezTo>
                  <a:cubicBezTo>
                    <a:pt x="527" y="213"/>
                    <a:pt x="467" y="340"/>
                    <a:pt x="466" y="514"/>
                  </a:cubicBezTo>
                  <a:cubicBezTo>
                    <a:pt x="466" y="646"/>
                    <a:pt x="474" y="747"/>
                    <a:pt x="451" y="865"/>
                  </a:cubicBezTo>
                  <a:cubicBezTo>
                    <a:pt x="443" y="904"/>
                    <a:pt x="432" y="945"/>
                    <a:pt x="415" y="990"/>
                  </a:cubicBezTo>
                  <a:cubicBezTo>
                    <a:pt x="383" y="1070"/>
                    <a:pt x="344" y="1098"/>
                    <a:pt x="344" y="1098"/>
                  </a:cubicBezTo>
                  <a:cubicBezTo>
                    <a:pt x="344" y="1098"/>
                    <a:pt x="391" y="1122"/>
                    <a:pt x="451" y="1136"/>
                  </a:cubicBezTo>
                  <a:cubicBezTo>
                    <a:pt x="476" y="1142"/>
                    <a:pt x="503" y="1146"/>
                    <a:pt x="531" y="1146"/>
                  </a:cubicBezTo>
                  <a:cubicBezTo>
                    <a:pt x="625" y="1146"/>
                    <a:pt x="697" y="1125"/>
                    <a:pt x="699" y="1127"/>
                  </a:cubicBezTo>
                  <a:cubicBezTo>
                    <a:pt x="700" y="1177"/>
                    <a:pt x="698" y="1200"/>
                    <a:pt x="690" y="1251"/>
                  </a:cubicBezTo>
                  <a:cubicBezTo>
                    <a:pt x="673" y="1358"/>
                    <a:pt x="582" y="1400"/>
                    <a:pt x="451" y="1459"/>
                  </a:cubicBezTo>
                  <a:cubicBezTo>
                    <a:pt x="382" y="1489"/>
                    <a:pt x="303" y="1524"/>
                    <a:pt x="217" y="1576"/>
                  </a:cubicBezTo>
                  <a:cubicBezTo>
                    <a:pt x="0" y="1704"/>
                    <a:pt x="1" y="1825"/>
                    <a:pt x="2" y="1883"/>
                  </a:cubicBezTo>
                  <a:cubicBezTo>
                    <a:pt x="3" y="1943"/>
                    <a:pt x="17" y="1959"/>
                    <a:pt x="77" y="1959"/>
                  </a:cubicBezTo>
                  <a:cubicBezTo>
                    <a:pt x="158" y="1959"/>
                    <a:pt x="293" y="1959"/>
                    <a:pt x="451" y="1959"/>
                  </a:cubicBezTo>
                  <a:cubicBezTo>
                    <a:pt x="573" y="1959"/>
                    <a:pt x="708" y="1959"/>
                    <a:pt x="845" y="1959"/>
                  </a:cubicBezTo>
                  <a:cubicBezTo>
                    <a:pt x="872" y="1959"/>
                    <a:pt x="899" y="1959"/>
                    <a:pt x="926" y="1959"/>
                  </a:cubicBezTo>
                  <a:cubicBezTo>
                    <a:pt x="1266" y="1959"/>
                    <a:pt x="1620" y="1959"/>
                    <a:pt x="1775" y="1959"/>
                  </a:cubicBezTo>
                  <a:cubicBezTo>
                    <a:pt x="1835" y="1959"/>
                    <a:pt x="1849" y="1943"/>
                    <a:pt x="1850" y="1883"/>
                  </a:cubicBezTo>
                  <a:cubicBezTo>
                    <a:pt x="1851" y="1825"/>
                    <a:pt x="1852" y="1704"/>
                    <a:pt x="1635" y="15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  <p:sp>
        <p:nvSpPr>
          <p:cNvPr id="48" name="Freeform 16"/>
          <p:cNvSpPr>
            <a:spLocks noEditPoints="1"/>
          </p:cNvSpPr>
          <p:nvPr/>
        </p:nvSpPr>
        <p:spPr bwMode="auto">
          <a:xfrm>
            <a:off x="876825" y="3867520"/>
            <a:ext cx="731344" cy="798086"/>
          </a:xfrm>
          <a:custGeom>
            <a:avLst/>
            <a:gdLst>
              <a:gd name="T0" fmla="*/ 534 w 949"/>
              <a:gd name="T1" fmla="*/ 622 h 1037"/>
              <a:gd name="T2" fmla="*/ 513 w 949"/>
              <a:gd name="T3" fmla="*/ 767 h 1037"/>
              <a:gd name="T4" fmla="*/ 423 w 949"/>
              <a:gd name="T5" fmla="*/ 928 h 1037"/>
              <a:gd name="T6" fmla="*/ 523 w 949"/>
              <a:gd name="T7" fmla="*/ 984 h 1037"/>
              <a:gd name="T8" fmla="*/ 619 w 949"/>
              <a:gd name="T9" fmla="*/ 811 h 1037"/>
              <a:gd name="T10" fmla="*/ 632 w 949"/>
              <a:gd name="T11" fmla="*/ 761 h 1037"/>
              <a:gd name="T12" fmla="*/ 534 w 949"/>
              <a:gd name="T13" fmla="*/ 622 h 1037"/>
              <a:gd name="T14" fmla="*/ 113 w 949"/>
              <a:gd name="T15" fmla="*/ 955 h 1037"/>
              <a:gd name="T16" fmla="*/ 143 w 949"/>
              <a:gd name="T17" fmla="*/ 984 h 1037"/>
              <a:gd name="T18" fmla="*/ 113 w 949"/>
              <a:gd name="T19" fmla="*/ 1013 h 1037"/>
              <a:gd name="T20" fmla="*/ 84 w 949"/>
              <a:gd name="T21" fmla="*/ 984 h 1037"/>
              <a:gd name="T22" fmla="*/ 113 w 949"/>
              <a:gd name="T23" fmla="*/ 955 h 1037"/>
              <a:gd name="T24" fmla="*/ 209 w 949"/>
              <a:gd name="T25" fmla="*/ 571 h 1037"/>
              <a:gd name="T26" fmla="*/ 314 w 949"/>
              <a:gd name="T27" fmla="*/ 626 h 1037"/>
              <a:gd name="T28" fmla="*/ 365 w 949"/>
              <a:gd name="T29" fmla="*/ 526 h 1037"/>
              <a:gd name="T30" fmla="*/ 344 w 949"/>
              <a:gd name="T31" fmla="*/ 490 h 1037"/>
              <a:gd name="T32" fmla="*/ 372 w 949"/>
              <a:gd name="T33" fmla="*/ 306 h 1037"/>
              <a:gd name="T34" fmla="*/ 391 w 949"/>
              <a:gd name="T35" fmla="*/ 279 h 1037"/>
              <a:gd name="T36" fmla="*/ 548 w 949"/>
              <a:gd name="T37" fmla="*/ 208 h 1037"/>
              <a:gd name="T38" fmla="*/ 686 w 949"/>
              <a:gd name="T39" fmla="*/ 252 h 1037"/>
              <a:gd name="T40" fmla="*/ 683 w 949"/>
              <a:gd name="T41" fmla="*/ 576 h 1037"/>
              <a:gd name="T42" fmla="*/ 679 w 949"/>
              <a:gd name="T43" fmla="*/ 596 h 1037"/>
              <a:gd name="T44" fmla="*/ 760 w 949"/>
              <a:gd name="T45" fmla="*/ 711 h 1037"/>
              <a:gd name="T46" fmla="*/ 769 w 949"/>
              <a:gd name="T47" fmla="*/ 747 h 1037"/>
              <a:gd name="T48" fmla="*/ 769 w 949"/>
              <a:gd name="T49" fmla="*/ 973 h 1037"/>
              <a:gd name="T50" fmla="*/ 655 w 949"/>
              <a:gd name="T51" fmla="*/ 973 h 1037"/>
              <a:gd name="T52" fmla="*/ 655 w 949"/>
              <a:gd name="T53" fmla="*/ 764 h 1037"/>
              <a:gd name="T54" fmla="*/ 545 w 949"/>
              <a:gd name="T55" fmla="*/ 609 h 1037"/>
              <a:gd name="T56" fmla="*/ 527 w 949"/>
              <a:gd name="T57" fmla="*/ 569 h 1037"/>
              <a:gd name="T58" fmla="*/ 529 w 949"/>
              <a:gd name="T59" fmla="*/ 314 h 1037"/>
              <a:gd name="T60" fmla="*/ 456 w 949"/>
              <a:gd name="T61" fmla="*/ 348 h 1037"/>
              <a:gd name="T62" fmla="*/ 433 w 949"/>
              <a:gd name="T63" fmla="*/ 499 h 1037"/>
              <a:gd name="T64" fmla="*/ 397 w 949"/>
              <a:gd name="T65" fmla="*/ 529 h 1037"/>
              <a:gd name="T66" fmla="*/ 174 w 949"/>
              <a:gd name="T67" fmla="*/ 967 h 1037"/>
              <a:gd name="T68" fmla="*/ 158 w 949"/>
              <a:gd name="T69" fmla="*/ 982 h 1037"/>
              <a:gd name="T70" fmla="*/ 77 w 949"/>
              <a:gd name="T71" fmla="*/ 958 h 1037"/>
              <a:gd name="T72" fmla="*/ 25 w 949"/>
              <a:gd name="T73" fmla="*/ 931 h 1037"/>
              <a:gd name="T74" fmla="*/ 9 w 949"/>
              <a:gd name="T75" fmla="*/ 881 h 1037"/>
              <a:gd name="T76" fmla="*/ 159 w 949"/>
              <a:gd name="T77" fmla="*/ 588 h 1037"/>
              <a:gd name="T78" fmla="*/ 209 w 949"/>
              <a:gd name="T79" fmla="*/ 571 h 1037"/>
              <a:gd name="T80" fmla="*/ 702 w 949"/>
              <a:gd name="T81" fmla="*/ 437 h 1037"/>
              <a:gd name="T82" fmla="*/ 866 w 949"/>
              <a:gd name="T83" fmla="*/ 540 h 1037"/>
              <a:gd name="T84" fmla="*/ 909 w 949"/>
              <a:gd name="T85" fmla="*/ 462 h 1037"/>
              <a:gd name="T86" fmla="*/ 767 w 949"/>
              <a:gd name="T87" fmla="*/ 374 h 1037"/>
              <a:gd name="T88" fmla="*/ 703 w 949"/>
              <a:gd name="T89" fmla="*/ 269 h 1037"/>
              <a:gd name="T90" fmla="*/ 702 w 949"/>
              <a:gd name="T91" fmla="*/ 437 h 1037"/>
              <a:gd name="T92" fmla="*/ 547 w 949"/>
              <a:gd name="T93" fmla="*/ 38 h 1037"/>
              <a:gd name="T94" fmla="*/ 552 w 949"/>
              <a:gd name="T95" fmla="*/ 159 h 1037"/>
              <a:gd name="T96" fmla="*/ 673 w 949"/>
              <a:gd name="T97" fmla="*/ 154 h 1037"/>
              <a:gd name="T98" fmla="*/ 668 w 949"/>
              <a:gd name="T99" fmla="*/ 33 h 1037"/>
              <a:gd name="T100" fmla="*/ 547 w 949"/>
              <a:gd name="T101" fmla="*/ 38 h 10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49" h="1037">
                <a:moveTo>
                  <a:pt x="534" y="622"/>
                </a:moveTo>
                <a:cubicBezTo>
                  <a:pt x="513" y="767"/>
                  <a:pt x="513" y="767"/>
                  <a:pt x="513" y="767"/>
                </a:cubicBezTo>
                <a:cubicBezTo>
                  <a:pt x="423" y="928"/>
                  <a:pt x="423" y="928"/>
                  <a:pt x="423" y="928"/>
                </a:cubicBezTo>
                <a:cubicBezTo>
                  <a:pt x="394" y="981"/>
                  <a:pt x="494" y="1037"/>
                  <a:pt x="523" y="984"/>
                </a:cubicBezTo>
                <a:cubicBezTo>
                  <a:pt x="619" y="811"/>
                  <a:pt x="619" y="811"/>
                  <a:pt x="619" y="811"/>
                </a:cubicBezTo>
                <a:cubicBezTo>
                  <a:pt x="629" y="798"/>
                  <a:pt x="629" y="778"/>
                  <a:pt x="632" y="761"/>
                </a:cubicBezTo>
                <a:cubicBezTo>
                  <a:pt x="534" y="622"/>
                  <a:pt x="534" y="622"/>
                  <a:pt x="534" y="622"/>
                </a:cubicBezTo>
                <a:close/>
                <a:moveTo>
                  <a:pt x="113" y="955"/>
                </a:moveTo>
                <a:cubicBezTo>
                  <a:pt x="130" y="955"/>
                  <a:pt x="143" y="968"/>
                  <a:pt x="143" y="984"/>
                </a:cubicBezTo>
                <a:cubicBezTo>
                  <a:pt x="143" y="1000"/>
                  <a:pt x="130" y="1013"/>
                  <a:pt x="113" y="1013"/>
                </a:cubicBezTo>
                <a:cubicBezTo>
                  <a:pt x="97" y="1013"/>
                  <a:pt x="84" y="1000"/>
                  <a:pt x="84" y="984"/>
                </a:cubicBezTo>
                <a:cubicBezTo>
                  <a:pt x="84" y="968"/>
                  <a:pt x="97" y="955"/>
                  <a:pt x="113" y="955"/>
                </a:cubicBezTo>
                <a:close/>
                <a:moveTo>
                  <a:pt x="209" y="571"/>
                </a:moveTo>
                <a:cubicBezTo>
                  <a:pt x="233" y="583"/>
                  <a:pt x="297" y="612"/>
                  <a:pt x="314" y="626"/>
                </a:cubicBezTo>
                <a:cubicBezTo>
                  <a:pt x="365" y="526"/>
                  <a:pt x="365" y="526"/>
                  <a:pt x="365" y="526"/>
                </a:cubicBezTo>
                <a:cubicBezTo>
                  <a:pt x="351" y="521"/>
                  <a:pt x="341" y="506"/>
                  <a:pt x="344" y="490"/>
                </a:cubicBezTo>
                <a:cubicBezTo>
                  <a:pt x="372" y="306"/>
                  <a:pt x="372" y="306"/>
                  <a:pt x="372" y="306"/>
                </a:cubicBezTo>
                <a:cubicBezTo>
                  <a:pt x="373" y="295"/>
                  <a:pt x="381" y="284"/>
                  <a:pt x="391" y="279"/>
                </a:cubicBezTo>
                <a:cubicBezTo>
                  <a:pt x="548" y="208"/>
                  <a:pt x="548" y="208"/>
                  <a:pt x="548" y="208"/>
                </a:cubicBezTo>
                <a:cubicBezTo>
                  <a:pt x="583" y="189"/>
                  <a:pt x="687" y="187"/>
                  <a:pt x="686" y="252"/>
                </a:cubicBezTo>
                <a:cubicBezTo>
                  <a:pt x="683" y="576"/>
                  <a:pt x="683" y="576"/>
                  <a:pt x="683" y="576"/>
                </a:cubicBezTo>
                <a:cubicBezTo>
                  <a:pt x="683" y="583"/>
                  <a:pt x="682" y="590"/>
                  <a:pt x="679" y="596"/>
                </a:cubicBezTo>
                <a:cubicBezTo>
                  <a:pt x="760" y="711"/>
                  <a:pt x="760" y="711"/>
                  <a:pt x="760" y="711"/>
                </a:cubicBezTo>
                <a:cubicBezTo>
                  <a:pt x="768" y="722"/>
                  <a:pt x="769" y="733"/>
                  <a:pt x="769" y="747"/>
                </a:cubicBezTo>
                <a:cubicBezTo>
                  <a:pt x="769" y="973"/>
                  <a:pt x="769" y="973"/>
                  <a:pt x="769" y="973"/>
                </a:cubicBezTo>
                <a:cubicBezTo>
                  <a:pt x="769" y="1033"/>
                  <a:pt x="655" y="1033"/>
                  <a:pt x="655" y="973"/>
                </a:cubicBezTo>
                <a:cubicBezTo>
                  <a:pt x="655" y="764"/>
                  <a:pt x="655" y="764"/>
                  <a:pt x="655" y="764"/>
                </a:cubicBezTo>
                <a:cubicBezTo>
                  <a:pt x="545" y="609"/>
                  <a:pt x="545" y="609"/>
                  <a:pt x="545" y="609"/>
                </a:cubicBezTo>
                <a:cubicBezTo>
                  <a:pt x="534" y="599"/>
                  <a:pt x="527" y="585"/>
                  <a:pt x="527" y="569"/>
                </a:cubicBezTo>
                <a:cubicBezTo>
                  <a:pt x="529" y="314"/>
                  <a:pt x="529" y="314"/>
                  <a:pt x="529" y="314"/>
                </a:cubicBezTo>
                <a:cubicBezTo>
                  <a:pt x="456" y="348"/>
                  <a:pt x="456" y="348"/>
                  <a:pt x="456" y="348"/>
                </a:cubicBezTo>
                <a:cubicBezTo>
                  <a:pt x="433" y="499"/>
                  <a:pt x="433" y="499"/>
                  <a:pt x="433" y="499"/>
                </a:cubicBezTo>
                <a:cubicBezTo>
                  <a:pt x="430" y="516"/>
                  <a:pt x="414" y="529"/>
                  <a:pt x="397" y="529"/>
                </a:cubicBezTo>
                <a:cubicBezTo>
                  <a:pt x="174" y="967"/>
                  <a:pt x="174" y="967"/>
                  <a:pt x="174" y="967"/>
                </a:cubicBezTo>
                <a:cubicBezTo>
                  <a:pt x="171" y="973"/>
                  <a:pt x="164" y="979"/>
                  <a:pt x="158" y="982"/>
                </a:cubicBezTo>
                <a:cubicBezTo>
                  <a:pt x="156" y="940"/>
                  <a:pt x="102" y="924"/>
                  <a:pt x="77" y="958"/>
                </a:cubicBezTo>
                <a:cubicBezTo>
                  <a:pt x="25" y="931"/>
                  <a:pt x="25" y="931"/>
                  <a:pt x="25" y="931"/>
                </a:cubicBezTo>
                <a:cubicBezTo>
                  <a:pt x="7" y="922"/>
                  <a:pt x="0" y="899"/>
                  <a:pt x="9" y="881"/>
                </a:cubicBezTo>
                <a:cubicBezTo>
                  <a:pt x="159" y="588"/>
                  <a:pt x="159" y="588"/>
                  <a:pt x="159" y="588"/>
                </a:cubicBezTo>
                <a:cubicBezTo>
                  <a:pt x="168" y="569"/>
                  <a:pt x="191" y="562"/>
                  <a:pt x="209" y="571"/>
                </a:cubicBezTo>
                <a:close/>
                <a:moveTo>
                  <a:pt x="702" y="437"/>
                </a:moveTo>
                <a:cubicBezTo>
                  <a:pt x="730" y="454"/>
                  <a:pt x="836" y="521"/>
                  <a:pt x="866" y="540"/>
                </a:cubicBezTo>
                <a:cubicBezTo>
                  <a:pt x="906" y="565"/>
                  <a:pt x="949" y="487"/>
                  <a:pt x="909" y="462"/>
                </a:cubicBezTo>
                <a:cubicBezTo>
                  <a:pt x="767" y="374"/>
                  <a:pt x="767" y="374"/>
                  <a:pt x="767" y="374"/>
                </a:cubicBezTo>
                <a:cubicBezTo>
                  <a:pt x="703" y="269"/>
                  <a:pt x="703" y="269"/>
                  <a:pt x="703" y="269"/>
                </a:cubicBezTo>
                <a:cubicBezTo>
                  <a:pt x="702" y="437"/>
                  <a:pt x="702" y="437"/>
                  <a:pt x="702" y="437"/>
                </a:cubicBezTo>
                <a:close/>
                <a:moveTo>
                  <a:pt x="547" y="38"/>
                </a:moveTo>
                <a:cubicBezTo>
                  <a:pt x="515" y="72"/>
                  <a:pt x="517" y="127"/>
                  <a:pt x="552" y="159"/>
                </a:cubicBezTo>
                <a:cubicBezTo>
                  <a:pt x="587" y="191"/>
                  <a:pt x="641" y="189"/>
                  <a:pt x="673" y="154"/>
                </a:cubicBezTo>
                <a:cubicBezTo>
                  <a:pt x="705" y="119"/>
                  <a:pt x="703" y="65"/>
                  <a:pt x="668" y="33"/>
                </a:cubicBezTo>
                <a:cubicBezTo>
                  <a:pt x="633" y="0"/>
                  <a:pt x="579" y="3"/>
                  <a:pt x="547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/>
          </a:p>
        </p:txBody>
      </p:sp>
      <p:grpSp>
        <p:nvGrpSpPr>
          <p:cNvPr id="57" name="Group 56"/>
          <p:cNvGrpSpPr/>
          <p:nvPr/>
        </p:nvGrpSpPr>
        <p:grpSpPr>
          <a:xfrm>
            <a:off x="1024611" y="5324152"/>
            <a:ext cx="397281" cy="671206"/>
            <a:chOff x="-1274763" y="4013200"/>
            <a:chExt cx="695325" cy="1174751"/>
          </a:xfrm>
          <a:solidFill>
            <a:schemeClr val="bg1"/>
          </a:solidFill>
        </p:grpSpPr>
        <p:sp>
          <p:nvSpPr>
            <p:cNvPr id="52" name="Freeform 20"/>
            <p:cNvSpPr>
              <a:spLocks noEditPoints="1"/>
            </p:cNvSpPr>
            <p:nvPr/>
          </p:nvSpPr>
          <p:spPr bwMode="auto">
            <a:xfrm>
              <a:off x="-1274763" y="4013200"/>
              <a:ext cx="695325" cy="1174751"/>
            </a:xfrm>
            <a:custGeom>
              <a:avLst/>
              <a:gdLst>
                <a:gd name="T0" fmla="*/ 551 w 641"/>
                <a:gd name="T1" fmla="*/ 1084 h 1084"/>
                <a:gd name="T2" fmla="*/ 90 w 641"/>
                <a:gd name="T3" fmla="*/ 1084 h 1084"/>
                <a:gd name="T4" fmla="*/ 0 w 641"/>
                <a:gd name="T5" fmla="*/ 995 h 1084"/>
                <a:gd name="T6" fmla="*/ 0 w 641"/>
                <a:gd name="T7" fmla="*/ 90 h 1084"/>
                <a:gd name="T8" fmla="*/ 90 w 641"/>
                <a:gd name="T9" fmla="*/ 0 h 1084"/>
                <a:gd name="T10" fmla="*/ 551 w 641"/>
                <a:gd name="T11" fmla="*/ 0 h 1084"/>
                <a:gd name="T12" fmla="*/ 641 w 641"/>
                <a:gd name="T13" fmla="*/ 90 h 1084"/>
                <a:gd name="T14" fmla="*/ 641 w 641"/>
                <a:gd name="T15" fmla="*/ 995 h 1084"/>
                <a:gd name="T16" fmla="*/ 551 w 641"/>
                <a:gd name="T17" fmla="*/ 1084 h 1084"/>
                <a:gd name="T18" fmla="*/ 90 w 641"/>
                <a:gd name="T19" fmla="*/ 31 h 1084"/>
                <a:gd name="T20" fmla="*/ 31 w 641"/>
                <a:gd name="T21" fmla="*/ 90 h 1084"/>
                <a:gd name="T22" fmla="*/ 31 w 641"/>
                <a:gd name="T23" fmla="*/ 995 h 1084"/>
                <a:gd name="T24" fmla="*/ 90 w 641"/>
                <a:gd name="T25" fmla="*/ 1053 h 1084"/>
                <a:gd name="T26" fmla="*/ 551 w 641"/>
                <a:gd name="T27" fmla="*/ 1053 h 1084"/>
                <a:gd name="T28" fmla="*/ 610 w 641"/>
                <a:gd name="T29" fmla="*/ 995 h 1084"/>
                <a:gd name="T30" fmla="*/ 610 w 641"/>
                <a:gd name="T31" fmla="*/ 90 h 1084"/>
                <a:gd name="T32" fmla="*/ 551 w 641"/>
                <a:gd name="T33" fmla="*/ 31 h 1084"/>
                <a:gd name="T34" fmla="*/ 90 w 641"/>
                <a:gd name="T35" fmla="*/ 31 h 1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41" h="1084">
                  <a:moveTo>
                    <a:pt x="551" y="1084"/>
                  </a:moveTo>
                  <a:cubicBezTo>
                    <a:pt x="90" y="1084"/>
                    <a:pt x="90" y="1084"/>
                    <a:pt x="90" y="1084"/>
                  </a:cubicBezTo>
                  <a:cubicBezTo>
                    <a:pt x="40" y="1084"/>
                    <a:pt x="0" y="1044"/>
                    <a:pt x="0" y="995"/>
                  </a:cubicBezTo>
                  <a:cubicBezTo>
                    <a:pt x="0" y="90"/>
                    <a:pt x="0" y="90"/>
                    <a:pt x="0" y="90"/>
                  </a:cubicBezTo>
                  <a:cubicBezTo>
                    <a:pt x="0" y="41"/>
                    <a:pt x="40" y="0"/>
                    <a:pt x="90" y="0"/>
                  </a:cubicBezTo>
                  <a:cubicBezTo>
                    <a:pt x="551" y="0"/>
                    <a:pt x="551" y="0"/>
                    <a:pt x="551" y="0"/>
                  </a:cubicBezTo>
                  <a:cubicBezTo>
                    <a:pt x="601" y="0"/>
                    <a:pt x="641" y="41"/>
                    <a:pt x="641" y="90"/>
                  </a:cubicBezTo>
                  <a:cubicBezTo>
                    <a:pt x="641" y="995"/>
                    <a:pt x="641" y="995"/>
                    <a:pt x="641" y="995"/>
                  </a:cubicBezTo>
                  <a:cubicBezTo>
                    <a:pt x="641" y="1044"/>
                    <a:pt x="601" y="1084"/>
                    <a:pt x="551" y="1084"/>
                  </a:cubicBezTo>
                  <a:close/>
                  <a:moveTo>
                    <a:pt x="90" y="31"/>
                  </a:moveTo>
                  <a:cubicBezTo>
                    <a:pt x="57" y="31"/>
                    <a:pt x="31" y="58"/>
                    <a:pt x="31" y="90"/>
                  </a:cubicBezTo>
                  <a:cubicBezTo>
                    <a:pt x="31" y="995"/>
                    <a:pt x="31" y="995"/>
                    <a:pt x="31" y="995"/>
                  </a:cubicBezTo>
                  <a:cubicBezTo>
                    <a:pt x="31" y="1027"/>
                    <a:pt x="57" y="1053"/>
                    <a:pt x="90" y="1053"/>
                  </a:cubicBezTo>
                  <a:cubicBezTo>
                    <a:pt x="551" y="1053"/>
                    <a:pt x="551" y="1053"/>
                    <a:pt x="551" y="1053"/>
                  </a:cubicBezTo>
                  <a:cubicBezTo>
                    <a:pt x="584" y="1053"/>
                    <a:pt x="610" y="1027"/>
                    <a:pt x="610" y="995"/>
                  </a:cubicBezTo>
                  <a:cubicBezTo>
                    <a:pt x="610" y="90"/>
                    <a:pt x="610" y="90"/>
                    <a:pt x="610" y="90"/>
                  </a:cubicBezTo>
                  <a:cubicBezTo>
                    <a:pt x="610" y="58"/>
                    <a:pt x="584" y="31"/>
                    <a:pt x="551" y="31"/>
                  </a:cubicBezTo>
                  <a:lnTo>
                    <a:pt x="90" y="31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3" name="Freeform 21"/>
            <p:cNvSpPr>
              <a:spLocks/>
            </p:cNvSpPr>
            <p:nvPr/>
          </p:nvSpPr>
          <p:spPr bwMode="auto">
            <a:xfrm>
              <a:off x="-1198563" y="4906963"/>
              <a:ext cx="619125" cy="33338"/>
            </a:xfrm>
            <a:custGeom>
              <a:avLst/>
              <a:gdLst>
                <a:gd name="T0" fmla="*/ 555 w 571"/>
                <a:gd name="T1" fmla="*/ 31 h 31"/>
                <a:gd name="T2" fmla="*/ 16 w 571"/>
                <a:gd name="T3" fmla="*/ 31 h 31"/>
                <a:gd name="T4" fmla="*/ 0 w 571"/>
                <a:gd name="T5" fmla="*/ 16 h 31"/>
                <a:gd name="T6" fmla="*/ 16 w 571"/>
                <a:gd name="T7" fmla="*/ 0 h 31"/>
                <a:gd name="T8" fmla="*/ 555 w 571"/>
                <a:gd name="T9" fmla="*/ 0 h 31"/>
                <a:gd name="T10" fmla="*/ 571 w 571"/>
                <a:gd name="T11" fmla="*/ 16 h 31"/>
                <a:gd name="T12" fmla="*/ 555 w 571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71" h="31">
                  <a:moveTo>
                    <a:pt x="555" y="31"/>
                  </a:moveTo>
                  <a:cubicBezTo>
                    <a:pt x="16" y="31"/>
                    <a:pt x="16" y="31"/>
                    <a:pt x="16" y="31"/>
                  </a:cubicBezTo>
                  <a:cubicBezTo>
                    <a:pt x="7" y="31"/>
                    <a:pt x="0" y="24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555" y="0"/>
                    <a:pt x="555" y="0"/>
                    <a:pt x="555" y="0"/>
                  </a:cubicBezTo>
                  <a:cubicBezTo>
                    <a:pt x="564" y="0"/>
                    <a:pt x="571" y="7"/>
                    <a:pt x="571" y="16"/>
                  </a:cubicBezTo>
                  <a:cubicBezTo>
                    <a:pt x="571" y="24"/>
                    <a:pt x="564" y="31"/>
                    <a:pt x="555" y="31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4" name="Freeform 22"/>
            <p:cNvSpPr>
              <a:spLocks/>
            </p:cNvSpPr>
            <p:nvPr/>
          </p:nvSpPr>
          <p:spPr bwMode="auto">
            <a:xfrm>
              <a:off x="-1274763" y="4179888"/>
              <a:ext cx="576262" cy="33338"/>
            </a:xfrm>
            <a:custGeom>
              <a:avLst/>
              <a:gdLst>
                <a:gd name="T0" fmla="*/ 516 w 531"/>
                <a:gd name="T1" fmla="*/ 31 h 31"/>
                <a:gd name="T2" fmla="*/ 16 w 531"/>
                <a:gd name="T3" fmla="*/ 31 h 31"/>
                <a:gd name="T4" fmla="*/ 0 w 531"/>
                <a:gd name="T5" fmla="*/ 15 h 31"/>
                <a:gd name="T6" fmla="*/ 16 w 531"/>
                <a:gd name="T7" fmla="*/ 0 h 31"/>
                <a:gd name="T8" fmla="*/ 516 w 531"/>
                <a:gd name="T9" fmla="*/ 0 h 31"/>
                <a:gd name="T10" fmla="*/ 531 w 531"/>
                <a:gd name="T11" fmla="*/ 15 h 31"/>
                <a:gd name="T12" fmla="*/ 516 w 531"/>
                <a:gd name="T13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1" h="31">
                  <a:moveTo>
                    <a:pt x="516" y="31"/>
                  </a:moveTo>
                  <a:cubicBezTo>
                    <a:pt x="16" y="31"/>
                    <a:pt x="16" y="31"/>
                    <a:pt x="16" y="31"/>
                  </a:cubicBezTo>
                  <a:cubicBezTo>
                    <a:pt x="7" y="31"/>
                    <a:pt x="0" y="24"/>
                    <a:pt x="0" y="15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516" y="0"/>
                    <a:pt x="516" y="0"/>
                    <a:pt x="516" y="0"/>
                  </a:cubicBezTo>
                  <a:cubicBezTo>
                    <a:pt x="524" y="0"/>
                    <a:pt x="531" y="7"/>
                    <a:pt x="531" y="15"/>
                  </a:cubicBezTo>
                  <a:cubicBezTo>
                    <a:pt x="531" y="24"/>
                    <a:pt x="524" y="31"/>
                    <a:pt x="516" y="31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5" name="Freeform 23"/>
            <p:cNvSpPr>
              <a:spLocks noEditPoints="1"/>
            </p:cNvSpPr>
            <p:nvPr/>
          </p:nvSpPr>
          <p:spPr bwMode="auto">
            <a:xfrm>
              <a:off x="-995363" y="4979988"/>
              <a:ext cx="136525" cy="136525"/>
            </a:xfrm>
            <a:custGeom>
              <a:avLst/>
              <a:gdLst>
                <a:gd name="T0" fmla="*/ 62 w 125"/>
                <a:gd name="T1" fmla="*/ 126 h 126"/>
                <a:gd name="T2" fmla="*/ 0 w 125"/>
                <a:gd name="T3" fmla="*/ 63 h 126"/>
                <a:gd name="T4" fmla="*/ 62 w 125"/>
                <a:gd name="T5" fmla="*/ 0 h 126"/>
                <a:gd name="T6" fmla="*/ 125 w 125"/>
                <a:gd name="T7" fmla="*/ 63 h 126"/>
                <a:gd name="T8" fmla="*/ 62 w 125"/>
                <a:gd name="T9" fmla="*/ 126 h 126"/>
                <a:gd name="T10" fmla="*/ 62 w 125"/>
                <a:gd name="T11" fmla="*/ 31 h 126"/>
                <a:gd name="T12" fmla="*/ 31 w 125"/>
                <a:gd name="T13" fmla="*/ 63 h 126"/>
                <a:gd name="T14" fmla="*/ 62 w 125"/>
                <a:gd name="T15" fmla="*/ 95 h 126"/>
                <a:gd name="T16" fmla="*/ 94 w 125"/>
                <a:gd name="T17" fmla="*/ 63 h 126"/>
                <a:gd name="T18" fmla="*/ 62 w 125"/>
                <a:gd name="T19" fmla="*/ 3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5" h="126">
                  <a:moveTo>
                    <a:pt x="62" y="126"/>
                  </a:moveTo>
                  <a:cubicBezTo>
                    <a:pt x="28" y="126"/>
                    <a:pt x="0" y="97"/>
                    <a:pt x="0" y="63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97" y="0"/>
                    <a:pt x="125" y="28"/>
                    <a:pt x="125" y="63"/>
                  </a:cubicBezTo>
                  <a:cubicBezTo>
                    <a:pt x="125" y="97"/>
                    <a:pt x="97" y="126"/>
                    <a:pt x="62" y="126"/>
                  </a:cubicBezTo>
                  <a:close/>
                  <a:moveTo>
                    <a:pt x="62" y="31"/>
                  </a:moveTo>
                  <a:cubicBezTo>
                    <a:pt x="45" y="31"/>
                    <a:pt x="31" y="45"/>
                    <a:pt x="31" y="63"/>
                  </a:cubicBezTo>
                  <a:cubicBezTo>
                    <a:pt x="31" y="80"/>
                    <a:pt x="45" y="95"/>
                    <a:pt x="62" y="95"/>
                  </a:cubicBezTo>
                  <a:cubicBezTo>
                    <a:pt x="80" y="95"/>
                    <a:pt x="94" y="80"/>
                    <a:pt x="94" y="63"/>
                  </a:cubicBezTo>
                  <a:cubicBezTo>
                    <a:pt x="94" y="45"/>
                    <a:pt x="80" y="31"/>
                    <a:pt x="62" y="31"/>
                  </a:cubicBez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  <p:sp>
          <p:nvSpPr>
            <p:cNvPr id="56" name="Freeform 24"/>
            <p:cNvSpPr>
              <a:spLocks noEditPoints="1"/>
            </p:cNvSpPr>
            <p:nvPr/>
          </p:nvSpPr>
          <p:spPr bwMode="auto">
            <a:xfrm>
              <a:off x="-1139825" y="4356100"/>
              <a:ext cx="425450" cy="423863"/>
            </a:xfrm>
            <a:custGeom>
              <a:avLst/>
              <a:gdLst>
                <a:gd name="T0" fmla="*/ 264 w 391"/>
                <a:gd name="T1" fmla="*/ 391 h 391"/>
                <a:gd name="T2" fmla="*/ 127 w 391"/>
                <a:gd name="T3" fmla="*/ 391 h 391"/>
                <a:gd name="T4" fmla="*/ 112 w 391"/>
                <a:gd name="T5" fmla="*/ 376 h 391"/>
                <a:gd name="T6" fmla="*/ 112 w 391"/>
                <a:gd name="T7" fmla="*/ 279 h 391"/>
                <a:gd name="T8" fmla="*/ 15 w 391"/>
                <a:gd name="T9" fmla="*/ 279 h 391"/>
                <a:gd name="T10" fmla="*/ 0 w 391"/>
                <a:gd name="T11" fmla="*/ 264 h 391"/>
                <a:gd name="T12" fmla="*/ 0 w 391"/>
                <a:gd name="T13" fmla="*/ 127 h 391"/>
                <a:gd name="T14" fmla="*/ 15 w 391"/>
                <a:gd name="T15" fmla="*/ 112 h 391"/>
                <a:gd name="T16" fmla="*/ 112 w 391"/>
                <a:gd name="T17" fmla="*/ 112 h 391"/>
                <a:gd name="T18" fmla="*/ 112 w 391"/>
                <a:gd name="T19" fmla="*/ 15 h 391"/>
                <a:gd name="T20" fmla="*/ 127 w 391"/>
                <a:gd name="T21" fmla="*/ 0 h 391"/>
                <a:gd name="T22" fmla="*/ 264 w 391"/>
                <a:gd name="T23" fmla="*/ 0 h 391"/>
                <a:gd name="T24" fmla="*/ 279 w 391"/>
                <a:gd name="T25" fmla="*/ 15 h 391"/>
                <a:gd name="T26" fmla="*/ 279 w 391"/>
                <a:gd name="T27" fmla="*/ 112 h 391"/>
                <a:gd name="T28" fmla="*/ 376 w 391"/>
                <a:gd name="T29" fmla="*/ 112 h 391"/>
                <a:gd name="T30" fmla="*/ 391 w 391"/>
                <a:gd name="T31" fmla="*/ 127 h 391"/>
                <a:gd name="T32" fmla="*/ 391 w 391"/>
                <a:gd name="T33" fmla="*/ 264 h 391"/>
                <a:gd name="T34" fmla="*/ 376 w 391"/>
                <a:gd name="T35" fmla="*/ 279 h 391"/>
                <a:gd name="T36" fmla="*/ 279 w 391"/>
                <a:gd name="T37" fmla="*/ 279 h 391"/>
                <a:gd name="T38" fmla="*/ 279 w 391"/>
                <a:gd name="T39" fmla="*/ 376 h 391"/>
                <a:gd name="T40" fmla="*/ 264 w 391"/>
                <a:gd name="T41" fmla="*/ 391 h 391"/>
                <a:gd name="T42" fmla="*/ 143 w 391"/>
                <a:gd name="T43" fmla="*/ 360 h 391"/>
                <a:gd name="T44" fmla="*/ 248 w 391"/>
                <a:gd name="T45" fmla="*/ 360 h 391"/>
                <a:gd name="T46" fmla="*/ 248 w 391"/>
                <a:gd name="T47" fmla="*/ 264 h 391"/>
                <a:gd name="T48" fmla="*/ 264 w 391"/>
                <a:gd name="T49" fmla="*/ 248 h 391"/>
                <a:gd name="T50" fmla="*/ 360 w 391"/>
                <a:gd name="T51" fmla="*/ 248 h 391"/>
                <a:gd name="T52" fmla="*/ 360 w 391"/>
                <a:gd name="T53" fmla="*/ 143 h 391"/>
                <a:gd name="T54" fmla="*/ 264 w 391"/>
                <a:gd name="T55" fmla="*/ 143 h 391"/>
                <a:gd name="T56" fmla="*/ 248 w 391"/>
                <a:gd name="T57" fmla="*/ 127 h 391"/>
                <a:gd name="T58" fmla="*/ 248 w 391"/>
                <a:gd name="T59" fmla="*/ 30 h 391"/>
                <a:gd name="T60" fmla="*/ 143 w 391"/>
                <a:gd name="T61" fmla="*/ 30 h 391"/>
                <a:gd name="T62" fmla="*/ 143 w 391"/>
                <a:gd name="T63" fmla="*/ 127 h 391"/>
                <a:gd name="T64" fmla="*/ 127 w 391"/>
                <a:gd name="T65" fmla="*/ 143 h 391"/>
                <a:gd name="T66" fmla="*/ 31 w 391"/>
                <a:gd name="T67" fmla="*/ 143 h 391"/>
                <a:gd name="T68" fmla="*/ 31 w 391"/>
                <a:gd name="T69" fmla="*/ 248 h 391"/>
                <a:gd name="T70" fmla="*/ 127 w 391"/>
                <a:gd name="T71" fmla="*/ 248 h 391"/>
                <a:gd name="T72" fmla="*/ 143 w 391"/>
                <a:gd name="T73" fmla="*/ 264 h 391"/>
                <a:gd name="T74" fmla="*/ 143 w 391"/>
                <a:gd name="T75" fmla="*/ 36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91" h="391">
                  <a:moveTo>
                    <a:pt x="264" y="391"/>
                  </a:moveTo>
                  <a:cubicBezTo>
                    <a:pt x="127" y="391"/>
                    <a:pt x="127" y="391"/>
                    <a:pt x="127" y="391"/>
                  </a:cubicBezTo>
                  <a:cubicBezTo>
                    <a:pt x="119" y="391"/>
                    <a:pt x="112" y="384"/>
                    <a:pt x="112" y="376"/>
                  </a:cubicBezTo>
                  <a:cubicBezTo>
                    <a:pt x="112" y="279"/>
                    <a:pt x="112" y="279"/>
                    <a:pt x="112" y="279"/>
                  </a:cubicBezTo>
                  <a:cubicBezTo>
                    <a:pt x="15" y="279"/>
                    <a:pt x="15" y="279"/>
                    <a:pt x="15" y="279"/>
                  </a:cubicBezTo>
                  <a:cubicBezTo>
                    <a:pt x="7" y="279"/>
                    <a:pt x="0" y="272"/>
                    <a:pt x="0" y="264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0" y="119"/>
                    <a:pt x="7" y="112"/>
                    <a:pt x="15" y="112"/>
                  </a:cubicBezTo>
                  <a:cubicBezTo>
                    <a:pt x="112" y="112"/>
                    <a:pt x="112" y="112"/>
                    <a:pt x="112" y="112"/>
                  </a:cubicBezTo>
                  <a:cubicBezTo>
                    <a:pt x="112" y="15"/>
                    <a:pt x="112" y="15"/>
                    <a:pt x="112" y="15"/>
                  </a:cubicBezTo>
                  <a:cubicBezTo>
                    <a:pt x="112" y="6"/>
                    <a:pt x="119" y="0"/>
                    <a:pt x="127" y="0"/>
                  </a:cubicBezTo>
                  <a:cubicBezTo>
                    <a:pt x="264" y="0"/>
                    <a:pt x="264" y="0"/>
                    <a:pt x="264" y="0"/>
                  </a:cubicBezTo>
                  <a:cubicBezTo>
                    <a:pt x="272" y="0"/>
                    <a:pt x="279" y="6"/>
                    <a:pt x="279" y="15"/>
                  </a:cubicBezTo>
                  <a:cubicBezTo>
                    <a:pt x="279" y="112"/>
                    <a:pt x="279" y="112"/>
                    <a:pt x="279" y="112"/>
                  </a:cubicBezTo>
                  <a:cubicBezTo>
                    <a:pt x="376" y="112"/>
                    <a:pt x="376" y="112"/>
                    <a:pt x="376" y="112"/>
                  </a:cubicBezTo>
                  <a:cubicBezTo>
                    <a:pt x="384" y="112"/>
                    <a:pt x="391" y="119"/>
                    <a:pt x="391" y="127"/>
                  </a:cubicBezTo>
                  <a:cubicBezTo>
                    <a:pt x="391" y="264"/>
                    <a:pt x="391" y="264"/>
                    <a:pt x="391" y="264"/>
                  </a:cubicBezTo>
                  <a:cubicBezTo>
                    <a:pt x="391" y="272"/>
                    <a:pt x="384" y="279"/>
                    <a:pt x="376" y="279"/>
                  </a:cubicBezTo>
                  <a:cubicBezTo>
                    <a:pt x="279" y="279"/>
                    <a:pt x="279" y="279"/>
                    <a:pt x="279" y="279"/>
                  </a:cubicBezTo>
                  <a:cubicBezTo>
                    <a:pt x="279" y="376"/>
                    <a:pt x="279" y="376"/>
                    <a:pt x="279" y="376"/>
                  </a:cubicBezTo>
                  <a:cubicBezTo>
                    <a:pt x="279" y="384"/>
                    <a:pt x="272" y="391"/>
                    <a:pt x="264" y="391"/>
                  </a:cubicBezTo>
                  <a:close/>
                  <a:moveTo>
                    <a:pt x="143" y="360"/>
                  </a:moveTo>
                  <a:cubicBezTo>
                    <a:pt x="248" y="360"/>
                    <a:pt x="248" y="360"/>
                    <a:pt x="248" y="360"/>
                  </a:cubicBezTo>
                  <a:cubicBezTo>
                    <a:pt x="248" y="264"/>
                    <a:pt x="248" y="264"/>
                    <a:pt x="248" y="264"/>
                  </a:cubicBezTo>
                  <a:cubicBezTo>
                    <a:pt x="248" y="255"/>
                    <a:pt x="255" y="248"/>
                    <a:pt x="264" y="248"/>
                  </a:cubicBezTo>
                  <a:cubicBezTo>
                    <a:pt x="360" y="248"/>
                    <a:pt x="360" y="248"/>
                    <a:pt x="360" y="248"/>
                  </a:cubicBezTo>
                  <a:cubicBezTo>
                    <a:pt x="360" y="143"/>
                    <a:pt x="360" y="143"/>
                    <a:pt x="360" y="143"/>
                  </a:cubicBezTo>
                  <a:cubicBezTo>
                    <a:pt x="264" y="143"/>
                    <a:pt x="264" y="143"/>
                    <a:pt x="264" y="143"/>
                  </a:cubicBezTo>
                  <a:cubicBezTo>
                    <a:pt x="255" y="143"/>
                    <a:pt x="248" y="136"/>
                    <a:pt x="248" y="127"/>
                  </a:cubicBezTo>
                  <a:cubicBezTo>
                    <a:pt x="248" y="30"/>
                    <a:pt x="248" y="30"/>
                    <a:pt x="248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3" y="127"/>
                    <a:pt x="143" y="127"/>
                    <a:pt x="143" y="127"/>
                  </a:cubicBezTo>
                  <a:cubicBezTo>
                    <a:pt x="143" y="136"/>
                    <a:pt x="136" y="143"/>
                    <a:pt x="127" y="143"/>
                  </a:cubicBezTo>
                  <a:cubicBezTo>
                    <a:pt x="31" y="143"/>
                    <a:pt x="31" y="143"/>
                    <a:pt x="31" y="143"/>
                  </a:cubicBezTo>
                  <a:cubicBezTo>
                    <a:pt x="31" y="248"/>
                    <a:pt x="31" y="248"/>
                    <a:pt x="31" y="248"/>
                  </a:cubicBezTo>
                  <a:cubicBezTo>
                    <a:pt x="127" y="248"/>
                    <a:pt x="127" y="248"/>
                    <a:pt x="127" y="248"/>
                  </a:cubicBezTo>
                  <a:cubicBezTo>
                    <a:pt x="136" y="248"/>
                    <a:pt x="143" y="255"/>
                    <a:pt x="143" y="264"/>
                  </a:cubicBezTo>
                  <a:lnTo>
                    <a:pt x="143" y="360"/>
                  </a:lnTo>
                  <a:close/>
                </a:path>
              </a:pathLst>
            </a:custGeom>
            <a:grpFill/>
            <a:ln w="12700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IN"/>
            </a:p>
          </p:txBody>
        </p:sp>
      </p:grpSp>
    </p:spTree>
    <p:extLst>
      <p:ext uri="{BB962C8B-B14F-4D97-AF65-F5344CB8AC3E}">
        <p14:creationId xmlns:p14="http://schemas.microsoft.com/office/powerpoint/2010/main" val="3189576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448286" y="2416221"/>
            <a:ext cx="2829300" cy="2264422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2A6A1010-39FC-44B1-A15A-8ABADF253C31}" type="slidenum">
              <a:rPr lang="en-IN" smtClean="0"/>
              <a:pPr algn="ctr"/>
              <a:t>9</a:t>
            </a:fld>
            <a:endParaRPr lang="en-IN" dirty="0"/>
          </a:p>
        </p:txBody>
      </p:sp>
      <p:sp>
        <p:nvSpPr>
          <p:cNvPr id="5" name="Rectangle 4"/>
          <p:cNvSpPr/>
          <p:nvPr/>
        </p:nvSpPr>
        <p:spPr>
          <a:xfrm>
            <a:off x="3213822" y="4200708"/>
            <a:ext cx="854022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b="1" dirty="0"/>
              <a:t>CURRENT MODE OF CONSULTATION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842223" y="4955186"/>
            <a:ext cx="10349777" cy="24691"/>
          </a:xfrm>
          <a:prstGeom prst="line">
            <a:avLst/>
          </a:prstGeom>
          <a:ln w="76200">
            <a:solidFill>
              <a:schemeClr val="tx1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>
          <a:xfrm>
            <a:off x="334435" y="1939611"/>
            <a:ext cx="3015575" cy="3015575"/>
          </a:xfrm>
          <a:prstGeom prst="ellipse">
            <a:avLst/>
          </a:prstGeom>
          <a:noFill/>
          <a:ln w="762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20704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ogo*brand*technology*digital*social network*facebook*like*approve*appreciate*good*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phone_POWER_USER_SEPARATOR_ICONS_cell-phone_POWER_USER_SEPARATOR_ICONS_mobile-phone_POWER_USER_SEPARATOR_ICONS_smart-phon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laptop_POWER_USER_SEPARATOR_ICONS_computer_POWER_USER_SEPARATOR_ICONS_macbook_POWER_USER_SEPARATOR_ICONS_technolog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phone_POWER_USER_SEPARATOR_ICONS_cell-phone_POWER_USER_SEPARATOR_ICONS_mobile-phone_POWER_USER_SEPARATOR_ICONS_smart-phon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iphone_POWER_USER_SEPARATOR_ICONS_cell-phone_POWER_USER_SEPARATOR_ICONS_mobile-phone_POWER_USER_SEPARATOR_ICONS_smart-phon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chat*discussion*communication*exchange*sms*text*mobile*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et_POWER_USER_SEPARATOR_ICONS_attracti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et_POWER_USER_SEPARATOR_ICONS_attracti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agnet_POWER_USER_SEPARATOR_ICONS_attracti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microscope_POWER_USER_SEPARATOR_ICONS_biology_POWER_USER_SEPARATOR_ICONS_equipment_POWER_USER_SEPARATOR_ICONS_research_POWER_USER_SEPARATOR_ICONS_science_POWER_USER_SEPARATOR_ICONS_zoom"/>
</p:tagLst>
</file>

<file path=ppt/theme/theme1.xml><?xml version="1.0" encoding="utf-8"?>
<a:theme xmlns:a="http://schemas.openxmlformats.org/drawingml/2006/main" name="5_Office Theme">
  <a:themeElements>
    <a:clrScheme name="Custom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B0F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lemental">
      <a:fillStyleLst>
        <a:solidFill>
          <a:schemeClr val="phClr"/>
        </a:solidFill>
        <a:gradFill rotWithShape="1">
          <a:gsLst>
            <a:gs pos="0">
              <a:schemeClr val="phClr">
                <a:tint val="90000"/>
              </a:schemeClr>
            </a:gs>
            <a:gs pos="48000">
              <a:schemeClr val="phClr">
                <a:tint val="54000"/>
                <a:satMod val="140000"/>
              </a:schemeClr>
            </a:gs>
            <a:gs pos="100000">
              <a:schemeClr val="phClr">
                <a:tint val="24000"/>
                <a:satMod val="260000"/>
              </a:schemeClr>
            </a:gs>
          </a:gsLst>
          <a:lin ang="1620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48000"/>
                <a:satMod val="180000"/>
                <a:lumMod val="94000"/>
              </a:schemeClr>
            </a:gs>
            <a:gs pos="100000">
              <a:schemeClr val="phClr">
                <a:shade val="48000"/>
                <a:satMod val="180000"/>
                <a:lumMod val="94000"/>
              </a:schemeClr>
            </a:gs>
          </a:gsLst>
          <a:lin ang="4140000" scaled="1"/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12700" dir="5400000" sx="102000" sy="102000" rotWithShape="0">
              <a:srgbClr val="000000">
                <a:alpha val="32000"/>
              </a:srgbClr>
            </a:outerShdw>
          </a:effectLst>
        </a:effectStyle>
        <a:effectStyle>
          <a:effectLst>
            <a:outerShdw blurRad="762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19800000"/>
            </a:lightRig>
          </a:scene3d>
          <a:sp3d prstMaterial="metal">
            <a:bevelT w="38100" h="38100"/>
          </a:sp3d>
        </a:effectStyle>
        <a:effectStyle>
          <a:effectLst>
            <a:outerShdw blurRad="114300" dist="114300" dir="5400000" rotWithShape="0">
              <a:srgbClr val="000000">
                <a:alpha val="7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plastic"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/>
      <a:bodyPr/>
      <a:lstStyle/>
      <a:style>
        <a:lnRef idx="2">
          <a:schemeClr val="dk1"/>
        </a:lnRef>
        <a:fillRef idx="0">
          <a:schemeClr val="dk1"/>
        </a:fillRef>
        <a:effectRef idx="1">
          <a:schemeClr val="dk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233</TotalTime>
  <Words>2553</Words>
  <Application>Microsoft Office PowerPoint</Application>
  <PresentationFormat>Widescreen</PresentationFormat>
  <Paragraphs>680</Paragraphs>
  <Slides>38</Slides>
  <Notes>7</Notes>
  <HiddenSlides>1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3" baseType="lpstr">
      <vt:lpstr>Arial</vt:lpstr>
      <vt:lpstr>Calibri</vt:lpstr>
      <vt:lpstr>Helvetica</vt:lpstr>
      <vt:lpstr>Wingdings</vt:lpstr>
      <vt:lpstr>5_Office Theme</vt:lpstr>
      <vt:lpstr>PowerPoint Presentation</vt:lpstr>
      <vt:lpstr>Table of Content</vt:lpstr>
      <vt:lpstr>Background</vt:lpstr>
      <vt:lpstr>Predicting the Future of HC Consultation</vt:lpstr>
      <vt:lpstr>10 MARKETS AND 3,000 PEOPLE</vt:lpstr>
      <vt:lpstr>Consumer Profile – Demographics</vt:lpstr>
      <vt:lpstr>Consumer Profile – Employment and Children in household</vt:lpstr>
      <vt:lpstr>Summary</vt:lpstr>
      <vt:lpstr>PowerPoint Presentation</vt:lpstr>
      <vt:lpstr>Change in Consultation Behavior</vt:lpstr>
      <vt:lpstr>Change in Consultation Behaviour</vt:lpstr>
      <vt:lpstr>Mode Used for The Consultation</vt:lpstr>
      <vt:lpstr>Mode Of Online Consultation</vt:lpstr>
      <vt:lpstr>Mode Of Online Consultation</vt:lpstr>
      <vt:lpstr>Video Call Influencing Selection Of Doctor</vt:lpstr>
      <vt:lpstr>Video Conference Availability Influencing Selection of Doctor</vt:lpstr>
      <vt:lpstr>Overall Satisfaction - Online Consultation</vt:lpstr>
      <vt:lpstr>Overall Net Satisfaction - Online Consultation Modes</vt:lpstr>
      <vt:lpstr>PowerPoint Presentation</vt:lpstr>
      <vt:lpstr>Future Usage Of Online Vs In-Person Consultation</vt:lpstr>
      <vt:lpstr>Future Online Vs In-Person Consultation: By Market </vt:lpstr>
      <vt:lpstr>Post COVID – Preferred Mode of Consultation</vt:lpstr>
      <vt:lpstr>Post COVID - Online Consultation Vs In-Person Consultation</vt:lpstr>
      <vt:lpstr>Future Usage Of Online Consultation</vt:lpstr>
      <vt:lpstr>Future Usage Of Online Consultation</vt:lpstr>
      <vt:lpstr>PowerPoint Presentation</vt:lpstr>
      <vt:lpstr>Travel in 2020 </vt:lpstr>
      <vt:lpstr>Travel Medical Consultation Before Holiday In Future</vt:lpstr>
      <vt:lpstr>Travel Medical Consultation Before Holiday Among People Planning To Travel In 2020 </vt:lpstr>
      <vt:lpstr>Type Of Medical Consultation Before Going On Holiday</vt:lpstr>
      <vt:lpstr>Type Of Medical Consultation Before Going On Holiday</vt:lpstr>
      <vt:lpstr>Pneumococcus Vaccine Usage</vt:lpstr>
      <vt:lpstr>PowerPoint Presentation</vt:lpstr>
      <vt:lpstr>Stock Up of Medication And Type of Medication</vt:lpstr>
      <vt:lpstr>Type Of Medication Stocked up</vt:lpstr>
      <vt:lpstr>Point Of Purchase</vt:lpstr>
      <vt:lpstr>Importance of Manufacturer and Country Of Origin - Medicines</vt:lpstr>
      <vt:lpstr>PowerPoint Presentation</vt:lpstr>
    </vt:vector>
  </TitlesOfParts>
  <Company>H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-COVID19 report</dc:title>
  <dc:creator>Borderless Access</dc:creator>
  <cp:lastModifiedBy>Chaitra R</cp:lastModifiedBy>
  <cp:revision>1620</cp:revision>
  <dcterms:created xsi:type="dcterms:W3CDTF">2017-11-12T06:59:39Z</dcterms:created>
  <dcterms:modified xsi:type="dcterms:W3CDTF">2020-06-09T10:54:48Z</dcterms:modified>
</cp:coreProperties>
</file>